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ags/tag5.xml" ContentType="application/vnd.openxmlformats-officedocument.presentationml.tags+xml"/>
  <Override PartName="/ppt/theme/themeOverride5.xml" ContentType="application/vnd.openxmlformats-officedocument.themeOverr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heme/themeOverride6.xml" ContentType="application/vnd.openxmlformats-officedocument.themeOverride+xml"/>
  <Override PartName="/ppt/notesSlides/notesSlide3.xml" ContentType="application/vnd.openxmlformats-officedocument.presentationml.notesSlide+xml"/>
  <Override PartName="/ppt/theme/themeOverride7.xml" ContentType="application/vnd.openxmlformats-officedocument.themeOverride+xml"/>
  <Override PartName="/ppt/notesSlides/notesSlide4.xml" ContentType="application/vnd.openxmlformats-officedocument.presentationml.notesSlide+xml"/>
  <Override PartName="/ppt/theme/themeOverride8.xml" ContentType="application/vnd.openxmlformats-officedocument.themeOverride+xml"/>
  <Override PartName="/ppt/notesSlides/notesSlide5.xml" ContentType="application/vnd.openxmlformats-officedocument.presentationml.notesSlide+xml"/>
  <Override PartName="/ppt/theme/themeOverride9.xml" ContentType="application/vnd.openxmlformats-officedocument.themeOverride+xml"/>
  <Override PartName="/ppt/notesSlides/notesSlide6.xml" ContentType="application/vnd.openxmlformats-officedocument.presentationml.notesSl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notesSlides/notesSlide7.xml" ContentType="application/vnd.openxmlformats-officedocument.presentationml.notesSlide+xml"/>
  <Override PartName="/ppt/theme/themeOverride12.xml" ContentType="application/vnd.openxmlformats-officedocument.themeOverr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heme/themeOverride13.xml" ContentType="application/vnd.openxmlformats-officedocument.themeOverride+xml"/>
  <Override PartName="/ppt/notesSlides/notesSlide9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heme/themeOverride14.xml" ContentType="application/vnd.openxmlformats-officedocument.themeOverride+xml"/>
  <Override PartName="/ppt/notesSlides/notesSlide10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theme/themeOverride15.xml" ContentType="application/vnd.openxmlformats-officedocument.themeOverride+xml"/>
  <Override PartName="/ppt/theme/themeOverride16.xml" ContentType="application/vnd.openxmlformats-officedocument.themeOverride+xml"/>
  <Override PartName="/ppt/notesSlides/notesSlide11.xml" ContentType="application/vnd.openxmlformats-officedocument.presentationml.notesSlide+xml"/>
  <Override PartName="/ppt/theme/themeOverride17.xml" ContentType="application/vnd.openxmlformats-officedocument.themeOverride+xml"/>
  <Override PartName="/ppt/notesSlides/notesSlide12.xml" ContentType="application/vnd.openxmlformats-officedocument.presentationml.notesSlide+xml"/>
  <Override PartName="/ppt/theme/themeOverride18.xml" ContentType="application/vnd.openxmlformats-officedocument.themeOverride+xml"/>
  <Override PartName="/ppt/notesSlides/notesSlide13.xml" ContentType="application/vnd.openxmlformats-officedocument.presentationml.notesSlide+xml"/>
  <Override PartName="/ppt/theme/themeOverride19.xml" ContentType="application/vnd.openxmlformats-officedocument.themeOverride+xml"/>
  <Override PartName="/ppt/theme/themeOverride20.xml" ContentType="application/vnd.openxmlformats-officedocument.themeOverride+xml"/>
  <Override PartName="/ppt/theme/themeOverride21.xml" ContentType="application/vnd.openxmlformats-officedocument.themeOverride+xml"/>
  <Override PartName="/ppt/notesSlides/notesSlide14.xml" ContentType="application/vnd.openxmlformats-officedocument.presentationml.notesSlide+xml"/>
  <Override PartName="/ppt/theme/themeOverride22.xml" ContentType="application/vnd.openxmlformats-officedocument.themeOverride+xml"/>
  <Override PartName="/ppt/notesSlides/notesSlide15.xml" ContentType="application/vnd.openxmlformats-officedocument.presentationml.notesSlide+xml"/>
  <Override PartName="/ppt/theme/themeOverride23.xml" ContentType="application/vnd.openxmlformats-officedocument.themeOverride+xml"/>
  <Override PartName="/ppt/theme/themeOverride24.xml" ContentType="application/vnd.openxmlformats-officedocument.themeOverride+xml"/>
  <Override PartName="/ppt/notesSlides/notesSlide16.xml" ContentType="application/vnd.openxmlformats-officedocument.presentationml.notesSlide+xml"/>
  <Override PartName="/ppt/theme/themeOverride25.xml" ContentType="application/vnd.openxmlformats-officedocument.themeOverride+xml"/>
  <Override PartName="/ppt/theme/themeOverride26.xml" ContentType="application/vnd.openxmlformats-officedocument.themeOverride+xml"/>
  <Override PartName="/ppt/theme/themeOverride27.xml" ContentType="application/vnd.openxmlformats-officedocument.themeOverride+xml"/>
  <Override PartName="/ppt/theme/themeOverride28.xml" ContentType="application/vnd.openxmlformats-officedocument.themeOverride+xml"/>
  <Override PartName="/ppt/theme/themeOverride29.xml" ContentType="application/vnd.openxmlformats-officedocument.themeOverride+xml"/>
  <Override PartName="/ppt/theme/themeOverride30.xml" ContentType="application/vnd.openxmlformats-officedocument.themeOverride+xml"/>
  <Override PartName="/ppt/theme/themeOverride31.xml" ContentType="application/vnd.openxmlformats-officedocument.themeOverride+xml"/>
  <Override PartName="/ppt/theme/themeOverride32.xml" ContentType="application/vnd.openxmlformats-officedocument.themeOverride+xml"/>
  <Override PartName="/ppt/theme/themeOverride33.xml" ContentType="application/vnd.openxmlformats-officedocument.themeOverride+xml"/>
  <Override PartName="/ppt/theme/themeOverride34.xml" ContentType="application/vnd.openxmlformats-officedocument.themeOverride+xml"/>
  <Override PartName="/ppt/theme/themeOverride35.xml" ContentType="application/vnd.openxmlformats-officedocument.themeOverride+xml"/>
  <Override PartName="/ppt/theme/themeOverride36.xml" ContentType="application/vnd.openxmlformats-officedocument.themeOverride+xml"/>
  <Override PartName="/ppt/theme/themeOverride37.xml" ContentType="application/vnd.openxmlformats-officedocument.themeOverride+xml"/>
  <Override PartName="/ppt/theme/themeOverride38.xml" ContentType="application/vnd.openxmlformats-officedocument.themeOverride+xml"/>
  <Override PartName="/ppt/theme/themeOverride39.xml" ContentType="application/vnd.openxmlformats-officedocument.themeOverride+xml"/>
  <Override PartName="/ppt/theme/themeOverride40.xml" ContentType="application/vnd.openxmlformats-officedocument.themeOverride+xml"/>
  <Override PartName="/ppt/theme/themeOverride41.xml" ContentType="application/vnd.openxmlformats-officedocument.themeOverride+xml"/>
  <Override PartName="/ppt/theme/themeOverride42.xml" ContentType="application/vnd.openxmlformats-officedocument.themeOverride+xml"/>
  <Override PartName="/ppt/theme/themeOverride43.xml" ContentType="application/vnd.openxmlformats-officedocument.themeOverride+xml"/>
  <Override PartName="/ppt/notesSlides/notesSlide17.xml" ContentType="application/vnd.openxmlformats-officedocument.presentationml.notesSlide+xml"/>
  <Override PartName="/ppt/theme/themeOverride44.xml" ContentType="application/vnd.openxmlformats-officedocument.themeOverride+xml"/>
  <Override PartName="/ppt/theme/themeOverride45.xml" ContentType="application/vnd.openxmlformats-officedocument.themeOverride+xml"/>
  <Override PartName="/ppt/theme/themeOverride46.xml" ContentType="application/vnd.openxmlformats-officedocument.themeOverride+xml"/>
  <Override PartName="/ppt/theme/themeOverride47.xml" ContentType="application/vnd.openxmlformats-officedocument.themeOverride+xml"/>
  <Override PartName="/ppt/theme/themeOverride48.xml" ContentType="application/vnd.openxmlformats-officedocument.themeOverride+xml"/>
  <Override PartName="/ppt/theme/themeOverride49.xml" ContentType="application/vnd.openxmlformats-officedocument.themeOverride+xml"/>
  <Override PartName="/ppt/theme/themeOverride50.xml" ContentType="application/vnd.openxmlformats-officedocument.themeOverride+xml"/>
  <Override PartName="/ppt/theme/themeOverride51.xml" ContentType="application/vnd.openxmlformats-officedocument.themeOverride+xml"/>
  <Override PartName="/ppt/theme/themeOverride52.xml" ContentType="application/vnd.openxmlformats-officedocument.themeOverride+xml"/>
  <Override PartName="/ppt/theme/themeOverride53.xml" ContentType="application/vnd.openxmlformats-officedocument.themeOverride+xml"/>
  <Override PartName="/ppt/theme/themeOverride54.xml" ContentType="application/vnd.openxmlformats-officedocument.themeOverride+xml"/>
  <Override PartName="/ppt/theme/themeOverride55.xml" ContentType="application/vnd.openxmlformats-officedocument.themeOverride+xml"/>
  <Override PartName="/ppt/theme/themeOverride56.xml" ContentType="application/vnd.openxmlformats-officedocument.themeOverride+xml"/>
  <Override PartName="/ppt/theme/themeOverride57.xml" ContentType="application/vnd.openxmlformats-officedocument.themeOverride+xml"/>
  <Override PartName="/ppt/theme/themeOverride58.xml" ContentType="application/vnd.openxmlformats-officedocument.themeOverride+xml"/>
  <Override PartName="/ppt/theme/themeOverride59.xml" ContentType="application/vnd.openxmlformats-officedocument.themeOverride+xml"/>
  <Override PartName="/ppt/theme/themeOverride60.xml" ContentType="application/vnd.openxmlformats-officedocument.themeOverride+xml"/>
  <Override PartName="/ppt/theme/themeOverride61.xml" ContentType="application/vnd.openxmlformats-officedocument.themeOverride+xml"/>
  <Override PartName="/ppt/theme/themeOverride62.xml" ContentType="application/vnd.openxmlformats-officedocument.themeOverride+xml"/>
  <Override PartName="/ppt/theme/themeOverride63.xml" ContentType="application/vnd.openxmlformats-officedocument.themeOverride+xml"/>
  <Override PartName="/ppt/theme/themeOverride64.xml" ContentType="application/vnd.openxmlformats-officedocument.themeOverride+xml"/>
  <Override PartName="/ppt/theme/themeOverride65.xml" ContentType="application/vnd.openxmlformats-officedocument.themeOverride+xml"/>
  <Override PartName="/ppt/theme/themeOverride66.xml" ContentType="application/vnd.openxmlformats-officedocument.themeOverride+xml"/>
  <Override PartName="/ppt/theme/themeOverride67.xml" ContentType="application/vnd.openxmlformats-officedocument.themeOverride+xml"/>
  <Override PartName="/ppt/theme/themeOverride68.xml" ContentType="application/vnd.openxmlformats-officedocument.themeOverride+xml"/>
  <Override PartName="/ppt/theme/themeOverride69.xml" ContentType="application/vnd.openxmlformats-officedocument.themeOverride+xml"/>
  <Override PartName="/ppt/theme/themeOverride70.xml" ContentType="application/vnd.openxmlformats-officedocument.themeOverride+xml"/>
  <Override PartName="/ppt/theme/themeOverride71.xml" ContentType="application/vnd.openxmlformats-officedocument.themeOverride+xml"/>
  <Override PartName="/ppt/theme/themeOverride72.xml" ContentType="application/vnd.openxmlformats-officedocument.themeOverride+xml"/>
  <Override PartName="/ppt/theme/themeOverride73.xml" ContentType="application/vnd.openxmlformats-officedocument.themeOverride+xml"/>
  <Override PartName="/ppt/theme/themeOverride74.xml" ContentType="application/vnd.openxmlformats-officedocument.themeOverride+xml"/>
  <Override PartName="/ppt/theme/themeOverride75.xml" ContentType="application/vnd.openxmlformats-officedocument.themeOverride+xml"/>
  <Override PartName="/ppt/theme/themeOverride76.xml" ContentType="application/vnd.openxmlformats-officedocument.themeOverride+xml"/>
  <Override PartName="/ppt/theme/themeOverride77.xml" ContentType="application/vnd.openxmlformats-officedocument.themeOverride+xml"/>
  <Override PartName="/ppt/theme/themeOverride78.xml" ContentType="application/vnd.openxmlformats-officedocument.themeOverride+xml"/>
  <Override PartName="/ppt/theme/themeOverride79.xml" ContentType="application/vnd.openxmlformats-officedocument.themeOverride+xml"/>
  <Override PartName="/ppt/theme/themeOverride80.xml" ContentType="application/vnd.openxmlformats-officedocument.themeOverride+xml"/>
  <Override PartName="/ppt/theme/themeOverride81.xml" ContentType="application/vnd.openxmlformats-officedocument.themeOverride+xml"/>
  <Override PartName="/ppt/theme/themeOverride82.xml" ContentType="application/vnd.openxmlformats-officedocument.themeOverride+xml"/>
  <Override PartName="/ppt/theme/themeOverride83.xml" ContentType="application/vnd.openxmlformats-officedocument.themeOverride+xml"/>
  <Override PartName="/ppt/theme/themeOverride84.xml" ContentType="application/vnd.openxmlformats-officedocument.themeOverride+xml"/>
  <Override PartName="/ppt/theme/themeOverride85.xml" ContentType="application/vnd.openxmlformats-officedocument.themeOverride+xml"/>
  <Override PartName="/ppt/theme/themeOverride86.xml" ContentType="application/vnd.openxmlformats-officedocument.themeOverride+xml"/>
  <Override PartName="/ppt/theme/themeOverride87.xml" ContentType="application/vnd.openxmlformats-officedocument.themeOverride+xml"/>
  <Override PartName="/ppt/theme/themeOverride88.xml" ContentType="application/vnd.openxmlformats-officedocument.themeOverride+xml"/>
  <Override PartName="/ppt/theme/themeOverride89.xml" ContentType="application/vnd.openxmlformats-officedocument.themeOverride+xml"/>
  <Override PartName="/ppt/theme/themeOverride90.xml" ContentType="application/vnd.openxmlformats-officedocument.themeOverride+xml"/>
  <Override PartName="/ppt/notesSlides/notesSlide18.xml" ContentType="application/vnd.openxmlformats-officedocument.presentationml.notesSlide+xml"/>
  <Override PartName="/ppt/theme/themeOverride91.xml" ContentType="application/vnd.openxmlformats-officedocument.themeOverride+xml"/>
  <Override PartName="/ppt/theme/themeOverride92.xml" ContentType="application/vnd.openxmlformats-officedocument.themeOverride+xml"/>
  <Override PartName="/ppt/theme/themeOverride93.xml" ContentType="application/vnd.openxmlformats-officedocument.themeOverride+xml"/>
  <Override PartName="/ppt/theme/themeOverride94.xml" ContentType="application/vnd.openxmlformats-officedocument.themeOverride+xml"/>
  <Override PartName="/ppt/theme/themeOverride95.xml" ContentType="application/vnd.openxmlformats-officedocument.themeOverride+xml"/>
  <Override PartName="/ppt/theme/themeOverride96.xml" ContentType="application/vnd.openxmlformats-officedocument.themeOverride+xml"/>
  <Override PartName="/ppt/theme/themeOverride97.xml" ContentType="application/vnd.openxmlformats-officedocument.themeOverride+xml"/>
  <Override PartName="/ppt/theme/themeOverride98.xml" ContentType="application/vnd.openxmlformats-officedocument.themeOverride+xml"/>
  <Override PartName="/ppt/theme/themeOverride99.xml" ContentType="application/vnd.openxmlformats-officedocument.themeOverride+xml"/>
  <Override PartName="/ppt/theme/themeOverride100.xml" ContentType="application/vnd.openxmlformats-officedocument.themeOverride+xml"/>
  <Override PartName="/ppt/theme/themeOverride101.xml" ContentType="application/vnd.openxmlformats-officedocument.themeOverride+xml"/>
  <Override PartName="/ppt/theme/themeOverride102.xml" ContentType="application/vnd.openxmlformats-officedocument.themeOverride+xml"/>
  <Override PartName="/ppt/theme/themeOverride103.xml" ContentType="application/vnd.openxmlformats-officedocument.themeOverride+xml"/>
  <Override PartName="/ppt/theme/themeOverride104.xml" ContentType="application/vnd.openxmlformats-officedocument.themeOverride+xml"/>
  <Override PartName="/ppt/theme/themeOverride105.xml" ContentType="application/vnd.openxmlformats-officedocument.themeOverride+xml"/>
  <Override PartName="/ppt/theme/themeOverride106.xml" ContentType="application/vnd.openxmlformats-officedocument.themeOverride+xml"/>
  <Override PartName="/ppt/theme/themeOverride107.xml" ContentType="application/vnd.openxmlformats-officedocument.themeOverride+xml"/>
  <Override PartName="/ppt/theme/themeOverride108.xml" ContentType="application/vnd.openxmlformats-officedocument.themeOverride+xml"/>
  <Override PartName="/ppt/theme/themeOverride109.xml" ContentType="application/vnd.openxmlformats-officedocument.themeOverride+xml"/>
  <Override PartName="/ppt/theme/themeOverride110.xml" ContentType="application/vnd.openxmlformats-officedocument.themeOverride+xml"/>
  <Override PartName="/ppt/theme/themeOverride111.xml" ContentType="application/vnd.openxmlformats-officedocument.themeOverride+xml"/>
  <Override PartName="/ppt/theme/themeOverride112.xml" ContentType="application/vnd.openxmlformats-officedocument.themeOverride+xml"/>
  <Override PartName="/ppt/theme/themeOverride113.xml" ContentType="application/vnd.openxmlformats-officedocument.themeOverride+xml"/>
  <Override PartName="/ppt/theme/themeOverride114.xml" ContentType="application/vnd.openxmlformats-officedocument.themeOverride+xml"/>
  <Override PartName="/ppt/theme/themeOverride115.xml" ContentType="application/vnd.openxmlformats-officedocument.themeOverride+xml"/>
  <Override PartName="/ppt/theme/themeOverride116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117.xml" ContentType="application/vnd.openxmlformats-officedocument.themeOverride+xml"/>
  <Override PartName="/ppt/tags/tag9.xml" ContentType="application/vnd.openxmlformats-officedocument.presentationml.tags+xml"/>
  <Override PartName="/ppt/theme/themeOverride118.xml" ContentType="application/vnd.openxmlformats-officedocument.themeOverride+xml"/>
  <Override PartName="/ppt/tags/tag10.xml" ContentType="application/vnd.openxmlformats-officedocument.presentationml.tags+xml"/>
  <Override PartName="/ppt/theme/themeOverride119.xml" ContentType="application/vnd.openxmlformats-officedocument.themeOverride+xml"/>
  <Override PartName="/ppt/theme/themeOverride120.xml" ContentType="application/vnd.openxmlformats-officedocument.themeOverr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22"/>
  </p:notesMasterIdLst>
  <p:handoutMasterIdLst>
    <p:handoutMasterId r:id="rId123"/>
  </p:handoutMasterIdLst>
  <p:sldIdLst>
    <p:sldId id="256" r:id="rId2"/>
    <p:sldId id="269" r:id="rId3"/>
    <p:sldId id="258" r:id="rId4"/>
    <p:sldId id="289" r:id="rId5"/>
    <p:sldId id="274" r:id="rId6"/>
    <p:sldId id="384" r:id="rId7"/>
    <p:sldId id="290" r:id="rId8"/>
    <p:sldId id="291" r:id="rId9"/>
    <p:sldId id="292" r:id="rId10"/>
    <p:sldId id="293" r:id="rId11"/>
    <p:sldId id="296" r:id="rId12"/>
    <p:sldId id="297" r:id="rId13"/>
    <p:sldId id="298" r:id="rId14"/>
    <p:sldId id="300" r:id="rId15"/>
    <p:sldId id="299" r:id="rId16"/>
    <p:sldId id="302" r:id="rId17"/>
    <p:sldId id="303" r:id="rId18"/>
    <p:sldId id="304" r:id="rId19"/>
    <p:sldId id="305" r:id="rId20"/>
    <p:sldId id="306" r:id="rId21"/>
    <p:sldId id="307" r:id="rId22"/>
    <p:sldId id="308" r:id="rId23"/>
    <p:sldId id="309" r:id="rId24"/>
    <p:sldId id="310" r:id="rId25"/>
    <p:sldId id="388" r:id="rId26"/>
    <p:sldId id="387" r:id="rId27"/>
    <p:sldId id="286" r:id="rId28"/>
    <p:sldId id="279" r:id="rId29"/>
    <p:sldId id="288" r:id="rId30"/>
    <p:sldId id="399" r:id="rId31"/>
    <p:sldId id="282" r:id="rId32"/>
    <p:sldId id="311" r:id="rId33"/>
    <p:sldId id="312" r:id="rId34"/>
    <p:sldId id="313" r:id="rId35"/>
    <p:sldId id="316" r:id="rId36"/>
    <p:sldId id="283" r:id="rId37"/>
    <p:sldId id="314" r:id="rId38"/>
    <p:sldId id="360" r:id="rId39"/>
    <p:sldId id="281" r:id="rId40"/>
    <p:sldId id="361" r:id="rId41"/>
    <p:sldId id="362" r:id="rId42"/>
    <p:sldId id="280" r:id="rId43"/>
    <p:sldId id="363" r:id="rId44"/>
    <p:sldId id="364" r:id="rId45"/>
    <p:sldId id="365" r:id="rId46"/>
    <p:sldId id="389" r:id="rId47"/>
    <p:sldId id="366" r:id="rId48"/>
    <p:sldId id="367" r:id="rId49"/>
    <p:sldId id="368" r:id="rId50"/>
    <p:sldId id="369" r:id="rId51"/>
    <p:sldId id="370" r:id="rId52"/>
    <p:sldId id="371" r:id="rId53"/>
    <p:sldId id="372" r:id="rId54"/>
    <p:sldId id="373" r:id="rId55"/>
    <p:sldId id="374" r:id="rId56"/>
    <p:sldId id="375" r:id="rId57"/>
    <p:sldId id="376" r:id="rId58"/>
    <p:sldId id="377" r:id="rId59"/>
    <p:sldId id="378" r:id="rId60"/>
    <p:sldId id="379" r:id="rId61"/>
    <p:sldId id="380" r:id="rId62"/>
    <p:sldId id="381" r:id="rId63"/>
    <p:sldId id="382" r:id="rId64"/>
    <p:sldId id="383" r:id="rId65"/>
    <p:sldId id="284" r:id="rId66"/>
    <p:sldId id="390" r:id="rId67"/>
    <p:sldId id="318" r:id="rId68"/>
    <p:sldId id="357" r:id="rId69"/>
    <p:sldId id="319" r:id="rId70"/>
    <p:sldId id="320" r:id="rId71"/>
    <p:sldId id="321" r:id="rId72"/>
    <p:sldId id="322" r:id="rId73"/>
    <p:sldId id="323" r:id="rId74"/>
    <p:sldId id="324" r:id="rId75"/>
    <p:sldId id="325" r:id="rId76"/>
    <p:sldId id="326" r:id="rId77"/>
    <p:sldId id="327" r:id="rId78"/>
    <p:sldId id="328" r:id="rId79"/>
    <p:sldId id="329" r:id="rId80"/>
    <p:sldId id="330" r:id="rId81"/>
    <p:sldId id="331" r:id="rId82"/>
    <p:sldId id="333" r:id="rId83"/>
    <p:sldId id="334" r:id="rId84"/>
    <p:sldId id="335" r:id="rId85"/>
    <p:sldId id="336" r:id="rId86"/>
    <p:sldId id="337" r:id="rId87"/>
    <p:sldId id="338" r:id="rId88"/>
    <p:sldId id="339" r:id="rId89"/>
    <p:sldId id="341" r:id="rId90"/>
    <p:sldId id="340" r:id="rId91"/>
    <p:sldId id="342" r:id="rId92"/>
    <p:sldId id="343" r:id="rId93"/>
    <p:sldId id="344" r:id="rId94"/>
    <p:sldId id="345" r:id="rId95"/>
    <p:sldId id="346" r:id="rId96"/>
    <p:sldId id="348" r:id="rId97"/>
    <p:sldId id="347" r:id="rId98"/>
    <p:sldId id="349" r:id="rId99"/>
    <p:sldId id="350" r:id="rId100"/>
    <p:sldId id="351" r:id="rId101"/>
    <p:sldId id="352" r:id="rId102"/>
    <p:sldId id="353" r:id="rId103"/>
    <p:sldId id="354" r:id="rId104"/>
    <p:sldId id="355" r:id="rId105"/>
    <p:sldId id="356" r:id="rId106"/>
    <p:sldId id="358" r:id="rId107"/>
    <p:sldId id="400" r:id="rId108"/>
    <p:sldId id="391" r:id="rId109"/>
    <p:sldId id="392" r:id="rId110"/>
    <p:sldId id="393" r:id="rId111"/>
    <p:sldId id="394" r:id="rId112"/>
    <p:sldId id="395" r:id="rId113"/>
    <p:sldId id="396" r:id="rId114"/>
    <p:sldId id="397" r:id="rId115"/>
    <p:sldId id="398" r:id="rId116"/>
    <p:sldId id="261" r:id="rId117"/>
    <p:sldId id="278" r:id="rId118"/>
    <p:sldId id="287" r:id="rId119"/>
    <p:sldId id="315" r:id="rId120"/>
    <p:sldId id="317" r:id="rId121"/>
  </p:sldIdLst>
  <p:sldSz cx="9144000" cy="6858000" type="screen4x3"/>
  <p:notesSz cx="6858000" cy="9144000"/>
  <p:custDataLst>
    <p:tags r:id="rId12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2D0A22"/>
    <a:srgbClr val="950055"/>
    <a:srgbClr val="6A3E3E"/>
    <a:srgbClr val="0066E8"/>
    <a:srgbClr val="A3486F"/>
    <a:srgbClr val="D0DFEF"/>
    <a:srgbClr val="A20000"/>
    <a:srgbClr val="A40000"/>
    <a:srgbClr val="9E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746" autoAdjust="0"/>
    <p:restoredTop sz="96182" autoAdjust="0"/>
  </p:normalViewPr>
  <p:slideViewPr>
    <p:cSldViewPr snapToGrid="0">
      <p:cViewPr varScale="1">
        <p:scale>
          <a:sx n="107" d="100"/>
          <a:sy n="107" d="100"/>
        </p:scale>
        <p:origin x="732" y="13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3126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handoutMaster" Target="handoutMasters/handoutMaster1.xml"/><Relationship Id="rId128" Type="http://schemas.openxmlformats.org/officeDocument/2006/relationships/tableStyles" Target="tableStyles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tags" Target="tags/tag1.xml"/><Relationship Id="rId129" Type="http://schemas.microsoft.com/office/2016/11/relationships/changesInfo" Target="changesInfos/changesInfo1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theme" Target="theme/theme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26" Type="http://schemas.openxmlformats.org/officeDocument/2006/relationships/slide" Target="slides/slide2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ristian lin" userId="b986fb37efddd12f" providerId="LiveId" clId="{5CF7DB33-3419-4A82-9BF0-7C3A1E43E7D4}"/>
    <pc:docChg chg="custSel modSld">
      <pc:chgData name="cristian lin" userId="b986fb37efddd12f" providerId="LiveId" clId="{5CF7DB33-3419-4A82-9BF0-7C3A1E43E7D4}" dt="2023-09-25T08:25:52.090" v="35"/>
      <pc:docMkLst>
        <pc:docMk/>
      </pc:docMkLst>
      <pc:sldChg chg="modSp mod">
        <pc:chgData name="cristian lin" userId="b986fb37efddd12f" providerId="LiveId" clId="{5CF7DB33-3419-4A82-9BF0-7C3A1E43E7D4}" dt="2023-09-25T08:25:52.090" v="35"/>
        <pc:sldMkLst>
          <pc:docMk/>
          <pc:sldMk cId="2271741893" sldId="256"/>
        </pc:sldMkLst>
        <pc:spChg chg="mod">
          <ac:chgData name="cristian lin" userId="b986fb37efddd12f" providerId="LiveId" clId="{5CF7DB33-3419-4A82-9BF0-7C3A1E43E7D4}" dt="2023-09-25T08:25:52.090" v="35"/>
          <ac:spMkLst>
            <pc:docMk/>
            <pc:sldMk cId="2271741893" sldId="256"/>
            <ac:spMk id="7" creationId="{00000000-0000-0000-0000-000000000000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3D44CC8-F902-4435-B00C-A0B3E2900149}" type="doc">
      <dgm:prSet loTypeId="urn:microsoft.com/office/officeart/2005/8/layout/hierarchy4" loCatId="list" qsTypeId="urn:microsoft.com/office/officeart/2005/8/quickstyle/simple5" qsCatId="simple" csTypeId="urn:microsoft.com/office/officeart/2005/8/colors/accent2_3" csCatId="accent2" phldr="1"/>
      <dgm:spPr/>
      <dgm:t>
        <a:bodyPr/>
        <a:lstStyle/>
        <a:p>
          <a:endParaRPr lang="zh-CN" altLang="en-US"/>
        </a:p>
      </dgm:t>
    </dgm:pt>
    <dgm:pt modelId="{4C01CD6C-9E49-4E2E-80A5-97C08F0A7055}">
      <dgm:prSet phldrT="[文本]"/>
      <dgm:spPr/>
      <dgm:t>
        <a:bodyPr/>
        <a:lstStyle/>
        <a:p>
          <a:r>
            <a:rPr lang="en-US" altLang="zh-CN" dirty="0"/>
            <a:t>Hello,1</a:t>
          </a:r>
          <a:endParaRPr lang="zh-CN" altLang="en-US" dirty="0"/>
        </a:p>
      </dgm:t>
    </dgm:pt>
    <dgm:pt modelId="{0905162D-6826-45C3-AA02-AAACCE326645}" type="parTrans" cxnId="{847A8DF9-1BF5-4B4F-A2EF-8EB8FA1DF45C}">
      <dgm:prSet/>
      <dgm:spPr/>
      <dgm:t>
        <a:bodyPr/>
        <a:lstStyle/>
        <a:p>
          <a:endParaRPr lang="zh-CN" altLang="en-US"/>
        </a:p>
      </dgm:t>
    </dgm:pt>
    <dgm:pt modelId="{D9792A31-7033-4CDD-B22A-EC0E8F2CF01A}" type="sibTrans" cxnId="{847A8DF9-1BF5-4B4F-A2EF-8EB8FA1DF45C}">
      <dgm:prSet/>
      <dgm:spPr/>
      <dgm:t>
        <a:bodyPr/>
        <a:lstStyle/>
        <a:p>
          <a:endParaRPr lang="zh-CN" altLang="en-US"/>
        </a:p>
      </dgm:t>
    </dgm:pt>
    <dgm:pt modelId="{1FE7151D-F4ED-4BB8-8E39-38E242C8C40C}">
      <dgm:prSet phldrT="[文本]"/>
      <dgm:spPr/>
      <dgm:t>
        <a:bodyPr/>
        <a:lstStyle/>
        <a:p>
          <a:r>
            <a:rPr lang="en-US" altLang="zh-CN" dirty="0"/>
            <a:t>World,1</a:t>
          </a:r>
          <a:endParaRPr lang="zh-CN" altLang="en-US" dirty="0"/>
        </a:p>
      </dgm:t>
    </dgm:pt>
    <dgm:pt modelId="{EF8786BE-E7D3-4BA2-8969-03440B4CDF16}" type="parTrans" cxnId="{A9653A13-0DB5-460F-95C5-ABE53DFA6398}">
      <dgm:prSet/>
      <dgm:spPr/>
      <dgm:t>
        <a:bodyPr/>
        <a:lstStyle/>
        <a:p>
          <a:endParaRPr lang="zh-CN" altLang="en-US"/>
        </a:p>
      </dgm:t>
    </dgm:pt>
    <dgm:pt modelId="{AC21A773-504F-4086-8410-805F5BB93AA9}" type="sibTrans" cxnId="{A9653A13-0DB5-460F-95C5-ABE53DFA6398}">
      <dgm:prSet/>
      <dgm:spPr/>
      <dgm:t>
        <a:bodyPr/>
        <a:lstStyle/>
        <a:p>
          <a:endParaRPr lang="zh-CN" altLang="en-US"/>
        </a:p>
      </dgm:t>
    </dgm:pt>
    <dgm:pt modelId="{176FF3CF-790D-4B2C-AECB-9DB8C86DAABA}">
      <dgm:prSet phldrT="[文本]"/>
      <dgm:spPr/>
      <dgm:t>
        <a:bodyPr/>
        <a:lstStyle/>
        <a:p>
          <a:r>
            <a:rPr lang="en-US" altLang="zh-CN" dirty="0"/>
            <a:t>like,1</a:t>
          </a:r>
          <a:endParaRPr lang="zh-CN" altLang="en-US" dirty="0"/>
        </a:p>
      </dgm:t>
    </dgm:pt>
    <dgm:pt modelId="{76F2D570-B8BF-4B2A-845E-6B5490E2BBB4}" type="parTrans" cxnId="{7AF344C6-A73B-4979-8220-91A90A36E9A8}">
      <dgm:prSet/>
      <dgm:spPr/>
      <dgm:t>
        <a:bodyPr/>
        <a:lstStyle/>
        <a:p>
          <a:endParaRPr lang="zh-CN" altLang="en-US"/>
        </a:p>
      </dgm:t>
    </dgm:pt>
    <dgm:pt modelId="{85E480AE-A0C0-4AB3-8DA6-8E3FEC1ACA92}" type="sibTrans" cxnId="{7AF344C6-A73B-4979-8220-91A90A36E9A8}">
      <dgm:prSet/>
      <dgm:spPr/>
      <dgm:t>
        <a:bodyPr/>
        <a:lstStyle/>
        <a:p>
          <a:endParaRPr lang="zh-CN" altLang="en-US"/>
        </a:p>
      </dgm:t>
    </dgm:pt>
    <dgm:pt modelId="{B23D5869-D275-4723-8572-85A20CA205F8}">
      <dgm:prSet phldrT="[文本]"/>
      <dgm:spPr/>
      <dgm:t>
        <a:bodyPr/>
        <a:lstStyle/>
        <a:p>
          <a:r>
            <a:rPr lang="en-US" altLang="zh-CN" dirty="0"/>
            <a:t>Hadoop,1</a:t>
          </a:r>
          <a:endParaRPr lang="zh-CN" altLang="en-US" dirty="0"/>
        </a:p>
      </dgm:t>
    </dgm:pt>
    <dgm:pt modelId="{38976CEB-0B6B-4862-8AB3-60FB61C118E7}" type="parTrans" cxnId="{B6DC3910-C709-40D9-94F6-6555721E1BED}">
      <dgm:prSet/>
      <dgm:spPr/>
      <dgm:t>
        <a:bodyPr/>
        <a:lstStyle/>
        <a:p>
          <a:endParaRPr lang="zh-CN" altLang="en-US"/>
        </a:p>
      </dgm:t>
    </dgm:pt>
    <dgm:pt modelId="{09453957-C296-4C3C-9270-6281874F6800}" type="sibTrans" cxnId="{B6DC3910-C709-40D9-94F6-6555721E1BED}">
      <dgm:prSet/>
      <dgm:spPr/>
      <dgm:t>
        <a:bodyPr/>
        <a:lstStyle/>
        <a:p>
          <a:endParaRPr lang="zh-CN" altLang="en-US"/>
        </a:p>
      </dgm:t>
    </dgm:pt>
    <dgm:pt modelId="{1304D920-2679-4E84-A742-0033746BB46D}">
      <dgm:prSet phldrT="[文本]"/>
      <dgm:spPr/>
      <dgm:t>
        <a:bodyPr/>
        <a:lstStyle/>
        <a:p>
          <a:r>
            <a:rPr lang="en-US" altLang="zh-CN" dirty="0"/>
            <a:t>I,1</a:t>
          </a:r>
          <a:endParaRPr lang="zh-CN" altLang="en-US" dirty="0"/>
        </a:p>
      </dgm:t>
    </dgm:pt>
    <dgm:pt modelId="{A7657481-176B-4678-965F-C498818B337F}" type="parTrans" cxnId="{FCE627FA-97A0-46DF-BED5-3B425325278E}">
      <dgm:prSet/>
      <dgm:spPr/>
      <dgm:t>
        <a:bodyPr/>
        <a:lstStyle/>
        <a:p>
          <a:endParaRPr lang="zh-CN" altLang="en-US"/>
        </a:p>
      </dgm:t>
    </dgm:pt>
    <dgm:pt modelId="{8F2C817D-6D96-43AC-BA7B-D19319EE3CC2}" type="sibTrans" cxnId="{FCE627FA-97A0-46DF-BED5-3B425325278E}">
      <dgm:prSet/>
      <dgm:spPr/>
      <dgm:t>
        <a:bodyPr/>
        <a:lstStyle/>
        <a:p>
          <a:endParaRPr lang="zh-CN" altLang="en-US"/>
        </a:p>
      </dgm:t>
    </dgm:pt>
    <dgm:pt modelId="{E8D32AE5-5765-47A8-A364-D7503A6317B6}" type="pres">
      <dgm:prSet presAssocID="{B3D44CC8-F902-4435-B00C-A0B3E2900149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CF2B893E-8A21-4FA6-893B-4F8E9DA02F84}" type="pres">
      <dgm:prSet presAssocID="{4C01CD6C-9E49-4E2E-80A5-97C08F0A7055}" presName="vertOne" presStyleCnt="0"/>
      <dgm:spPr/>
    </dgm:pt>
    <dgm:pt modelId="{6235E8B9-DB89-4C2B-8565-D7EB39524393}" type="pres">
      <dgm:prSet presAssocID="{4C01CD6C-9E49-4E2E-80A5-97C08F0A7055}" presName="txOne" presStyleLbl="node0" presStyleIdx="0" presStyleCnt="1" custLinFactNeighborX="40409" custLinFactNeighborY="-3536">
        <dgm:presLayoutVars>
          <dgm:chPref val="3"/>
        </dgm:presLayoutVars>
      </dgm:prSet>
      <dgm:spPr/>
    </dgm:pt>
    <dgm:pt modelId="{B42FE87E-37B4-4160-91CF-2D289BFF418C}" type="pres">
      <dgm:prSet presAssocID="{4C01CD6C-9E49-4E2E-80A5-97C08F0A7055}" presName="parTransOne" presStyleCnt="0"/>
      <dgm:spPr/>
    </dgm:pt>
    <dgm:pt modelId="{C1282FB4-D253-47F1-B718-69A03298CCF4}" type="pres">
      <dgm:prSet presAssocID="{4C01CD6C-9E49-4E2E-80A5-97C08F0A7055}" presName="horzOne" presStyleCnt="0"/>
      <dgm:spPr/>
    </dgm:pt>
    <dgm:pt modelId="{39199C95-D66F-4D9D-9DB7-7A9D4F7D866B}" type="pres">
      <dgm:prSet presAssocID="{1FE7151D-F4ED-4BB8-8E39-38E242C8C40C}" presName="vertTwo" presStyleCnt="0"/>
      <dgm:spPr/>
    </dgm:pt>
    <dgm:pt modelId="{4750E58D-49B8-47CA-A11C-241656F8BE7A}" type="pres">
      <dgm:prSet presAssocID="{1FE7151D-F4ED-4BB8-8E39-38E242C8C40C}" presName="txTwo" presStyleLbl="node2" presStyleIdx="0" presStyleCnt="2">
        <dgm:presLayoutVars>
          <dgm:chPref val="3"/>
        </dgm:presLayoutVars>
      </dgm:prSet>
      <dgm:spPr/>
    </dgm:pt>
    <dgm:pt modelId="{E2629673-4EBB-4564-AE92-06D88AC22629}" type="pres">
      <dgm:prSet presAssocID="{1FE7151D-F4ED-4BB8-8E39-38E242C8C40C}" presName="parTransTwo" presStyleCnt="0"/>
      <dgm:spPr/>
    </dgm:pt>
    <dgm:pt modelId="{E995954E-4C63-43F7-80AB-391DEE18A8BA}" type="pres">
      <dgm:prSet presAssocID="{1FE7151D-F4ED-4BB8-8E39-38E242C8C40C}" presName="horzTwo" presStyleCnt="0"/>
      <dgm:spPr/>
    </dgm:pt>
    <dgm:pt modelId="{89BBC5AE-97FB-400F-8E32-CABE996A7F28}" type="pres">
      <dgm:prSet presAssocID="{176FF3CF-790D-4B2C-AECB-9DB8C86DAABA}" presName="vertThree" presStyleCnt="0"/>
      <dgm:spPr/>
    </dgm:pt>
    <dgm:pt modelId="{13C28A85-56C2-475F-81BC-8648DAEF60BF}" type="pres">
      <dgm:prSet presAssocID="{176FF3CF-790D-4B2C-AECB-9DB8C86DAABA}" presName="txThree" presStyleLbl="node3" presStyleIdx="0" presStyleCnt="2">
        <dgm:presLayoutVars>
          <dgm:chPref val="3"/>
        </dgm:presLayoutVars>
      </dgm:prSet>
      <dgm:spPr/>
    </dgm:pt>
    <dgm:pt modelId="{D730463B-6E64-46C3-89EA-C61B3FBE2FED}" type="pres">
      <dgm:prSet presAssocID="{176FF3CF-790D-4B2C-AECB-9DB8C86DAABA}" presName="horzThree" presStyleCnt="0"/>
      <dgm:spPr/>
    </dgm:pt>
    <dgm:pt modelId="{F4E5A942-4D54-4270-8279-83E2B58D7EFB}" type="pres">
      <dgm:prSet presAssocID="{85E480AE-A0C0-4AB3-8DA6-8E3FEC1ACA92}" presName="sibSpaceThree" presStyleCnt="0"/>
      <dgm:spPr/>
    </dgm:pt>
    <dgm:pt modelId="{294F0F75-43BA-435D-A26A-2EE4DB29EA4A}" type="pres">
      <dgm:prSet presAssocID="{B23D5869-D275-4723-8572-85A20CA205F8}" presName="vertThree" presStyleCnt="0"/>
      <dgm:spPr/>
    </dgm:pt>
    <dgm:pt modelId="{9D01DF1A-83C8-47C9-A865-21AFF38E3846}" type="pres">
      <dgm:prSet presAssocID="{B23D5869-D275-4723-8572-85A20CA205F8}" presName="txThree" presStyleLbl="node3" presStyleIdx="1" presStyleCnt="2">
        <dgm:presLayoutVars>
          <dgm:chPref val="3"/>
        </dgm:presLayoutVars>
      </dgm:prSet>
      <dgm:spPr/>
    </dgm:pt>
    <dgm:pt modelId="{40B8B3A8-4243-4FBF-B7BB-F16BBD551562}" type="pres">
      <dgm:prSet presAssocID="{B23D5869-D275-4723-8572-85A20CA205F8}" presName="horzThree" presStyleCnt="0"/>
      <dgm:spPr/>
    </dgm:pt>
    <dgm:pt modelId="{4074E8E4-D7BE-42BF-9CB3-9710B8C856FD}" type="pres">
      <dgm:prSet presAssocID="{AC21A773-504F-4086-8410-805F5BB93AA9}" presName="sibSpaceTwo" presStyleCnt="0"/>
      <dgm:spPr/>
    </dgm:pt>
    <dgm:pt modelId="{0C156010-BDD6-4C94-A5B6-658B31486CD5}" type="pres">
      <dgm:prSet presAssocID="{1304D920-2679-4E84-A742-0033746BB46D}" presName="vertTwo" presStyleCnt="0"/>
      <dgm:spPr/>
    </dgm:pt>
    <dgm:pt modelId="{18AA13C1-B578-477A-8CFF-16CB5AA43278}" type="pres">
      <dgm:prSet presAssocID="{1304D920-2679-4E84-A742-0033746BB46D}" presName="txTwo" presStyleLbl="node2" presStyleIdx="1" presStyleCnt="2" custScaleX="75025">
        <dgm:presLayoutVars>
          <dgm:chPref val="3"/>
        </dgm:presLayoutVars>
      </dgm:prSet>
      <dgm:spPr/>
    </dgm:pt>
    <dgm:pt modelId="{2CF97236-B960-4D02-87D7-C387C383D9FA}" type="pres">
      <dgm:prSet presAssocID="{1304D920-2679-4E84-A742-0033746BB46D}" presName="horzTwo" presStyleCnt="0"/>
      <dgm:spPr/>
    </dgm:pt>
  </dgm:ptLst>
  <dgm:cxnLst>
    <dgm:cxn modelId="{B6DC3910-C709-40D9-94F6-6555721E1BED}" srcId="{1FE7151D-F4ED-4BB8-8E39-38E242C8C40C}" destId="{B23D5869-D275-4723-8572-85A20CA205F8}" srcOrd="1" destOrd="0" parTransId="{38976CEB-0B6B-4862-8AB3-60FB61C118E7}" sibTransId="{09453957-C296-4C3C-9270-6281874F6800}"/>
    <dgm:cxn modelId="{A9653A13-0DB5-460F-95C5-ABE53DFA6398}" srcId="{4C01CD6C-9E49-4E2E-80A5-97C08F0A7055}" destId="{1FE7151D-F4ED-4BB8-8E39-38E242C8C40C}" srcOrd="0" destOrd="0" parTransId="{EF8786BE-E7D3-4BA2-8969-03440B4CDF16}" sibTransId="{AC21A773-504F-4086-8410-805F5BB93AA9}"/>
    <dgm:cxn modelId="{01378B28-0C53-4CFE-958F-4BEC22697961}" type="presOf" srcId="{4C01CD6C-9E49-4E2E-80A5-97C08F0A7055}" destId="{6235E8B9-DB89-4C2B-8565-D7EB39524393}" srcOrd="0" destOrd="0" presId="urn:microsoft.com/office/officeart/2005/8/layout/hierarchy4"/>
    <dgm:cxn modelId="{D90B8C41-33CB-4D37-A47D-A90DDCDE99D1}" type="presOf" srcId="{176FF3CF-790D-4B2C-AECB-9DB8C86DAABA}" destId="{13C28A85-56C2-475F-81BC-8648DAEF60BF}" srcOrd="0" destOrd="0" presId="urn:microsoft.com/office/officeart/2005/8/layout/hierarchy4"/>
    <dgm:cxn modelId="{0F8A4A71-B415-476D-9229-0E2285E1BF4E}" type="presOf" srcId="{B23D5869-D275-4723-8572-85A20CA205F8}" destId="{9D01DF1A-83C8-47C9-A865-21AFF38E3846}" srcOrd="0" destOrd="0" presId="urn:microsoft.com/office/officeart/2005/8/layout/hierarchy4"/>
    <dgm:cxn modelId="{08A69C9A-60D3-452B-93CE-A24964DBF215}" type="presOf" srcId="{B3D44CC8-F902-4435-B00C-A0B3E2900149}" destId="{E8D32AE5-5765-47A8-A364-D7503A6317B6}" srcOrd="0" destOrd="0" presId="urn:microsoft.com/office/officeart/2005/8/layout/hierarchy4"/>
    <dgm:cxn modelId="{7AF344C6-A73B-4979-8220-91A90A36E9A8}" srcId="{1FE7151D-F4ED-4BB8-8E39-38E242C8C40C}" destId="{176FF3CF-790D-4B2C-AECB-9DB8C86DAABA}" srcOrd="0" destOrd="0" parTransId="{76F2D570-B8BF-4B2A-845E-6B5490E2BBB4}" sibTransId="{85E480AE-A0C0-4AB3-8DA6-8E3FEC1ACA92}"/>
    <dgm:cxn modelId="{66551DE6-A9BC-469C-BCE1-5551C11FB7F9}" type="presOf" srcId="{1304D920-2679-4E84-A742-0033746BB46D}" destId="{18AA13C1-B578-477A-8CFF-16CB5AA43278}" srcOrd="0" destOrd="0" presId="urn:microsoft.com/office/officeart/2005/8/layout/hierarchy4"/>
    <dgm:cxn modelId="{ADB1FBF8-F6D9-45DB-AAD9-1EA5F5C5181D}" type="presOf" srcId="{1FE7151D-F4ED-4BB8-8E39-38E242C8C40C}" destId="{4750E58D-49B8-47CA-A11C-241656F8BE7A}" srcOrd="0" destOrd="0" presId="urn:microsoft.com/office/officeart/2005/8/layout/hierarchy4"/>
    <dgm:cxn modelId="{847A8DF9-1BF5-4B4F-A2EF-8EB8FA1DF45C}" srcId="{B3D44CC8-F902-4435-B00C-A0B3E2900149}" destId="{4C01CD6C-9E49-4E2E-80A5-97C08F0A7055}" srcOrd="0" destOrd="0" parTransId="{0905162D-6826-45C3-AA02-AAACCE326645}" sibTransId="{D9792A31-7033-4CDD-B22A-EC0E8F2CF01A}"/>
    <dgm:cxn modelId="{FCE627FA-97A0-46DF-BED5-3B425325278E}" srcId="{4C01CD6C-9E49-4E2E-80A5-97C08F0A7055}" destId="{1304D920-2679-4E84-A742-0033746BB46D}" srcOrd="1" destOrd="0" parTransId="{A7657481-176B-4678-965F-C498818B337F}" sibTransId="{8F2C817D-6D96-43AC-BA7B-D19319EE3CC2}"/>
    <dgm:cxn modelId="{84254C27-2FC7-489B-A603-A9F549C4CCB5}" type="presParOf" srcId="{E8D32AE5-5765-47A8-A364-D7503A6317B6}" destId="{CF2B893E-8A21-4FA6-893B-4F8E9DA02F84}" srcOrd="0" destOrd="0" presId="urn:microsoft.com/office/officeart/2005/8/layout/hierarchy4"/>
    <dgm:cxn modelId="{BD8413DD-067B-44E5-BEEE-F5CBF8666833}" type="presParOf" srcId="{CF2B893E-8A21-4FA6-893B-4F8E9DA02F84}" destId="{6235E8B9-DB89-4C2B-8565-D7EB39524393}" srcOrd="0" destOrd="0" presId="urn:microsoft.com/office/officeart/2005/8/layout/hierarchy4"/>
    <dgm:cxn modelId="{E97A6FF6-E9C3-44E2-B748-C690CAC7A160}" type="presParOf" srcId="{CF2B893E-8A21-4FA6-893B-4F8E9DA02F84}" destId="{B42FE87E-37B4-4160-91CF-2D289BFF418C}" srcOrd="1" destOrd="0" presId="urn:microsoft.com/office/officeart/2005/8/layout/hierarchy4"/>
    <dgm:cxn modelId="{3085D594-A6E7-41A6-A3BB-2E5D7AFADAD4}" type="presParOf" srcId="{CF2B893E-8A21-4FA6-893B-4F8E9DA02F84}" destId="{C1282FB4-D253-47F1-B718-69A03298CCF4}" srcOrd="2" destOrd="0" presId="urn:microsoft.com/office/officeart/2005/8/layout/hierarchy4"/>
    <dgm:cxn modelId="{9544D0C0-1D1A-4208-9E89-C4584D07720C}" type="presParOf" srcId="{C1282FB4-D253-47F1-B718-69A03298CCF4}" destId="{39199C95-D66F-4D9D-9DB7-7A9D4F7D866B}" srcOrd="0" destOrd="0" presId="urn:microsoft.com/office/officeart/2005/8/layout/hierarchy4"/>
    <dgm:cxn modelId="{49F2CF77-C2E1-4D33-AE0F-98618C880B77}" type="presParOf" srcId="{39199C95-D66F-4D9D-9DB7-7A9D4F7D866B}" destId="{4750E58D-49B8-47CA-A11C-241656F8BE7A}" srcOrd="0" destOrd="0" presId="urn:microsoft.com/office/officeart/2005/8/layout/hierarchy4"/>
    <dgm:cxn modelId="{53F5D44D-8B17-4D4B-9C3D-7E7C2C5B119C}" type="presParOf" srcId="{39199C95-D66F-4D9D-9DB7-7A9D4F7D866B}" destId="{E2629673-4EBB-4564-AE92-06D88AC22629}" srcOrd="1" destOrd="0" presId="urn:microsoft.com/office/officeart/2005/8/layout/hierarchy4"/>
    <dgm:cxn modelId="{56F9DF85-0456-423E-AD16-4F406B5E9963}" type="presParOf" srcId="{39199C95-D66F-4D9D-9DB7-7A9D4F7D866B}" destId="{E995954E-4C63-43F7-80AB-391DEE18A8BA}" srcOrd="2" destOrd="0" presId="urn:microsoft.com/office/officeart/2005/8/layout/hierarchy4"/>
    <dgm:cxn modelId="{B26E62B9-7878-4011-90DC-616A07183C3F}" type="presParOf" srcId="{E995954E-4C63-43F7-80AB-391DEE18A8BA}" destId="{89BBC5AE-97FB-400F-8E32-CABE996A7F28}" srcOrd="0" destOrd="0" presId="urn:microsoft.com/office/officeart/2005/8/layout/hierarchy4"/>
    <dgm:cxn modelId="{E4E37B6A-9BA3-4BD3-80C6-9AFE6D1D0E22}" type="presParOf" srcId="{89BBC5AE-97FB-400F-8E32-CABE996A7F28}" destId="{13C28A85-56C2-475F-81BC-8648DAEF60BF}" srcOrd="0" destOrd="0" presId="urn:microsoft.com/office/officeart/2005/8/layout/hierarchy4"/>
    <dgm:cxn modelId="{A2A08615-D973-4A77-982B-C4FFCBA3AA29}" type="presParOf" srcId="{89BBC5AE-97FB-400F-8E32-CABE996A7F28}" destId="{D730463B-6E64-46C3-89EA-C61B3FBE2FED}" srcOrd="1" destOrd="0" presId="urn:microsoft.com/office/officeart/2005/8/layout/hierarchy4"/>
    <dgm:cxn modelId="{7122D80A-E2F1-489A-B0DF-3506BD1BA797}" type="presParOf" srcId="{E995954E-4C63-43F7-80AB-391DEE18A8BA}" destId="{F4E5A942-4D54-4270-8279-83E2B58D7EFB}" srcOrd="1" destOrd="0" presId="urn:microsoft.com/office/officeart/2005/8/layout/hierarchy4"/>
    <dgm:cxn modelId="{03ACF1D4-D676-4301-A28E-78FA67BAF0BD}" type="presParOf" srcId="{E995954E-4C63-43F7-80AB-391DEE18A8BA}" destId="{294F0F75-43BA-435D-A26A-2EE4DB29EA4A}" srcOrd="2" destOrd="0" presId="urn:microsoft.com/office/officeart/2005/8/layout/hierarchy4"/>
    <dgm:cxn modelId="{6B51932D-2A39-4AE0-9F28-7A0EA127A70B}" type="presParOf" srcId="{294F0F75-43BA-435D-A26A-2EE4DB29EA4A}" destId="{9D01DF1A-83C8-47C9-A865-21AFF38E3846}" srcOrd="0" destOrd="0" presId="urn:microsoft.com/office/officeart/2005/8/layout/hierarchy4"/>
    <dgm:cxn modelId="{D32AB903-16FF-4831-BB32-DBD65D853455}" type="presParOf" srcId="{294F0F75-43BA-435D-A26A-2EE4DB29EA4A}" destId="{40B8B3A8-4243-4FBF-B7BB-F16BBD551562}" srcOrd="1" destOrd="0" presId="urn:microsoft.com/office/officeart/2005/8/layout/hierarchy4"/>
    <dgm:cxn modelId="{4E468C79-C6AE-4B19-B645-024A59C94235}" type="presParOf" srcId="{C1282FB4-D253-47F1-B718-69A03298CCF4}" destId="{4074E8E4-D7BE-42BF-9CB3-9710B8C856FD}" srcOrd="1" destOrd="0" presId="urn:microsoft.com/office/officeart/2005/8/layout/hierarchy4"/>
    <dgm:cxn modelId="{722007E2-AFE8-476B-86AB-612376E50A46}" type="presParOf" srcId="{C1282FB4-D253-47F1-B718-69A03298CCF4}" destId="{0C156010-BDD6-4C94-A5B6-658B31486CD5}" srcOrd="2" destOrd="0" presId="urn:microsoft.com/office/officeart/2005/8/layout/hierarchy4"/>
    <dgm:cxn modelId="{3D141172-A73D-4D1F-AFD2-DBCD7651E229}" type="presParOf" srcId="{0C156010-BDD6-4C94-A5B6-658B31486CD5}" destId="{18AA13C1-B578-477A-8CFF-16CB5AA43278}" srcOrd="0" destOrd="0" presId="urn:microsoft.com/office/officeart/2005/8/layout/hierarchy4"/>
    <dgm:cxn modelId="{F37F904D-B964-4E45-BF01-04E092B10CA5}" type="presParOf" srcId="{0C156010-BDD6-4C94-A5B6-658B31486CD5}" destId="{2CF97236-B960-4D02-87D7-C387C383D9FA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1CE814A-0F2F-45C5-BCFA-6CF8E19EBF95}" type="doc">
      <dgm:prSet loTypeId="urn:microsoft.com/office/officeart/2005/8/layout/hierarchy4" loCatId="list" qsTypeId="urn:microsoft.com/office/officeart/2005/8/quickstyle/simple5" qsCatId="simple" csTypeId="urn:microsoft.com/office/officeart/2005/8/colors/accent2_3" csCatId="accent2" phldr="1"/>
      <dgm:spPr/>
      <dgm:t>
        <a:bodyPr/>
        <a:lstStyle/>
        <a:p>
          <a:endParaRPr lang="zh-CN" altLang="en-US"/>
        </a:p>
      </dgm:t>
    </dgm:pt>
    <dgm:pt modelId="{F39B0E31-3F4D-4234-A54B-D0969CB76D06}">
      <dgm:prSet phldrT="[文本]"/>
      <dgm:spPr/>
      <dgm:t>
        <a:bodyPr/>
        <a:lstStyle/>
        <a:p>
          <a:r>
            <a:rPr lang="en-US" altLang="zh-CN" b="1" dirty="0"/>
            <a:t>Hello,1</a:t>
          </a:r>
          <a:endParaRPr lang="zh-CN" altLang="en-US" b="1" dirty="0"/>
        </a:p>
      </dgm:t>
    </dgm:pt>
    <dgm:pt modelId="{B00086EB-0B97-4B47-ACCC-9C8400BADDFD}" type="parTrans" cxnId="{AA6D119A-6184-4196-AB90-F4C526C3529A}">
      <dgm:prSet/>
      <dgm:spPr/>
      <dgm:t>
        <a:bodyPr/>
        <a:lstStyle/>
        <a:p>
          <a:endParaRPr lang="zh-CN" altLang="en-US"/>
        </a:p>
      </dgm:t>
    </dgm:pt>
    <dgm:pt modelId="{B6384D48-967B-41D1-8204-16E6B202821F}" type="sibTrans" cxnId="{AA6D119A-6184-4196-AB90-F4C526C3529A}">
      <dgm:prSet/>
      <dgm:spPr/>
      <dgm:t>
        <a:bodyPr/>
        <a:lstStyle/>
        <a:p>
          <a:endParaRPr lang="zh-CN" altLang="en-US"/>
        </a:p>
      </dgm:t>
    </dgm:pt>
    <dgm:pt modelId="{B287D87F-258D-4C9D-9126-1EAA29310C48}">
      <dgm:prSet phldrT="[文本]" custT="1"/>
      <dgm:spPr/>
      <dgm:t>
        <a:bodyPr/>
        <a:lstStyle/>
        <a:p>
          <a:r>
            <a:rPr lang="en-US" altLang="zh-CN" sz="1600" b="1" dirty="0"/>
            <a:t>I,1</a:t>
          </a:r>
          <a:endParaRPr lang="zh-CN" altLang="en-US" sz="1600" b="1" dirty="0"/>
        </a:p>
      </dgm:t>
    </dgm:pt>
    <dgm:pt modelId="{FA8D4B85-4E91-4668-A28D-A6284671DBEE}" type="parTrans" cxnId="{92F2A4F4-EBCF-4A70-A4A5-E7D34B27DF39}">
      <dgm:prSet/>
      <dgm:spPr/>
      <dgm:t>
        <a:bodyPr/>
        <a:lstStyle/>
        <a:p>
          <a:endParaRPr lang="zh-CN" altLang="en-US"/>
        </a:p>
      </dgm:t>
    </dgm:pt>
    <dgm:pt modelId="{B0E7228D-32C6-4123-9A61-6CC949CEEC54}" type="sibTrans" cxnId="{92F2A4F4-EBCF-4A70-A4A5-E7D34B27DF39}">
      <dgm:prSet/>
      <dgm:spPr/>
      <dgm:t>
        <a:bodyPr/>
        <a:lstStyle/>
        <a:p>
          <a:endParaRPr lang="zh-CN" altLang="en-US"/>
        </a:p>
      </dgm:t>
    </dgm:pt>
    <dgm:pt modelId="{AE0FE953-6013-44E0-AE61-1EAFC270A97C}">
      <dgm:prSet phldrT="[文本]" custT="1"/>
      <dgm:spPr/>
      <dgm:t>
        <a:bodyPr spcFirstLastPara="0" vert="horz" wrap="square" lIns="19050" tIns="19050" rIns="19050" bIns="19050" numCol="1" spcCol="1270" anchor="ctr" anchorCtr="0"/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600" b="1" kern="1200" dirty="0">
              <a:latin typeface="Arial"/>
              <a:ea typeface="微软雅黑"/>
              <a:cs typeface="+mn-cs"/>
            </a:rPr>
            <a:t>Hadoop,1</a:t>
          </a:r>
          <a:endParaRPr lang="zh-CN" altLang="en-US" sz="1600" b="1" kern="1200" dirty="0">
            <a:latin typeface="Arial"/>
            <a:ea typeface="微软雅黑"/>
            <a:cs typeface="+mn-cs"/>
          </a:endParaRPr>
        </a:p>
      </dgm:t>
    </dgm:pt>
    <dgm:pt modelId="{889F7713-F0A7-4832-B6DB-7093794FE599}" type="parTrans" cxnId="{D94934CC-17FA-4D86-9D06-B8C3288769AE}">
      <dgm:prSet/>
      <dgm:spPr/>
      <dgm:t>
        <a:bodyPr/>
        <a:lstStyle/>
        <a:p>
          <a:endParaRPr lang="zh-CN" altLang="en-US"/>
        </a:p>
      </dgm:t>
    </dgm:pt>
    <dgm:pt modelId="{C5776226-78BF-475A-AEA5-2FE977706593}" type="sibTrans" cxnId="{D94934CC-17FA-4D86-9D06-B8C3288769AE}">
      <dgm:prSet/>
      <dgm:spPr/>
      <dgm:t>
        <a:bodyPr/>
        <a:lstStyle/>
        <a:p>
          <a:endParaRPr lang="zh-CN" altLang="en-US"/>
        </a:p>
      </dgm:t>
    </dgm:pt>
    <dgm:pt modelId="{1DF55159-C97B-409E-8059-18C4F3E3BEE2}">
      <dgm:prSet phldrT="[文本]" custT="1"/>
      <dgm:spPr/>
      <dgm:t>
        <a:bodyPr spcFirstLastPara="0" vert="horz" wrap="square" lIns="19050" tIns="19050" rIns="19050" bIns="19050" numCol="1" spcCol="1270" anchor="ctr" anchorCtr="0"/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800" b="1" kern="1200" dirty="0">
              <a:latin typeface="Arial"/>
              <a:ea typeface="微软雅黑"/>
              <a:cs typeface="+mn-cs"/>
            </a:rPr>
            <a:t>MapReduce,1</a:t>
          </a:r>
          <a:endParaRPr lang="zh-CN" altLang="en-US" sz="800" b="1" kern="1200" dirty="0">
            <a:latin typeface="Arial"/>
            <a:ea typeface="微软雅黑"/>
            <a:cs typeface="+mn-cs"/>
          </a:endParaRPr>
        </a:p>
      </dgm:t>
    </dgm:pt>
    <dgm:pt modelId="{3872C1CE-5102-43FA-AB75-136F3619FB6B}" type="parTrans" cxnId="{2D43D4F8-B068-495E-97C2-B2E6EE6F3860}">
      <dgm:prSet/>
      <dgm:spPr/>
      <dgm:t>
        <a:bodyPr/>
        <a:lstStyle/>
        <a:p>
          <a:endParaRPr lang="zh-CN" altLang="en-US"/>
        </a:p>
      </dgm:t>
    </dgm:pt>
    <dgm:pt modelId="{7BC93FA4-ABDF-4D04-AC7B-BB0180DF968F}" type="sibTrans" cxnId="{2D43D4F8-B068-495E-97C2-B2E6EE6F3860}">
      <dgm:prSet/>
      <dgm:spPr/>
      <dgm:t>
        <a:bodyPr/>
        <a:lstStyle/>
        <a:p>
          <a:endParaRPr lang="zh-CN" altLang="en-US"/>
        </a:p>
      </dgm:t>
    </dgm:pt>
    <dgm:pt modelId="{8450CDC5-A830-494D-9582-84C67C0B2B77}">
      <dgm:prSet phldrT="[文本]"/>
      <dgm:spPr/>
      <dgm:t>
        <a:bodyPr/>
        <a:lstStyle/>
        <a:p>
          <a:r>
            <a:rPr lang="en-US" altLang="zh-CN" b="1" dirty="0"/>
            <a:t>like,1</a:t>
          </a:r>
          <a:endParaRPr lang="zh-CN" altLang="en-US" b="1" dirty="0"/>
        </a:p>
      </dgm:t>
    </dgm:pt>
    <dgm:pt modelId="{10CADA5D-875D-41DF-8FF0-08EF17A1E04F}" type="parTrans" cxnId="{4FEF2F8C-B3C4-4E5E-9F07-FECDCA9E829C}">
      <dgm:prSet/>
      <dgm:spPr/>
      <dgm:t>
        <a:bodyPr/>
        <a:lstStyle/>
        <a:p>
          <a:endParaRPr lang="zh-CN" altLang="en-US"/>
        </a:p>
      </dgm:t>
    </dgm:pt>
    <dgm:pt modelId="{602BD5F1-8E4D-415F-8DE7-CF8E8449534C}" type="sibTrans" cxnId="{4FEF2F8C-B3C4-4E5E-9F07-FECDCA9E829C}">
      <dgm:prSet/>
      <dgm:spPr/>
      <dgm:t>
        <a:bodyPr/>
        <a:lstStyle/>
        <a:p>
          <a:endParaRPr lang="zh-CN" altLang="en-US"/>
        </a:p>
      </dgm:t>
    </dgm:pt>
    <dgm:pt modelId="{C9D5D025-A7ED-426F-93A2-5E92FF93D440}" type="pres">
      <dgm:prSet presAssocID="{A1CE814A-0F2F-45C5-BCFA-6CF8E19EBF95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76D3587-BC8C-470F-831E-D465CA796C8C}" type="pres">
      <dgm:prSet presAssocID="{F39B0E31-3F4D-4234-A54B-D0969CB76D06}" presName="vertOne" presStyleCnt="0"/>
      <dgm:spPr/>
    </dgm:pt>
    <dgm:pt modelId="{CC042095-245F-4ADC-919C-A4F4188B0BF4}" type="pres">
      <dgm:prSet presAssocID="{F39B0E31-3F4D-4234-A54B-D0969CB76D06}" presName="txOne" presStyleLbl="node0" presStyleIdx="0" presStyleCnt="2" custScaleX="111848">
        <dgm:presLayoutVars>
          <dgm:chPref val="3"/>
        </dgm:presLayoutVars>
      </dgm:prSet>
      <dgm:spPr/>
    </dgm:pt>
    <dgm:pt modelId="{82729D63-E61B-48F5-B9DE-B4A078FDCE56}" type="pres">
      <dgm:prSet presAssocID="{F39B0E31-3F4D-4234-A54B-D0969CB76D06}" presName="parTransOne" presStyleCnt="0"/>
      <dgm:spPr/>
    </dgm:pt>
    <dgm:pt modelId="{63C17C6A-648C-41EF-8676-DDC2F081CC9D}" type="pres">
      <dgm:prSet presAssocID="{F39B0E31-3F4D-4234-A54B-D0969CB76D06}" presName="horzOne" presStyleCnt="0"/>
      <dgm:spPr/>
    </dgm:pt>
    <dgm:pt modelId="{B7F5F4CC-C04D-456C-AB0C-9C62A8249500}" type="pres">
      <dgm:prSet presAssocID="{B287D87F-258D-4C9D-9126-1EAA29310C48}" presName="vertTwo" presStyleCnt="0"/>
      <dgm:spPr/>
    </dgm:pt>
    <dgm:pt modelId="{F80DBAD6-040B-45C1-AADF-84B052693733}" type="pres">
      <dgm:prSet presAssocID="{B287D87F-258D-4C9D-9126-1EAA29310C48}" presName="txTwo" presStyleLbl="node2" presStyleIdx="0" presStyleCnt="3" custScaleX="166367">
        <dgm:presLayoutVars>
          <dgm:chPref val="3"/>
        </dgm:presLayoutVars>
      </dgm:prSet>
      <dgm:spPr/>
    </dgm:pt>
    <dgm:pt modelId="{03708055-068C-4986-B474-CFC168BC4C4B}" type="pres">
      <dgm:prSet presAssocID="{B287D87F-258D-4C9D-9126-1EAA29310C48}" presName="horzTwo" presStyleCnt="0"/>
      <dgm:spPr/>
    </dgm:pt>
    <dgm:pt modelId="{2B048F18-4F76-4C67-A8A2-934955D14DBF}" type="pres">
      <dgm:prSet presAssocID="{B6384D48-967B-41D1-8204-16E6B202821F}" presName="sibSpaceOne" presStyleCnt="0"/>
      <dgm:spPr/>
    </dgm:pt>
    <dgm:pt modelId="{4F668181-E570-4A4B-9146-39CBEB6E72D4}" type="pres">
      <dgm:prSet presAssocID="{AE0FE953-6013-44E0-AE61-1EAFC270A97C}" presName="vertOne" presStyleCnt="0"/>
      <dgm:spPr/>
    </dgm:pt>
    <dgm:pt modelId="{CDB805F1-9FA9-4B15-8D70-DA5A01F3E40D}" type="pres">
      <dgm:prSet presAssocID="{AE0FE953-6013-44E0-AE61-1EAFC270A97C}" presName="txOne" presStyleLbl="node0" presStyleIdx="1" presStyleCnt="2" custScaleX="97687" custLinFactNeighborX="-284" custLinFactNeighborY="21643">
        <dgm:presLayoutVars>
          <dgm:chPref val="3"/>
        </dgm:presLayoutVars>
      </dgm:prSet>
      <dgm:spPr>
        <a:xfrm>
          <a:off x="722775" y="372"/>
          <a:ext cx="1137776" cy="629630"/>
        </a:xfrm>
        <a:prstGeom prst="roundRect">
          <a:avLst>
            <a:gd name="adj" fmla="val 10000"/>
          </a:avLst>
        </a:prstGeom>
      </dgm:spPr>
    </dgm:pt>
    <dgm:pt modelId="{0D94A99A-C4FA-461C-B400-F2DD4727271D}" type="pres">
      <dgm:prSet presAssocID="{AE0FE953-6013-44E0-AE61-1EAFC270A97C}" presName="parTransOne" presStyleCnt="0"/>
      <dgm:spPr/>
    </dgm:pt>
    <dgm:pt modelId="{093AB99C-8A79-4B8C-B3C0-C9208B86DBB5}" type="pres">
      <dgm:prSet presAssocID="{AE0FE953-6013-44E0-AE61-1EAFC270A97C}" presName="horzOne" presStyleCnt="0"/>
      <dgm:spPr/>
    </dgm:pt>
    <dgm:pt modelId="{7FC1A617-682C-4C38-8B51-FDF8BFBA8569}" type="pres">
      <dgm:prSet presAssocID="{8450CDC5-A830-494D-9582-84C67C0B2B77}" presName="vertTwo" presStyleCnt="0"/>
      <dgm:spPr/>
    </dgm:pt>
    <dgm:pt modelId="{0126BC0C-8343-4B4E-B33C-1F5FA5BB3E9C}" type="pres">
      <dgm:prSet presAssocID="{8450CDC5-A830-494D-9582-84C67C0B2B77}" presName="txTwo" presStyleLbl="node2" presStyleIdx="1" presStyleCnt="3" custScaleX="152880">
        <dgm:presLayoutVars>
          <dgm:chPref val="3"/>
        </dgm:presLayoutVars>
      </dgm:prSet>
      <dgm:spPr/>
    </dgm:pt>
    <dgm:pt modelId="{CF8E8BD5-8A03-4C78-B6FF-017CF037AED0}" type="pres">
      <dgm:prSet presAssocID="{8450CDC5-A830-494D-9582-84C67C0B2B77}" presName="horzTwo" presStyleCnt="0"/>
      <dgm:spPr/>
    </dgm:pt>
    <dgm:pt modelId="{935D8869-48D5-4FA9-802E-57EA4A6C746B}" type="pres">
      <dgm:prSet presAssocID="{602BD5F1-8E4D-415F-8DE7-CF8E8449534C}" presName="sibSpaceTwo" presStyleCnt="0"/>
      <dgm:spPr/>
    </dgm:pt>
    <dgm:pt modelId="{B20099DF-76F8-47D4-9564-6B985976F32B}" type="pres">
      <dgm:prSet presAssocID="{1DF55159-C97B-409E-8059-18C4F3E3BEE2}" presName="vertTwo" presStyleCnt="0"/>
      <dgm:spPr/>
    </dgm:pt>
    <dgm:pt modelId="{FD7DBC2C-604D-4126-A9F2-EBCF0173DEF6}" type="pres">
      <dgm:prSet presAssocID="{1DF55159-C97B-409E-8059-18C4F3E3BEE2}" presName="txTwo" presStyleLbl="node2" presStyleIdx="2" presStyleCnt="3" custScaleX="330259">
        <dgm:presLayoutVars>
          <dgm:chPref val="3"/>
        </dgm:presLayoutVars>
      </dgm:prSet>
      <dgm:spPr>
        <a:xfrm>
          <a:off x="4253727" y="2113843"/>
          <a:ext cx="313283" cy="1948656"/>
        </a:xfrm>
        <a:prstGeom prst="roundRect">
          <a:avLst>
            <a:gd name="adj" fmla="val 10000"/>
          </a:avLst>
        </a:prstGeom>
      </dgm:spPr>
    </dgm:pt>
    <dgm:pt modelId="{BD1F9F27-D2BB-45AF-86F9-2DC7B5D3F604}" type="pres">
      <dgm:prSet presAssocID="{1DF55159-C97B-409E-8059-18C4F3E3BEE2}" presName="horzTwo" presStyleCnt="0"/>
      <dgm:spPr/>
    </dgm:pt>
  </dgm:ptLst>
  <dgm:cxnLst>
    <dgm:cxn modelId="{5A3F0A51-A9B4-4FFC-B426-74E753278EBB}" type="presOf" srcId="{1DF55159-C97B-409E-8059-18C4F3E3BEE2}" destId="{FD7DBC2C-604D-4126-A9F2-EBCF0173DEF6}" srcOrd="0" destOrd="0" presId="urn:microsoft.com/office/officeart/2005/8/layout/hierarchy4"/>
    <dgm:cxn modelId="{C27A8154-4333-4ECD-897C-E30AAF958EE0}" type="presOf" srcId="{F39B0E31-3F4D-4234-A54B-D0969CB76D06}" destId="{CC042095-245F-4ADC-919C-A4F4188B0BF4}" srcOrd="0" destOrd="0" presId="urn:microsoft.com/office/officeart/2005/8/layout/hierarchy4"/>
    <dgm:cxn modelId="{B787DD85-78BA-4A52-81E4-F6BD3685B3EF}" type="presOf" srcId="{AE0FE953-6013-44E0-AE61-1EAFC270A97C}" destId="{CDB805F1-9FA9-4B15-8D70-DA5A01F3E40D}" srcOrd="0" destOrd="0" presId="urn:microsoft.com/office/officeart/2005/8/layout/hierarchy4"/>
    <dgm:cxn modelId="{4FEF2F8C-B3C4-4E5E-9F07-FECDCA9E829C}" srcId="{AE0FE953-6013-44E0-AE61-1EAFC270A97C}" destId="{8450CDC5-A830-494D-9582-84C67C0B2B77}" srcOrd="0" destOrd="0" parTransId="{10CADA5D-875D-41DF-8FF0-08EF17A1E04F}" sibTransId="{602BD5F1-8E4D-415F-8DE7-CF8E8449534C}"/>
    <dgm:cxn modelId="{D88C3C91-55CA-4A39-9627-DE84171CFC1D}" type="presOf" srcId="{B287D87F-258D-4C9D-9126-1EAA29310C48}" destId="{F80DBAD6-040B-45C1-AADF-84B052693733}" srcOrd="0" destOrd="0" presId="urn:microsoft.com/office/officeart/2005/8/layout/hierarchy4"/>
    <dgm:cxn modelId="{A3AE8291-E30C-4426-8E8E-B401D99131FD}" type="presOf" srcId="{A1CE814A-0F2F-45C5-BCFA-6CF8E19EBF95}" destId="{C9D5D025-A7ED-426F-93A2-5E92FF93D440}" srcOrd="0" destOrd="0" presId="urn:microsoft.com/office/officeart/2005/8/layout/hierarchy4"/>
    <dgm:cxn modelId="{AA6D119A-6184-4196-AB90-F4C526C3529A}" srcId="{A1CE814A-0F2F-45C5-BCFA-6CF8E19EBF95}" destId="{F39B0E31-3F4D-4234-A54B-D0969CB76D06}" srcOrd="0" destOrd="0" parTransId="{B00086EB-0B97-4B47-ACCC-9C8400BADDFD}" sibTransId="{B6384D48-967B-41D1-8204-16E6B202821F}"/>
    <dgm:cxn modelId="{D94934CC-17FA-4D86-9D06-B8C3288769AE}" srcId="{A1CE814A-0F2F-45C5-BCFA-6CF8E19EBF95}" destId="{AE0FE953-6013-44E0-AE61-1EAFC270A97C}" srcOrd="1" destOrd="0" parTransId="{889F7713-F0A7-4832-B6DB-7093794FE599}" sibTransId="{C5776226-78BF-475A-AEA5-2FE977706593}"/>
    <dgm:cxn modelId="{BCB100EA-B1C4-4610-B919-7A658A7A5BC6}" type="presOf" srcId="{8450CDC5-A830-494D-9582-84C67C0B2B77}" destId="{0126BC0C-8343-4B4E-B33C-1F5FA5BB3E9C}" srcOrd="0" destOrd="0" presId="urn:microsoft.com/office/officeart/2005/8/layout/hierarchy4"/>
    <dgm:cxn modelId="{92F2A4F4-EBCF-4A70-A4A5-E7D34B27DF39}" srcId="{F39B0E31-3F4D-4234-A54B-D0969CB76D06}" destId="{B287D87F-258D-4C9D-9126-1EAA29310C48}" srcOrd="0" destOrd="0" parTransId="{FA8D4B85-4E91-4668-A28D-A6284671DBEE}" sibTransId="{B0E7228D-32C6-4123-9A61-6CC949CEEC54}"/>
    <dgm:cxn modelId="{2D43D4F8-B068-495E-97C2-B2E6EE6F3860}" srcId="{AE0FE953-6013-44E0-AE61-1EAFC270A97C}" destId="{1DF55159-C97B-409E-8059-18C4F3E3BEE2}" srcOrd="1" destOrd="0" parTransId="{3872C1CE-5102-43FA-AB75-136F3619FB6B}" sibTransId="{7BC93FA4-ABDF-4D04-AC7B-BB0180DF968F}"/>
    <dgm:cxn modelId="{9771798A-5BBD-4163-83E7-5B7BA2CDD62D}" type="presParOf" srcId="{C9D5D025-A7ED-426F-93A2-5E92FF93D440}" destId="{D76D3587-BC8C-470F-831E-D465CA796C8C}" srcOrd="0" destOrd="0" presId="urn:microsoft.com/office/officeart/2005/8/layout/hierarchy4"/>
    <dgm:cxn modelId="{15457800-A8F9-4208-95C9-74AAC9C744D8}" type="presParOf" srcId="{D76D3587-BC8C-470F-831E-D465CA796C8C}" destId="{CC042095-245F-4ADC-919C-A4F4188B0BF4}" srcOrd="0" destOrd="0" presId="urn:microsoft.com/office/officeart/2005/8/layout/hierarchy4"/>
    <dgm:cxn modelId="{6D814DB3-F079-4BAA-B3E7-8FF178753B23}" type="presParOf" srcId="{D76D3587-BC8C-470F-831E-D465CA796C8C}" destId="{82729D63-E61B-48F5-B9DE-B4A078FDCE56}" srcOrd="1" destOrd="0" presId="urn:microsoft.com/office/officeart/2005/8/layout/hierarchy4"/>
    <dgm:cxn modelId="{796683B1-A8BC-44E2-B3E0-4FD4F5498312}" type="presParOf" srcId="{D76D3587-BC8C-470F-831E-D465CA796C8C}" destId="{63C17C6A-648C-41EF-8676-DDC2F081CC9D}" srcOrd="2" destOrd="0" presId="urn:microsoft.com/office/officeart/2005/8/layout/hierarchy4"/>
    <dgm:cxn modelId="{85410DAD-ED0D-4938-B23B-13DE0B5BA7CF}" type="presParOf" srcId="{63C17C6A-648C-41EF-8676-DDC2F081CC9D}" destId="{B7F5F4CC-C04D-456C-AB0C-9C62A8249500}" srcOrd="0" destOrd="0" presId="urn:microsoft.com/office/officeart/2005/8/layout/hierarchy4"/>
    <dgm:cxn modelId="{934B982B-5DC7-41FB-ADEA-AEA8F831C562}" type="presParOf" srcId="{B7F5F4CC-C04D-456C-AB0C-9C62A8249500}" destId="{F80DBAD6-040B-45C1-AADF-84B052693733}" srcOrd="0" destOrd="0" presId="urn:microsoft.com/office/officeart/2005/8/layout/hierarchy4"/>
    <dgm:cxn modelId="{13FDCC93-22B3-40C5-B11E-DD7D0F0D2782}" type="presParOf" srcId="{B7F5F4CC-C04D-456C-AB0C-9C62A8249500}" destId="{03708055-068C-4986-B474-CFC168BC4C4B}" srcOrd="1" destOrd="0" presId="urn:microsoft.com/office/officeart/2005/8/layout/hierarchy4"/>
    <dgm:cxn modelId="{BE4669A6-0C28-439D-BF99-546EA81B1220}" type="presParOf" srcId="{C9D5D025-A7ED-426F-93A2-5E92FF93D440}" destId="{2B048F18-4F76-4C67-A8A2-934955D14DBF}" srcOrd="1" destOrd="0" presId="urn:microsoft.com/office/officeart/2005/8/layout/hierarchy4"/>
    <dgm:cxn modelId="{8B9F5046-92A9-4238-8031-C0838D7F4CB6}" type="presParOf" srcId="{C9D5D025-A7ED-426F-93A2-5E92FF93D440}" destId="{4F668181-E570-4A4B-9146-39CBEB6E72D4}" srcOrd="2" destOrd="0" presId="urn:microsoft.com/office/officeart/2005/8/layout/hierarchy4"/>
    <dgm:cxn modelId="{203D9CA2-3035-4A81-A350-393A0F73F7DC}" type="presParOf" srcId="{4F668181-E570-4A4B-9146-39CBEB6E72D4}" destId="{CDB805F1-9FA9-4B15-8D70-DA5A01F3E40D}" srcOrd="0" destOrd="0" presId="urn:microsoft.com/office/officeart/2005/8/layout/hierarchy4"/>
    <dgm:cxn modelId="{C1D3CB4F-3E06-4E60-867C-69FD913DAF85}" type="presParOf" srcId="{4F668181-E570-4A4B-9146-39CBEB6E72D4}" destId="{0D94A99A-C4FA-461C-B400-F2DD4727271D}" srcOrd="1" destOrd="0" presId="urn:microsoft.com/office/officeart/2005/8/layout/hierarchy4"/>
    <dgm:cxn modelId="{2752163B-1DE5-48F5-B292-FA2F3C25C837}" type="presParOf" srcId="{4F668181-E570-4A4B-9146-39CBEB6E72D4}" destId="{093AB99C-8A79-4B8C-B3C0-C9208B86DBB5}" srcOrd="2" destOrd="0" presId="urn:microsoft.com/office/officeart/2005/8/layout/hierarchy4"/>
    <dgm:cxn modelId="{6B30E7E1-F3CA-4C06-B1D3-F665FD012589}" type="presParOf" srcId="{093AB99C-8A79-4B8C-B3C0-C9208B86DBB5}" destId="{7FC1A617-682C-4C38-8B51-FDF8BFBA8569}" srcOrd="0" destOrd="0" presId="urn:microsoft.com/office/officeart/2005/8/layout/hierarchy4"/>
    <dgm:cxn modelId="{364C6F9A-B5D5-471C-BC39-EB9C7DCEFC8D}" type="presParOf" srcId="{7FC1A617-682C-4C38-8B51-FDF8BFBA8569}" destId="{0126BC0C-8343-4B4E-B33C-1F5FA5BB3E9C}" srcOrd="0" destOrd="0" presId="urn:microsoft.com/office/officeart/2005/8/layout/hierarchy4"/>
    <dgm:cxn modelId="{B4E88C8A-D81F-4326-A942-E7E240CD40BB}" type="presParOf" srcId="{7FC1A617-682C-4C38-8B51-FDF8BFBA8569}" destId="{CF8E8BD5-8A03-4C78-B6FF-017CF037AED0}" srcOrd="1" destOrd="0" presId="urn:microsoft.com/office/officeart/2005/8/layout/hierarchy4"/>
    <dgm:cxn modelId="{9FAF562F-1D12-45EC-A9F6-526ABAAE18E9}" type="presParOf" srcId="{093AB99C-8A79-4B8C-B3C0-C9208B86DBB5}" destId="{935D8869-48D5-4FA9-802E-57EA4A6C746B}" srcOrd="1" destOrd="0" presId="urn:microsoft.com/office/officeart/2005/8/layout/hierarchy4"/>
    <dgm:cxn modelId="{A2B8739B-B0C7-43DA-9707-78528B824751}" type="presParOf" srcId="{093AB99C-8A79-4B8C-B3C0-C9208B86DBB5}" destId="{B20099DF-76F8-47D4-9564-6B985976F32B}" srcOrd="2" destOrd="0" presId="urn:microsoft.com/office/officeart/2005/8/layout/hierarchy4"/>
    <dgm:cxn modelId="{8E35DB97-0C0A-47BA-9FBF-113266A3C011}" type="presParOf" srcId="{B20099DF-76F8-47D4-9564-6B985976F32B}" destId="{FD7DBC2C-604D-4126-A9F2-EBCF0173DEF6}" srcOrd="0" destOrd="0" presId="urn:microsoft.com/office/officeart/2005/8/layout/hierarchy4"/>
    <dgm:cxn modelId="{4635F754-6E80-4823-B81B-DA497D21BBEF}" type="presParOf" srcId="{B20099DF-76F8-47D4-9564-6B985976F32B}" destId="{BD1F9F27-D2BB-45AF-86F9-2DC7B5D3F604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1CE814A-0F2F-45C5-BCFA-6CF8E19EBF95}" type="doc">
      <dgm:prSet loTypeId="urn:microsoft.com/office/officeart/2005/8/layout/hierarchy4" loCatId="list" qsTypeId="urn:microsoft.com/office/officeart/2005/8/quickstyle/simple5" qsCatId="simple" csTypeId="urn:microsoft.com/office/officeart/2005/8/colors/accent2_3" csCatId="accent2" phldr="1"/>
      <dgm:spPr/>
      <dgm:t>
        <a:bodyPr/>
        <a:lstStyle/>
        <a:p>
          <a:endParaRPr lang="zh-CN" altLang="en-US"/>
        </a:p>
      </dgm:t>
    </dgm:pt>
    <dgm:pt modelId="{F39B0E31-3F4D-4234-A54B-D0969CB76D06}">
      <dgm:prSet phldrT="[文本]"/>
      <dgm:spPr/>
      <dgm:t>
        <a:bodyPr/>
        <a:lstStyle/>
        <a:p>
          <a:r>
            <a:rPr lang="en-US" altLang="zh-CN" b="1" dirty="0"/>
            <a:t>Hello,1</a:t>
          </a:r>
          <a:endParaRPr lang="zh-CN" altLang="en-US" b="1" dirty="0"/>
        </a:p>
      </dgm:t>
    </dgm:pt>
    <dgm:pt modelId="{B00086EB-0B97-4B47-ACCC-9C8400BADDFD}" type="parTrans" cxnId="{AA6D119A-6184-4196-AB90-F4C526C3529A}">
      <dgm:prSet/>
      <dgm:spPr/>
      <dgm:t>
        <a:bodyPr/>
        <a:lstStyle/>
        <a:p>
          <a:endParaRPr lang="zh-CN" altLang="en-US"/>
        </a:p>
      </dgm:t>
    </dgm:pt>
    <dgm:pt modelId="{B6384D48-967B-41D1-8204-16E6B202821F}" type="sibTrans" cxnId="{AA6D119A-6184-4196-AB90-F4C526C3529A}">
      <dgm:prSet/>
      <dgm:spPr/>
      <dgm:t>
        <a:bodyPr/>
        <a:lstStyle/>
        <a:p>
          <a:endParaRPr lang="zh-CN" altLang="en-US"/>
        </a:p>
      </dgm:t>
    </dgm:pt>
    <dgm:pt modelId="{B287D87F-258D-4C9D-9126-1EAA29310C48}">
      <dgm:prSet phldrT="[文本]" custT="1"/>
      <dgm:spPr/>
      <dgm:t>
        <a:bodyPr/>
        <a:lstStyle/>
        <a:p>
          <a:r>
            <a:rPr lang="en-US" altLang="zh-CN" sz="1600" b="1" dirty="0"/>
            <a:t>I,1</a:t>
          </a:r>
          <a:endParaRPr lang="zh-CN" altLang="en-US" sz="1600" b="1" dirty="0"/>
        </a:p>
      </dgm:t>
    </dgm:pt>
    <dgm:pt modelId="{FA8D4B85-4E91-4668-A28D-A6284671DBEE}" type="parTrans" cxnId="{92F2A4F4-EBCF-4A70-A4A5-E7D34B27DF39}">
      <dgm:prSet/>
      <dgm:spPr/>
      <dgm:t>
        <a:bodyPr/>
        <a:lstStyle/>
        <a:p>
          <a:endParaRPr lang="zh-CN" altLang="en-US"/>
        </a:p>
      </dgm:t>
    </dgm:pt>
    <dgm:pt modelId="{B0E7228D-32C6-4123-9A61-6CC949CEEC54}" type="sibTrans" cxnId="{92F2A4F4-EBCF-4A70-A4A5-E7D34B27DF39}">
      <dgm:prSet/>
      <dgm:spPr/>
      <dgm:t>
        <a:bodyPr/>
        <a:lstStyle/>
        <a:p>
          <a:endParaRPr lang="zh-CN" altLang="en-US"/>
        </a:p>
      </dgm:t>
    </dgm:pt>
    <dgm:pt modelId="{AE0FE953-6013-44E0-AE61-1EAFC270A97C}">
      <dgm:prSet phldrT="[文本]" custT="1"/>
      <dgm:spPr/>
      <dgm:t>
        <a:bodyPr spcFirstLastPara="0" vert="horz" wrap="square" lIns="19050" tIns="19050" rIns="19050" bIns="19050" numCol="1" spcCol="1270" anchor="ctr" anchorCtr="0"/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200" b="1" kern="1200" dirty="0">
              <a:latin typeface="Arial"/>
              <a:ea typeface="微软雅黑"/>
              <a:cs typeface="+mn-cs"/>
            </a:rPr>
            <a:t>MapReduce,1</a:t>
          </a:r>
          <a:endParaRPr lang="zh-CN" altLang="en-US" sz="1200" b="1" kern="1200" dirty="0">
            <a:latin typeface="Arial"/>
            <a:ea typeface="微软雅黑"/>
            <a:cs typeface="+mn-cs"/>
          </a:endParaRPr>
        </a:p>
      </dgm:t>
    </dgm:pt>
    <dgm:pt modelId="{889F7713-F0A7-4832-B6DB-7093794FE599}" type="parTrans" cxnId="{D94934CC-17FA-4D86-9D06-B8C3288769AE}">
      <dgm:prSet/>
      <dgm:spPr/>
      <dgm:t>
        <a:bodyPr/>
        <a:lstStyle/>
        <a:p>
          <a:endParaRPr lang="zh-CN" altLang="en-US"/>
        </a:p>
      </dgm:t>
    </dgm:pt>
    <dgm:pt modelId="{C5776226-78BF-475A-AEA5-2FE977706593}" type="sibTrans" cxnId="{D94934CC-17FA-4D86-9D06-B8C3288769AE}">
      <dgm:prSet/>
      <dgm:spPr/>
      <dgm:t>
        <a:bodyPr/>
        <a:lstStyle/>
        <a:p>
          <a:endParaRPr lang="zh-CN" altLang="en-US"/>
        </a:p>
      </dgm:t>
    </dgm:pt>
    <dgm:pt modelId="{1DF55159-C97B-409E-8059-18C4F3E3BEE2}">
      <dgm:prSet phldrT="[文本]" custT="1"/>
      <dgm:spPr/>
      <dgm:t>
        <a:bodyPr spcFirstLastPara="0" vert="horz" wrap="square" lIns="19050" tIns="19050" rIns="19050" bIns="19050" numCol="1" spcCol="1270" anchor="ctr" anchorCtr="0"/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200" b="1" kern="1200" dirty="0">
              <a:latin typeface="Arial"/>
              <a:ea typeface="微软雅黑"/>
              <a:cs typeface="+mn-cs"/>
            </a:rPr>
            <a:t>Java,1</a:t>
          </a:r>
          <a:endParaRPr lang="zh-CN" altLang="en-US" sz="1200" b="1" kern="1200" dirty="0">
            <a:latin typeface="Arial"/>
            <a:ea typeface="微软雅黑"/>
            <a:cs typeface="+mn-cs"/>
          </a:endParaRPr>
        </a:p>
      </dgm:t>
    </dgm:pt>
    <dgm:pt modelId="{3872C1CE-5102-43FA-AB75-136F3619FB6B}" type="parTrans" cxnId="{2D43D4F8-B068-495E-97C2-B2E6EE6F3860}">
      <dgm:prSet/>
      <dgm:spPr/>
      <dgm:t>
        <a:bodyPr/>
        <a:lstStyle/>
        <a:p>
          <a:endParaRPr lang="zh-CN" altLang="en-US"/>
        </a:p>
      </dgm:t>
    </dgm:pt>
    <dgm:pt modelId="{7BC93FA4-ABDF-4D04-AC7B-BB0180DF968F}" type="sibTrans" cxnId="{2D43D4F8-B068-495E-97C2-B2E6EE6F3860}">
      <dgm:prSet/>
      <dgm:spPr/>
      <dgm:t>
        <a:bodyPr/>
        <a:lstStyle/>
        <a:p>
          <a:endParaRPr lang="zh-CN" altLang="en-US"/>
        </a:p>
      </dgm:t>
    </dgm:pt>
    <dgm:pt modelId="{8450CDC5-A830-494D-9582-84C67C0B2B77}">
      <dgm:prSet phldrT="[文本]"/>
      <dgm:spPr/>
      <dgm:t>
        <a:bodyPr/>
        <a:lstStyle/>
        <a:p>
          <a:r>
            <a:rPr lang="en-US" altLang="zh-CN" b="1" dirty="0"/>
            <a:t>like,1</a:t>
          </a:r>
          <a:endParaRPr lang="zh-CN" altLang="en-US" b="1" dirty="0"/>
        </a:p>
      </dgm:t>
    </dgm:pt>
    <dgm:pt modelId="{10CADA5D-875D-41DF-8FF0-08EF17A1E04F}" type="parTrans" cxnId="{4FEF2F8C-B3C4-4E5E-9F07-FECDCA9E829C}">
      <dgm:prSet/>
      <dgm:spPr/>
      <dgm:t>
        <a:bodyPr/>
        <a:lstStyle/>
        <a:p>
          <a:endParaRPr lang="zh-CN" altLang="en-US"/>
        </a:p>
      </dgm:t>
    </dgm:pt>
    <dgm:pt modelId="{602BD5F1-8E4D-415F-8DE7-CF8E8449534C}" type="sibTrans" cxnId="{4FEF2F8C-B3C4-4E5E-9F07-FECDCA9E829C}">
      <dgm:prSet/>
      <dgm:spPr/>
      <dgm:t>
        <a:bodyPr/>
        <a:lstStyle/>
        <a:p>
          <a:endParaRPr lang="zh-CN" altLang="en-US"/>
        </a:p>
      </dgm:t>
    </dgm:pt>
    <dgm:pt modelId="{C9D5D025-A7ED-426F-93A2-5E92FF93D440}" type="pres">
      <dgm:prSet presAssocID="{A1CE814A-0F2F-45C5-BCFA-6CF8E19EBF95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76D3587-BC8C-470F-831E-D465CA796C8C}" type="pres">
      <dgm:prSet presAssocID="{F39B0E31-3F4D-4234-A54B-D0969CB76D06}" presName="vertOne" presStyleCnt="0"/>
      <dgm:spPr/>
    </dgm:pt>
    <dgm:pt modelId="{CC042095-245F-4ADC-919C-A4F4188B0BF4}" type="pres">
      <dgm:prSet presAssocID="{F39B0E31-3F4D-4234-A54B-D0969CB76D06}" presName="txOne" presStyleLbl="node0" presStyleIdx="0" presStyleCnt="2" custScaleX="111848">
        <dgm:presLayoutVars>
          <dgm:chPref val="3"/>
        </dgm:presLayoutVars>
      </dgm:prSet>
      <dgm:spPr/>
    </dgm:pt>
    <dgm:pt modelId="{82729D63-E61B-48F5-B9DE-B4A078FDCE56}" type="pres">
      <dgm:prSet presAssocID="{F39B0E31-3F4D-4234-A54B-D0969CB76D06}" presName="parTransOne" presStyleCnt="0"/>
      <dgm:spPr/>
    </dgm:pt>
    <dgm:pt modelId="{63C17C6A-648C-41EF-8676-DDC2F081CC9D}" type="pres">
      <dgm:prSet presAssocID="{F39B0E31-3F4D-4234-A54B-D0969CB76D06}" presName="horzOne" presStyleCnt="0"/>
      <dgm:spPr/>
    </dgm:pt>
    <dgm:pt modelId="{B7F5F4CC-C04D-456C-AB0C-9C62A8249500}" type="pres">
      <dgm:prSet presAssocID="{B287D87F-258D-4C9D-9126-1EAA29310C48}" presName="vertTwo" presStyleCnt="0"/>
      <dgm:spPr/>
    </dgm:pt>
    <dgm:pt modelId="{F80DBAD6-040B-45C1-AADF-84B052693733}" type="pres">
      <dgm:prSet presAssocID="{B287D87F-258D-4C9D-9126-1EAA29310C48}" presName="txTwo" presStyleLbl="node2" presStyleIdx="0" presStyleCnt="3" custScaleX="166367">
        <dgm:presLayoutVars>
          <dgm:chPref val="3"/>
        </dgm:presLayoutVars>
      </dgm:prSet>
      <dgm:spPr/>
    </dgm:pt>
    <dgm:pt modelId="{03708055-068C-4986-B474-CFC168BC4C4B}" type="pres">
      <dgm:prSet presAssocID="{B287D87F-258D-4C9D-9126-1EAA29310C48}" presName="horzTwo" presStyleCnt="0"/>
      <dgm:spPr/>
    </dgm:pt>
    <dgm:pt modelId="{2B048F18-4F76-4C67-A8A2-934955D14DBF}" type="pres">
      <dgm:prSet presAssocID="{B6384D48-967B-41D1-8204-16E6B202821F}" presName="sibSpaceOne" presStyleCnt="0"/>
      <dgm:spPr/>
    </dgm:pt>
    <dgm:pt modelId="{4F668181-E570-4A4B-9146-39CBEB6E72D4}" type="pres">
      <dgm:prSet presAssocID="{AE0FE953-6013-44E0-AE61-1EAFC270A97C}" presName="vertOne" presStyleCnt="0"/>
      <dgm:spPr/>
    </dgm:pt>
    <dgm:pt modelId="{CDB805F1-9FA9-4B15-8D70-DA5A01F3E40D}" type="pres">
      <dgm:prSet presAssocID="{AE0FE953-6013-44E0-AE61-1EAFC270A97C}" presName="txOne" presStyleLbl="node0" presStyleIdx="1" presStyleCnt="2" custScaleX="97687" custLinFactNeighborX="-1495" custLinFactNeighborY="21643">
        <dgm:presLayoutVars>
          <dgm:chPref val="3"/>
        </dgm:presLayoutVars>
      </dgm:prSet>
      <dgm:spPr>
        <a:xfrm>
          <a:off x="722775" y="372"/>
          <a:ext cx="1137776" cy="629630"/>
        </a:xfrm>
        <a:prstGeom prst="roundRect">
          <a:avLst>
            <a:gd name="adj" fmla="val 10000"/>
          </a:avLst>
        </a:prstGeom>
      </dgm:spPr>
    </dgm:pt>
    <dgm:pt modelId="{0D94A99A-C4FA-461C-B400-F2DD4727271D}" type="pres">
      <dgm:prSet presAssocID="{AE0FE953-6013-44E0-AE61-1EAFC270A97C}" presName="parTransOne" presStyleCnt="0"/>
      <dgm:spPr/>
    </dgm:pt>
    <dgm:pt modelId="{093AB99C-8A79-4B8C-B3C0-C9208B86DBB5}" type="pres">
      <dgm:prSet presAssocID="{AE0FE953-6013-44E0-AE61-1EAFC270A97C}" presName="horzOne" presStyleCnt="0"/>
      <dgm:spPr/>
    </dgm:pt>
    <dgm:pt modelId="{7FC1A617-682C-4C38-8B51-FDF8BFBA8569}" type="pres">
      <dgm:prSet presAssocID="{8450CDC5-A830-494D-9582-84C67C0B2B77}" presName="vertTwo" presStyleCnt="0"/>
      <dgm:spPr/>
    </dgm:pt>
    <dgm:pt modelId="{0126BC0C-8343-4B4E-B33C-1F5FA5BB3E9C}" type="pres">
      <dgm:prSet presAssocID="{8450CDC5-A830-494D-9582-84C67C0B2B77}" presName="txTwo" presStyleLbl="node2" presStyleIdx="1" presStyleCnt="3" custScaleX="152880">
        <dgm:presLayoutVars>
          <dgm:chPref val="3"/>
        </dgm:presLayoutVars>
      </dgm:prSet>
      <dgm:spPr/>
    </dgm:pt>
    <dgm:pt modelId="{CF8E8BD5-8A03-4C78-B6FF-017CF037AED0}" type="pres">
      <dgm:prSet presAssocID="{8450CDC5-A830-494D-9582-84C67C0B2B77}" presName="horzTwo" presStyleCnt="0"/>
      <dgm:spPr/>
    </dgm:pt>
    <dgm:pt modelId="{935D8869-48D5-4FA9-802E-57EA4A6C746B}" type="pres">
      <dgm:prSet presAssocID="{602BD5F1-8E4D-415F-8DE7-CF8E8449534C}" presName="sibSpaceTwo" presStyleCnt="0"/>
      <dgm:spPr/>
    </dgm:pt>
    <dgm:pt modelId="{B20099DF-76F8-47D4-9564-6B985976F32B}" type="pres">
      <dgm:prSet presAssocID="{1DF55159-C97B-409E-8059-18C4F3E3BEE2}" presName="vertTwo" presStyleCnt="0"/>
      <dgm:spPr/>
    </dgm:pt>
    <dgm:pt modelId="{FD7DBC2C-604D-4126-A9F2-EBCF0173DEF6}" type="pres">
      <dgm:prSet presAssocID="{1DF55159-C97B-409E-8059-18C4F3E3BEE2}" presName="txTwo" presStyleLbl="node2" presStyleIdx="2" presStyleCnt="3" custScaleX="164732">
        <dgm:presLayoutVars>
          <dgm:chPref val="3"/>
        </dgm:presLayoutVars>
      </dgm:prSet>
      <dgm:spPr>
        <a:xfrm>
          <a:off x="4253727" y="2113843"/>
          <a:ext cx="313283" cy="1948656"/>
        </a:xfrm>
        <a:prstGeom prst="roundRect">
          <a:avLst>
            <a:gd name="adj" fmla="val 10000"/>
          </a:avLst>
        </a:prstGeom>
      </dgm:spPr>
    </dgm:pt>
    <dgm:pt modelId="{BD1F9F27-D2BB-45AF-86F9-2DC7B5D3F604}" type="pres">
      <dgm:prSet presAssocID="{1DF55159-C97B-409E-8059-18C4F3E3BEE2}" presName="horzTwo" presStyleCnt="0"/>
      <dgm:spPr/>
    </dgm:pt>
  </dgm:ptLst>
  <dgm:cxnLst>
    <dgm:cxn modelId="{5A3F0A51-A9B4-4FFC-B426-74E753278EBB}" type="presOf" srcId="{1DF55159-C97B-409E-8059-18C4F3E3BEE2}" destId="{FD7DBC2C-604D-4126-A9F2-EBCF0173DEF6}" srcOrd="0" destOrd="0" presId="urn:microsoft.com/office/officeart/2005/8/layout/hierarchy4"/>
    <dgm:cxn modelId="{C27A8154-4333-4ECD-897C-E30AAF958EE0}" type="presOf" srcId="{F39B0E31-3F4D-4234-A54B-D0969CB76D06}" destId="{CC042095-245F-4ADC-919C-A4F4188B0BF4}" srcOrd="0" destOrd="0" presId="urn:microsoft.com/office/officeart/2005/8/layout/hierarchy4"/>
    <dgm:cxn modelId="{B787DD85-78BA-4A52-81E4-F6BD3685B3EF}" type="presOf" srcId="{AE0FE953-6013-44E0-AE61-1EAFC270A97C}" destId="{CDB805F1-9FA9-4B15-8D70-DA5A01F3E40D}" srcOrd="0" destOrd="0" presId="urn:microsoft.com/office/officeart/2005/8/layout/hierarchy4"/>
    <dgm:cxn modelId="{4FEF2F8C-B3C4-4E5E-9F07-FECDCA9E829C}" srcId="{AE0FE953-6013-44E0-AE61-1EAFC270A97C}" destId="{8450CDC5-A830-494D-9582-84C67C0B2B77}" srcOrd="0" destOrd="0" parTransId="{10CADA5D-875D-41DF-8FF0-08EF17A1E04F}" sibTransId="{602BD5F1-8E4D-415F-8DE7-CF8E8449534C}"/>
    <dgm:cxn modelId="{D88C3C91-55CA-4A39-9627-DE84171CFC1D}" type="presOf" srcId="{B287D87F-258D-4C9D-9126-1EAA29310C48}" destId="{F80DBAD6-040B-45C1-AADF-84B052693733}" srcOrd="0" destOrd="0" presId="urn:microsoft.com/office/officeart/2005/8/layout/hierarchy4"/>
    <dgm:cxn modelId="{A3AE8291-E30C-4426-8E8E-B401D99131FD}" type="presOf" srcId="{A1CE814A-0F2F-45C5-BCFA-6CF8E19EBF95}" destId="{C9D5D025-A7ED-426F-93A2-5E92FF93D440}" srcOrd="0" destOrd="0" presId="urn:microsoft.com/office/officeart/2005/8/layout/hierarchy4"/>
    <dgm:cxn modelId="{AA6D119A-6184-4196-AB90-F4C526C3529A}" srcId="{A1CE814A-0F2F-45C5-BCFA-6CF8E19EBF95}" destId="{F39B0E31-3F4D-4234-A54B-D0969CB76D06}" srcOrd="0" destOrd="0" parTransId="{B00086EB-0B97-4B47-ACCC-9C8400BADDFD}" sibTransId="{B6384D48-967B-41D1-8204-16E6B202821F}"/>
    <dgm:cxn modelId="{D94934CC-17FA-4D86-9D06-B8C3288769AE}" srcId="{A1CE814A-0F2F-45C5-BCFA-6CF8E19EBF95}" destId="{AE0FE953-6013-44E0-AE61-1EAFC270A97C}" srcOrd="1" destOrd="0" parTransId="{889F7713-F0A7-4832-B6DB-7093794FE599}" sibTransId="{C5776226-78BF-475A-AEA5-2FE977706593}"/>
    <dgm:cxn modelId="{BCB100EA-B1C4-4610-B919-7A658A7A5BC6}" type="presOf" srcId="{8450CDC5-A830-494D-9582-84C67C0B2B77}" destId="{0126BC0C-8343-4B4E-B33C-1F5FA5BB3E9C}" srcOrd="0" destOrd="0" presId="urn:microsoft.com/office/officeart/2005/8/layout/hierarchy4"/>
    <dgm:cxn modelId="{92F2A4F4-EBCF-4A70-A4A5-E7D34B27DF39}" srcId="{F39B0E31-3F4D-4234-A54B-D0969CB76D06}" destId="{B287D87F-258D-4C9D-9126-1EAA29310C48}" srcOrd="0" destOrd="0" parTransId="{FA8D4B85-4E91-4668-A28D-A6284671DBEE}" sibTransId="{B0E7228D-32C6-4123-9A61-6CC949CEEC54}"/>
    <dgm:cxn modelId="{2D43D4F8-B068-495E-97C2-B2E6EE6F3860}" srcId="{AE0FE953-6013-44E0-AE61-1EAFC270A97C}" destId="{1DF55159-C97B-409E-8059-18C4F3E3BEE2}" srcOrd="1" destOrd="0" parTransId="{3872C1CE-5102-43FA-AB75-136F3619FB6B}" sibTransId="{7BC93FA4-ABDF-4D04-AC7B-BB0180DF968F}"/>
    <dgm:cxn modelId="{9771798A-5BBD-4163-83E7-5B7BA2CDD62D}" type="presParOf" srcId="{C9D5D025-A7ED-426F-93A2-5E92FF93D440}" destId="{D76D3587-BC8C-470F-831E-D465CA796C8C}" srcOrd="0" destOrd="0" presId="urn:microsoft.com/office/officeart/2005/8/layout/hierarchy4"/>
    <dgm:cxn modelId="{15457800-A8F9-4208-95C9-74AAC9C744D8}" type="presParOf" srcId="{D76D3587-BC8C-470F-831E-D465CA796C8C}" destId="{CC042095-245F-4ADC-919C-A4F4188B0BF4}" srcOrd="0" destOrd="0" presId="urn:microsoft.com/office/officeart/2005/8/layout/hierarchy4"/>
    <dgm:cxn modelId="{6D814DB3-F079-4BAA-B3E7-8FF178753B23}" type="presParOf" srcId="{D76D3587-BC8C-470F-831E-D465CA796C8C}" destId="{82729D63-E61B-48F5-B9DE-B4A078FDCE56}" srcOrd="1" destOrd="0" presId="urn:microsoft.com/office/officeart/2005/8/layout/hierarchy4"/>
    <dgm:cxn modelId="{796683B1-A8BC-44E2-B3E0-4FD4F5498312}" type="presParOf" srcId="{D76D3587-BC8C-470F-831E-D465CA796C8C}" destId="{63C17C6A-648C-41EF-8676-DDC2F081CC9D}" srcOrd="2" destOrd="0" presId="urn:microsoft.com/office/officeart/2005/8/layout/hierarchy4"/>
    <dgm:cxn modelId="{85410DAD-ED0D-4938-B23B-13DE0B5BA7CF}" type="presParOf" srcId="{63C17C6A-648C-41EF-8676-DDC2F081CC9D}" destId="{B7F5F4CC-C04D-456C-AB0C-9C62A8249500}" srcOrd="0" destOrd="0" presId="urn:microsoft.com/office/officeart/2005/8/layout/hierarchy4"/>
    <dgm:cxn modelId="{934B982B-5DC7-41FB-ADEA-AEA8F831C562}" type="presParOf" srcId="{B7F5F4CC-C04D-456C-AB0C-9C62A8249500}" destId="{F80DBAD6-040B-45C1-AADF-84B052693733}" srcOrd="0" destOrd="0" presId="urn:microsoft.com/office/officeart/2005/8/layout/hierarchy4"/>
    <dgm:cxn modelId="{13FDCC93-22B3-40C5-B11E-DD7D0F0D2782}" type="presParOf" srcId="{B7F5F4CC-C04D-456C-AB0C-9C62A8249500}" destId="{03708055-068C-4986-B474-CFC168BC4C4B}" srcOrd="1" destOrd="0" presId="urn:microsoft.com/office/officeart/2005/8/layout/hierarchy4"/>
    <dgm:cxn modelId="{BE4669A6-0C28-439D-BF99-546EA81B1220}" type="presParOf" srcId="{C9D5D025-A7ED-426F-93A2-5E92FF93D440}" destId="{2B048F18-4F76-4C67-A8A2-934955D14DBF}" srcOrd="1" destOrd="0" presId="urn:microsoft.com/office/officeart/2005/8/layout/hierarchy4"/>
    <dgm:cxn modelId="{8B9F5046-92A9-4238-8031-C0838D7F4CB6}" type="presParOf" srcId="{C9D5D025-A7ED-426F-93A2-5E92FF93D440}" destId="{4F668181-E570-4A4B-9146-39CBEB6E72D4}" srcOrd="2" destOrd="0" presId="urn:microsoft.com/office/officeart/2005/8/layout/hierarchy4"/>
    <dgm:cxn modelId="{203D9CA2-3035-4A81-A350-393A0F73F7DC}" type="presParOf" srcId="{4F668181-E570-4A4B-9146-39CBEB6E72D4}" destId="{CDB805F1-9FA9-4B15-8D70-DA5A01F3E40D}" srcOrd="0" destOrd="0" presId="urn:microsoft.com/office/officeart/2005/8/layout/hierarchy4"/>
    <dgm:cxn modelId="{C1D3CB4F-3E06-4E60-867C-69FD913DAF85}" type="presParOf" srcId="{4F668181-E570-4A4B-9146-39CBEB6E72D4}" destId="{0D94A99A-C4FA-461C-B400-F2DD4727271D}" srcOrd="1" destOrd="0" presId="urn:microsoft.com/office/officeart/2005/8/layout/hierarchy4"/>
    <dgm:cxn modelId="{2752163B-1DE5-48F5-B292-FA2F3C25C837}" type="presParOf" srcId="{4F668181-E570-4A4B-9146-39CBEB6E72D4}" destId="{093AB99C-8A79-4B8C-B3C0-C9208B86DBB5}" srcOrd="2" destOrd="0" presId="urn:microsoft.com/office/officeart/2005/8/layout/hierarchy4"/>
    <dgm:cxn modelId="{6B30E7E1-F3CA-4C06-B1D3-F665FD012589}" type="presParOf" srcId="{093AB99C-8A79-4B8C-B3C0-C9208B86DBB5}" destId="{7FC1A617-682C-4C38-8B51-FDF8BFBA8569}" srcOrd="0" destOrd="0" presId="urn:microsoft.com/office/officeart/2005/8/layout/hierarchy4"/>
    <dgm:cxn modelId="{364C6F9A-B5D5-471C-BC39-EB9C7DCEFC8D}" type="presParOf" srcId="{7FC1A617-682C-4C38-8B51-FDF8BFBA8569}" destId="{0126BC0C-8343-4B4E-B33C-1F5FA5BB3E9C}" srcOrd="0" destOrd="0" presId="urn:microsoft.com/office/officeart/2005/8/layout/hierarchy4"/>
    <dgm:cxn modelId="{B4E88C8A-D81F-4326-A942-E7E240CD40BB}" type="presParOf" srcId="{7FC1A617-682C-4C38-8B51-FDF8BFBA8569}" destId="{CF8E8BD5-8A03-4C78-B6FF-017CF037AED0}" srcOrd="1" destOrd="0" presId="urn:microsoft.com/office/officeart/2005/8/layout/hierarchy4"/>
    <dgm:cxn modelId="{9FAF562F-1D12-45EC-A9F6-526ABAAE18E9}" type="presParOf" srcId="{093AB99C-8A79-4B8C-B3C0-C9208B86DBB5}" destId="{935D8869-48D5-4FA9-802E-57EA4A6C746B}" srcOrd="1" destOrd="0" presId="urn:microsoft.com/office/officeart/2005/8/layout/hierarchy4"/>
    <dgm:cxn modelId="{A2B8739B-B0C7-43DA-9707-78528B824751}" type="presParOf" srcId="{093AB99C-8A79-4B8C-B3C0-C9208B86DBB5}" destId="{B20099DF-76F8-47D4-9564-6B985976F32B}" srcOrd="2" destOrd="0" presId="urn:microsoft.com/office/officeart/2005/8/layout/hierarchy4"/>
    <dgm:cxn modelId="{8E35DB97-0C0A-47BA-9FBF-113266A3C011}" type="presParOf" srcId="{B20099DF-76F8-47D4-9564-6B985976F32B}" destId="{FD7DBC2C-604D-4126-A9F2-EBCF0173DEF6}" srcOrd="0" destOrd="0" presId="urn:microsoft.com/office/officeart/2005/8/layout/hierarchy4"/>
    <dgm:cxn modelId="{4635F754-6E80-4823-B81B-DA497D21BBEF}" type="presParOf" srcId="{B20099DF-76F8-47D4-9564-6B985976F32B}" destId="{BD1F9F27-D2BB-45AF-86F9-2DC7B5D3F604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3D44CC8-F902-4435-B00C-A0B3E2900149}" type="doc">
      <dgm:prSet loTypeId="urn:microsoft.com/office/officeart/2005/8/layout/hierarchy4" loCatId="list" qsTypeId="urn:microsoft.com/office/officeart/2005/8/quickstyle/simple5" qsCatId="simple" csTypeId="urn:microsoft.com/office/officeart/2005/8/colors/accent2_3" csCatId="accent2" phldr="1"/>
      <dgm:spPr/>
      <dgm:t>
        <a:bodyPr/>
        <a:lstStyle/>
        <a:p>
          <a:endParaRPr lang="zh-CN" altLang="en-US"/>
        </a:p>
      </dgm:t>
    </dgm:pt>
    <dgm:pt modelId="{4C01CD6C-9E49-4E2E-80A5-97C08F0A7055}">
      <dgm:prSet phldrT="[文本]"/>
      <dgm:spPr/>
      <dgm:t>
        <a:bodyPr/>
        <a:lstStyle/>
        <a:p>
          <a:r>
            <a:rPr lang="en-US" altLang="zh-CN" b="1" dirty="0"/>
            <a:t>Hadoop,1</a:t>
          </a:r>
          <a:endParaRPr lang="zh-CN" altLang="en-US" b="1" dirty="0"/>
        </a:p>
      </dgm:t>
    </dgm:pt>
    <dgm:pt modelId="{0905162D-6826-45C3-AA02-AAACCE326645}" type="parTrans" cxnId="{847A8DF9-1BF5-4B4F-A2EF-8EB8FA1DF45C}">
      <dgm:prSet/>
      <dgm:spPr/>
      <dgm:t>
        <a:bodyPr/>
        <a:lstStyle/>
        <a:p>
          <a:endParaRPr lang="zh-CN" altLang="en-US"/>
        </a:p>
      </dgm:t>
    </dgm:pt>
    <dgm:pt modelId="{D9792A31-7033-4CDD-B22A-EC0E8F2CF01A}" type="sibTrans" cxnId="{847A8DF9-1BF5-4B4F-A2EF-8EB8FA1DF45C}">
      <dgm:prSet/>
      <dgm:spPr/>
      <dgm:t>
        <a:bodyPr/>
        <a:lstStyle/>
        <a:p>
          <a:endParaRPr lang="zh-CN" altLang="en-US"/>
        </a:p>
      </dgm:t>
    </dgm:pt>
    <dgm:pt modelId="{1FE7151D-F4ED-4BB8-8E39-38E242C8C40C}">
      <dgm:prSet phldrT="[文本]"/>
      <dgm:spPr/>
      <dgm:t>
        <a:bodyPr/>
        <a:lstStyle/>
        <a:p>
          <a:r>
            <a:rPr lang="en-US" altLang="zh-CN" b="1" dirty="0"/>
            <a:t>Hello,1</a:t>
          </a:r>
          <a:endParaRPr lang="zh-CN" altLang="en-US" b="1" dirty="0"/>
        </a:p>
      </dgm:t>
    </dgm:pt>
    <dgm:pt modelId="{EF8786BE-E7D3-4BA2-8969-03440B4CDF16}" type="parTrans" cxnId="{A9653A13-0DB5-460F-95C5-ABE53DFA6398}">
      <dgm:prSet/>
      <dgm:spPr/>
      <dgm:t>
        <a:bodyPr/>
        <a:lstStyle/>
        <a:p>
          <a:endParaRPr lang="zh-CN" altLang="en-US"/>
        </a:p>
      </dgm:t>
    </dgm:pt>
    <dgm:pt modelId="{AC21A773-504F-4086-8410-805F5BB93AA9}" type="sibTrans" cxnId="{A9653A13-0DB5-460F-95C5-ABE53DFA6398}">
      <dgm:prSet/>
      <dgm:spPr/>
      <dgm:t>
        <a:bodyPr/>
        <a:lstStyle/>
        <a:p>
          <a:endParaRPr lang="zh-CN" altLang="en-US"/>
        </a:p>
      </dgm:t>
    </dgm:pt>
    <dgm:pt modelId="{176FF3CF-790D-4B2C-AECB-9DB8C86DAABA}">
      <dgm:prSet phldrT="[文本]"/>
      <dgm:spPr/>
      <dgm:t>
        <a:bodyPr/>
        <a:lstStyle/>
        <a:p>
          <a:r>
            <a:rPr lang="en-US" altLang="zh-CN" b="1" dirty="0"/>
            <a:t>I,1</a:t>
          </a:r>
          <a:endParaRPr lang="zh-CN" altLang="en-US" b="1" dirty="0"/>
        </a:p>
      </dgm:t>
    </dgm:pt>
    <dgm:pt modelId="{76F2D570-B8BF-4B2A-845E-6B5490E2BBB4}" type="parTrans" cxnId="{7AF344C6-A73B-4979-8220-91A90A36E9A8}">
      <dgm:prSet/>
      <dgm:spPr/>
      <dgm:t>
        <a:bodyPr/>
        <a:lstStyle/>
        <a:p>
          <a:endParaRPr lang="zh-CN" altLang="en-US"/>
        </a:p>
      </dgm:t>
    </dgm:pt>
    <dgm:pt modelId="{85E480AE-A0C0-4AB3-8DA6-8E3FEC1ACA92}" type="sibTrans" cxnId="{7AF344C6-A73B-4979-8220-91A90A36E9A8}">
      <dgm:prSet/>
      <dgm:spPr/>
      <dgm:t>
        <a:bodyPr/>
        <a:lstStyle/>
        <a:p>
          <a:endParaRPr lang="zh-CN" altLang="en-US"/>
        </a:p>
      </dgm:t>
    </dgm:pt>
    <dgm:pt modelId="{B23D5869-D275-4723-8572-85A20CA205F8}">
      <dgm:prSet phldrT="[文本]"/>
      <dgm:spPr/>
      <dgm:t>
        <a:bodyPr/>
        <a:lstStyle/>
        <a:p>
          <a:r>
            <a:rPr lang="en-US" altLang="zh-CN" b="1" dirty="0"/>
            <a:t>like,1</a:t>
          </a:r>
          <a:endParaRPr lang="zh-CN" altLang="en-US" b="1" dirty="0"/>
        </a:p>
      </dgm:t>
    </dgm:pt>
    <dgm:pt modelId="{38976CEB-0B6B-4862-8AB3-60FB61C118E7}" type="parTrans" cxnId="{B6DC3910-C709-40D9-94F6-6555721E1BED}">
      <dgm:prSet/>
      <dgm:spPr/>
      <dgm:t>
        <a:bodyPr/>
        <a:lstStyle/>
        <a:p>
          <a:endParaRPr lang="zh-CN" altLang="en-US"/>
        </a:p>
      </dgm:t>
    </dgm:pt>
    <dgm:pt modelId="{09453957-C296-4C3C-9270-6281874F6800}" type="sibTrans" cxnId="{B6DC3910-C709-40D9-94F6-6555721E1BED}">
      <dgm:prSet/>
      <dgm:spPr/>
      <dgm:t>
        <a:bodyPr/>
        <a:lstStyle/>
        <a:p>
          <a:endParaRPr lang="zh-CN" altLang="en-US"/>
        </a:p>
      </dgm:t>
    </dgm:pt>
    <dgm:pt modelId="{1304D920-2679-4E84-A742-0033746BB46D}">
      <dgm:prSet phldrT="[文本]"/>
      <dgm:spPr/>
      <dgm:t>
        <a:bodyPr/>
        <a:lstStyle/>
        <a:p>
          <a:r>
            <a:rPr lang="en-US" altLang="zh-CN" b="1" dirty="0"/>
            <a:t>World,1</a:t>
          </a:r>
          <a:endParaRPr lang="zh-CN" altLang="en-US" b="1" dirty="0"/>
        </a:p>
      </dgm:t>
    </dgm:pt>
    <dgm:pt modelId="{8F2C817D-6D96-43AC-BA7B-D19319EE3CC2}" type="sibTrans" cxnId="{FCE627FA-97A0-46DF-BED5-3B425325278E}">
      <dgm:prSet/>
      <dgm:spPr/>
      <dgm:t>
        <a:bodyPr/>
        <a:lstStyle/>
        <a:p>
          <a:endParaRPr lang="zh-CN" altLang="en-US"/>
        </a:p>
      </dgm:t>
    </dgm:pt>
    <dgm:pt modelId="{A7657481-176B-4678-965F-C498818B337F}" type="parTrans" cxnId="{FCE627FA-97A0-46DF-BED5-3B425325278E}">
      <dgm:prSet/>
      <dgm:spPr/>
      <dgm:t>
        <a:bodyPr/>
        <a:lstStyle/>
        <a:p>
          <a:endParaRPr lang="zh-CN" altLang="en-US"/>
        </a:p>
      </dgm:t>
    </dgm:pt>
    <dgm:pt modelId="{E8D32AE5-5765-47A8-A364-D7503A6317B6}" type="pres">
      <dgm:prSet presAssocID="{B3D44CC8-F902-4435-B00C-A0B3E2900149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CF2B893E-8A21-4FA6-893B-4F8E9DA02F84}" type="pres">
      <dgm:prSet presAssocID="{4C01CD6C-9E49-4E2E-80A5-97C08F0A7055}" presName="vertOne" presStyleCnt="0"/>
      <dgm:spPr/>
    </dgm:pt>
    <dgm:pt modelId="{6235E8B9-DB89-4C2B-8565-D7EB39524393}" type="pres">
      <dgm:prSet presAssocID="{4C01CD6C-9E49-4E2E-80A5-97C08F0A7055}" presName="txOne" presStyleLbl="node0" presStyleIdx="0" presStyleCnt="1" custLinFactNeighborX="40409" custLinFactNeighborY="-3536">
        <dgm:presLayoutVars>
          <dgm:chPref val="3"/>
        </dgm:presLayoutVars>
      </dgm:prSet>
      <dgm:spPr/>
    </dgm:pt>
    <dgm:pt modelId="{B42FE87E-37B4-4160-91CF-2D289BFF418C}" type="pres">
      <dgm:prSet presAssocID="{4C01CD6C-9E49-4E2E-80A5-97C08F0A7055}" presName="parTransOne" presStyleCnt="0"/>
      <dgm:spPr/>
    </dgm:pt>
    <dgm:pt modelId="{C1282FB4-D253-47F1-B718-69A03298CCF4}" type="pres">
      <dgm:prSet presAssocID="{4C01CD6C-9E49-4E2E-80A5-97C08F0A7055}" presName="horzOne" presStyleCnt="0"/>
      <dgm:spPr/>
    </dgm:pt>
    <dgm:pt modelId="{39199C95-D66F-4D9D-9DB7-7A9D4F7D866B}" type="pres">
      <dgm:prSet presAssocID="{1FE7151D-F4ED-4BB8-8E39-38E242C8C40C}" presName="vertTwo" presStyleCnt="0"/>
      <dgm:spPr/>
    </dgm:pt>
    <dgm:pt modelId="{4750E58D-49B8-47CA-A11C-241656F8BE7A}" type="pres">
      <dgm:prSet presAssocID="{1FE7151D-F4ED-4BB8-8E39-38E242C8C40C}" presName="txTwo" presStyleLbl="node2" presStyleIdx="0" presStyleCnt="1" custScaleX="93726">
        <dgm:presLayoutVars>
          <dgm:chPref val="3"/>
        </dgm:presLayoutVars>
      </dgm:prSet>
      <dgm:spPr/>
    </dgm:pt>
    <dgm:pt modelId="{E2629673-4EBB-4564-AE92-06D88AC22629}" type="pres">
      <dgm:prSet presAssocID="{1FE7151D-F4ED-4BB8-8E39-38E242C8C40C}" presName="parTransTwo" presStyleCnt="0"/>
      <dgm:spPr/>
    </dgm:pt>
    <dgm:pt modelId="{E995954E-4C63-43F7-80AB-391DEE18A8BA}" type="pres">
      <dgm:prSet presAssocID="{1FE7151D-F4ED-4BB8-8E39-38E242C8C40C}" presName="horzTwo" presStyleCnt="0"/>
      <dgm:spPr/>
    </dgm:pt>
    <dgm:pt modelId="{89BBC5AE-97FB-400F-8E32-CABE996A7F28}" type="pres">
      <dgm:prSet presAssocID="{176FF3CF-790D-4B2C-AECB-9DB8C86DAABA}" presName="vertThree" presStyleCnt="0"/>
      <dgm:spPr/>
    </dgm:pt>
    <dgm:pt modelId="{13C28A85-56C2-475F-81BC-8648DAEF60BF}" type="pres">
      <dgm:prSet presAssocID="{176FF3CF-790D-4B2C-AECB-9DB8C86DAABA}" presName="txThree" presStyleLbl="node3" presStyleIdx="0" presStyleCnt="1" custScaleX="85969">
        <dgm:presLayoutVars>
          <dgm:chPref val="3"/>
        </dgm:presLayoutVars>
      </dgm:prSet>
      <dgm:spPr/>
    </dgm:pt>
    <dgm:pt modelId="{A3E824D7-EB2A-4983-9FFB-62C22D11D0D9}" type="pres">
      <dgm:prSet presAssocID="{176FF3CF-790D-4B2C-AECB-9DB8C86DAABA}" presName="parTransThree" presStyleCnt="0"/>
      <dgm:spPr/>
    </dgm:pt>
    <dgm:pt modelId="{D730463B-6E64-46C3-89EA-C61B3FBE2FED}" type="pres">
      <dgm:prSet presAssocID="{176FF3CF-790D-4B2C-AECB-9DB8C86DAABA}" presName="horzThree" presStyleCnt="0"/>
      <dgm:spPr/>
    </dgm:pt>
    <dgm:pt modelId="{7E872A1C-2074-4597-BB76-99B1E311D494}" type="pres">
      <dgm:prSet presAssocID="{B23D5869-D275-4723-8572-85A20CA205F8}" presName="vertFour" presStyleCnt="0">
        <dgm:presLayoutVars>
          <dgm:chPref val="3"/>
        </dgm:presLayoutVars>
      </dgm:prSet>
      <dgm:spPr/>
    </dgm:pt>
    <dgm:pt modelId="{C0F88DFC-B9A5-4962-8B3C-9C4CB4788D59}" type="pres">
      <dgm:prSet presAssocID="{B23D5869-D275-4723-8572-85A20CA205F8}" presName="txFour" presStyleLbl="node4" presStyleIdx="0" presStyleCnt="2" custScaleX="82320">
        <dgm:presLayoutVars>
          <dgm:chPref val="3"/>
        </dgm:presLayoutVars>
      </dgm:prSet>
      <dgm:spPr/>
    </dgm:pt>
    <dgm:pt modelId="{01819054-E4A2-4D90-AE9F-D946833994F2}" type="pres">
      <dgm:prSet presAssocID="{B23D5869-D275-4723-8572-85A20CA205F8}" presName="parTransFour" presStyleCnt="0"/>
      <dgm:spPr/>
    </dgm:pt>
    <dgm:pt modelId="{5827710C-8FC6-44DE-AFB9-7EC9107D4918}" type="pres">
      <dgm:prSet presAssocID="{B23D5869-D275-4723-8572-85A20CA205F8}" presName="horzFour" presStyleCnt="0"/>
      <dgm:spPr/>
    </dgm:pt>
    <dgm:pt modelId="{F81DAAF6-4BA9-4B91-806B-107EA5790635}" type="pres">
      <dgm:prSet presAssocID="{1304D920-2679-4E84-A742-0033746BB46D}" presName="vertFour" presStyleCnt="0">
        <dgm:presLayoutVars>
          <dgm:chPref val="3"/>
        </dgm:presLayoutVars>
      </dgm:prSet>
      <dgm:spPr/>
    </dgm:pt>
    <dgm:pt modelId="{A00B4E21-56CE-466F-A246-DEF04D17E6C9}" type="pres">
      <dgm:prSet presAssocID="{1304D920-2679-4E84-A742-0033746BB46D}" presName="txFour" presStyleLbl="node4" presStyleIdx="1" presStyleCnt="2" custScaleX="76940">
        <dgm:presLayoutVars>
          <dgm:chPref val="3"/>
        </dgm:presLayoutVars>
      </dgm:prSet>
      <dgm:spPr/>
    </dgm:pt>
    <dgm:pt modelId="{1F206F76-AC7A-465B-80B8-8F5A75B150AE}" type="pres">
      <dgm:prSet presAssocID="{1304D920-2679-4E84-A742-0033746BB46D}" presName="horzFour" presStyleCnt="0"/>
      <dgm:spPr/>
    </dgm:pt>
  </dgm:ptLst>
  <dgm:cxnLst>
    <dgm:cxn modelId="{B6DC3910-C709-40D9-94F6-6555721E1BED}" srcId="{176FF3CF-790D-4B2C-AECB-9DB8C86DAABA}" destId="{B23D5869-D275-4723-8572-85A20CA205F8}" srcOrd="0" destOrd="0" parTransId="{38976CEB-0B6B-4862-8AB3-60FB61C118E7}" sibTransId="{09453957-C296-4C3C-9270-6281874F6800}"/>
    <dgm:cxn modelId="{A9653A13-0DB5-460F-95C5-ABE53DFA6398}" srcId="{4C01CD6C-9E49-4E2E-80A5-97C08F0A7055}" destId="{1FE7151D-F4ED-4BB8-8E39-38E242C8C40C}" srcOrd="0" destOrd="0" parTransId="{EF8786BE-E7D3-4BA2-8969-03440B4CDF16}" sibTransId="{AC21A773-504F-4086-8410-805F5BB93AA9}"/>
    <dgm:cxn modelId="{01378B28-0C53-4CFE-958F-4BEC22697961}" type="presOf" srcId="{4C01CD6C-9E49-4E2E-80A5-97C08F0A7055}" destId="{6235E8B9-DB89-4C2B-8565-D7EB39524393}" srcOrd="0" destOrd="0" presId="urn:microsoft.com/office/officeart/2005/8/layout/hierarchy4"/>
    <dgm:cxn modelId="{D90B8C41-33CB-4D37-A47D-A90DDCDE99D1}" type="presOf" srcId="{176FF3CF-790D-4B2C-AECB-9DB8C86DAABA}" destId="{13C28A85-56C2-475F-81BC-8648DAEF60BF}" srcOrd="0" destOrd="0" presId="urn:microsoft.com/office/officeart/2005/8/layout/hierarchy4"/>
    <dgm:cxn modelId="{08A69C9A-60D3-452B-93CE-A24964DBF215}" type="presOf" srcId="{B3D44CC8-F902-4435-B00C-A0B3E2900149}" destId="{E8D32AE5-5765-47A8-A364-D7503A6317B6}" srcOrd="0" destOrd="0" presId="urn:microsoft.com/office/officeart/2005/8/layout/hierarchy4"/>
    <dgm:cxn modelId="{1605CDBD-EB6A-4EDA-B3DE-600D448F68EE}" type="presOf" srcId="{1304D920-2679-4E84-A742-0033746BB46D}" destId="{A00B4E21-56CE-466F-A246-DEF04D17E6C9}" srcOrd="0" destOrd="0" presId="urn:microsoft.com/office/officeart/2005/8/layout/hierarchy4"/>
    <dgm:cxn modelId="{7AF344C6-A73B-4979-8220-91A90A36E9A8}" srcId="{1FE7151D-F4ED-4BB8-8E39-38E242C8C40C}" destId="{176FF3CF-790D-4B2C-AECB-9DB8C86DAABA}" srcOrd="0" destOrd="0" parTransId="{76F2D570-B8BF-4B2A-845E-6B5490E2BBB4}" sibTransId="{85E480AE-A0C0-4AB3-8DA6-8E3FEC1ACA92}"/>
    <dgm:cxn modelId="{350968F0-642F-4128-A2E9-48CE9D8FD444}" type="presOf" srcId="{B23D5869-D275-4723-8572-85A20CA205F8}" destId="{C0F88DFC-B9A5-4962-8B3C-9C4CB4788D59}" srcOrd="0" destOrd="0" presId="urn:microsoft.com/office/officeart/2005/8/layout/hierarchy4"/>
    <dgm:cxn modelId="{ADB1FBF8-F6D9-45DB-AAD9-1EA5F5C5181D}" type="presOf" srcId="{1FE7151D-F4ED-4BB8-8E39-38E242C8C40C}" destId="{4750E58D-49B8-47CA-A11C-241656F8BE7A}" srcOrd="0" destOrd="0" presId="urn:microsoft.com/office/officeart/2005/8/layout/hierarchy4"/>
    <dgm:cxn modelId="{847A8DF9-1BF5-4B4F-A2EF-8EB8FA1DF45C}" srcId="{B3D44CC8-F902-4435-B00C-A0B3E2900149}" destId="{4C01CD6C-9E49-4E2E-80A5-97C08F0A7055}" srcOrd="0" destOrd="0" parTransId="{0905162D-6826-45C3-AA02-AAACCE326645}" sibTransId="{D9792A31-7033-4CDD-B22A-EC0E8F2CF01A}"/>
    <dgm:cxn modelId="{FCE627FA-97A0-46DF-BED5-3B425325278E}" srcId="{B23D5869-D275-4723-8572-85A20CA205F8}" destId="{1304D920-2679-4E84-A742-0033746BB46D}" srcOrd="0" destOrd="0" parTransId="{A7657481-176B-4678-965F-C498818B337F}" sibTransId="{8F2C817D-6D96-43AC-BA7B-D19319EE3CC2}"/>
    <dgm:cxn modelId="{84254C27-2FC7-489B-A603-A9F549C4CCB5}" type="presParOf" srcId="{E8D32AE5-5765-47A8-A364-D7503A6317B6}" destId="{CF2B893E-8A21-4FA6-893B-4F8E9DA02F84}" srcOrd="0" destOrd="0" presId="urn:microsoft.com/office/officeart/2005/8/layout/hierarchy4"/>
    <dgm:cxn modelId="{BD8413DD-067B-44E5-BEEE-F5CBF8666833}" type="presParOf" srcId="{CF2B893E-8A21-4FA6-893B-4F8E9DA02F84}" destId="{6235E8B9-DB89-4C2B-8565-D7EB39524393}" srcOrd="0" destOrd="0" presId="urn:microsoft.com/office/officeart/2005/8/layout/hierarchy4"/>
    <dgm:cxn modelId="{E97A6FF6-E9C3-44E2-B748-C690CAC7A160}" type="presParOf" srcId="{CF2B893E-8A21-4FA6-893B-4F8E9DA02F84}" destId="{B42FE87E-37B4-4160-91CF-2D289BFF418C}" srcOrd="1" destOrd="0" presId="urn:microsoft.com/office/officeart/2005/8/layout/hierarchy4"/>
    <dgm:cxn modelId="{3085D594-A6E7-41A6-A3BB-2E5D7AFADAD4}" type="presParOf" srcId="{CF2B893E-8A21-4FA6-893B-4F8E9DA02F84}" destId="{C1282FB4-D253-47F1-B718-69A03298CCF4}" srcOrd="2" destOrd="0" presId="urn:microsoft.com/office/officeart/2005/8/layout/hierarchy4"/>
    <dgm:cxn modelId="{9544D0C0-1D1A-4208-9E89-C4584D07720C}" type="presParOf" srcId="{C1282FB4-D253-47F1-B718-69A03298CCF4}" destId="{39199C95-D66F-4D9D-9DB7-7A9D4F7D866B}" srcOrd="0" destOrd="0" presId="urn:microsoft.com/office/officeart/2005/8/layout/hierarchy4"/>
    <dgm:cxn modelId="{49F2CF77-C2E1-4D33-AE0F-98618C880B77}" type="presParOf" srcId="{39199C95-D66F-4D9D-9DB7-7A9D4F7D866B}" destId="{4750E58D-49B8-47CA-A11C-241656F8BE7A}" srcOrd="0" destOrd="0" presId="urn:microsoft.com/office/officeart/2005/8/layout/hierarchy4"/>
    <dgm:cxn modelId="{53F5D44D-8B17-4D4B-9C3D-7E7C2C5B119C}" type="presParOf" srcId="{39199C95-D66F-4D9D-9DB7-7A9D4F7D866B}" destId="{E2629673-4EBB-4564-AE92-06D88AC22629}" srcOrd="1" destOrd="0" presId="urn:microsoft.com/office/officeart/2005/8/layout/hierarchy4"/>
    <dgm:cxn modelId="{56F9DF85-0456-423E-AD16-4F406B5E9963}" type="presParOf" srcId="{39199C95-D66F-4D9D-9DB7-7A9D4F7D866B}" destId="{E995954E-4C63-43F7-80AB-391DEE18A8BA}" srcOrd="2" destOrd="0" presId="urn:microsoft.com/office/officeart/2005/8/layout/hierarchy4"/>
    <dgm:cxn modelId="{B26E62B9-7878-4011-90DC-616A07183C3F}" type="presParOf" srcId="{E995954E-4C63-43F7-80AB-391DEE18A8BA}" destId="{89BBC5AE-97FB-400F-8E32-CABE996A7F28}" srcOrd="0" destOrd="0" presId="urn:microsoft.com/office/officeart/2005/8/layout/hierarchy4"/>
    <dgm:cxn modelId="{E4E37B6A-9BA3-4BD3-80C6-9AFE6D1D0E22}" type="presParOf" srcId="{89BBC5AE-97FB-400F-8E32-CABE996A7F28}" destId="{13C28A85-56C2-475F-81BC-8648DAEF60BF}" srcOrd="0" destOrd="0" presId="urn:microsoft.com/office/officeart/2005/8/layout/hierarchy4"/>
    <dgm:cxn modelId="{2CCD5663-6E29-4A91-87A9-CC89C181BF19}" type="presParOf" srcId="{89BBC5AE-97FB-400F-8E32-CABE996A7F28}" destId="{A3E824D7-EB2A-4983-9FFB-62C22D11D0D9}" srcOrd="1" destOrd="0" presId="urn:microsoft.com/office/officeart/2005/8/layout/hierarchy4"/>
    <dgm:cxn modelId="{A2A08615-D973-4A77-982B-C4FFCBA3AA29}" type="presParOf" srcId="{89BBC5AE-97FB-400F-8E32-CABE996A7F28}" destId="{D730463B-6E64-46C3-89EA-C61B3FBE2FED}" srcOrd="2" destOrd="0" presId="urn:microsoft.com/office/officeart/2005/8/layout/hierarchy4"/>
    <dgm:cxn modelId="{2096236E-5556-452A-8AE8-38643CA372ED}" type="presParOf" srcId="{D730463B-6E64-46C3-89EA-C61B3FBE2FED}" destId="{7E872A1C-2074-4597-BB76-99B1E311D494}" srcOrd="0" destOrd="0" presId="urn:microsoft.com/office/officeart/2005/8/layout/hierarchy4"/>
    <dgm:cxn modelId="{2CB989E1-2974-443A-BA25-BB53D9BD1BAD}" type="presParOf" srcId="{7E872A1C-2074-4597-BB76-99B1E311D494}" destId="{C0F88DFC-B9A5-4962-8B3C-9C4CB4788D59}" srcOrd="0" destOrd="0" presId="urn:microsoft.com/office/officeart/2005/8/layout/hierarchy4"/>
    <dgm:cxn modelId="{912F3A55-60F6-46A3-99BA-E979563E2929}" type="presParOf" srcId="{7E872A1C-2074-4597-BB76-99B1E311D494}" destId="{01819054-E4A2-4D90-AE9F-D946833994F2}" srcOrd="1" destOrd="0" presId="urn:microsoft.com/office/officeart/2005/8/layout/hierarchy4"/>
    <dgm:cxn modelId="{E3B91F8D-76AB-45D2-A3DC-3409CC9719A3}" type="presParOf" srcId="{7E872A1C-2074-4597-BB76-99B1E311D494}" destId="{5827710C-8FC6-44DE-AFB9-7EC9107D4918}" srcOrd="2" destOrd="0" presId="urn:microsoft.com/office/officeart/2005/8/layout/hierarchy4"/>
    <dgm:cxn modelId="{40B3BAB6-9D98-475C-9A54-4AA2C7DBDEBA}" type="presParOf" srcId="{5827710C-8FC6-44DE-AFB9-7EC9107D4918}" destId="{F81DAAF6-4BA9-4B91-806B-107EA5790635}" srcOrd="0" destOrd="0" presId="urn:microsoft.com/office/officeart/2005/8/layout/hierarchy4"/>
    <dgm:cxn modelId="{7A466FC6-006B-4AAA-A1E7-5D17A9ED7BCB}" type="presParOf" srcId="{F81DAAF6-4BA9-4B91-806B-107EA5790635}" destId="{A00B4E21-56CE-466F-A246-DEF04D17E6C9}" srcOrd="0" destOrd="0" presId="urn:microsoft.com/office/officeart/2005/8/layout/hierarchy4"/>
    <dgm:cxn modelId="{0176676C-A450-4FC3-A437-258A32A3D0AA}" type="presParOf" srcId="{F81DAAF6-4BA9-4B91-806B-107EA5790635}" destId="{1F206F76-AC7A-465B-80B8-8F5A75B150AE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1CE814A-0F2F-45C5-BCFA-6CF8E19EBF95}" type="doc">
      <dgm:prSet loTypeId="urn:microsoft.com/office/officeart/2005/8/layout/hierarchy4" loCatId="list" qsTypeId="urn:microsoft.com/office/officeart/2005/8/quickstyle/simple5" qsCatId="simple" csTypeId="urn:microsoft.com/office/officeart/2005/8/colors/accent2_3" csCatId="accent2" phldr="1"/>
      <dgm:spPr/>
      <dgm:t>
        <a:bodyPr/>
        <a:lstStyle/>
        <a:p>
          <a:endParaRPr lang="zh-CN" altLang="en-US"/>
        </a:p>
      </dgm:t>
    </dgm:pt>
    <dgm:pt modelId="{F39B0E31-3F4D-4234-A54B-D0969CB76D06}">
      <dgm:prSet phldrT="[文本]"/>
      <dgm:spPr/>
      <dgm:t>
        <a:bodyPr/>
        <a:lstStyle/>
        <a:p>
          <a:r>
            <a:rPr lang="en-US" altLang="zh-CN" b="1" dirty="0"/>
            <a:t>Hadoop,1</a:t>
          </a:r>
          <a:endParaRPr lang="zh-CN" altLang="en-US" b="1" dirty="0"/>
        </a:p>
      </dgm:t>
    </dgm:pt>
    <dgm:pt modelId="{B00086EB-0B97-4B47-ACCC-9C8400BADDFD}" type="parTrans" cxnId="{AA6D119A-6184-4196-AB90-F4C526C3529A}">
      <dgm:prSet/>
      <dgm:spPr/>
      <dgm:t>
        <a:bodyPr/>
        <a:lstStyle/>
        <a:p>
          <a:endParaRPr lang="zh-CN" altLang="en-US"/>
        </a:p>
      </dgm:t>
    </dgm:pt>
    <dgm:pt modelId="{B6384D48-967B-41D1-8204-16E6B202821F}" type="sibTrans" cxnId="{AA6D119A-6184-4196-AB90-F4C526C3529A}">
      <dgm:prSet/>
      <dgm:spPr/>
      <dgm:t>
        <a:bodyPr/>
        <a:lstStyle/>
        <a:p>
          <a:endParaRPr lang="zh-CN" altLang="en-US"/>
        </a:p>
      </dgm:t>
    </dgm:pt>
    <dgm:pt modelId="{B287D87F-258D-4C9D-9126-1EAA29310C48}">
      <dgm:prSet phldrT="[文本]" custT="1"/>
      <dgm:spPr/>
      <dgm:t>
        <a:bodyPr/>
        <a:lstStyle/>
        <a:p>
          <a:r>
            <a:rPr lang="en-US" altLang="zh-CN" sz="1100" b="1" dirty="0"/>
            <a:t>Hello,1</a:t>
          </a:r>
          <a:endParaRPr lang="zh-CN" altLang="en-US" sz="1100" b="1" dirty="0"/>
        </a:p>
      </dgm:t>
    </dgm:pt>
    <dgm:pt modelId="{FA8D4B85-4E91-4668-A28D-A6284671DBEE}" type="parTrans" cxnId="{92F2A4F4-EBCF-4A70-A4A5-E7D34B27DF39}">
      <dgm:prSet/>
      <dgm:spPr/>
      <dgm:t>
        <a:bodyPr/>
        <a:lstStyle/>
        <a:p>
          <a:endParaRPr lang="zh-CN" altLang="en-US"/>
        </a:p>
      </dgm:t>
    </dgm:pt>
    <dgm:pt modelId="{B0E7228D-32C6-4123-9A61-6CC949CEEC54}" type="sibTrans" cxnId="{92F2A4F4-EBCF-4A70-A4A5-E7D34B27DF39}">
      <dgm:prSet/>
      <dgm:spPr/>
      <dgm:t>
        <a:bodyPr/>
        <a:lstStyle/>
        <a:p>
          <a:endParaRPr lang="zh-CN" altLang="en-US"/>
        </a:p>
      </dgm:t>
    </dgm:pt>
    <dgm:pt modelId="{AE0FE953-6013-44E0-AE61-1EAFC270A97C}">
      <dgm:prSet phldrT="[文本]" custT="1"/>
      <dgm:spPr/>
      <dgm:t>
        <a:bodyPr spcFirstLastPara="0" vert="horz" wrap="square" lIns="19050" tIns="19050" rIns="19050" bIns="19050" numCol="1" spcCol="1270" anchor="ctr" anchorCtr="0"/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>
              <a:latin typeface="Arial"/>
              <a:ea typeface="微软雅黑"/>
              <a:cs typeface="+mn-cs"/>
            </a:rPr>
            <a:t>I,1</a:t>
          </a:r>
          <a:endParaRPr lang="zh-CN" altLang="en-US" sz="1100" b="1" kern="1200" dirty="0">
            <a:latin typeface="Arial"/>
            <a:ea typeface="微软雅黑"/>
            <a:cs typeface="+mn-cs"/>
          </a:endParaRPr>
        </a:p>
      </dgm:t>
    </dgm:pt>
    <dgm:pt modelId="{889F7713-F0A7-4832-B6DB-7093794FE599}" type="parTrans" cxnId="{D94934CC-17FA-4D86-9D06-B8C3288769AE}">
      <dgm:prSet/>
      <dgm:spPr/>
      <dgm:t>
        <a:bodyPr/>
        <a:lstStyle/>
        <a:p>
          <a:endParaRPr lang="zh-CN" altLang="en-US"/>
        </a:p>
      </dgm:t>
    </dgm:pt>
    <dgm:pt modelId="{C5776226-78BF-475A-AEA5-2FE977706593}" type="sibTrans" cxnId="{D94934CC-17FA-4D86-9D06-B8C3288769AE}">
      <dgm:prSet/>
      <dgm:spPr/>
      <dgm:t>
        <a:bodyPr/>
        <a:lstStyle/>
        <a:p>
          <a:endParaRPr lang="zh-CN" altLang="en-US"/>
        </a:p>
      </dgm:t>
    </dgm:pt>
    <dgm:pt modelId="{1DF55159-C97B-409E-8059-18C4F3E3BEE2}">
      <dgm:prSet phldrT="[文本]" custT="1"/>
      <dgm:spPr/>
      <dgm:t>
        <a:bodyPr spcFirstLastPara="0" vert="horz" wrap="square" lIns="19050" tIns="19050" rIns="19050" bIns="19050" numCol="1" spcCol="1270" anchor="ctr" anchorCtr="0"/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050" b="1" kern="1200" dirty="0">
              <a:latin typeface="Arial"/>
              <a:ea typeface="微软雅黑"/>
              <a:cs typeface="+mn-cs"/>
            </a:rPr>
            <a:t>MapReduce,1</a:t>
          </a:r>
          <a:endParaRPr lang="zh-CN" altLang="en-US" sz="1050" b="1" kern="1200" dirty="0">
            <a:latin typeface="Arial"/>
            <a:ea typeface="微软雅黑"/>
            <a:cs typeface="+mn-cs"/>
          </a:endParaRPr>
        </a:p>
      </dgm:t>
    </dgm:pt>
    <dgm:pt modelId="{3872C1CE-5102-43FA-AB75-136F3619FB6B}" type="parTrans" cxnId="{2D43D4F8-B068-495E-97C2-B2E6EE6F3860}">
      <dgm:prSet/>
      <dgm:spPr/>
      <dgm:t>
        <a:bodyPr/>
        <a:lstStyle/>
        <a:p>
          <a:endParaRPr lang="zh-CN" altLang="en-US"/>
        </a:p>
      </dgm:t>
    </dgm:pt>
    <dgm:pt modelId="{7BC93FA4-ABDF-4D04-AC7B-BB0180DF968F}" type="sibTrans" cxnId="{2D43D4F8-B068-495E-97C2-B2E6EE6F3860}">
      <dgm:prSet/>
      <dgm:spPr/>
      <dgm:t>
        <a:bodyPr/>
        <a:lstStyle/>
        <a:p>
          <a:endParaRPr lang="zh-CN" altLang="en-US"/>
        </a:p>
      </dgm:t>
    </dgm:pt>
    <dgm:pt modelId="{8450CDC5-A830-494D-9582-84C67C0B2B77}">
      <dgm:prSet phldrT="[文本]"/>
      <dgm:spPr/>
      <dgm:t>
        <a:bodyPr/>
        <a:lstStyle/>
        <a:p>
          <a:r>
            <a:rPr lang="en-US" altLang="zh-CN" b="1" dirty="0"/>
            <a:t>like,1</a:t>
          </a:r>
          <a:endParaRPr lang="zh-CN" altLang="en-US" b="1" dirty="0"/>
        </a:p>
      </dgm:t>
    </dgm:pt>
    <dgm:pt modelId="{10CADA5D-875D-41DF-8FF0-08EF17A1E04F}" type="parTrans" cxnId="{4FEF2F8C-B3C4-4E5E-9F07-FECDCA9E829C}">
      <dgm:prSet/>
      <dgm:spPr/>
      <dgm:t>
        <a:bodyPr/>
        <a:lstStyle/>
        <a:p>
          <a:endParaRPr lang="zh-CN" altLang="en-US"/>
        </a:p>
      </dgm:t>
    </dgm:pt>
    <dgm:pt modelId="{602BD5F1-8E4D-415F-8DE7-CF8E8449534C}" type="sibTrans" cxnId="{4FEF2F8C-B3C4-4E5E-9F07-FECDCA9E829C}">
      <dgm:prSet/>
      <dgm:spPr/>
      <dgm:t>
        <a:bodyPr/>
        <a:lstStyle/>
        <a:p>
          <a:endParaRPr lang="zh-CN" altLang="en-US"/>
        </a:p>
      </dgm:t>
    </dgm:pt>
    <dgm:pt modelId="{C9D5D025-A7ED-426F-93A2-5E92FF93D440}" type="pres">
      <dgm:prSet presAssocID="{A1CE814A-0F2F-45C5-BCFA-6CF8E19EBF95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76D3587-BC8C-470F-831E-D465CA796C8C}" type="pres">
      <dgm:prSet presAssocID="{F39B0E31-3F4D-4234-A54B-D0969CB76D06}" presName="vertOne" presStyleCnt="0"/>
      <dgm:spPr/>
    </dgm:pt>
    <dgm:pt modelId="{CC042095-245F-4ADC-919C-A4F4188B0BF4}" type="pres">
      <dgm:prSet presAssocID="{F39B0E31-3F4D-4234-A54B-D0969CB76D06}" presName="txOne" presStyleLbl="node0" presStyleIdx="0" presStyleCnt="1" custScaleX="111848">
        <dgm:presLayoutVars>
          <dgm:chPref val="3"/>
        </dgm:presLayoutVars>
      </dgm:prSet>
      <dgm:spPr/>
    </dgm:pt>
    <dgm:pt modelId="{82729D63-E61B-48F5-B9DE-B4A078FDCE56}" type="pres">
      <dgm:prSet presAssocID="{F39B0E31-3F4D-4234-A54B-D0969CB76D06}" presName="parTransOne" presStyleCnt="0"/>
      <dgm:spPr/>
    </dgm:pt>
    <dgm:pt modelId="{63C17C6A-648C-41EF-8676-DDC2F081CC9D}" type="pres">
      <dgm:prSet presAssocID="{F39B0E31-3F4D-4234-A54B-D0969CB76D06}" presName="horzOne" presStyleCnt="0"/>
      <dgm:spPr/>
    </dgm:pt>
    <dgm:pt modelId="{B7F5F4CC-C04D-456C-AB0C-9C62A8249500}" type="pres">
      <dgm:prSet presAssocID="{B287D87F-258D-4C9D-9126-1EAA29310C48}" presName="vertTwo" presStyleCnt="0"/>
      <dgm:spPr/>
    </dgm:pt>
    <dgm:pt modelId="{F80DBAD6-040B-45C1-AADF-84B052693733}" type="pres">
      <dgm:prSet presAssocID="{B287D87F-258D-4C9D-9126-1EAA29310C48}" presName="txTwo" presStyleLbl="node2" presStyleIdx="0" presStyleCnt="1" custScaleX="104781">
        <dgm:presLayoutVars>
          <dgm:chPref val="3"/>
        </dgm:presLayoutVars>
      </dgm:prSet>
      <dgm:spPr/>
    </dgm:pt>
    <dgm:pt modelId="{8D3CFBD4-E303-4AF6-ABF7-BD70357E6D8E}" type="pres">
      <dgm:prSet presAssocID="{B287D87F-258D-4C9D-9126-1EAA29310C48}" presName="parTransTwo" presStyleCnt="0"/>
      <dgm:spPr/>
    </dgm:pt>
    <dgm:pt modelId="{03708055-068C-4986-B474-CFC168BC4C4B}" type="pres">
      <dgm:prSet presAssocID="{B287D87F-258D-4C9D-9126-1EAA29310C48}" presName="horzTwo" presStyleCnt="0"/>
      <dgm:spPr/>
    </dgm:pt>
    <dgm:pt modelId="{11BCD3DF-8EDC-4D2A-9A2F-4AABC321B2BB}" type="pres">
      <dgm:prSet presAssocID="{AE0FE953-6013-44E0-AE61-1EAFC270A97C}" presName="vertThree" presStyleCnt="0"/>
      <dgm:spPr/>
    </dgm:pt>
    <dgm:pt modelId="{4DE37092-85C9-4804-8F53-8F3B6F9FF1DE}" type="pres">
      <dgm:prSet presAssocID="{AE0FE953-6013-44E0-AE61-1EAFC270A97C}" presName="txThree" presStyleLbl="node3" presStyleIdx="0" presStyleCnt="1" custScaleX="99227">
        <dgm:presLayoutVars>
          <dgm:chPref val="3"/>
        </dgm:presLayoutVars>
      </dgm:prSet>
      <dgm:spPr/>
    </dgm:pt>
    <dgm:pt modelId="{1F80BD73-9217-48F8-95E1-335704FFE241}" type="pres">
      <dgm:prSet presAssocID="{AE0FE953-6013-44E0-AE61-1EAFC270A97C}" presName="parTransThree" presStyleCnt="0"/>
      <dgm:spPr/>
    </dgm:pt>
    <dgm:pt modelId="{2FAF54A0-4F4D-4412-AAC4-90E2B6DD9BA3}" type="pres">
      <dgm:prSet presAssocID="{AE0FE953-6013-44E0-AE61-1EAFC270A97C}" presName="horzThree" presStyleCnt="0"/>
      <dgm:spPr/>
    </dgm:pt>
    <dgm:pt modelId="{8C0201CF-CF21-428F-B12F-0CC4B3C366B8}" type="pres">
      <dgm:prSet presAssocID="{8450CDC5-A830-494D-9582-84C67C0B2B77}" presName="vertFour" presStyleCnt="0">
        <dgm:presLayoutVars>
          <dgm:chPref val="3"/>
        </dgm:presLayoutVars>
      </dgm:prSet>
      <dgm:spPr/>
    </dgm:pt>
    <dgm:pt modelId="{A7E2333D-A890-46C1-A309-7C62A5328CE0}" type="pres">
      <dgm:prSet presAssocID="{8450CDC5-A830-494D-9582-84C67C0B2B77}" presName="txFour" presStyleLbl="node4" presStyleIdx="0" presStyleCnt="2" custScaleX="94238">
        <dgm:presLayoutVars>
          <dgm:chPref val="3"/>
        </dgm:presLayoutVars>
      </dgm:prSet>
      <dgm:spPr/>
    </dgm:pt>
    <dgm:pt modelId="{3DD54417-3C79-40EF-8079-D332FCC0D3B2}" type="pres">
      <dgm:prSet presAssocID="{8450CDC5-A830-494D-9582-84C67C0B2B77}" presName="parTransFour" presStyleCnt="0"/>
      <dgm:spPr/>
    </dgm:pt>
    <dgm:pt modelId="{CA2A0D5F-6A88-41F5-ABDA-73EB1495A7D8}" type="pres">
      <dgm:prSet presAssocID="{8450CDC5-A830-494D-9582-84C67C0B2B77}" presName="horzFour" presStyleCnt="0"/>
      <dgm:spPr/>
    </dgm:pt>
    <dgm:pt modelId="{C1DDB89B-9FD0-45F0-92E1-735929446E11}" type="pres">
      <dgm:prSet presAssocID="{1DF55159-C97B-409E-8059-18C4F3E3BEE2}" presName="vertFour" presStyleCnt="0">
        <dgm:presLayoutVars>
          <dgm:chPref val="3"/>
        </dgm:presLayoutVars>
      </dgm:prSet>
      <dgm:spPr/>
    </dgm:pt>
    <dgm:pt modelId="{EF02F223-52A6-43C2-80DC-853DD2590C8F}" type="pres">
      <dgm:prSet presAssocID="{1DF55159-C97B-409E-8059-18C4F3E3BEE2}" presName="txFour" presStyleLbl="node4" presStyleIdx="1" presStyleCnt="2" custScaleX="89557">
        <dgm:presLayoutVars>
          <dgm:chPref val="3"/>
        </dgm:presLayoutVars>
      </dgm:prSet>
      <dgm:spPr/>
    </dgm:pt>
    <dgm:pt modelId="{8944C39A-594F-400D-82A9-0323BB107774}" type="pres">
      <dgm:prSet presAssocID="{1DF55159-C97B-409E-8059-18C4F3E3BEE2}" presName="horzFour" presStyleCnt="0"/>
      <dgm:spPr/>
    </dgm:pt>
  </dgm:ptLst>
  <dgm:cxnLst>
    <dgm:cxn modelId="{C27A8154-4333-4ECD-897C-E30AAF958EE0}" type="presOf" srcId="{F39B0E31-3F4D-4234-A54B-D0969CB76D06}" destId="{CC042095-245F-4ADC-919C-A4F4188B0BF4}" srcOrd="0" destOrd="0" presId="urn:microsoft.com/office/officeart/2005/8/layout/hierarchy4"/>
    <dgm:cxn modelId="{8AFE4D7A-0BFB-4BB6-9262-8DFE3AD340F8}" type="presOf" srcId="{8450CDC5-A830-494D-9582-84C67C0B2B77}" destId="{A7E2333D-A890-46C1-A309-7C62A5328CE0}" srcOrd="0" destOrd="0" presId="urn:microsoft.com/office/officeart/2005/8/layout/hierarchy4"/>
    <dgm:cxn modelId="{7DD44A83-9EB5-44B1-AB45-F8A17FD75D1D}" type="presOf" srcId="{1DF55159-C97B-409E-8059-18C4F3E3BEE2}" destId="{EF02F223-52A6-43C2-80DC-853DD2590C8F}" srcOrd="0" destOrd="0" presId="urn:microsoft.com/office/officeart/2005/8/layout/hierarchy4"/>
    <dgm:cxn modelId="{4FEF2F8C-B3C4-4E5E-9F07-FECDCA9E829C}" srcId="{AE0FE953-6013-44E0-AE61-1EAFC270A97C}" destId="{8450CDC5-A830-494D-9582-84C67C0B2B77}" srcOrd="0" destOrd="0" parTransId="{10CADA5D-875D-41DF-8FF0-08EF17A1E04F}" sibTransId="{602BD5F1-8E4D-415F-8DE7-CF8E8449534C}"/>
    <dgm:cxn modelId="{D88C3C91-55CA-4A39-9627-DE84171CFC1D}" type="presOf" srcId="{B287D87F-258D-4C9D-9126-1EAA29310C48}" destId="{F80DBAD6-040B-45C1-AADF-84B052693733}" srcOrd="0" destOrd="0" presId="urn:microsoft.com/office/officeart/2005/8/layout/hierarchy4"/>
    <dgm:cxn modelId="{A3AE8291-E30C-4426-8E8E-B401D99131FD}" type="presOf" srcId="{A1CE814A-0F2F-45C5-BCFA-6CF8E19EBF95}" destId="{C9D5D025-A7ED-426F-93A2-5E92FF93D440}" srcOrd="0" destOrd="0" presId="urn:microsoft.com/office/officeart/2005/8/layout/hierarchy4"/>
    <dgm:cxn modelId="{AA6D119A-6184-4196-AB90-F4C526C3529A}" srcId="{A1CE814A-0F2F-45C5-BCFA-6CF8E19EBF95}" destId="{F39B0E31-3F4D-4234-A54B-D0969CB76D06}" srcOrd="0" destOrd="0" parTransId="{B00086EB-0B97-4B47-ACCC-9C8400BADDFD}" sibTransId="{B6384D48-967B-41D1-8204-16E6B202821F}"/>
    <dgm:cxn modelId="{D01699C2-E4EA-41AE-96EA-7A60A7D7EA13}" type="presOf" srcId="{AE0FE953-6013-44E0-AE61-1EAFC270A97C}" destId="{4DE37092-85C9-4804-8F53-8F3B6F9FF1DE}" srcOrd="0" destOrd="0" presId="urn:microsoft.com/office/officeart/2005/8/layout/hierarchy4"/>
    <dgm:cxn modelId="{D94934CC-17FA-4D86-9D06-B8C3288769AE}" srcId="{B287D87F-258D-4C9D-9126-1EAA29310C48}" destId="{AE0FE953-6013-44E0-AE61-1EAFC270A97C}" srcOrd="0" destOrd="0" parTransId="{889F7713-F0A7-4832-B6DB-7093794FE599}" sibTransId="{C5776226-78BF-475A-AEA5-2FE977706593}"/>
    <dgm:cxn modelId="{92F2A4F4-EBCF-4A70-A4A5-E7D34B27DF39}" srcId="{F39B0E31-3F4D-4234-A54B-D0969CB76D06}" destId="{B287D87F-258D-4C9D-9126-1EAA29310C48}" srcOrd="0" destOrd="0" parTransId="{FA8D4B85-4E91-4668-A28D-A6284671DBEE}" sibTransId="{B0E7228D-32C6-4123-9A61-6CC949CEEC54}"/>
    <dgm:cxn modelId="{2D43D4F8-B068-495E-97C2-B2E6EE6F3860}" srcId="{8450CDC5-A830-494D-9582-84C67C0B2B77}" destId="{1DF55159-C97B-409E-8059-18C4F3E3BEE2}" srcOrd="0" destOrd="0" parTransId="{3872C1CE-5102-43FA-AB75-136F3619FB6B}" sibTransId="{7BC93FA4-ABDF-4D04-AC7B-BB0180DF968F}"/>
    <dgm:cxn modelId="{9771798A-5BBD-4163-83E7-5B7BA2CDD62D}" type="presParOf" srcId="{C9D5D025-A7ED-426F-93A2-5E92FF93D440}" destId="{D76D3587-BC8C-470F-831E-D465CA796C8C}" srcOrd="0" destOrd="0" presId="urn:microsoft.com/office/officeart/2005/8/layout/hierarchy4"/>
    <dgm:cxn modelId="{15457800-A8F9-4208-95C9-74AAC9C744D8}" type="presParOf" srcId="{D76D3587-BC8C-470F-831E-D465CA796C8C}" destId="{CC042095-245F-4ADC-919C-A4F4188B0BF4}" srcOrd="0" destOrd="0" presId="urn:microsoft.com/office/officeart/2005/8/layout/hierarchy4"/>
    <dgm:cxn modelId="{6D814DB3-F079-4BAA-B3E7-8FF178753B23}" type="presParOf" srcId="{D76D3587-BC8C-470F-831E-D465CA796C8C}" destId="{82729D63-E61B-48F5-B9DE-B4A078FDCE56}" srcOrd="1" destOrd="0" presId="urn:microsoft.com/office/officeart/2005/8/layout/hierarchy4"/>
    <dgm:cxn modelId="{796683B1-A8BC-44E2-B3E0-4FD4F5498312}" type="presParOf" srcId="{D76D3587-BC8C-470F-831E-D465CA796C8C}" destId="{63C17C6A-648C-41EF-8676-DDC2F081CC9D}" srcOrd="2" destOrd="0" presId="urn:microsoft.com/office/officeart/2005/8/layout/hierarchy4"/>
    <dgm:cxn modelId="{85410DAD-ED0D-4938-B23B-13DE0B5BA7CF}" type="presParOf" srcId="{63C17C6A-648C-41EF-8676-DDC2F081CC9D}" destId="{B7F5F4CC-C04D-456C-AB0C-9C62A8249500}" srcOrd="0" destOrd="0" presId="urn:microsoft.com/office/officeart/2005/8/layout/hierarchy4"/>
    <dgm:cxn modelId="{934B982B-5DC7-41FB-ADEA-AEA8F831C562}" type="presParOf" srcId="{B7F5F4CC-C04D-456C-AB0C-9C62A8249500}" destId="{F80DBAD6-040B-45C1-AADF-84B052693733}" srcOrd="0" destOrd="0" presId="urn:microsoft.com/office/officeart/2005/8/layout/hierarchy4"/>
    <dgm:cxn modelId="{C9BD3142-252B-48D3-9C1A-4296C1736FAE}" type="presParOf" srcId="{B7F5F4CC-C04D-456C-AB0C-9C62A8249500}" destId="{8D3CFBD4-E303-4AF6-ABF7-BD70357E6D8E}" srcOrd="1" destOrd="0" presId="urn:microsoft.com/office/officeart/2005/8/layout/hierarchy4"/>
    <dgm:cxn modelId="{13FDCC93-22B3-40C5-B11E-DD7D0F0D2782}" type="presParOf" srcId="{B7F5F4CC-C04D-456C-AB0C-9C62A8249500}" destId="{03708055-068C-4986-B474-CFC168BC4C4B}" srcOrd="2" destOrd="0" presId="urn:microsoft.com/office/officeart/2005/8/layout/hierarchy4"/>
    <dgm:cxn modelId="{DF879BAA-C569-4BB9-94F9-5F46F0F4A63E}" type="presParOf" srcId="{03708055-068C-4986-B474-CFC168BC4C4B}" destId="{11BCD3DF-8EDC-4D2A-9A2F-4AABC321B2BB}" srcOrd="0" destOrd="0" presId="urn:microsoft.com/office/officeart/2005/8/layout/hierarchy4"/>
    <dgm:cxn modelId="{51577754-61E5-4037-BB63-1CC4F696DED1}" type="presParOf" srcId="{11BCD3DF-8EDC-4D2A-9A2F-4AABC321B2BB}" destId="{4DE37092-85C9-4804-8F53-8F3B6F9FF1DE}" srcOrd="0" destOrd="0" presId="urn:microsoft.com/office/officeart/2005/8/layout/hierarchy4"/>
    <dgm:cxn modelId="{655F6F1E-F1DD-4680-ADEC-E07E8FD6D39F}" type="presParOf" srcId="{11BCD3DF-8EDC-4D2A-9A2F-4AABC321B2BB}" destId="{1F80BD73-9217-48F8-95E1-335704FFE241}" srcOrd="1" destOrd="0" presId="urn:microsoft.com/office/officeart/2005/8/layout/hierarchy4"/>
    <dgm:cxn modelId="{2082C503-9766-48B7-A22E-99A37BC03C17}" type="presParOf" srcId="{11BCD3DF-8EDC-4D2A-9A2F-4AABC321B2BB}" destId="{2FAF54A0-4F4D-4412-AAC4-90E2B6DD9BA3}" srcOrd="2" destOrd="0" presId="urn:microsoft.com/office/officeart/2005/8/layout/hierarchy4"/>
    <dgm:cxn modelId="{90BAC83E-DDFA-4769-BF95-F12C33FFEA19}" type="presParOf" srcId="{2FAF54A0-4F4D-4412-AAC4-90E2B6DD9BA3}" destId="{8C0201CF-CF21-428F-B12F-0CC4B3C366B8}" srcOrd="0" destOrd="0" presId="urn:microsoft.com/office/officeart/2005/8/layout/hierarchy4"/>
    <dgm:cxn modelId="{96D0B5DD-8956-4106-84CA-56E0869A3D5C}" type="presParOf" srcId="{8C0201CF-CF21-428F-B12F-0CC4B3C366B8}" destId="{A7E2333D-A890-46C1-A309-7C62A5328CE0}" srcOrd="0" destOrd="0" presId="urn:microsoft.com/office/officeart/2005/8/layout/hierarchy4"/>
    <dgm:cxn modelId="{61BB048F-D197-4F3D-AAD0-FF9861B66F27}" type="presParOf" srcId="{8C0201CF-CF21-428F-B12F-0CC4B3C366B8}" destId="{3DD54417-3C79-40EF-8079-D332FCC0D3B2}" srcOrd="1" destOrd="0" presId="urn:microsoft.com/office/officeart/2005/8/layout/hierarchy4"/>
    <dgm:cxn modelId="{601721EF-FADD-48C2-9488-E5DEFCE3FF81}" type="presParOf" srcId="{8C0201CF-CF21-428F-B12F-0CC4B3C366B8}" destId="{CA2A0D5F-6A88-41F5-ABDA-73EB1495A7D8}" srcOrd="2" destOrd="0" presId="urn:microsoft.com/office/officeart/2005/8/layout/hierarchy4"/>
    <dgm:cxn modelId="{CB889DCF-021A-4C9D-949C-4090699C22C7}" type="presParOf" srcId="{CA2A0D5F-6A88-41F5-ABDA-73EB1495A7D8}" destId="{C1DDB89B-9FD0-45F0-92E1-735929446E11}" srcOrd="0" destOrd="0" presId="urn:microsoft.com/office/officeart/2005/8/layout/hierarchy4"/>
    <dgm:cxn modelId="{4501CCE5-F43D-473E-9183-37AE3E39F7F4}" type="presParOf" srcId="{C1DDB89B-9FD0-45F0-92E1-735929446E11}" destId="{EF02F223-52A6-43C2-80DC-853DD2590C8F}" srcOrd="0" destOrd="0" presId="urn:microsoft.com/office/officeart/2005/8/layout/hierarchy4"/>
    <dgm:cxn modelId="{5C3DB01C-4416-4E64-AD27-2B687E330727}" type="presParOf" srcId="{C1DDB89B-9FD0-45F0-92E1-735929446E11}" destId="{8944C39A-594F-400D-82A9-0323BB107774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A1CE814A-0F2F-45C5-BCFA-6CF8E19EBF95}" type="doc">
      <dgm:prSet loTypeId="urn:microsoft.com/office/officeart/2005/8/layout/hierarchy4" loCatId="list" qsTypeId="urn:microsoft.com/office/officeart/2005/8/quickstyle/simple5" qsCatId="simple" csTypeId="urn:microsoft.com/office/officeart/2005/8/colors/accent2_3" csCatId="accent2" phldr="1"/>
      <dgm:spPr/>
      <dgm:t>
        <a:bodyPr/>
        <a:lstStyle/>
        <a:p>
          <a:endParaRPr lang="zh-CN" altLang="en-US"/>
        </a:p>
      </dgm:t>
    </dgm:pt>
    <dgm:pt modelId="{F39B0E31-3F4D-4234-A54B-D0969CB76D06}">
      <dgm:prSet phldrT="[文本]"/>
      <dgm:spPr/>
      <dgm:t>
        <a:bodyPr/>
        <a:lstStyle/>
        <a:p>
          <a:r>
            <a:rPr lang="en-US" altLang="zh-CN" b="1" dirty="0"/>
            <a:t>Hello,1</a:t>
          </a:r>
          <a:endParaRPr lang="zh-CN" altLang="en-US" b="1" dirty="0"/>
        </a:p>
      </dgm:t>
    </dgm:pt>
    <dgm:pt modelId="{B00086EB-0B97-4B47-ACCC-9C8400BADDFD}" type="parTrans" cxnId="{AA6D119A-6184-4196-AB90-F4C526C3529A}">
      <dgm:prSet/>
      <dgm:spPr/>
      <dgm:t>
        <a:bodyPr/>
        <a:lstStyle/>
        <a:p>
          <a:endParaRPr lang="zh-CN" altLang="en-US"/>
        </a:p>
      </dgm:t>
    </dgm:pt>
    <dgm:pt modelId="{B6384D48-967B-41D1-8204-16E6B202821F}" type="sibTrans" cxnId="{AA6D119A-6184-4196-AB90-F4C526C3529A}">
      <dgm:prSet/>
      <dgm:spPr/>
      <dgm:t>
        <a:bodyPr/>
        <a:lstStyle/>
        <a:p>
          <a:endParaRPr lang="zh-CN" altLang="en-US"/>
        </a:p>
      </dgm:t>
    </dgm:pt>
    <dgm:pt modelId="{B287D87F-258D-4C9D-9126-1EAA29310C48}">
      <dgm:prSet phldrT="[文本]" custT="1"/>
      <dgm:spPr/>
      <dgm:t>
        <a:bodyPr/>
        <a:lstStyle/>
        <a:p>
          <a:r>
            <a:rPr lang="en-US" altLang="zh-CN" sz="1100" b="1" dirty="0"/>
            <a:t>I,1</a:t>
          </a:r>
          <a:endParaRPr lang="zh-CN" altLang="en-US" sz="1100" b="1" dirty="0"/>
        </a:p>
      </dgm:t>
    </dgm:pt>
    <dgm:pt modelId="{FA8D4B85-4E91-4668-A28D-A6284671DBEE}" type="parTrans" cxnId="{92F2A4F4-EBCF-4A70-A4A5-E7D34B27DF39}">
      <dgm:prSet/>
      <dgm:spPr/>
      <dgm:t>
        <a:bodyPr/>
        <a:lstStyle/>
        <a:p>
          <a:endParaRPr lang="zh-CN" altLang="en-US"/>
        </a:p>
      </dgm:t>
    </dgm:pt>
    <dgm:pt modelId="{B0E7228D-32C6-4123-9A61-6CC949CEEC54}" type="sibTrans" cxnId="{92F2A4F4-EBCF-4A70-A4A5-E7D34B27DF39}">
      <dgm:prSet/>
      <dgm:spPr/>
      <dgm:t>
        <a:bodyPr/>
        <a:lstStyle/>
        <a:p>
          <a:endParaRPr lang="zh-CN" altLang="en-US"/>
        </a:p>
      </dgm:t>
    </dgm:pt>
    <dgm:pt modelId="{AE0FE953-6013-44E0-AE61-1EAFC270A97C}">
      <dgm:prSet phldrT="[文本]" custT="1"/>
      <dgm:spPr/>
      <dgm:t>
        <a:bodyPr spcFirstLastPara="0" vert="horz" wrap="square" lIns="19050" tIns="19050" rIns="19050" bIns="19050" numCol="1" spcCol="1270" anchor="ctr" anchorCtr="0"/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>
              <a:latin typeface="Arial"/>
              <a:ea typeface="微软雅黑"/>
              <a:cs typeface="+mn-cs"/>
            </a:rPr>
            <a:t>Java,1</a:t>
          </a:r>
          <a:endParaRPr lang="zh-CN" altLang="en-US" sz="1100" b="1" kern="1200" dirty="0">
            <a:latin typeface="Arial"/>
            <a:ea typeface="微软雅黑"/>
            <a:cs typeface="+mn-cs"/>
          </a:endParaRPr>
        </a:p>
      </dgm:t>
    </dgm:pt>
    <dgm:pt modelId="{889F7713-F0A7-4832-B6DB-7093794FE599}" type="parTrans" cxnId="{D94934CC-17FA-4D86-9D06-B8C3288769AE}">
      <dgm:prSet/>
      <dgm:spPr/>
      <dgm:t>
        <a:bodyPr/>
        <a:lstStyle/>
        <a:p>
          <a:endParaRPr lang="zh-CN" altLang="en-US"/>
        </a:p>
      </dgm:t>
    </dgm:pt>
    <dgm:pt modelId="{C5776226-78BF-475A-AEA5-2FE977706593}" type="sibTrans" cxnId="{D94934CC-17FA-4D86-9D06-B8C3288769AE}">
      <dgm:prSet/>
      <dgm:spPr/>
      <dgm:t>
        <a:bodyPr/>
        <a:lstStyle/>
        <a:p>
          <a:endParaRPr lang="zh-CN" altLang="en-US"/>
        </a:p>
      </dgm:t>
    </dgm:pt>
    <dgm:pt modelId="{1DF55159-C97B-409E-8059-18C4F3E3BEE2}">
      <dgm:prSet phldrT="[文本]" custT="1"/>
      <dgm:spPr/>
      <dgm:t>
        <a:bodyPr spcFirstLastPara="0" vert="horz" wrap="square" lIns="19050" tIns="19050" rIns="19050" bIns="19050" numCol="1" spcCol="1270" anchor="ctr" anchorCtr="0"/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>
              <a:latin typeface="Arial"/>
              <a:ea typeface="微软雅黑"/>
              <a:cs typeface="+mn-cs"/>
            </a:rPr>
            <a:t>MapReduce,1</a:t>
          </a:r>
          <a:endParaRPr lang="zh-CN" altLang="en-US" sz="1100" b="1" kern="1200" dirty="0">
            <a:latin typeface="Arial"/>
            <a:ea typeface="微软雅黑"/>
            <a:cs typeface="+mn-cs"/>
          </a:endParaRPr>
        </a:p>
      </dgm:t>
    </dgm:pt>
    <dgm:pt modelId="{3872C1CE-5102-43FA-AB75-136F3619FB6B}" type="parTrans" cxnId="{2D43D4F8-B068-495E-97C2-B2E6EE6F3860}">
      <dgm:prSet/>
      <dgm:spPr/>
      <dgm:t>
        <a:bodyPr/>
        <a:lstStyle/>
        <a:p>
          <a:endParaRPr lang="zh-CN" altLang="en-US"/>
        </a:p>
      </dgm:t>
    </dgm:pt>
    <dgm:pt modelId="{7BC93FA4-ABDF-4D04-AC7B-BB0180DF968F}" type="sibTrans" cxnId="{2D43D4F8-B068-495E-97C2-B2E6EE6F3860}">
      <dgm:prSet/>
      <dgm:spPr/>
      <dgm:t>
        <a:bodyPr/>
        <a:lstStyle/>
        <a:p>
          <a:endParaRPr lang="zh-CN" altLang="en-US"/>
        </a:p>
      </dgm:t>
    </dgm:pt>
    <dgm:pt modelId="{8450CDC5-A830-494D-9582-84C67C0B2B77}">
      <dgm:prSet phldrT="[文本]"/>
      <dgm:spPr/>
      <dgm:t>
        <a:bodyPr/>
        <a:lstStyle/>
        <a:p>
          <a:r>
            <a:rPr lang="en-US" altLang="zh-CN" b="1" dirty="0"/>
            <a:t>like,1</a:t>
          </a:r>
          <a:endParaRPr lang="zh-CN" altLang="en-US" b="1" dirty="0"/>
        </a:p>
      </dgm:t>
    </dgm:pt>
    <dgm:pt modelId="{10CADA5D-875D-41DF-8FF0-08EF17A1E04F}" type="parTrans" cxnId="{4FEF2F8C-B3C4-4E5E-9F07-FECDCA9E829C}">
      <dgm:prSet/>
      <dgm:spPr/>
      <dgm:t>
        <a:bodyPr/>
        <a:lstStyle/>
        <a:p>
          <a:endParaRPr lang="zh-CN" altLang="en-US"/>
        </a:p>
      </dgm:t>
    </dgm:pt>
    <dgm:pt modelId="{602BD5F1-8E4D-415F-8DE7-CF8E8449534C}" type="sibTrans" cxnId="{4FEF2F8C-B3C4-4E5E-9F07-FECDCA9E829C}">
      <dgm:prSet/>
      <dgm:spPr/>
      <dgm:t>
        <a:bodyPr/>
        <a:lstStyle/>
        <a:p>
          <a:endParaRPr lang="zh-CN" altLang="en-US"/>
        </a:p>
      </dgm:t>
    </dgm:pt>
    <dgm:pt modelId="{C9D5D025-A7ED-426F-93A2-5E92FF93D440}" type="pres">
      <dgm:prSet presAssocID="{A1CE814A-0F2F-45C5-BCFA-6CF8E19EBF95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76D3587-BC8C-470F-831E-D465CA796C8C}" type="pres">
      <dgm:prSet presAssocID="{F39B0E31-3F4D-4234-A54B-D0969CB76D06}" presName="vertOne" presStyleCnt="0"/>
      <dgm:spPr/>
    </dgm:pt>
    <dgm:pt modelId="{CC042095-245F-4ADC-919C-A4F4188B0BF4}" type="pres">
      <dgm:prSet presAssocID="{F39B0E31-3F4D-4234-A54B-D0969CB76D06}" presName="txOne" presStyleLbl="node0" presStyleIdx="0" presStyleCnt="1" custScaleX="111848">
        <dgm:presLayoutVars>
          <dgm:chPref val="3"/>
        </dgm:presLayoutVars>
      </dgm:prSet>
      <dgm:spPr/>
    </dgm:pt>
    <dgm:pt modelId="{82729D63-E61B-48F5-B9DE-B4A078FDCE56}" type="pres">
      <dgm:prSet presAssocID="{F39B0E31-3F4D-4234-A54B-D0969CB76D06}" presName="parTransOne" presStyleCnt="0"/>
      <dgm:spPr/>
    </dgm:pt>
    <dgm:pt modelId="{63C17C6A-648C-41EF-8676-DDC2F081CC9D}" type="pres">
      <dgm:prSet presAssocID="{F39B0E31-3F4D-4234-A54B-D0969CB76D06}" presName="horzOne" presStyleCnt="0"/>
      <dgm:spPr/>
    </dgm:pt>
    <dgm:pt modelId="{B7F5F4CC-C04D-456C-AB0C-9C62A8249500}" type="pres">
      <dgm:prSet presAssocID="{B287D87F-258D-4C9D-9126-1EAA29310C48}" presName="vertTwo" presStyleCnt="0"/>
      <dgm:spPr/>
    </dgm:pt>
    <dgm:pt modelId="{F80DBAD6-040B-45C1-AADF-84B052693733}" type="pres">
      <dgm:prSet presAssocID="{B287D87F-258D-4C9D-9126-1EAA29310C48}" presName="txTwo" presStyleLbl="node2" presStyleIdx="0" presStyleCnt="1" custScaleX="101014">
        <dgm:presLayoutVars>
          <dgm:chPref val="3"/>
        </dgm:presLayoutVars>
      </dgm:prSet>
      <dgm:spPr/>
    </dgm:pt>
    <dgm:pt modelId="{56F82855-5F17-4863-829A-C96493345477}" type="pres">
      <dgm:prSet presAssocID="{B287D87F-258D-4C9D-9126-1EAA29310C48}" presName="parTransTwo" presStyleCnt="0"/>
      <dgm:spPr/>
    </dgm:pt>
    <dgm:pt modelId="{03708055-068C-4986-B474-CFC168BC4C4B}" type="pres">
      <dgm:prSet presAssocID="{B287D87F-258D-4C9D-9126-1EAA29310C48}" presName="horzTwo" presStyleCnt="0"/>
      <dgm:spPr/>
    </dgm:pt>
    <dgm:pt modelId="{3170F68C-0B77-4DA3-BE3B-397C18CF6012}" type="pres">
      <dgm:prSet presAssocID="{AE0FE953-6013-44E0-AE61-1EAFC270A97C}" presName="vertThree" presStyleCnt="0"/>
      <dgm:spPr/>
    </dgm:pt>
    <dgm:pt modelId="{5130EBAB-10D0-4E72-93AE-02897EBE41F2}" type="pres">
      <dgm:prSet presAssocID="{AE0FE953-6013-44E0-AE61-1EAFC270A97C}" presName="txThree" presStyleLbl="node3" presStyleIdx="0" presStyleCnt="1" custScaleX="95706">
        <dgm:presLayoutVars>
          <dgm:chPref val="3"/>
        </dgm:presLayoutVars>
      </dgm:prSet>
      <dgm:spPr/>
    </dgm:pt>
    <dgm:pt modelId="{CE4D9D14-9AEA-4428-82CD-5AA764931669}" type="pres">
      <dgm:prSet presAssocID="{AE0FE953-6013-44E0-AE61-1EAFC270A97C}" presName="parTransThree" presStyleCnt="0"/>
      <dgm:spPr/>
    </dgm:pt>
    <dgm:pt modelId="{573BF0AB-7D7E-46B8-B179-3EE5706F812B}" type="pres">
      <dgm:prSet presAssocID="{AE0FE953-6013-44E0-AE61-1EAFC270A97C}" presName="horzThree" presStyleCnt="0"/>
      <dgm:spPr/>
    </dgm:pt>
    <dgm:pt modelId="{24724817-5F59-47D3-9BB3-47561D9F5D06}" type="pres">
      <dgm:prSet presAssocID="{8450CDC5-A830-494D-9582-84C67C0B2B77}" presName="vertFour" presStyleCnt="0">
        <dgm:presLayoutVars>
          <dgm:chPref val="3"/>
        </dgm:presLayoutVars>
      </dgm:prSet>
      <dgm:spPr/>
    </dgm:pt>
    <dgm:pt modelId="{61E668EF-2E03-41F8-8B79-9D74C6A1BEC8}" type="pres">
      <dgm:prSet presAssocID="{8450CDC5-A830-494D-9582-84C67C0B2B77}" presName="txFour" presStyleLbl="node4" presStyleIdx="0" presStyleCnt="2" custScaleX="91072">
        <dgm:presLayoutVars>
          <dgm:chPref val="3"/>
        </dgm:presLayoutVars>
      </dgm:prSet>
      <dgm:spPr/>
    </dgm:pt>
    <dgm:pt modelId="{9434DDF8-A0D9-47C4-A85E-444B6F83B654}" type="pres">
      <dgm:prSet presAssocID="{8450CDC5-A830-494D-9582-84C67C0B2B77}" presName="parTransFour" presStyleCnt="0"/>
      <dgm:spPr/>
    </dgm:pt>
    <dgm:pt modelId="{77B557DD-B9D9-4B92-92D7-6B96A2D0ABAD}" type="pres">
      <dgm:prSet presAssocID="{8450CDC5-A830-494D-9582-84C67C0B2B77}" presName="horzFour" presStyleCnt="0"/>
      <dgm:spPr/>
    </dgm:pt>
    <dgm:pt modelId="{02EA31E6-1FF1-4079-9991-B898BEF8613F}" type="pres">
      <dgm:prSet presAssocID="{1DF55159-C97B-409E-8059-18C4F3E3BEE2}" presName="vertFour" presStyleCnt="0">
        <dgm:presLayoutVars>
          <dgm:chPref val="3"/>
        </dgm:presLayoutVars>
      </dgm:prSet>
      <dgm:spPr/>
    </dgm:pt>
    <dgm:pt modelId="{7E7CBA4A-9139-43CE-B7CF-03D14816B1BC}" type="pres">
      <dgm:prSet presAssocID="{1DF55159-C97B-409E-8059-18C4F3E3BEE2}" presName="txFour" presStyleLbl="node4" presStyleIdx="1" presStyleCnt="2" custScaleX="85835">
        <dgm:presLayoutVars>
          <dgm:chPref val="3"/>
        </dgm:presLayoutVars>
      </dgm:prSet>
      <dgm:spPr/>
    </dgm:pt>
    <dgm:pt modelId="{03596337-D0E2-4D60-925B-3EE969FC14C9}" type="pres">
      <dgm:prSet presAssocID="{1DF55159-C97B-409E-8059-18C4F3E3BEE2}" presName="horzFour" presStyleCnt="0"/>
      <dgm:spPr/>
    </dgm:pt>
  </dgm:ptLst>
  <dgm:cxnLst>
    <dgm:cxn modelId="{2BC2C713-9223-4990-B018-DAABBBE6B354}" type="presOf" srcId="{8450CDC5-A830-494D-9582-84C67C0B2B77}" destId="{61E668EF-2E03-41F8-8B79-9D74C6A1BEC8}" srcOrd="0" destOrd="0" presId="urn:microsoft.com/office/officeart/2005/8/layout/hierarchy4"/>
    <dgm:cxn modelId="{C27A8154-4333-4ECD-897C-E30AAF958EE0}" type="presOf" srcId="{F39B0E31-3F4D-4234-A54B-D0969CB76D06}" destId="{CC042095-245F-4ADC-919C-A4F4188B0BF4}" srcOrd="0" destOrd="0" presId="urn:microsoft.com/office/officeart/2005/8/layout/hierarchy4"/>
    <dgm:cxn modelId="{5D1F6F88-387F-49CD-B104-C9FF6BCE23FC}" type="presOf" srcId="{AE0FE953-6013-44E0-AE61-1EAFC270A97C}" destId="{5130EBAB-10D0-4E72-93AE-02897EBE41F2}" srcOrd="0" destOrd="0" presId="urn:microsoft.com/office/officeart/2005/8/layout/hierarchy4"/>
    <dgm:cxn modelId="{4FEF2F8C-B3C4-4E5E-9F07-FECDCA9E829C}" srcId="{AE0FE953-6013-44E0-AE61-1EAFC270A97C}" destId="{8450CDC5-A830-494D-9582-84C67C0B2B77}" srcOrd="0" destOrd="0" parTransId="{10CADA5D-875D-41DF-8FF0-08EF17A1E04F}" sibTransId="{602BD5F1-8E4D-415F-8DE7-CF8E8449534C}"/>
    <dgm:cxn modelId="{D88C3C91-55CA-4A39-9627-DE84171CFC1D}" type="presOf" srcId="{B287D87F-258D-4C9D-9126-1EAA29310C48}" destId="{F80DBAD6-040B-45C1-AADF-84B052693733}" srcOrd="0" destOrd="0" presId="urn:microsoft.com/office/officeart/2005/8/layout/hierarchy4"/>
    <dgm:cxn modelId="{A3AE8291-E30C-4426-8E8E-B401D99131FD}" type="presOf" srcId="{A1CE814A-0F2F-45C5-BCFA-6CF8E19EBF95}" destId="{C9D5D025-A7ED-426F-93A2-5E92FF93D440}" srcOrd="0" destOrd="0" presId="urn:microsoft.com/office/officeart/2005/8/layout/hierarchy4"/>
    <dgm:cxn modelId="{AA6D119A-6184-4196-AB90-F4C526C3529A}" srcId="{A1CE814A-0F2F-45C5-BCFA-6CF8E19EBF95}" destId="{F39B0E31-3F4D-4234-A54B-D0969CB76D06}" srcOrd="0" destOrd="0" parTransId="{B00086EB-0B97-4B47-ACCC-9C8400BADDFD}" sibTransId="{B6384D48-967B-41D1-8204-16E6B202821F}"/>
    <dgm:cxn modelId="{E685429E-1A4D-4490-BFCF-D75EDE891B75}" type="presOf" srcId="{1DF55159-C97B-409E-8059-18C4F3E3BEE2}" destId="{7E7CBA4A-9139-43CE-B7CF-03D14816B1BC}" srcOrd="0" destOrd="0" presId="urn:microsoft.com/office/officeart/2005/8/layout/hierarchy4"/>
    <dgm:cxn modelId="{D94934CC-17FA-4D86-9D06-B8C3288769AE}" srcId="{B287D87F-258D-4C9D-9126-1EAA29310C48}" destId="{AE0FE953-6013-44E0-AE61-1EAFC270A97C}" srcOrd="0" destOrd="0" parTransId="{889F7713-F0A7-4832-B6DB-7093794FE599}" sibTransId="{C5776226-78BF-475A-AEA5-2FE977706593}"/>
    <dgm:cxn modelId="{92F2A4F4-EBCF-4A70-A4A5-E7D34B27DF39}" srcId="{F39B0E31-3F4D-4234-A54B-D0969CB76D06}" destId="{B287D87F-258D-4C9D-9126-1EAA29310C48}" srcOrd="0" destOrd="0" parTransId="{FA8D4B85-4E91-4668-A28D-A6284671DBEE}" sibTransId="{B0E7228D-32C6-4123-9A61-6CC949CEEC54}"/>
    <dgm:cxn modelId="{2D43D4F8-B068-495E-97C2-B2E6EE6F3860}" srcId="{8450CDC5-A830-494D-9582-84C67C0B2B77}" destId="{1DF55159-C97B-409E-8059-18C4F3E3BEE2}" srcOrd="0" destOrd="0" parTransId="{3872C1CE-5102-43FA-AB75-136F3619FB6B}" sibTransId="{7BC93FA4-ABDF-4D04-AC7B-BB0180DF968F}"/>
    <dgm:cxn modelId="{9771798A-5BBD-4163-83E7-5B7BA2CDD62D}" type="presParOf" srcId="{C9D5D025-A7ED-426F-93A2-5E92FF93D440}" destId="{D76D3587-BC8C-470F-831E-D465CA796C8C}" srcOrd="0" destOrd="0" presId="urn:microsoft.com/office/officeart/2005/8/layout/hierarchy4"/>
    <dgm:cxn modelId="{15457800-A8F9-4208-95C9-74AAC9C744D8}" type="presParOf" srcId="{D76D3587-BC8C-470F-831E-D465CA796C8C}" destId="{CC042095-245F-4ADC-919C-A4F4188B0BF4}" srcOrd="0" destOrd="0" presId="urn:microsoft.com/office/officeart/2005/8/layout/hierarchy4"/>
    <dgm:cxn modelId="{6D814DB3-F079-4BAA-B3E7-8FF178753B23}" type="presParOf" srcId="{D76D3587-BC8C-470F-831E-D465CA796C8C}" destId="{82729D63-E61B-48F5-B9DE-B4A078FDCE56}" srcOrd="1" destOrd="0" presId="urn:microsoft.com/office/officeart/2005/8/layout/hierarchy4"/>
    <dgm:cxn modelId="{796683B1-A8BC-44E2-B3E0-4FD4F5498312}" type="presParOf" srcId="{D76D3587-BC8C-470F-831E-D465CA796C8C}" destId="{63C17C6A-648C-41EF-8676-DDC2F081CC9D}" srcOrd="2" destOrd="0" presId="urn:microsoft.com/office/officeart/2005/8/layout/hierarchy4"/>
    <dgm:cxn modelId="{85410DAD-ED0D-4938-B23B-13DE0B5BA7CF}" type="presParOf" srcId="{63C17C6A-648C-41EF-8676-DDC2F081CC9D}" destId="{B7F5F4CC-C04D-456C-AB0C-9C62A8249500}" srcOrd="0" destOrd="0" presId="urn:microsoft.com/office/officeart/2005/8/layout/hierarchy4"/>
    <dgm:cxn modelId="{934B982B-5DC7-41FB-ADEA-AEA8F831C562}" type="presParOf" srcId="{B7F5F4CC-C04D-456C-AB0C-9C62A8249500}" destId="{F80DBAD6-040B-45C1-AADF-84B052693733}" srcOrd="0" destOrd="0" presId="urn:microsoft.com/office/officeart/2005/8/layout/hierarchy4"/>
    <dgm:cxn modelId="{765A3B77-DB59-4D2C-97F5-8E196695AC5C}" type="presParOf" srcId="{B7F5F4CC-C04D-456C-AB0C-9C62A8249500}" destId="{56F82855-5F17-4863-829A-C96493345477}" srcOrd="1" destOrd="0" presId="urn:microsoft.com/office/officeart/2005/8/layout/hierarchy4"/>
    <dgm:cxn modelId="{13FDCC93-22B3-40C5-B11E-DD7D0F0D2782}" type="presParOf" srcId="{B7F5F4CC-C04D-456C-AB0C-9C62A8249500}" destId="{03708055-068C-4986-B474-CFC168BC4C4B}" srcOrd="2" destOrd="0" presId="urn:microsoft.com/office/officeart/2005/8/layout/hierarchy4"/>
    <dgm:cxn modelId="{6C0A78C8-0671-406F-873D-0B2000ED6D50}" type="presParOf" srcId="{03708055-068C-4986-B474-CFC168BC4C4B}" destId="{3170F68C-0B77-4DA3-BE3B-397C18CF6012}" srcOrd="0" destOrd="0" presId="urn:microsoft.com/office/officeart/2005/8/layout/hierarchy4"/>
    <dgm:cxn modelId="{6261C0E8-56E6-4AFA-BED8-BFF13F85499D}" type="presParOf" srcId="{3170F68C-0B77-4DA3-BE3B-397C18CF6012}" destId="{5130EBAB-10D0-4E72-93AE-02897EBE41F2}" srcOrd="0" destOrd="0" presId="urn:microsoft.com/office/officeart/2005/8/layout/hierarchy4"/>
    <dgm:cxn modelId="{81DACB41-E18D-47E4-93B2-8FAB1CE35538}" type="presParOf" srcId="{3170F68C-0B77-4DA3-BE3B-397C18CF6012}" destId="{CE4D9D14-9AEA-4428-82CD-5AA764931669}" srcOrd="1" destOrd="0" presId="urn:microsoft.com/office/officeart/2005/8/layout/hierarchy4"/>
    <dgm:cxn modelId="{C0A9A8E1-3F19-4077-BBE4-518AC6BC2BC9}" type="presParOf" srcId="{3170F68C-0B77-4DA3-BE3B-397C18CF6012}" destId="{573BF0AB-7D7E-46B8-B179-3EE5706F812B}" srcOrd="2" destOrd="0" presId="urn:microsoft.com/office/officeart/2005/8/layout/hierarchy4"/>
    <dgm:cxn modelId="{B83802D8-4C3A-48D1-A61B-A0974522BFF9}" type="presParOf" srcId="{573BF0AB-7D7E-46B8-B179-3EE5706F812B}" destId="{24724817-5F59-47D3-9BB3-47561D9F5D06}" srcOrd="0" destOrd="0" presId="urn:microsoft.com/office/officeart/2005/8/layout/hierarchy4"/>
    <dgm:cxn modelId="{6F5A9919-DF9C-4E01-BEA7-19EC9852BD79}" type="presParOf" srcId="{24724817-5F59-47D3-9BB3-47561D9F5D06}" destId="{61E668EF-2E03-41F8-8B79-9D74C6A1BEC8}" srcOrd="0" destOrd="0" presId="urn:microsoft.com/office/officeart/2005/8/layout/hierarchy4"/>
    <dgm:cxn modelId="{4A081024-502D-415E-98A6-49BF6D53671B}" type="presParOf" srcId="{24724817-5F59-47D3-9BB3-47561D9F5D06}" destId="{9434DDF8-A0D9-47C4-A85E-444B6F83B654}" srcOrd="1" destOrd="0" presId="urn:microsoft.com/office/officeart/2005/8/layout/hierarchy4"/>
    <dgm:cxn modelId="{A498BA77-B3E4-434D-A131-FBAEF3EA6C01}" type="presParOf" srcId="{24724817-5F59-47D3-9BB3-47561D9F5D06}" destId="{77B557DD-B9D9-4B92-92D7-6B96A2D0ABAD}" srcOrd="2" destOrd="0" presId="urn:microsoft.com/office/officeart/2005/8/layout/hierarchy4"/>
    <dgm:cxn modelId="{3728BA58-9F20-4D1C-93D6-492997863185}" type="presParOf" srcId="{77B557DD-B9D9-4B92-92D7-6B96A2D0ABAD}" destId="{02EA31E6-1FF1-4079-9991-B898BEF8613F}" srcOrd="0" destOrd="0" presId="urn:microsoft.com/office/officeart/2005/8/layout/hierarchy4"/>
    <dgm:cxn modelId="{F1C1F7E8-E9C5-4CA3-95BD-AB6836469403}" type="presParOf" srcId="{02EA31E6-1FF1-4079-9991-B898BEF8613F}" destId="{7E7CBA4A-9139-43CE-B7CF-03D14816B1BC}" srcOrd="0" destOrd="0" presId="urn:microsoft.com/office/officeart/2005/8/layout/hierarchy4"/>
    <dgm:cxn modelId="{85528B52-CCF5-4FA0-8B8C-3756CCF8EB40}" type="presParOf" srcId="{02EA31E6-1FF1-4079-9991-B898BEF8613F}" destId="{03596337-D0E2-4D60-925B-3EE969FC14C9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B3D44CC8-F902-4435-B00C-A0B3E2900149}" type="doc">
      <dgm:prSet loTypeId="urn:microsoft.com/office/officeart/2005/8/layout/hierarchy4" loCatId="list" qsTypeId="urn:microsoft.com/office/officeart/2005/8/quickstyle/simple5" qsCatId="simple" csTypeId="urn:microsoft.com/office/officeart/2005/8/colors/accent2_3" csCatId="accent2" phldr="1"/>
      <dgm:spPr/>
      <dgm:t>
        <a:bodyPr/>
        <a:lstStyle/>
        <a:p>
          <a:endParaRPr lang="zh-CN" altLang="en-US"/>
        </a:p>
      </dgm:t>
    </dgm:pt>
    <dgm:pt modelId="{4C01CD6C-9E49-4E2E-80A5-97C08F0A7055}">
      <dgm:prSet phldrT="[文本]"/>
      <dgm:spPr/>
      <dgm:t>
        <a:bodyPr/>
        <a:lstStyle/>
        <a:p>
          <a:r>
            <a:rPr lang="en-US" altLang="zh-CN" b="1" dirty="0"/>
            <a:t>Hadoop,1</a:t>
          </a:r>
          <a:endParaRPr lang="zh-CN" altLang="en-US" b="1" dirty="0"/>
        </a:p>
      </dgm:t>
    </dgm:pt>
    <dgm:pt modelId="{0905162D-6826-45C3-AA02-AAACCE326645}" type="parTrans" cxnId="{847A8DF9-1BF5-4B4F-A2EF-8EB8FA1DF45C}">
      <dgm:prSet/>
      <dgm:spPr/>
      <dgm:t>
        <a:bodyPr/>
        <a:lstStyle/>
        <a:p>
          <a:endParaRPr lang="zh-CN" altLang="en-US"/>
        </a:p>
      </dgm:t>
    </dgm:pt>
    <dgm:pt modelId="{D9792A31-7033-4CDD-B22A-EC0E8F2CF01A}" type="sibTrans" cxnId="{847A8DF9-1BF5-4B4F-A2EF-8EB8FA1DF45C}">
      <dgm:prSet/>
      <dgm:spPr/>
      <dgm:t>
        <a:bodyPr/>
        <a:lstStyle/>
        <a:p>
          <a:endParaRPr lang="zh-CN" altLang="en-US"/>
        </a:p>
      </dgm:t>
    </dgm:pt>
    <dgm:pt modelId="{1FE7151D-F4ED-4BB8-8E39-38E242C8C40C}">
      <dgm:prSet phldrT="[文本]"/>
      <dgm:spPr/>
      <dgm:t>
        <a:bodyPr/>
        <a:lstStyle/>
        <a:p>
          <a:r>
            <a:rPr lang="en-US" altLang="zh-CN" b="1" dirty="0"/>
            <a:t>Hello,1</a:t>
          </a:r>
          <a:endParaRPr lang="zh-CN" altLang="en-US" b="1" dirty="0"/>
        </a:p>
      </dgm:t>
    </dgm:pt>
    <dgm:pt modelId="{EF8786BE-E7D3-4BA2-8969-03440B4CDF16}" type="parTrans" cxnId="{A9653A13-0DB5-460F-95C5-ABE53DFA6398}">
      <dgm:prSet/>
      <dgm:spPr/>
      <dgm:t>
        <a:bodyPr/>
        <a:lstStyle/>
        <a:p>
          <a:endParaRPr lang="zh-CN" altLang="en-US"/>
        </a:p>
      </dgm:t>
    </dgm:pt>
    <dgm:pt modelId="{AC21A773-504F-4086-8410-805F5BB93AA9}" type="sibTrans" cxnId="{A9653A13-0DB5-460F-95C5-ABE53DFA6398}">
      <dgm:prSet/>
      <dgm:spPr/>
      <dgm:t>
        <a:bodyPr/>
        <a:lstStyle/>
        <a:p>
          <a:endParaRPr lang="zh-CN" altLang="en-US"/>
        </a:p>
      </dgm:t>
    </dgm:pt>
    <dgm:pt modelId="{176FF3CF-790D-4B2C-AECB-9DB8C86DAABA}">
      <dgm:prSet phldrT="[文本]"/>
      <dgm:spPr/>
      <dgm:t>
        <a:bodyPr/>
        <a:lstStyle/>
        <a:p>
          <a:r>
            <a:rPr lang="en-US" altLang="zh-CN" b="1" dirty="0"/>
            <a:t>I,1</a:t>
          </a:r>
          <a:endParaRPr lang="zh-CN" altLang="en-US" b="1" dirty="0"/>
        </a:p>
      </dgm:t>
    </dgm:pt>
    <dgm:pt modelId="{76F2D570-B8BF-4B2A-845E-6B5490E2BBB4}" type="parTrans" cxnId="{7AF344C6-A73B-4979-8220-91A90A36E9A8}">
      <dgm:prSet/>
      <dgm:spPr/>
      <dgm:t>
        <a:bodyPr/>
        <a:lstStyle/>
        <a:p>
          <a:endParaRPr lang="zh-CN" altLang="en-US"/>
        </a:p>
      </dgm:t>
    </dgm:pt>
    <dgm:pt modelId="{85E480AE-A0C0-4AB3-8DA6-8E3FEC1ACA92}" type="sibTrans" cxnId="{7AF344C6-A73B-4979-8220-91A90A36E9A8}">
      <dgm:prSet/>
      <dgm:spPr/>
      <dgm:t>
        <a:bodyPr/>
        <a:lstStyle/>
        <a:p>
          <a:endParaRPr lang="zh-CN" altLang="en-US"/>
        </a:p>
      </dgm:t>
    </dgm:pt>
    <dgm:pt modelId="{B23D5869-D275-4723-8572-85A20CA205F8}">
      <dgm:prSet phldrT="[文本]"/>
      <dgm:spPr/>
      <dgm:t>
        <a:bodyPr/>
        <a:lstStyle/>
        <a:p>
          <a:r>
            <a:rPr lang="en-US" altLang="zh-CN" b="1" dirty="0"/>
            <a:t>like,1</a:t>
          </a:r>
          <a:endParaRPr lang="zh-CN" altLang="en-US" b="1" dirty="0"/>
        </a:p>
      </dgm:t>
    </dgm:pt>
    <dgm:pt modelId="{38976CEB-0B6B-4862-8AB3-60FB61C118E7}" type="parTrans" cxnId="{B6DC3910-C709-40D9-94F6-6555721E1BED}">
      <dgm:prSet/>
      <dgm:spPr/>
      <dgm:t>
        <a:bodyPr/>
        <a:lstStyle/>
        <a:p>
          <a:endParaRPr lang="zh-CN" altLang="en-US"/>
        </a:p>
      </dgm:t>
    </dgm:pt>
    <dgm:pt modelId="{09453957-C296-4C3C-9270-6281874F6800}" type="sibTrans" cxnId="{B6DC3910-C709-40D9-94F6-6555721E1BED}">
      <dgm:prSet/>
      <dgm:spPr/>
      <dgm:t>
        <a:bodyPr/>
        <a:lstStyle/>
        <a:p>
          <a:endParaRPr lang="zh-CN" altLang="en-US"/>
        </a:p>
      </dgm:t>
    </dgm:pt>
    <dgm:pt modelId="{1304D920-2679-4E84-A742-0033746BB46D}">
      <dgm:prSet phldrT="[文本]"/>
      <dgm:spPr/>
      <dgm:t>
        <a:bodyPr/>
        <a:lstStyle/>
        <a:p>
          <a:r>
            <a:rPr lang="en-US" altLang="zh-CN" b="1" dirty="0"/>
            <a:t>World,1</a:t>
          </a:r>
          <a:endParaRPr lang="zh-CN" altLang="en-US" b="1" dirty="0"/>
        </a:p>
      </dgm:t>
    </dgm:pt>
    <dgm:pt modelId="{8F2C817D-6D96-43AC-BA7B-D19319EE3CC2}" type="sibTrans" cxnId="{FCE627FA-97A0-46DF-BED5-3B425325278E}">
      <dgm:prSet/>
      <dgm:spPr/>
      <dgm:t>
        <a:bodyPr/>
        <a:lstStyle/>
        <a:p>
          <a:endParaRPr lang="zh-CN" altLang="en-US"/>
        </a:p>
      </dgm:t>
    </dgm:pt>
    <dgm:pt modelId="{A7657481-176B-4678-965F-C498818B337F}" type="parTrans" cxnId="{FCE627FA-97A0-46DF-BED5-3B425325278E}">
      <dgm:prSet/>
      <dgm:spPr/>
      <dgm:t>
        <a:bodyPr/>
        <a:lstStyle/>
        <a:p>
          <a:endParaRPr lang="zh-CN" altLang="en-US"/>
        </a:p>
      </dgm:t>
    </dgm:pt>
    <dgm:pt modelId="{E8D32AE5-5765-47A8-A364-D7503A6317B6}" type="pres">
      <dgm:prSet presAssocID="{B3D44CC8-F902-4435-B00C-A0B3E2900149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CF2B893E-8A21-4FA6-893B-4F8E9DA02F84}" type="pres">
      <dgm:prSet presAssocID="{4C01CD6C-9E49-4E2E-80A5-97C08F0A7055}" presName="vertOne" presStyleCnt="0"/>
      <dgm:spPr/>
    </dgm:pt>
    <dgm:pt modelId="{6235E8B9-DB89-4C2B-8565-D7EB39524393}" type="pres">
      <dgm:prSet presAssocID="{4C01CD6C-9E49-4E2E-80A5-97C08F0A7055}" presName="txOne" presStyleLbl="node0" presStyleIdx="0" presStyleCnt="1" custLinFactNeighborX="40409" custLinFactNeighborY="-3536">
        <dgm:presLayoutVars>
          <dgm:chPref val="3"/>
        </dgm:presLayoutVars>
      </dgm:prSet>
      <dgm:spPr/>
    </dgm:pt>
    <dgm:pt modelId="{B42FE87E-37B4-4160-91CF-2D289BFF418C}" type="pres">
      <dgm:prSet presAssocID="{4C01CD6C-9E49-4E2E-80A5-97C08F0A7055}" presName="parTransOne" presStyleCnt="0"/>
      <dgm:spPr/>
    </dgm:pt>
    <dgm:pt modelId="{C1282FB4-D253-47F1-B718-69A03298CCF4}" type="pres">
      <dgm:prSet presAssocID="{4C01CD6C-9E49-4E2E-80A5-97C08F0A7055}" presName="horzOne" presStyleCnt="0"/>
      <dgm:spPr/>
    </dgm:pt>
    <dgm:pt modelId="{39199C95-D66F-4D9D-9DB7-7A9D4F7D866B}" type="pres">
      <dgm:prSet presAssocID="{1FE7151D-F4ED-4BB8-8E39-38E242C8C40C}" presName="vertTwo" presStyleCnt="0"/>
      <dgm:spPr/>
    </dgm:pt>
    <dgm:pt modelId="{4750E58D-49B8-47CA-A11C-241656F8BE7A}" type="pres">
      <dgm:prSet presAssocID="{1FE7151D-F4ED-4BB8-8E39-38E242C8C40C}" presName="txTwo" presStyleLbl="node2" presStyleIdx="0" presStyleCnt="1" custScaleX="93726">
        <dgm:presLayoutVars>
          <dgm:chPref val="3"/>
        </dgm:presLayoutVars>
      </dgm:prSet>
      <dgm:spPr/>
    </dgm:pt>
    <dgm:pt modelId="{E2629673-4EBB-4564-AE92-06D88AC22629}" type="pres">
      <dgm:prSet presAssocID="{1FE7151D-F4ED-4BB8-8E39-38E242C8C40C}" presName="parTransTwo" presStyleCnt="0"/>
      <dgm:spPr/>
    </dgm:pt>
    <dgm:pt modelId="{E995954E-4C63-43F7-80AB-391DEE18A8BA}" type="pres">
      <dgm:prSet presAssocID="{1FE7151D-F4ED-4BB8-8E39-38E242C8C40C}" presName="horzTwo" presStyleCnt="0"/>
      <dgm:spPr/>
    </dgm:pt>
    <dgm:pt modelId="{89BBC5AE-97FB-400F-8E32-CABE996A7F28}" type="pres">
      <dgm:prSet presAssocID="{176FF3CF-790D-4B2C-AECB-9DB8C86DAABA}" presName="vertThree" presStyleCnt="0"/>
      <dgm:spPr/>
    </dgm:pt>
    <dgm:pt modelId="{13C28A85-56C2-475F-81BC-8648DAEF60BF}" type="pres">
      <dgm:prSet presAssocID="{176FF3CF-790D-4B2C-AECB-9DB8C86DAABA}" presName="txThree" presStyleLbl="node3" presStyleIdx="0" presStyleCnt="1" custScaleX="85969">
        <dgm:presLayoutVars>
          <dgm:chPref val="3"/>
        </dgm:presLayoutVars>
      </dgm:prSet>
      <dgm:spPr/>
    </dgm:pt>
    <dgm:pt modelId="{A3E824D7-EB2A-4983-9FFB-62C22D11D0D9}" type="pres">
      <dgm:prSet presAssocID="{176FF3CF-790D-4B2C-AECB-9DB8C86DAABA}" presName="parTransThree" presStyleCnt="0"/>
      <dgm:spPr/>
    </dgm:pt>
    <dgm:pt modelId="{D730463B-6E64-46C3-89EA-C61B3FBE2FED}" type="pres">
      <dgm:prSet presAssocID="{176FF3CF-790D-4B2C-AECB-9DB8C86DAABA}" presName="horzThree" presStyleCnt="0"/>
      <dgm:spPr/>
    </dgm:pt>
    <dgm:pt modelId="{7E872A1C-2074-4597-BB76-99B1E311D494}" type="pres">
      <dgm:prSet presAssocID="{B23D5869-D275-4723-8572-85A20CA205F8}" presName="vertFour" presStyleCnt="0">
        <dgm:presLayoutVars>
          <dgm:chPref val="3"/>
        </dgm:presLayoutVars>
      </dgm:prSet>
      <dgm:spPr/>
    </dgm:pt>
    <dgm:pt modelId="{C0F88DFC-B9A5-4962-8B3C-9C4CB4788D59}" type="pres">
      <dgm:prSet presAssocID="{B23D5869-D275-4723-8572-85A20CA205F8}" presName="txFour" presStyleLbl="node4" presStyleIdx="0" presStyleCnt="2" custScaleX="82320">
        <dgm:presLayoutVars>
          <dgm:chPref val="3"/>
        </dgm:presLayoutVars>
      </dgm:prSet>
      <dgm:spPr/>
    </dgm:pt>
    <dgm:pt modelId="{01819054-E4A2-4D90-AE9F-D946833994F2}" type="pres">
      <dgm:prSet presAssocID="{B23D5869-D275-4723-8572-85A20CA205F8}" presName="parTransFour" presStyleCnt="0"/>
      <dgm:spPr/>
    </dgm:pt>
    <dgm:pt modelId="{5827710C-8FC6-44DE-AFB9-7EC9107D4918}" type="pres">
      <dgm:prSet presAssocID="{B23D5869-D275-4723-8572-85A20CA205F8}" presName="horzFour" presStyleCnt="0"/>
      <dgm:spPr/>
    </dgm:pt>
    <dgm:pt modelId="{F81DAAF6-4BA9-4B91-806B-107EA5790635}" type="pres">
      <dgm:prSet presAssocID="{1304D920-2679-4E84-A742-0033746BB46D}" presName="vertFour" presStyleCnt="0">
        <dgm:presLayoutVars>
          <dgm:chPref val="3"/>
        </dgm:presLayoutVars>
      </dgm:prSet>
      <dgm:spPr/>
    </dgm:pt>
    <dgm:pt modelId="{A00B4E21-56CE-466F-A246-DEF04D17E6C9}" type="pres">
      <dgm:prSet presAssocID="{1304D920-2679-4E84-A742-0033746BB46D}" presName="txFour" presStyleLbl="node4" presStyleIdx="1" presStyleCnt="2" custScaleX="76940">
        <dgm:presLayoutVars>
          <dgm:chPref val="3"/>
        </dgm:presLayoutVars>
      </dgm:prSet>
      <dgm:spPr/>
    </dgm:pt>
    <dgm:pt modelId="{1F206F76-AC7A-465B-80B8-8F5A75B150AE}" type="pres">
      <dgm:prSet presAssocID="{1304D920-2679-4E84-A742-0033746BB46D}" presName="horzFour" presStyleCnt="0"/>
      <dgm:spPr/>
    </dgm:pt>
  </dgm:ptLst>
  <dgm:cxnLst>
    <dgm:cxn modelId="{B6DC3910-C709-40D9-94F6-6555721E1BED}" srcId="{176FF3CF-790D-4B2C-AECB-9DB8C86DAABA}" destId="{B23D5869-D275-4723-8572-85A20CA205F8}" srcOrd="0" destOrd="0" parTransId="{38976CEB-0B6B-4862-8AB3-60FB61C118E7}" sibTransId="{09453957-C296-4C3C-9270-6281874F6800}"/>
    <dgm:cxn modelId="{A9653A13-0DB5-460F-95C5-ABE53DFA6398}" srcId="{4C01CD6C-9E49-4E2E-80A5-97C08F0A7055}" destId="{1FE7151D-F4ED-4BB8-8E39-38E242C8C40C}" srcOrd="0" destOrd="0" parTransId="{EF8786BE-E7D3-4BA2-8969-03440B4CDF16}" sibTransId="{AC21A773-504F-4086-8410-805F5BB93AA9}"/>
    <dgm:cxn modelId="{01378B28-0C53-4CFE-958F-4BEC22697961}" type="presOf" srcId="{4C01CD6C-9E49-4E2E-80A5-97C08F0A7055}" destId="{6235E8B9-DB89-4C2B-8565-D7EB39524393}" srcOrd="0" destOrd="0" presId="urn:microsoft.com/office/officeart/2005/8/layout/hierarchy4"/>
    <dgm:cxn modelId="{D90B8C41-33CB-4D37-A47D-A90DDCDE99D1}" type="presOf" srcId="{176FF3CF-790D-4B2C-AECB-9DB8C86DAABA}" destId="{13C28A85-56C2-475F-81BC-8648DAEF60BF}" srcOrd="0" destOrd="0" presId="urn:microsoft.com/office/officeart/2005/8/layout/hierarchy4"/>
    <dgm:cxn modelId="{08A69C9A-60D3-452B-93CE-A24964DBF215}" type="presOf" srcId="{B3D44CC8-F902-4435-B00C-A0B3E2900149}" destId="{E8D32AE5-5765-47A8-A364-D7503A6317B6}" srcOrd="0" destOrd="0" presId="urn:microsoft.com/office/officeart/2005/8/layout/hierarchy4"/>
    <dgm:cxn modelId="{1605CDBD-EB6A-4EDA-B3DE-600D448F68EE}" type="presOf" srcId="{1304D920-2679-4E84-A742-0033746BB46D}" destId="{A00B4E21-56CE-466F-A246-DEF04D17E6C9}" srcOrd="0" destOrd="0" presId="urn:microsoft.com/office/officeart/2005/8/layout/hierarchy4"/>
    <dgm:cxn modelId="{7AF344C6-A73B-4979-8220-91A90A36E9A8}" srcId="{1FE7151D-F4ED-4BB8-8E39-38E242C8C40C}" destId="{176FF3CF-790D-4B2C-AECB-9DB8C86DAABA}" srcOrd="0" destOrd="0" parTransId="{76F2D570-B8BF-4B2A-845E-6B5490E2BBB4}" sibTransId="{85E480AE-A0C0-4AB3-8DA6-8E3FEC1ACA92}"/>
    <dgm:cxn modelId="{350968F0-642F-4128-A2E9-48CE9D8FD444}" type="presOf" srcId="{B23D5869-D275-4723-8572-85A20CA205F8}" destId="{C0F88DFC-B9A5-4962-8B3C-9C4CB4788D59}" srcOrd="0" destOrd="0" presId="urn:microsoft.com/office/officeart/2005/8/layout/hierarchy4"/>
    <dgm:cxn modelId="{ADB1FBF8-F6D9-45DB-AAD9-1EA5F5C5181D}" type="presOf" srcId="{1FE7151D-F4ED-4BB8-8E39-38E242C8C40C}" destId="{4750E58D-49B8-47CA-A11C-241656F8BE7A}" srcOrd="0" destOrd="0" presId="urn:microsoft.com/office/officeart/2005/8/layout/hierarchy4"/>
    <dgm:cxn modelId="{847A8DF9-1BF5-4B4F-A2EF-8EB8FA1DF45C}" srcId="{B3D44CC8-F902-4435-B00C-A0B3E2900149}" destId="{4C01CD6C-9E49-4E2E-80A5-97C08F0A7055}" srcOrd="0" destOrd="0" parTransId="{0905162D-6826-45C3-AA02-AAACCE326645}" sibTransId="{D9792A31-7033-4CDD-B22A-EC0E8F2CF01A}"/>
    <dgm:cxn modelId="{FCE627FA-97A0-46DF-BED5-3B425325278E}" srcId="{B23D5869-D275-4723-8572-85A20CA205F8}" destId="{1304D920-2679-4E84-A742-0033746BB46D}" srcOrd="0" destOrd="0" parTransId="{A7657481-176B-4678-965F-C498818B337F}" sibTransId="{8F2C817D-6D96-43AC-BA7B-D19319EE3CC2}"/>
    <dgm:cxn modelId="{84254C27-2FC7-489B-A603-A9F549C4CCB5}" type="presParOf" srcId="{E8D32AE5-5765-47A8-A364-D7503A6317B6}" destId="{CF2B893E-8A21-4FA6-893B-4F8E9DA02F84}" srcOrd="0" destOrd="0" presId="urn:microsoft.com/office/officeart/2005/8/layout/hierarchy4"/>
    <dgm:cxn modelId="{BD8413DD-067B-44E5-BEEE-F5CBF8666833}" type="presParOf" srcId="{CF2B893E-8A21-4FA6-893B-4F8E9DA02F84}" destId="{6235E8B9-DB89-4C2B-8565-D7EB39524393}" srcOrd="0" destOrd="0" presId="urn:microsoft.com/office/officeart/2005/8/layout/hierarchy4"/>
    <dgm:cxn modelId="{E97A6FF6-E9C3-44E2-B748-C690CAC7A160}" type="presParOf" srcId="{CF2B893E-8A21-4FA6-893B-4F8E9DA02F84}" destId="{B42FE87E-37B4-4160-91CF-2D289BFF418C}" srcOrd="1" destOrd="0" presId="urn:microsoft.com/office/officeart/2005/8/layout/hierarchy4"/>
    <dgm:cxn modelId="{3085D594-A6E7-41A6-A3BB-2E5D7AFADAD4}" type="presParOf" srcId="{CF2B893E-8A21-4FA6-893B-4F8E9DA02F84}" destId="{C1282FB4-D253-47F1-B718-69A03298CCF4}" srcOrd="2" destOrd="0" presId="urn:microsoft.com/office/officeart/2005/8/layout/hierarchy4"/>
    <dgm:cxn modelId="{9544D0C0-1D1A-4208-9E89-C4584D07720C}" type="presParOf" srcId="{C1282FB4-D253-47F1-B718-69A03298CCF4}" destId="{39199C95-D66F-4D9D-9DB7-7A9D4F7D866B}" srcOrd="0" destOrd="0" presId="urn:microsoft.com/office/officeart/2005/8/layout/hierarchy4"/>
    <dgm:cxn modelId="{49F2CF77-C2E1-4D33-AE0F-98618C880B77}" type="presParOf" srcId="{39199C95-D66F-4D9D-9DB7-7A9D4F7D866B}" destId="{4750E58D-49B8-47CA-A11C-241656F8BE7A}" srcOrd="0" destOrd="0" presId="urn:microsoft.com/office/officeart/2005/8/layout/hierarchy4"/>
    <dgm:cxn modelId="{53F5D44D-8B17-4D4B-9C3D-7E7C2C5B119C}" type="presParOf" srcId="{39199C95-D66F-4D9D-9DB7-7A9D4F7D866B}" destId="{E2629673-4EBB-4564-AE92-06D88AC22629}" srcOrd="1" destOrd="0" presId="urn:microsoft.com/office/officeart/2005/8/layout/hierarchy4"/>
    <dgm:cxn modelId="{56F9DF85-0456-423E-AD16-4F406B5E9963}" type="presParOf" srcId="{39199C95-D66F-4D9D-9DB7-7A9D4F7D866B}" destId="{E995954E-4C63-43F7-80AB-391DEE18A8BA}" srcOrd="2" destOrd="0" presId="urn:microsoft.com/office/officeart/2005/8/layout/hierarchy4"/>
    <dgm:cxn modelId="{B26E62B9-7878-4011-90DC-616A07183C3F}" type="presParOf" srcId="{E995954E-4C63-43F7-80AB-391DEE18A8BA}" destId="{89BBC5AE-97FB-400F-8E32-CABE996A7F28}" srcOrd="0" destOrd="0" presId="urn:microsoft.com/office/officeart/2005/8/layout/hierarchy4"/>
    <dgm:cxn modelId="{E4E37B6A-9BA3-4BD3-80C6-9AFE6D1D0E22}" type="presParOf" srcId="{89BBC5AE-97FB-400F-8E32-CABE996A7F28}" destId="{13C28A85-56C2-475F-81BC-8648DAEF60BF}" srcOrd="0" destOrd="0" presId="urn:microsoft.com/office/officeart/2005/8/layout/hierarchy4"/>
    <dgm:cxn modelId="{2CCD5663-6E29-4A91-87A9-CC89C181BF19}" type="presParOf" srcId="{89BBC5AE-97FB-400F-8E32-CABE996A7F28}" destId="{A3E824D7-EB2A-4983-9FFB-62C22D11D0D9}" srcOrd="1" destOrd="0" presId="urn:microsoft.com/office/officeart/2005/8/layout/hierarchy4"/>
    <dgm:cxn modelId="{A2A08615-D973-4A77-982B-C4FFCBA3AA29}" type="presParOf" srcId="{89BBC5AE-97FB-400F-8E32-CABE996A7F28}" destId="{D730463B-6E64-46C3-89EA-C61B3FBE2FED}" srcOrd="2" destOrd="0" presId="urn:microsoft.com/office/officeart/2005/8/layout/hierarchy4"/>
    <dgm:cxn modelId="{2096236E-5556-452A-8AE8-38643CA372ED}" type="presParOf" srcId="{D730463B-6E64-46C3-89EA-C61B3FBE2FED}" destId="{7E872A1C-2074-4597-BB76-99B1E311D494}" srcOrd="0" destOrd="0" presId="urn:microsoft.com/office/officeart/2005/8/layout/hierarchy4"/>
    <dgm:cxn modelId="{2CB989E1-2974-443A-BA25-BB53D9BD1BAD}" type="presParOf" srcId="{7E872A1C-2074-4597-BB76-99B1E311D494}" destId="{C0F88DFC-B9A5-4962-8B3C-9C4CB4788D59}" srcOrd="0" destOrd="0" presId="urn:microsoft.com/office/officeart/2005/8/layout/hierarchy4"/>
    <dgm:cxn modelId="{912F3A55-60F6-46A3-99BA-E979563E2929}" type="presParOf" srcId="{7E872A1C-2074-4597-BB76-99B1E311D494}" destId="{01819054-E4A2-4D90-AE9F-D946833994F2}" srcOrd="1" destOrd="0" presId="urn:microsoft.com/office/officeart/2005/8/layout/hierarchy4"/>
    <dgm:cxn modelId="{E3B91F8D-76AB-45D2-A3DC-3409CC9719A3}" type="presParOf" srcId="{7E872A1C-2074-4597-BB76-99B1E311D494}" destId="{5827710C-8FC6-44DE-AFB9-7EC9107D4918}" srcOrd="2" destOrd="0" presId="urn:microsoft.com/office/officeart/2005/8/layout/hierarchy4"/>
    <dgm:cxn modelId="{40B3BAB6-9D98-475C-9A54-4AA2C7DBDEBA}" type="presParOf" srcId="{5827710C-8FC6-44DE-AFB9-7EC9107D4918}" destId="{F81DAAF6-4BA9-4B91-806B-107EA5790635}" srcOrd="0" destOrd="0" presId="urn:microsoft.com/office/officeart/2005/8/layout/hierarchy4"/>
    <dgm:cxn modelId="{7A466FC6-006B-4AAA-A1E7-5D17A9ED7BCB}" type="presParOf" srcId="{F81DAAF6-4BA9-4B91-806B-107EA5790635}" destId="{A00B4E21-56CE-466F-A246-DEF04D17E6C9}" srcOrd="0" destOrd="0" presId="urn:microsoft.com/office/officeart/2005/8/layout/hierarchy4"/>
    <dgm:cxn modelId="{0176676C-A450-4FC3-A437-258A32A3D0AA}" type="presParOf" srcId="{F81DAAF6-4BA9-4B91-806B-107EA5790635}" destId="{1F206F76-AC7A-465B-80B8-8F5A75B150AE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A1CE814A-0F2F-45C5-BCFA-6CF8E19EBF95}" type="doc">
      <dgm:prSet loTypeId="urn:microsoft.com/office/officeart/2005/8/layout/hierarchy4" loCatId="list" qsTypeId="urn:microsoft.com/office/officeart/2005/8/quickstyle/simple5" qsCatId="simple" csTypeId="urn:microsoft.com/office/officeart/2005/8/colors/accent2_3" csCatId="accent2" phldr="1"/>
      <dgm:spPr/>
      <dgm:t>
        <a:bodyPr/>
        <a:lstStyle/>
        <a:p>
          <a:endParaRPr lang="zh-CN" altLang="en-US"/>
        </a:p>
      </dgm:t>
    </dgm:pt>
    <dgm:pt modelId="{F39B0E31-3F4D-4234-A54B-D0969CB76D06}">
      <dgm:prSet phldrT="[文本]"/>
      <dgm:spPr/>
      <dgm:t>
        <a:bodyPr/>
        <a:lstStyle/>
        <a:p>
          <a:r>
            <a:rPr lang="en-US" altLang="zh-CN" b="1" dirty="0"/>
            <a:t>Hadoop,1</a:t>
          </a:r>
          <a:endParaRPr lang="zh-CN" altLang="en-US" b="1" dirty="0"/>
        </a:p>
      </dgm:t>
    </dgm:pt>
    <dgm:pt modelId="{B00086EB-0B97-4B47-ACCC-9C8400BADDFD}" type="parTrans" cxnId="{AA6D119A-6184-4196-AB90-F4C526C3529A}">
      <dgm:prSet/>
      <dgm:spPr/>
      <dgm:t>
        <a:bodyPr/>
        <a:lstStyle/>
        <a:p>
          <a:endParaRPr lang="zh-CN" altLang="en-US"/>
        </a:p>
      </dgm:t>
    </dgm:pt>
    <dgm:pt modelId="{B6384D48-967B-41D1-8204-16E6B202821F}" type="sibTrans" cxnId="{AA6D119A-6184-4196-AB90-F4C526C3529A}">
      <dgm:prSet/>
      <dgm:spPr/>
      <dgm:t>
        <a:bodyPr/>
        <a:lstStyle/>
        <a:p>
          <a:endParaRPr lang="zh-CN" altLang="en-US"/>
        </a:p>
      </dgm:t>
    </dgm:pt>
    <dgm:pt modelId="{B287D87F-258D-4C9D-9126-1EAA29310C48}">
      <dgm:prSet phldrT="[文本]" custT="1"/>
      <dgm:spPr/>
      <dgm:t>
        <a:bodyPr/>
        <a:lstStyle/>
        <a:p>
          <a:r>
            <a:rPr lang="en-US" altLang="zh-CN" sz="1100" b="1" dirty="0"/>
            <a:t>Hello,1</a:t>
          </a:r>
          <a:endParaRPr lang="zh-CN" altLang="en-US" sz="1100" b="1" dirty="0"/>
        </a:p>
      </dgm:t>
    </dgm:pt>
    <dgm:pt modelId="{FA8D4B85-4E91-4668-A28D-A6284671DBEE}" type="parTrans" cxnId="{92F2A4F4-EBCF-4A70-A4A5-E7D34B27DF39}">
      <dgm:prSet/>
      <dgm:spPr/>
      <dgm:t>
        <a:bodyPr/>
        <a:lstStyle/>
        <a:p>
          <a:endParaRPr lang="zh-CN" altLang="en-US"/>
        </a:p>
      </dgm:t>
    </dgm:pt>
    <dgm:pt modelId="{B0E7228D-32C6-4123-9A61-6CC949CEEC54}" type="sibTrans" cxnId="{92F2A4F4-EBCF-4A70-A4A5-E7D34B27DF39}">
      <dgm:prSet/>
      <dgm:spPr/>
      <dgm:t>
        <a:bodyPr/>
        <a:lstStyle/>
        <a:p>
          <a:endParaRPr lang="zh-CN" altLang="en-US"/>
        </a:p>
      </dgm:t>
    </dgm:pt>
    <dgm:pt modelId="{AE0FE953-6013-44E0-AE61-1EAFC270A97C}">
      <dgm:prSet phldrT="[文本]" custT="1"/>
      <dgm:spPr/>
      <dgm:t>
        <a:bodyPr spcFirstLastPara="0" vert="horz" wrap="square" lIns="19050" tIns="19050" rIns="19050" bIns="19050" numCol="1" spcCol="1270" anchor="ctr" anchorCtr="0"/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>
              <a:latin typeface="Arial"/>
              <a:ea typeface="微软雅黑"/>
              <a:cs typeface="+mn-cs"/>
            </a:rPr>
            <a:t>I,1</a:t>
          </a:r>
          <a:endParaRPr lang="zh-CN" altLang="en-US" sz="1100" b="1" kern="1200" dirty="0">
            <a:latin typeface="Arial"/>
            <a:ea typeface="微软雅黑"/>
            <a:cs typeface="+mn-cs"/>
          </a:endParaRPr>
        </a:p>
      </dgm:t>
    </dgm:pt>
    <dgm:pt modelId="{889F7713-F0A7-4832-B6DB-7093794FE599}" type="parTrans" cxnId="{D94934CC-17FA-4D86-9D06-B8C3288769AE}">
      <dgm:prSet/>
      <dgm:spPr/>
      <dgm:t>
        <a:bodyPr/>
        <a:lstStyle/>
        <a:p>
          <a:endParaRPr lang="zh-CN" altLang="en-US"/>
        </a:p>
      </dgm:t>
    </dgm:pt>
    <dgm:pt modelId="{C5776226-78BF-475A-AEA5-2FE977706593}" type="sibTrans" cxnId="{D94934CC-17FA-4D86-9D06-B8C3288769AE}">
      <dgm:prSet/>
      <dgm:spPr/>
      <dgm:t>
        <a:bodyPr/>
        <a:lstStyle/>
        <a:p>
          <a:endParaRPr lang="zh-CN" altLang="en-US"/>
        </a:p>
      </dgm:t>
    </dgm:pt>
    <dgm:pt modelId="{1DF55159-C97B-409E-8059-18C4F3E3BEE2}">
      <dgm:prSet phldrT="[文本]" custT="1"/>
      <dgm:spPr/>
      <dgm:t>
        <a:bodyPr spcFirstLastPara="0" vert="horz" wrap="square" lIns="19050" tIns="19050" rIns="19050" bIns="19050" numCol="1" spcCol="1270" anchor="ctr" anchorCtr="0"/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050" b="1" kern="1200" dirty="0">
              <a:latin typeface="Arial"/>
              <a:ea typeface="微软雅黑"/>
              <a:cs typeface="+mn-cs"/>
            </a:rPr>
            <a:t>MapReduce,1</a:t>
          </a:r>
          <a:endParaRPr lang="zh-CN" altLang="en-US" sz="1050" b="1" kern="1200" dirty="0">
            <a:latin typeface="Arial"/>
            <a:ea typeface="微软雅黑"/>
            <a:cs typeface="+mn-cs"/>
          </a:endParaRPr>
        </a:p>
      </dgm:t>
    </dgm:pt>
    <dgm:pt modelId="{3872C1CE-5102-43FA-AB75-136F3619FB6B}" type="parTrans" cxnId="{2D43D4F8-B068-495E-97C2-B2E6EE6F3860}">
      <dgm:prSet/>
      <dgm:spPr/>
      <dgm:t>
        <a:bodyPr/>
        <a:lstStyle/>
        <a:p>
          <a:endParaRPr lang="zh-CN" altLang="en-US"/>
        </a:p>
      </dgm:t>
    </dgm:pt>
    <dgm:pt modelId="{7BC93FA4-ABDF-4D04-AC7B-BB0180DF968F}" type="sibTrans" cxnId="{2D43D4F8-B068-495E-97C2-B2E6EE6F3860}">
      <dgm:prSet/>
      <dgm:spPr/>
      <dgm:t>
        <a:bodyPr/>
        <a:lstStyle/>
        <a:p>
          <a:endParaRPr lang="zh-CN" altLang="en-US"/>
        </a:p>
      </dgm:t>
    </dgm:pt>
    <dgm:pt modelId="{8450CDC5-A830-494D-9582-84C67C0B2B77}">
      <dgm:prSet phldrT="[文本]"/>
      <dgm:spPr/>
      <dgm:t>
        <a:bodyPr/>
        <a:lstStyle/>
        <a:p>
          <a:r>
            <a:rPr lang="en-US" altLang="zh-CN" b="1" dirty="0"/>
            <a:t>like,1</a:t>
          </a:r>
          <a:endParaRPr lang="zh-CN" altLang="en-US" b="1" dirty="0"/>
        </a:p>
      </dgm:t>
    </dgm:pt>
    <dgm:pt modelId="{10CADA5D-875D-41DF-8FF0-08EF17A1E04F}" type="parTrans" cxnId="{4FEF2F8C-B3C4-4E5E-9F07-FECDCA9E829C}">
      <dgm:prSet/>
      <dgm:spPr/>
      <dgm:t>
        <a:bodyPr/>
        <a:lstStyle/>
        <a:p>
          <a:endParaRPr lang="zh-CN" altLang="en-US"/>
        </a:p>
      </dgm:t>
    </dgm:pt>
    <dgm:pt modelId="{602BD5F1-8E4D-415F-8DE7-CF8E8449534C}" type="sibTrans" cxnId="{4FEF2F8C-B3C4-4E5E-9F07-FECDCA9E829C}">
      <dgm:prSet/>
      <dgm:spPr/>
      <dgm:t>
        <a:bodyPr/>
        <a:lstStyle/>
        <a:p>
          <a:endParaRPr lang="zh-CN" altLang="en-US"/>
        </a:p>
      </dgm:t>
    </dgm:pt>
    <dgm:pt modelId="{C9D5D025-A7ED-426F-93A2-5E92FF93D440}" type="pres">
      <dgm:prSet presAssocID="{A1CE814A-0F2F-45C5-BCFA-6CF8E19EBF95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76D3587-BC8C-470F-831E-D465CA796C8C}" type="pres">
      <dgm:prSet presAssocID="{F39B0E31-3F4D-4234-A54B-D0969CB76D06}" presName="vertOne" presStyleCnt="0"/>
      <dgm:spPr/>
    </dgm:pt>
    <dgm:pt modelId="{CC042095-245F-4ADC-919C-A4F4188B0BF4}" type="pres">
      <dgm:prSet presAssocID="{F39B0E31-3F4D-4234-A54B-D0969CB76D06}" presName="txOne" presStyleLbl="node0" presStyleIdx="0" presStyleCnt="1" custScaleX="111848">
        <dgm:presLayoutVars>
          <dgm:chPref val="3"/>
        </dgm:presLayoutVars>
      </dgm:prSet>
      <dgm:spPr/>
    </dgm:pt>
    <dgm:pt modelId="{82729D63-E61B-48F5-B9DE-B4A078FDCE56}" type="pres">
      <dgm:prSet presAssocID="{F39B0E31-3F4D-4234-A54B-D0969CB76D06}" presName="parTransOne" presStyleCnt="0"/>
      <dgm:spPr/>
    </dgm:pt>
    <dgm:pt modelId="{63C17C6A-648C-41EF-8676-DDC2F081CC9D}" type="pres">
      <dgm:prSet presAssocID="{F39B0E31-3F4D-4234-A54B-D0969CB76D06}" presName="horzOne" presStyleCnt="0"/>
      <dgm:spPr/>
    </dgm:pt>
    <dgm:pt modelId="{B7F5F4CC-C04D-456C-AB0C-9C62A8249500}" type="pres">
      <dgm:prSet presAssocID="{B287D87F-258D-4C9D-9126-1EAA29310C48}" presName="vertTwo" presStyleCnt="0"/>
      <dgm:spPr/>
    </dgm:pt>
    <dgm:pt modelId="{F80DBAD6-040B-45C1-AADF-84B052693733}" type="pres">
      <dgm:prSet presAssocID="{B287D87F-258D-4C9D-9126-1EAA29310C48}" presName="txTwo" presStyleLbl="node2" presStyleIdx="0" presStyleCnt="1" custScaleX="104781">
        <dgm:presLayoutVars>
          <dgm:chPref val="3"/>
        </dgm:presLayoutVars>
      </dgm:prSet>
      <dgm:spPr/>
    </dgm:pt>
    <dgm:pt modelId="{8D3CFBD4-E303-4AF6-ABF7-BD70357E6D8E}" type="pres">
      <dgm:prSet presAssocID="{B287D87F-258D-4C9D-9126-1EAA29310C48}" presName="parTransTwo" presStyleCnt="0"/>
      <dgm:spPr/>
    </dgm:pt>
    <dgm:pt modelId="{03708055-068C-4986-B474-CFC168BC4C4B}" type="pres">
      <dgm:prSet presAssocID="{B287D87F-258D-4C9D-9126-1EAA29310C48}" presName="horzTwo" presStyleCnt="0"/>
      <dgm:spPr/>
    </dgm:pt>
    <dgm:pt modelId="{11BCD3DF-8EDC-4D2A-9A2F-4AABC321B2BB}" type="pres">
      <dgm:prSet presAssocID="{AE0FE953-6013-44E0-AE61-1EAFC270A97C}" presName="vertThree" presStyleCnt="0"/>
      <dgm:spPr/>
    </dgm:pt>
    <dgm:pt modelId="{4DE37092-85C9-4804-8F53-8F3B6F9FF1DE}" type="pres">
      <dgm:prSet presAssocID="{AE0FE953-6013-44E0-AE61-1EAFC270A97C}" presName="txThree" presStyleLbl="node3" presStyleIdx="0" presStyleCnt="1" custScaleX="99227">
        <dgm:presLayoutVars>
          <dgm:chPref val="3"/>
        </dgm:presLayoutVars>
      </dgm:prSet>
      <dgm:spPr/>
    </dgm:pt>
    <dgm:pt modelId="{1F80BD73-9217-48F8-95E1-335704FFE241}" type="pres">
      <dgm:prSet presAssocID="{AE0FE953-6013-44E0-AE61-1EAFC270A97C}" presName="parTransThree" presStyleCnt="0"/>
      <dgm:spPr/>
    </dgm:pt>
    <dgm:pt modelId="{2FAF54A0-4F4D-4412-AAC4-90E2B6DD9BA3}" type="pres">
      <dgm:prSet presAssocID="{AE0FE953-6013-44E0-AE61-1EAFC270A97C}" presName="horzThree" presStyleCnt="0"/>
      <dgm:spPr/>
    </dgm:pt>
    <dgm:pt modelId="{8C0201CF-CF21-428F-B12F-0CC4B3C366B8}" type="pres">
      <dgm:prSet presAssocID="{8450CDC5-A830-494D-9582-84C67C0B2B77}" presName="vertFour" presStyleCnt="0">
        <dgm:presLayoutVars>
          <dgm:chPref val="3"/>
        </dgm:presLayoutVars>
      </dgm:prSet>
      <dgm:spPr/>
    </dgm:pt>
    <dgm:pt modelId="{A7E2333D-A890-46C1-A309-7C62A5328CE0}" type="pres">
      <dgm:prSet presAssocID="{8450CDC5-A830-494D-9582-84C67C0B2B77}" presName="txFour" presStyleLbl="node4" presStyleIdx="0" presStyleCnt="2" custScaleX="94238">
        <dgm:presLayoutVars>
          <dgm:chPref val="3"/>
        </dgm:presLayoutVars>
      </dgm:prSet>
      <dgm:spPr/>
    </dgm:pt>
    <dgm:pt modelId="{3DD54417-3C79-40EF-8079-D332FCC0D3B2}" type="pres">
      <dgm:prSet presAssocID="{8450CDC5-A830-494D-9582-84C67C0B2B77}" presName="parTransFour" presStyleCnt="0"/>
      <dgm:spPr/>
    </dgm:pt>
    <dgm:pt modelId="{CA2A0D5F-6A88-41F5-ABDA-73EB1495A7D8}" type="pres">
      <dgm:prSet presAssocID="{8450CDC5-A830-494D-9582-84C67C0B2B77}" presName="horzFour" presStyleCnt="0"/>
      <dgm:spPr/>
    </dgm:pt>
    <dgm:pt modelId="{C1DDB89B-9FD0-45F0-92E1-735929446E11}" type="pres">
      <dgm:prSet presAssocID="{1DF55159-C97B-409E-8059-18C4F3E3BEE2}" presName="vertFour" presStyleCnt="0">
        <dgm:presLayoutVars>
          <dgm:chPref val="3"/>
        </dgm:presLayoutVars>
      </dgm:prSet>
      <dgm:spPr/>
    </dgm:pt>
    <dgm:pt modelId="{EF02F223-52A6-43C2-80DC-853DD2590C8F}" type="pres">
      <dgm:prSet presAssocID="{1DF55159-C97B-409E-8059-18C4F3E3BEE2}" presName="txFour" presStyleLbl="node4" presStyleIdx="1" presStyleCnt="2" custScaleX="89557">
        <dgm:presLayoutVars>
          <dgm:chPref val="3"/>
        </dgm:presLayoutVars>
      </dgm:prSet>
      <dgm:spPr/>
    </dgm:pt>
    <dgm:pt modelId="{8944C39A-594F-400D-82A9-0323BB107774}" type="pres">
      <dgm:prSet presAssocID="{1DF55159-C97B-409E-8059-18C4F3E3BEE2}" presName="horzFour" presStyleCnt="0"/>
      <dgm:spPr/>
    </dgm:pt>
  </dgm:ptLst>
  <dgm:cxnLst>
    <dgm:cxn modelId="{C27A8154-4333-4ECD-897C-E30AAF958EE0}" type="presOf" srcId="{F39B0E31-3F4D-4234-A54B-D0969CB76D06}" destId="{CC042095-245F-4ADC-919C-A4F4188B0BF4}" srcOrd="0" destOrd="0" presId="urn:microsoft.com/office/officeart/2005/8/layout/hierarchy4"/>
    <dgm:cxn modelId="{8AFE4D7A-0BFB-4BB6-9262-8DFE3AD340F8}" type="presOf" srcId="{8450CDC5-A830-494D-9582-84C67C0B2B77}" destId="{A7E2333D-A890-46C1-A309-7C62A5328CE0}" srcOrd="0" destOrd="0" presId="urn:microsoft.com/office/officeart/2005/8/layout/hierarchy4"/>
    <dgm:cxn modelId="{7DD44A83-9EB5-44B1-AB45-F8A17FD75D1D}" type="presOf" srcId="{1DF55159-C97B-409E-8059-18C4F3E3BEE2}" destId="{EF02F223-52A6-43C2-80DC-853DD2590C8F}" srcOrd="0" destOrd="0" presId="urn:microsoft.com/office/officeart/2005/8/layout/hierarchy4"/>
    <dgm:cxn modelId="{4FEF2F8C-B3C4-4E5E-9F07-FECDCA9E829C}" srcId="{AE0FE953-6013-44E0-AE61-1EAFC270A97C}" destId="{8450CDC5-A830-494D-9582-84C67C0B2B77}" srcOrd="0" destOrd="0" parTransId="{10CADA5D-875D-41DF-8FF0-08EF17A1E04F}" sibTransId="{602BD5F1-8E4D-415F-8DE7-CF8E8449534C}"/>
    <dgm:cxn modelId="{D88C3C91-55CA-4A39-9627-DE84171CFC1D}" type="presOf" srcId="{B287D87F-258D-4C9D-9126-1EAA29310C48}" destId="{F80DBAD6-040B-45C1-AADF-84B052693733}" srcOrd="0" destOrd="0" presId="urn:microsoft.com/office/officeart/2005/8/layout/hierarchy4"/>
    <dgm:cxn modelId="{A3AE8291-E30C-4426-8E8E-B401D99131FD}" type="presOf" srcId="{A1CE814A-0F2F-45C5-BCFA-6CF8E19EBF95}" destId="{C9D5D025-A7ED-426F-93A2-5E92FF93D440}" srcOrd="0" destOrd="0" presId="urn:microsoft.com/office/officeart/2005/8/layout/hierarchy4"/>
    <dgm:cxn modelId="{AA6D119A-6184-4196-AB90-F4C526C3529A}" srcId="{A1CE814A-0F2F-45C5-BCFA-6CF8E19EBF95}" destId="{F39B0E31-3F4D-4234-A54B-D0969CB76D06}" srcOrd="0" destOrd="0" parTransId="{B00086EB-0B97-4B47-ACCC-9C8400BADDFD}" sibTransId="{B6384D48-967B-41D1-8204-16E6B202821F}"/>
    <dgm:cxn modelId="{D01699C2-E4EA-41AE-96EA-7A60A7D7EA13}" type="presOf" srcId="{AE0FE953-6013-44E0-AE61-1EAFC270A97C}" destId="{4DE37092-85C9-4804-8F53-8F3B6F9FF1DE}" srcOrd="0" destOrd="0" presId="urn:microsoft.com/office/officeart/2005/8/layout/hierarchy4"/>
    <dgm:cxn modelId="{D94934CC-17FA-4D86-9D06-B8C3288769AE}" srcId="{B287D87F-258D-4C9D-9126-1EAA29310C48}" destId="{AE0FE953-6013-44E0-AE61-1EAFC270A97C}" srcOrd="0" destOrd="0" parTransId="{889F7713-F0A7-4832-B6DB-7093794FE599}" sibTransId="{C5776226-78BF-475A-AEA5-2FE977706593}"/>
    <dgm:cxn modelId="{92F2A4F4-EBCF-4A70-A4A5-E7D34B27DF39}" srcId="{F39B0E31-3F4D-4234-A54B-D0969CB76D06}" destId="{B287D87F-258D-4C9D-9126-1EAA29310C48}" srcOrd="0" destOrd="0" parTransId="{FA8D4B85-4E91-4668-A28D-A6284671DBEE}" sibTransId="{B0E7228D-32C6-4123-9A61-6CC949CEEC54}"/>
    <dgm:cxn modelId="{2D43D4F8-B068-495E-97C2-B2E6EE6F3860}" srcId="{8450CDC5-A830-494D-9582-84C67C0B2B77}" destId="{1DF55159-C97B-409E-8059-18C4F3E3BEE2}" srcOrd="0" destOrd="0" parTransId="{3872C1CE-5102-43FA-AB75-136F3619FB6B}" sibTransId="{7BC93FA4-ABDF-4D04-AC7B-BB0180DF968F}"/>
    <dgm:cxn modelId="{9771798A-5BBD-4163-83E7-5B7BA2CDD62D}" type="presParOf" srcId="{C9D5D025-A7ED-426F-93A2-5E92FF93D440}" destId="{D76D3587-BC8C-470F-831E-D465CA796C8C}" srcOrd="0" destOrd="0" presId="urn:microsoft.com/office/officeart/2005/8/layout/hierarchy4"/>
    <dgm:cxn modelId="{15457800-A8F9-4208-95C9-74AAC9C744D8}" type="presParOf" srcId="{D76D3587-BC8C-470F-831E-D465CA796C8C}" destId="{CC042095-245F-4ADC-919C-A4F4188B0BF4}" srcOrd="0" destOrd="0" presId="urn:microsoft.com/office/officeart/2005/8/layout/hierarchy4"/>
    <dgm:cxn modelId="{6D814DB3-F079-4BAA-B3E7-8FF178753B23}" type="presParOf" srcId="{D76D3587-BC8C-470F-831E-D465CA796C8C}" destId="{82729D63-E61B-48F5-B9DE-B4A078FDCE56}" srcOrd="1" destOrd="0" presId="urn:microsoft.com/office/officeart/2005/8/layout/hierarchy4"/>
    <dgm:cxn modelId="{796683B1-A8BC-44E2-B3E0-4FD4F5498312}" type="presParOf" srcId="{D76D3587-BC8C-470F-831E-D465CA796C8C}" destId="{63C17C6A-648C-41EF-8676-DDC2F081CC9D}" srcOrd="2" destOrd="0" presId="urn:microsoft.com/office/officeart/2005/8/layout/hierarchy4"/>
    <dgm:cxn modelId="{85410DAD-ED0D-4938-B23B-13DE0B5BA7CF}" type="presParOf" srcId="{63C17C6A-648C-41EF-8676-DDC2F081CC9D}" destId="{B7F5F4CC-C04D-456C-AB0C-9C62A8249500}" srcOrd="0" destOrd="0" presId="urn:microsoft.com/office/officeart/2005/8/layout/hierarchy4"/>
    <dgm:cxn modelId="{934B982B-5DC7-41FB-ADEA-AEA8F831C562}" type="presParOf" srcId="{B7F5F4CC-C04D-456C-AB0C-9C62A8249500}" destId="{F80DBAD6-040B-45C1-AADF-84B052693733}" srcOrd="0" destOrd="0" presId="urn:microsoft.com/office/officeart/2005/8/layout/hierarchy4"/>
    <dgm:cxn modelId="{C9BD3142-252B-48D3-9C1A-4296C1736FAE}" type="presParOf" srcId="{B7F5F4CC-C04D-456C-AB0C-9C62A8249500}" destId="{8D3CFBD4-E303-4AF6-ABF7-BD70357E6D8E}" srcOrd="1" destOrd="0" presId="urn:microsoft.com/office/officeart/2005/8/layout/hierarchy4"/>
    <dgm:cxn modelId="{13FDCC93-22B3-40C5-B11E-DD7D0F0D2782}" type="presParOf" srcId="{B7F5F4CC-C04D-456C-AB0C-9C62A8249500}" destId="{03708055-068C-4986-B474-CFC168BC4C4B}" srcOrd="2" destOrd="0" presId="urn:microsoft.com/office/officeart/2005/8/layout/hierarchy4"/>
    <dgm:cxn modelId="{DF879BAA-C569-4BB9-94F9-5F46F0F4A63E}" type="presParOf" srcId="{03708055-068C-4986-B474-CFC168BC4C4B}" destId="{11BCD3DF-8EDC-4D2A-9A2F-4AABC321B2BB}" srcOrd="0" destOrd="0" presId="urn:microsoft.com/office/officeart/2005/8/layout/hierarchy4"/>
    <dgm:cxn modelId="{51577754-61E5-4037-BB63-1CC4F696DED1}" type="presParOf" srcId="{11BCD3DF-8EDC-4D2A-9A2F-4AABC321B2BB}" destId="{4DE37092-85C9-4804-8F53-8F3B6F9FF1DE}" srcOrd="0" destOrd="0" presId="urn:microsoft.com/office/officeart/2005/8/layout/hierarchy4"/>
    <dgm:cxn modelId="{655F6F1E-F1DD-4680-ADEC-E07E8FD6D39F}" type="presParOf" srcId="{11BCD3DF-8EDC-4D2A-9A2F-4AABC321B2BB}" destId="{1F80BD73-9217-48F8-95E1-335704FFE241}" srcOrd="1" destOrd="0" presId="urn:microsoft.com/office/officeart/2005/8/layout/hierarchy4"/>
    <dgm:cxn modelId="{2082C503-9766-48B7-A22E-99A37BC03C17}" type="presParOf" srcId="{11BCD3DF-8EDC-4D2A-9A2F-4AABC321B2BB}" destId="{2FAF54A0-4F4D-4412-AAC4-90E2B6DD9BA3}" srcOrd="2" destOrd="0" presId="urn:microsoft.com/office/officeart/2005/8/layout/hierarchy4"/>
    <dgm:cxn modelId="{90BAC83E-DDFA-4769-BF95-F12C33FFEA19}" type="presParOf" srcId="{2FAF54A0-4F4D-4412-AAC4-90E2B6DD9BA3}" destId="{8C0201CF-CF21-428F-B12F-0CC4B3C366B8}" srcOrd="0" destOrd="0" presId="urn:microsoft.com/office/officeart/2005/8/layout/hierarchy4"/>
    <dgm:cxn modelId="{96D0B5DD-8956-4106-84CA-56E0869A3D5C}" type="presParOf" srcId="{8C0201CF-CF21-428F-B12F-0CC4B3C366B8}" destId="{A7E2333D-A890-46C1-A309-7C62A5328CE0}" srcOrd="0" destOrd="0" presId="urn:microsoft.com/office/officeart/2005/8/layout/hierarchy4"/>
    <dgm:cxn modelId="{61BB048F-D197-4F3D-AAD0-FF9861B66F27}" type="presParOf" srcId="{8C0201CF-CF21-428F-B12F-0CC4B3C366B8}" destId="{3DD54417-3C79-40EF-8079-D332FCC0D3B2}" srcOrd="1" destOrd="0" presId="urn:microsoft.com/office/officeart/2005/8/layout/hierarchy4"/>
    <dgm:cxn modelId="{601721EF-FADD-48C2-9488-E5DEFCE3FF81}" type="presParOf" srcId="{8C0201CF-CF21-428F-B12F-0CC4B3C366B8}" destId="{CA2A0D5F-6A88-41F5-ABDA-73EB1495A7D8}" srcOrd="2" destOrd="0" presId="urn:microsoft.com/office/officeart/2005/8/layout/hierarchy4"/>
    <dgm:cxn modelId="{CB889DCF-021A-4C9D-949C-4090699C22C7}" type="presParOf" srcId="{CA2A0D5F-6A88-41F5-ABDA-73EB1495A7D8}" destId="{C1DDB89B-9FD0-45F0-92E1-735929446E11}" srcOrd="0" destOrd="0" presId="urn:microsoft.com/office/officeart/2005/8/layout/hierarchy4"/>
    <dgm:cxn modelId="{4501CCE5-F43D-473E-9183-37AE3E39F7F4}" type="presParOf" srcId="{C1DDB89B-9FD0-45F0-92E1-735929446E11}" destId="{EF02F223-52A6-43C2-80DC-853DD2590C8F}" srcOrd="0" destOrd="0" presId="urn:microsoft.com/office/officeart/2005/8/layout/hierarchy4"/>
    <dgm:cxn modelId="{5C3DB01C-4416-4E64-AD27-2B687E330727}" type="presParOf" srcId="{C1DDB89B-9FD0-45F0-92E1-735929446E11}" destId="{8944C39A-594F-400D-82A9-0323BB107774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A1CE814A-0F2F-45C5-BCFA-6CF8E19EBF95}" type="doc">
      <dgm:prSet loTypeId="urn:microsoft.com/office/officeart/2005/8/layout/hierarchy4" loCatId="list" qsTypeId="urn:microsoft.com/office/officeart/2005/8/quickstyle/simple5" qsCatId="simple" csTypeId="urn:microsoft.com/office/officeart/2005/8/colors/accent2_3" csCatId="accent2" phldr="1"/>
      <dgm:spPr/>
      <dgm:t>
        <a:bodyPr/>
        <a:lstStyle/>
        <a:p>
          <a:endParaRPr lang="zh-CN" altLang="en-US"/>
        </a:p>
      </dgm:t>
    </dgm:pt>
    <dgm:pt modelId="{F39B0E31-3F4D-4234-A54B-D0969CB76D06}">
      <dgm:prSet phldrT="[文本]"/>
      <dgm:spPr/>
      <dgm:t>
        <a:bodyPr/>
        <a:lstStyle/>
        <a:p>
          <a:r>
            <a:rPr lang="en-US" altLang="zh-CN" b="1" dirty="0"/>
            <a:t>Hello,1</a:t>
          </a:r>
          <a:endParaRPr lang="zh-CN" altLang="en-US" b="1" dirty="0"/>
        </a:p>
      </dgm:t>
    </dgm:pt>
    <dgm:pt modelId="{B00086EB-0B97-4B47-ACCC-9C8400BADDFD}" type="parTrans" cxnId="{AA6D119A-6184-4196-AB90-F4C526C3529A}">
      <dgm:prSet/>
      <dgm:spPr/>
      <dgm:t>
        <a:bodyPr/>
        <a:lstStyle/>
        <a:p>
          <a:endParaRPr lang="zh-CN" altLang="en-US"/>
        </a:p>
      </dgm:t>
    </dgm:pt>
    <dgm:pt modelId="{B6384D48-967B-41D1-8204-16E6B202821F}" type="sibTrans" cxnId="{AA6D119A-6184-4196-AB90-F4C526C3529A}">
      <dgm:prSet/>
      <dgm:spPr/>
      <dgm:t>
        <a:bodyPr/>
        <a:lstStyle/>
        <a:p>
          <a:endParaRPr lang="zh-CN" altLang="en-US"/>
        </a:p>
      </dgm:t>
    </dgm:pt>
    <dgm:pt modelId="{B287D87F-258D-4C9D-9126-1EAA29310C48}">
      <dgm:prSet phldrT="[文本]" custT="1"/>
      <dgm:spPr/>
      <dgm:t>
        <a:bodyPr/>
        <a:lstStyle/>
        <a:p>
          <a:r>
            <a:rPr lang="en-US" altLang="zh-CN" sz="1100" b="1" dirty="0"/>
            <a:t>I,1</a:t>
          </a:r>
          <a:endParaRPr lang="zh-CN" altLang="en-US" sz="1100" b="1" dirty="0"/>
        </a:p>
      </dgm:t>
    </dgm:pt>
    <dgm:pt modelId="{FA8D4B85-4E91-4668-A28D-A6284671DBEE}" type="parTrans" cxnId="{92F2A4F4-EBCF-4A70-A4A5-E7D34B27DF39}">
      <dgm:prSet/>
      <dgm:spPr/>
      <dgm:t>
        <a:bodyPr/>
        <a:lstStyle/>
        <a:p>
          <a:endParaRPr lang="zh-CN" altLang="en-US"/>
        </a:p>
      </dgm:t>
    </dgm:pt>
    <dgm:pt modelId="{B0E7228D-32C6-4123-9A61-6CC949CEEC54}" type="sibTrans" cxnId="{92F2A4F4-EBCF-4A70-A4A5-E7D34B27DF39}">
      <dgm:prSet/>
      <dgm:spPr/>
      <dgm:t>
        <a:bodyPr/>
        <a:lstStyle/>
        <a:p>
          <a:endParaRPr lang="zh-CN" altLang="en-US"/>
        </a:p>
      </dgm:t>
    </dgm:pt>
    <dgm:pt modelId="{AE0FE953-6013-44E0-AE61-1EAFC270A97C}">
      <dgm:prSet phldrT="[文本]" custT="1"/>
      <dgm:spPr/>
      <dgm:t>
        <a:bodyPr spcFirstLastPara="0" vert="horz" wrap="square" lIns="19050" tIns="19050" rIns="19050" bIns="19050" numCol="1" spcCol="1270" anchor="ctr" anchorCtr="0"/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>
              <a:latin typeface="Arial"/>
              <a:ea typeface="微软雅黑"/>
              <a:cs typeface="+mn-cs"/>
            </a:rPr>
            <a:t>Java,1</a:t>
          </a:r>
          <a:endParaRPr lang="zh-CN" altLang="en-US" sz="1100" b="1" kern="1200" dirty="0">
            <a:latin typeface="Arial"/>
            <a:ea typeface="微软雅黑"/>
            <a:cs typeface="+mn-cs"/>
          </a:endParaRPr>
        </a:p>
      </dgm:t>
    </dgm:pt>
    <dgm:pt modelId="{889F7713-F0A7-4832-B6DB-7093794FE599}" type="parTrans" cxnId="{D94934CC-17FA-4D86-9D06-B8C3288769AE}">
      <dgm:prSet/>
      <dgm:spPr/>
      <dgm:t>
        <a:bodyPr/>
        <a:lstStyle/>
        <a:p>
          <a:endParaRPr lang="zh-CN" altLang="en-US"/>
        </a:p>
      </dgm:t>
    </dgm:pt>
    <dgm:pt modelId="{C5776226-78BF-475A-AEA5-2FE977706593}" type="sibTrans" cxnId="{D94934CC-17FA-4D86-9D06-B8C3288769AE}">
      <dgm:prSet/>
      <dgm:spPr/>
      <dgm:t>
        <a:bodyPr/>
        <a:lstStyle/>
        <a:p>
          <a:endParaRPr lang="zh-CN" altLang="en-US"/>
        </a:p>
      </dgm:t>
    </dgm:pt>
    <dgm:pt modelId="{1DF55159-C97B-409E-8059-18C4F3E3BEE2}">
      <dgm:prSet phldrT="[文本]" custT="1"/>
      <dgm:spPr/>
      <dgm:t>
        <a:bodyPr spcFirstLastPara="0" vert="horz" wrap="square" lIns="19050" tIns="19050" rIns="19050" bIns="19050" numCol="1" spcCol="1270" anchor="ctr" anchorCtr="0"/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>
              <a:latin typeface="Arial"/>
              <a:ea typeface="微软雅黑"/>
              <a:cs typeface="+mn-cs"/>
            </a:rPr>
            <a:t>MapReduce,1</a:t>
          </a:r>
          <a:endParaRPr lang="zh-CN" altLang="en-US" sz="1100" b="1" kern="1200" dirty="0">
            <a:latin typeface="Arial"/>
            <a:ea typeface="微软雅黑"/>
            <a:cs typeface="+mn-cs"/>
          </a:endParaRPr>
        </a:p>
      </dgm:t>
    </dgm:pt>
    <dgm:pt modelId="{3872C1CE-5102-43FA-AB75-136F3619FB6B}" type="parTrans" cxnId="{2D43D4F8-B068-495E-97C2-B2E6EE6F3860}">
      <dgm:prSet/>
      <dgm:spPr/>
      <dgm:t>
        <a:bodyPr/>
        <a:lstStyle/>
        <a:p>
          <a:endParaRPr lang="zh-CN" altLang="en-US"/>
        </a:p>
      </dgm:t>
    </dgm:pt>
    <dgm:pt modelId="{7BC93FA4-ABDF-4D04-AC7B-BB0180DF968F}" type="sibTrans" cxnId="{2D43D4F8-B068-495E-97C2-B2E6EE6F3860}">
      <dgm:prSet/>
      <dgm:spPr/>
      <dgm:t>
        <a:bodyPr/>
        <a:lstStyle/>
        <a:p>
          <a:endParaRPr lang="zh-CN" altLang="en-US"/>
        </a:p>
      </dgm:t>
    </dgm:pt>
    <dgm:pt modelId="{8450CDC5-A830-494D-9582-84C67C0B2B77}">
      <dgm:prSet phldrT="[文本]"/>
      <dgm:spPr/>
      <dgm:t>
        <a:bodyPr/>
        <a:lstStyle/>
        <a:p>
          <a:r>
            <a:rPr lang="en-US" altLang="zh-CN" b="1" dirty="0"/>
            <a:t>like,1</a:t>
          </a:r>
          <a:endParaRPr lang="zh-CN" altLang="en-US" b="1" dirty="0"/>
        </a:p>
      </dgm:t>
    </dgm:pt>
    <dgm:pt modelId="{10CADA5D-875D-41DF-8FF0-08EF17A1E04F}" type="parTrans" cxnId="{4FEF2F8C-B3C4-4E5E-9F07-FECDCA9E829C}">
      <dgm:prSet/>
      <dgm:spPr/>
      <dgm:t>
        <a:bodyPr/>
        <a:lstStyle/>
        <a:p>
          <a:endParaRPr lang="zh-CN" altLang="en-US"/>
        </a:p>
      </dgm:t>
    </dgm:pt>
    <dgm:pt modelId="{602BD5F1-8E4D-415F-8DE7-CF8E8449534C}" type="sibTrans" cxnId="{4FEF2F8C-B3C4-4E5E-9F07-FECDCA9E829C}">
      <dgm:prSet/>
      <dgm:spPr/>
      <dgm:t>
        <a:bodyPr/>
        <a:lstStyle/>
        <a:p>
          <a:endParaRPr lang="zh-CN" altLang="en-US"/>
        </a:p>
      </dgm:t>
    </dgm:pt>
    <dgm:pt modelId="{C9D5D025-A7ED-426F-93A2-5E92FF93D440}" type="pres">
      <dgm:prSet presAssocID="{A1CE814A-0F2F-45C5-BCFA-6CF8E19EBF95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76D3587-BC8C-470F-831E-D465CA796C8C}" type="pres">
      <dgm:prSet presAssocID="{F39B0E31-3F4D-4234-A54B-D0969CB76D06}" presName="vertOne" presStyleCnt="0"/>
      <dgm:spPr/>
    </dgm:pt>
    <dgm:pt modelId="{CC042095-245F-4ADC-919C-A4F4188B0BF4}" type="pres">
      <dgm:prSet presAssocID="{F39B0E31-3F4D-4234-A54B-D0969CB76D06}" presName="txOne" presStyleLbl="node0" presStyleIdx="0" presStyleCnt="1" custScaleX="111848">
        <dgm:presLayoutVars>
          <dgm:chPref val="3"/>
        </dgm:presLayoutVars>
      </dgm:prSet>
      <dgm:spPr/>
    </dgm:pt>
    <dgm:pt modelId="{82729D63-E61B-48F5-B9DE-B4A078FDCE56}" type="pres">
      <dgm:prSet presAssocID="{F39B0E31-3F4D-4234-A54B-D0969CB76D06}" presName="parTransOne" presStyleCnt="0"/>
      <dgm:spPr/>
    </dgm:pt>
    <dgm:pt modelId="{63C17C6A-648C-41EF-8676-DDC2F081CC9D}" type="pres">
      <dgm:prSet presAssocID="{F39B0E31-3F4D-4234-A54B-D0969CB76D06}" presName="horzOne" presStyleCnt="0"/>
      <dgm:spPr/>
    </dgm:pt>
    <dgm:pt modelId="{B7F5F4CC-C04D-456C-AB0C-9C62A8249500}" type="pres">
      <dgm:prSet presAssocID="{B287D87F-258D-4C9D-9126-1EAA29310C48}" presName="vertTwo" presStyleCnt="0"/>
      <dgm:spPr/>
    </dgm:pt>
    <dgm:pt modelId="{F80DBAD6-040B-45C1-AADF-84B052693733}" type="pres">
      <dgm:prSet presAssocID="{B287D87F-258D-4C9D-9126-1EAA29310C48}" presName="txTwo" presStyleLbl="node2" presStyleIdx="0" presStyleCnt="1" custScaleX="101014">
        <dgm:presLayoutVars>
          <dgm:chPref val="3"/>
        </dgm:presLayoutVars>
      </dgm:prSet>
      <dgm:spPr/>
    </dgm:pt>
    <dgm:pt modelId="{56F82855-5F17-4863-829A-C96493345477}" type="pres">
      <dgm:prSet presAssocID="{B287D87F-258D-4C9D-9126-1EAA29310C48}" presName="parTransTwo" presStyleCnt="0"/>
      <dgm:spPr/>
    </dgm:pt>
    <dgm:pt modelId="{03708055-068C-4986-B474-CFC168BC4C4B}" type="pres">
      <dgm:prSet presAssocID="{B287D87F-258D-4C9D-9126-1EAA29310C48}" presName="horzTwo" presStyleCnt="0"/>
      <dgm:spPr/>
    </dgm:pt>
    <dgm:pt modelId="{3170F68C-0B77-4DA3-BE3B-397C18CF6012}" type="pres">
      <dgm:prSet presAssocID="{AE0FE953-6013-44E0-AE61-1EAFC270A97C}" presName="vertThree" presStyleCnt="0"/>
      <dgm:spPr/>
    </dgm:pt>
    <dgm:pt modelId="{5130EBAB-10D0-4E72-93AE-02897EBE41F2}" type="pres">
      <dgm:prSet presAssocID="{AE0FE953-6013-44E0-AE61-1EAFC270A97C}" presName="txThree" presStyleLbl="node3" presStyleIdx="0" presStyleCnt="1" custScaleX="95706">
        <dgm:presLayoutVars>
          <dgm:chPref val="3"/>
        </dgm:presLayoutVars>
      </dgm:prSet>
      <dgm:spPr/>
    </dgm:pt>
    <dgm:pt modelId="{CE4D9D14-9AEA-4428-82CD-5AA764931669}" type="pres">
      <dgm:prSet presAssocID="{AE0FE953-6013-44E0-AE61-1EAFC270A97C}" presName="parTransThree" presStyleCnt="0"/>
      <dgm:spPr/>
    </dgm:pt>
    <dgm:pt modelId="{573BF0AB-7D7E-46B8-B179-3EE5706F812B}" type="pres">
      <dgm:prSet presAssocID="{AE0FE953-6013-44E0-AE61-1EAFC270A97C}" presName="horzThree" presStyleCnt="0"/>
      <dgm:spPr/>
    </dgm:pt>
    <dgm:pt modelId="{24724817-5F59-47D3-9BB3-47561D9F5D06}" type="pres">
      <dgm:prSet presAssocID="{8450CDC5-A830-494D-9582-84C67C0B2B77}" presName="vertFour" presStyleCnt="0">
        <dgm:presLayoutVars>
          <dgm:chPref val="3"/>
        </dgm:presLayoutVars>
      </dgm:prSet>
      <dgm:spPr/>
    </dgm:pt>
    <dgm:pt modelId="{61E668EF-2E03-41F8-8B79-9D74C6A1BEC8}" type="pres">
      <dgm:prSet presAssocID="{8450CDC5-A830-494D-9582-84C67C0B2B77}" presName="txFour" presStyleLbl="node4" presStyleIdx="0" presStyleCnt="2" custScaleX="91072">
        <dgm:presLayoutVars>
          <dgm:chPref val="3"/>
        </dgm:presLayoutVars>
      </dgm:prSet>
      <dgm:spPr/>
    </dgm:pt>
    <dgm:pt modelId="{9434DDF8-A0D9-47C4-A85E-444B6F83B654}" type="pres">
      <dgm:prSet presAssocID="{8450CDC5-A830-494D-9582-84C67C0B2B77}" presName="parTransFour" presStyleCnt="0"/>
      <dgm:spPr/>
    </dgm:pt>
    <dgm:pt modelId="{77B557DD-B9D9-4B92-92D7-6B96A2D0ABAD}" type="pres">
      <dgm:prSet presAssocID="{8450CDC5-A830-494D-9582-84C67C0B2B77}" presName="horzFour" presStyleCnt="0"/>
      <dgm:spPr/>
    </dgm:pt>
    <dgm:pt modelId="{02EA31E6-1FF1-4079-9991-B898BEF8613F}" type="pres">
      <dgm:prSet presAssocID="{1DF55159-C97B-409E-8059-18C4F3E3BEE2}" presName="vertFour" presStyleCnt="0">
        <dgm:presLayoutVars>
          <dgm:chPref val="3"/>
        </dgm:presLayoutVars>
      </dgm:prSet>
      <dgm:spPr/>
    </dgm:pt>
    <dgm:pt modelId="{7E7CBA4A-9139-43CE-B7CF-03D14816B1BC}" type="pres">
      <dgm:prSet presAssocID="{1DF55159-C97B-409E-8059-18C4F3E3BEE2}" presName="txFour" presStyleLbl="node4" presStyleIdx="1" presStyleCnt="2" custScaleX="85835">
        <dgm:presLayoutVars>
          <dgm:chPref val="3"/>
        </dgm:presLayoutVars>
      </dgm:prSet>
      <dgm:spPr/>
    </dgm:pt>
    <dgm:pt modelId="{03596337-D0E2-4D60-925B-3EE969FC14C9}" type="pres">
      <dgm:prSet presAssocID="{1DF55159-C97B-409E-8059-18C4F3E3BEE2}" presName="horzFour" presStyleCnt="0"/>
      <dgm:spPr/>
    </dgm:pt>
  </dgm:ptLst>
  <dgm:cxnLst>
    <dgm:cxn modelId="{2BC2C713-9223-4990-B018-DAABBBE6B354}" type="presOf" srcId="{8450CDC5-A830-494D-9582-84C67C0B2B77}" destId="{61E668EF-2E03-41F8-8B79-9D74C6A1BEC8}" srcOrd="0" destOrd="0" presId="urn:microsoft.com/office/officeart/2005/8/layout/hierarchy4"/>
    <dgm:cxn modelId="{C27A8154-4333-4ECD-897C-E30AAF958EE0}" type="presOf" srcId="{F39B0E31-3F4D-4234-A54B-D0969CB76D06}" destId="{CC042095-245F-4ADC-919C-A4F4188B0BF4}" srcOrd="0" destOrd="0" presId="urn:microsoft.com/office/officeart/2005/8/layout/hierarchy4"/>
    <dgm:cxn modelId="{5D1F6F88-387F-49CD-B104-C9FF6BCE23FC}" type="presOf" srcId="{AE0FE953-6013-44E0-AE61-1EAFC270A97C}" destId="{5130EBAB-10D0-4E72-93AE-02897EBE41F2}" srcOrd="0" destOrd="0" presId="urn:microsoft.com/office/officeart/2005/8/layout/hierarchy4"/>
    <dgm:cxn modelId="{4FEF2F8C-B3C4-4E5E-9F07-FECDCA9E829C}" srcId="{AE0FE953-6013-44E0-AE61-1EAFC270A97C}" destId="{8450CDC5-A830-494D-9582-84C67C0B2B77}" srcOrd="0" destOrd="0" parTransId="{10CADA5D-875D-41DF-8FF0-08EF17A1E04F}" sibTransId="{602BD5F1-8E4D-415F-8DE7-CF8E8449534C}"/>
    <dgm:cxn modelId="{D88C3C91-55CA-4A39-9627-DE84171CFC1D}" type="presOf" srcId="{B287D87F-258D-4C9D-9126-1EAA29310C48}" destId="{F80DBAD6-040B-45C1-AADF-84B052693733}" srcOrd="0" destOrd="0" presId="urn:microsoft.com/office/officeart/2005/8/layout/hierarchy4"/>
    <dgm:cxn modelId="{A3AE8291-E30C-4426-8E8E-B401D99131FD}" type="presOf" srcId="{A1CE814A-0F2F-45C5-BCFA-6CF8E19EBF95}" destId="{C9D5D025-A7ED-426F-93A2-5E92FF93D440}" srcOrd="0" destOrd="0" presId="urn:microsoft.com/office/officeart/2005/8/layout/hierarchy4"/>
    <dgm:cxn modelId="{AA6D119A-6184-4196-AB90-F4C526C3529A}" srcId="{A1CE814A-0F2F-45C5-BCFA-6CF8E19EBF95}" destId="{F39B0E31-3F4D-4234-A54B-D0969CB76D06}" srcOrd="0" destOrd="0" parTransId="{B00086EB-0B97-4B47-ACCC-9C8400BADDFD}" sibTransId="{B6384D48-967B-41D1-8204-16E6B202821F}"/>
    <dgm:cxn modelId="{E685429E-1A4D-4490-BFCF-D75EDE891B75}" type="presOf" srcId="{1DF55159-C97B-409E-8059-18C4F3E3BEE2}" destId="{7E7CBA4A-9139-43CE-B7CF-03D14816B1BC}" srcOrd="0" destOrd="0" presId="urn:microsoft.com/office/officeart/2005/8/layout/hierarchy4"/>
    <dgm:cxn modelId="{D94934CC-17FA-4D86-9D06-B8C3288769AE}" srcId="{B287D87F-258D-4C9D-9126-1EAA29310C48}" destId="{AE0FE953-6013-44E0-AE61-1EAFC270A97C}" srcOrd="0" destOrd="0" parTransId="{889F7713-F0A7-4832-B6DB-7093794FE599}" sibTransId="{C5776226-78BF-475A-AEA5-2FE977706593}"/>
    <dgm:cxn modelId="{92F2A4F4-EBCF-4A70-A4A5-E7D34B27DF39}" srcId="{F39B0E31-3F4D-4234-A54B-D0969CB76D06}" destId="{B287D87F-258D-4C9D-9126-1EAA29310C48}" srcOrd="0" destOrd="0" parTransId="{FA8D4B85-4E91-4668-A28D-A6284671DBEE}" sibTransId="{B0E7228D-32C6-4123-9A61-6CC949CEEC54}"/>
    <dgm:cxn modelId="{2D43D4F8-B068-495E-97C2-B2E6EE6F3860}" srcId="{8450CDC5-A830-494D-9582-84C67C0B2B77}" destId="{1DF55159-C97B-409E-8059-18C4F3E3BEE2}" srcOrd="0" destOrd="0" parTransId="{3872C1CE-5102-43FA-AB75-136F3619FB6B}" sibTransId="{7BC93FA4-ABDF-4D04-AC7B-BB0180DF968F}"/>
    <dgm:cxn modelId="{9771798A-5BBD-4163-83E7-5B7BA2CDD62D}" type="presParOf" srcId="{C9D5D025-A7ED-426F-93A2-5E92FF93D440}" destId="{D76D3587-BC8C-470F-831E-D465CA796C8C}" srcOrd="0" destOrd="0" presId="urn:microsoft.com/office/officeart/2005/8/layout/hierarchy4"/>
    <dgm:cxn modelId="{15457800-A8F9-4208-95C9-74AAC9C744D8}" type="presParOf" srcId="{D76D3587-BC8C-470F-831E-D465CA796C8C}" destId="{CC042095-245F-4ADC-919C-A4F4188B0BF4}" srcOrd="0" destOrd="0" presId="urn:microsoft.com/office/officeart/2005/8/layout/hierarchy4"/>
    <dgm:cxn modelId="{6D814DB3-F079-4BAA-B3E7-8FF178753B23}" type="presParOf" srcId="{D76D3587-BC8C-470F-831E-D465CA796C8C}" destId="{82729D63-E61B-48F5-B9DE-B4A078FDCE56}" srcOrd="1" destOrd="0" presId="urn:microsoft.com/office/officeart/2005/8/layout/hierarchy4"/>
    <dgm:cxn modelId="{796683B1-A8BC-44E2-B3E0-4FD4F5498312}" type="presParOf" srcId="{D76D3587-BC8C-470F-831E-D465CA796C8C}" destId="{63C17C6A-648C-41EF-8676-DDC2F081CC9D}" srcOrd="2" destOrd="0" presId="urn:microsoft.com/office/officeart/2005/8/layout/hierarchy4"/>
    <dgm:cxn modelId="{85410DAD-ED0D-4938-B23B-13DE0B5BA7CF}" type="presParOf" srcId="{63C17C6A-648C-41EF-8676-DDC2F081CC9D}" destId="{B7F5F4CC-C04D-456C-AB0C-9C62A8249500}" srcOrd="0" destOrd="0" presId="urn:microsoft.com/office/officeart/2005/8/layout/hierarchy4"/>
    <dgm:cxn modelId="{934B982B-5DC7-41FB-ADEA-AEA8F831C562}" type="presParOf" srcId="{B7F5F4CC-C04D-456C-AB0C-9C62A8249500}" destId="{F80DBAD6-040B-45C1-AADF-84B052693733}" srcOrd="0" destOrd="0" presId="urn:microsoft.com/office/officeart/2005/8/layout/hierarchy4"/>
    <dgm:cxn modelId="{765A3B77-DB59-4D2C-97F5-8E196695AC5C}" type="presParOf" srcId="{B7F5F4CC-C04D-456C-AB0C-9C62A8249500}" destId="{56F82855-5F17-4863-829A-C96493345477}" srcOrd="1" destOrd="0" presId="urn:microsoft.com/office/officeart/2005/8/layout/hierarchy4"/>
    <dgm:cxn modelId="{13FDCC93-22B3-40C5-B11E-DD7D0F0D2782}" type="presParOf" srcId="{B7F5F4CC-C04D-456C-AB0C-9C62A8249500}" destId="{03708055-068C-4986-B474-CFC168BC4C4B}" srcOrd="2" destOrd="0" presId="urn:microsoft.com/office/officeart/2005/8/layout/hierarchy4"/>
    <dgm:cxn modelId="{6C0A78C8-0671-406F-873D-0B2000ED6D50}" type="presParOf" srcId="{03708055-068C-4986-B474-CFC168BC4C4B}" destId="{3170F68C-0B77-4DA3-BE3B-397C18CF6012}" srcOrd="0" destOrd="0" presId="urn:microsoft.com/office/officeart/2005/8/layout/hierarchy4"/>
    <dgm:cxn modelId="{6261C0E8-56E6-4AFA-BED8-BFF13F85499D}" type="presParOf" srcId="{3170F68C-0B77-4DA3-BE3B-397C18CF6012}" destId="{5130EBAB-10D0-4E72-93AE-02897EBE41F2}" srcOrd="0" destOrd="0" presId="urn:microsoft.com/office/officeart/2005/8/layout/hierarchy4"/>
    <dgm:cxn modelId="{81DACB41-E18D-47E4-93B2-8FAB1CE35538}" type="presParOf" srcId="{3170F68C-0B77-4DA3-BE3B-397C18CF6012}" destId="{CE4D9D14-9AEA-4428-82CD-5AA764931669}" srcOrd="1" destOrd="0" presId="urn:microsoft.com/office/officeart/2005/8/layout/hierarchy4"/>
    <dgm:cxn modelId="{C0A9A8E1-3F19-4077-BBE4-518AC6BC2BC9}" type="presParOf" srcId="{3170F68C-0B77-4DA3-BE3B-397C18CF6012}" destId="{573BF0AB-7D7E-46B8-B179-3EE5706F812B}" srcOrd="2" destOrd="0" presId="urn:microsoft.com/office/officeart/2005/8/layout/hierarchy4"/>
    <dgm:cxn modelId="{B83802D8-4C3A-48D1-A61B-A0974522BFF9}" type="presParOf" srcId="{573BF0AB-7D7E-46B8-B179-3EE5706F812B}" destId="{24724817-5F59-47D3-9BB3-47561D9F5D06}" srcOrd="0" destOrd="0" presId="urn:microsoft.com/office/officeart/2005/8/layout/hierarchy4"/>
    <dgm:cxn modelId="{6F5A9919-DF9C-4E01-BEA7-19EC9852BD79}" type="presParOf" srcId="{24724817-5F59-47D3-9BB3-47561D9F5D06}" destId="{61E668EF-2E03-41F8-8B79-9D74C6A1BEC8}" srcOrd="0" destOrd="0" presId="urn:microsoft.com/office/officeart/2005/8/layout/hierarchy4"/>
    <dgm:cxn modelId="{4A081024-502D-415E-98A6-49BF6D53671B}" type="presParOf" srcId="{24724817-5F59-47D3-9BB3-47561D9F5D06}" destId="{9434DDF8-A0D9-47C4-A85E-444B6F83B654}" srcOrd="1" destOrd="0" presId="urn:microsoft.com/office/officeart/2005/8/layout/hierarchy4"/>
    <dgm:cxn modelId="{A498BA77-B3E4-434D-A131-FBAEF3EA6C01}" type="presParOf" srcId="{24724817-5F59-47D3-9BB3-47561D9F5D06}" destId="{77B557DD-B9D9-4B92-92D7-6B96A2D0ABAD}" srcOrd="2" destOrd="0" presId="urn:microsoft.com/office/officeart/2005/8/layout/hierarchy4"/>
    <dgm:cxn modelId="{3728BA58-9F20-4D1C-93D6-492997863185}" type="presParOf" srcId="{77B557DD-B9D9-4B92-92D7-6B96A2D0ABAD}" destId="{02EA31E6-1FF1-4079-9991-B898BEF8613F}" srcOrd="0" destOrd="0" presId="urn:microsoft.com/office/officeart/2005/8/layout/hierarchy4"/>
    <dgm:cxn modelId="{F1C1F7E8-E9C5-4CA3-95BD-AB6836469403}" type="presParOf" srcId="{02EA31E6-1FF1-4079-9991-B898BEF8613F}" destId="{7E7CBA4A-9139-43CE-B7CF-03D14816B1BC}" srcOrd="0" destOrd="0" presId="urn:microsoft.com/office/officeart/2005/8/layout/hierarchy4"/>
    <dgm:cxn modelId="{85528B52-CCF5-4FA0-8B8C-3756CCF8EB40}" type="presParOf" srcId="{02EA31E6-1FF1-4079-9991-B898BEF8613F}" destId="{03596337-D0E2-4D60-925B-3EE969FC14C9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35E8B9-DB89-4C2B-8565-D7EB39524393}">
      <dsp:nvSpPr>
        <dsp:cNvPr id="0" name=""/>
        <dsp:cNvSpPr/>
      </dsp:nvSpPr>
      <dsp:spPr>
        <a:xfrm>
          <a:off x="92" y="0"/>
          <a:ext cx="1726935" cy="41705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shade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shade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800" kern="1200" dirty="0"/>
            <a:t>Hello,1</a:t>
          </a:r>
          <a:endParaRPr lang="zh-CN" altLang="en-US" sz="1800" kern="1200" dirty="0"/>
        </a:p>
      </dsp:txBody>
      <dsp:txXfrm>
        <a:off x="12307" y="12215"/>
        <a:ext cx="1702505" cy="392621"/>
      </dsp:txXfrm>
    </dsp:sp>
    <dsp:sp modelId="{4750E58D-49B8-47CA-A11C-241656F8BE7A}">
      <dsp:nvSpPr>
        <dsp:cNvPr id="0" name=""/>
        <dsp:cNvSpPr/>
      </dsp:nvSpPr>
      <dsp:spPr>
        <a:xfrm>
          <a:off x="1732" y="448490"/>
          <a:ext cx="1223648" cy="41705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99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99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99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800" kern="1200" dirty="0"/>
            <a:t>World,1</a:t>
          </a:r>
          <a:endParaRPr lang="zh-CN" altLang="en-US" sz="1800" kern="1200" dirty="0"/>
        </a:p>
      </dsp:txBody>
      <dsp:txXfrm>
        <a:off x="13947" y="460705"/>
        <a:ext cx="1199218" cy="392621"/>
      </dsp:txXfrm>
    </dsp:sp>
    <dsp:sp modelId="{13C28A85-56C2-475F-81BC-8648DAEF60BF}">
      <dsp:nvSpPr>
        <dsp:cNvPr id="0" name=""/>
        <dsp:cNvSpPr/>
      </dsp:nvSpPr>
      <dsp:spPr>
        <a:xfrm>
          <a:off x="1732" y="896236"/>
          <a:ext cx="599239" cy="41705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800" kern="1200" dirty="0"/>
            <a:t>like,1</a:t>
          </a:r>
          <a:endParaRPr lang="zh-CN" altLang="en-US" sz="800" kern="1200" dirty="0"/>
        </a:p>
      </dsp:txBody>
      <dsp:txXfrm>
        <a:off x="13947" y="908451"/>
        <a:ext cx="574809" cy="392621"/>
      </dsp:txXfrm>
    </dsp:sp>
    <dsp:sp modelId="{9D01DF1A-83C8-47C9-A865-21AFF38E3846}">
      <dsp:nvSpPr>
        <dsp:cNvPr id="0" name=""/>
        <dsp:cNvSpPr/>
      </dsp:nvSpPr>
      <dsp:spPr>
        <a:xfrm>
          <a:off x="626140" y="896236"/>
          <a:ext cx="599239" cy="41705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800" kern="1200" dirty="0"/>
            <a:t>Hadoop,1</a:t>
          </a:r>
          <a:endParaRPr lang="zh-CN" altLang="en-US" sz="800" kern="1200" dirty="0"/>
        </a:p>
      </dsp:txBody>
      <dsp:txXfrm>
        <a:off x="638355" y="908451"/>
        <a:ext cx="574809" cy="392621"/>
      </dsp:txXfrm>
    </dsp:sp>
    <dsp:sp modelId="{18AA13C1-B578-477A-8CFF-16CB5AA43278}">
      <dsp:nvSpPr>
        <dsp:cNvPr id="0" name=""/>
        <dsp:cNvSpPr/>
      </dsp:nvSpPr>
      <dsp:spPr>
        <a:xfrm>
          <a:off x="1275716" y="448490"/>
          <a:ext cx="449579" cy="41705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99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99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99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800" kern="1200" dirty="0"/>
            <a:t>I,1</a:t>
          </a:r>
          <a:endParaRPr lang="zh-CN" altLang="en-US" sz="1800" kern="1200" dirty="0"/>
        </a:p>
      </dsp:txBody>
      <dsp:txXfrm>
        <a:off x="1287931" y="460705"/>
        <a:ext cx="425149" cy="39262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042095-245F-4ADC-919C-A4F4188B0BF4}">
      <dsp:nvSpPr>
        <dsp:cNvPr id="0" name=""/>
        <dsp:cNvSpPr/>
      </dsp:nvSpPr>
      <dsp:spPr>
        <a:xfrm>
          <a:off x="1346" y="372"/>
          <a:ext cx="501664" cy="62963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shade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shade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900" b="1" kern="1200" dirty="0"/>
            <a:t>Hello,1</a:t>
          </a:r>
          <a:endParaRPr lang="zh-CN" altLang="en-US" sz="900" b="1" kern="1200" dirty="0"/>
        </a:p>
      </dsp:txBody>
      <dsp:txXfrm>
        <a:off x="16039" y="15065"/>
        <a:ext cx="472278" cy="600244"/>
      </dsp:txXfrm>
    </dsp:sp>
    <dsp:sp modelId="{F80DBAD6-040B-45C1-AADF-84B052693733}">
      <dsp:nvSpPr>
        <dsp:cNvPr id="0" name=""/>
        <dsp:cNvSpPr/>
      </dsp:nvSpPr>
      <dsp:spPr>
        <a:xfrm>
          <a:off x="27916" y="680447"/>
          <a:ext cx="448523" cy="62963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99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99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99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600" b="1" kern="1200" dirty="0"/>
            <a:t>I,1</a:t>
          </a:r>
          <a:endParaRPr lang="zh-CN" altLang="en-US" sz="1600" b="1" kern="1200" dirty="0"/>
        </a:p>
      </dsp:txBody>
      <dsp:txXfrm>
        <a:off x="41053" y="693584"/>
        <a:ext cx="422249" cy="603356"/>
      </dsp:txXfrm>
    </dsp:sp>
    <dsp:sp modelId="{CDB805F1-9FA9-4B15-8D70-DA5A01F3E40D}">
      <dsp:nvSpPr>
        <dsp:cNvPr id="0" name=""/>
        <dsp:cNvSpPr/>
      </dsp:nvSpPr>
      <dsp:spPr>
        <a:xfrm>
          <a:off x="559865" y="11290"/>
          <a:ext cx="1294531" cy="62963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shade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shade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600" b="1" kern="1200" dirty="0">
              <a:latin typeface="Arial"/>
              <a:ea typeface="微软雅黑"/>
              <a:cs typeface="+mn-cs"/>
            </a:rPr>
            <a:t>Hadoop,1</a:t>
          </a:r>
          <a:endParaRPr lang="zh-CN" altLang="en-US" sz="1600" b="1" kern="1200" dirty="0">
            <a:latin typeface="Arial"/>
            <a:ea typeface="微软雅黑"/>
            <a:cs typeface="+mn-cs"/>
          </a:endParaRPr>
        </a:p>
      </dsp:txBody>
      <dsp:txXfrm>
        <a:off x="578306" y="29731"/>
        <a:ext cx="1257649" cy="592748"/>
      </dsp:txXfrm>
    </dsp:sp>
    <dsp:sp modelId="{0126BC0C-8343-4B4E-B33C-1F5FA5BB3E9C}">
      <dsp:nvSpPr>
        <dsp:cNvPr id="0" name=""/>
        <dsp:cNvSpPr/>
      </dsp:nvSpPr>
      <dsp:spPr>
        <a:xfrm>
          <a:off x="548303" y="680447"/>
          <a:ext cx="412162" cy="62963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99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99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99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900" b="1" kern="1200" dirty="0"/>
            <a:t>like,1</a:t>
          </a:r>
          <a:endParaRPr lang="zh-CN" altLang="en-US" sz="900" b="1" kern="1200" dirty="0"/>
        </a:p>
      </dsp:txBody>
      <dsp:txXfrm>
        <a:off x="560375" y="692519"/>
        <a:ext cx="388018" cy="605486"/>
      </dsp:txXfrm>
    </dsp:sp>
    <dsp:sp modelId="{FD7DBC2C-604D-4126-A9F2-EBCF0173DEF6}">
      <dsp:nvSpPr>
        <dsp:cNvPr id="0" name=""/>
        <dsp:cNvSpPr/>
      </dsp:nvSpPr>
      <dsp:spPr>
        <a:xfrm>
          <a:off x="983112" y="680447"/>
          <a:ext cx="890374" cy="62963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99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99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99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800" b="1" kern="1200" dirty="0">
              <a:latin typeface="Arial"/>
              <a:ea typeface="微软雅黑"/>
              <a:cs typeface="+mn-cs"/>
            </a:rPr>
            <a:t>MapReduce,1</a:t>
          </a:r>
          <a:endParaRPr lang="zh-CN" altLang="en-US" sz="800" b="1" kern="1200" dirty="0">
            <a:latin typeface="Arial"/>
            <a:ea typeface="微软雅黑"/>
            <a:cs typeface="+mn-cs"/>
          </a:endParaRPr>
        </a:p>
      </dsp:txBody>
      <dsp:txXfrm>
        <a:off x="1001553" y="698888"/>
        <a:ext cx="853492" cy="59274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042095-245F-4ADC-919C-A4F4188B0BF4}">
      <dsp:nvSpPr>
        <dsp:cNvPr id="0" name=""/>
        <dsp:cNvSpPr/>
      </dsp:nvSpPr>
      <dsp:spPr>
        <a:xfrm>
          <a:off x="547" y="372"/>
          <a:ext cx="659233" cy="62963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shade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shade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200" b="1" kern="1200" dirty="0"/>
            <a:t>Hello,1</a:t>
          </a:r>
          <a:endParaRPr lang="zh-CN" altLang="en-US" sz="1200" b="1" kern="1200" dirty="0"/>
        </a:p>
      </dsp:txBody>
      <dsp:txXfrm>
        <a:off x="18988" y="18813"/>
        <a:ext cx="622351" cy="592748"/>
      </dsp:txXfrm>
    </dsp:sp>
    <dsp:sp modelId="{F80DBAD6-040B-45C1-AADF-84B052693733}">
      <dsp:nvSpPr>
        <dsp:cNvPr id="0" name=""/>
        <dsp:cNvSpPr/>
      </dsp:nvSpPr>
      <dsp:spPr>
        <a:xfrm>
          <a:off x="35463" y="680447"/>
          <a:ext cx="589400" cy="62963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99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99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99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600" b="1" kern="1200" dirty="0"/>
            <a:t>I,1</a:t>
          </a:r>
          <a:endParaRPr lang="zh-CN" altLang="en-US" sz="1600" b="1" kern="1200" dirty="0"/>
        </a:p>
      </dsp:txBody>
      <dsp:txXfrm>
        <a:off x="52726" y="697710"/>
        <a:ext cx="554874" cy="595104"/>
      </dsp:txXfrm>
    </dsp:sp>
    <dsp:sp modelId="{CDB805F1-9FA9-4B15-8D70-DA5A01F3E40D}">
      <dsp:nvSpPr>
        <dsp:cNvPr id="0" name=""/>
        <dsp:cNvSpPr/>
      </dsp:nvSpPr>
      <dsp:spPr>
        <a:xfrm>
          <a:off x="715389" y="11290"/>
          <a:ext cx="1128272" cy="62963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shade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shade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200" b="1" kern="1200" dirty="0">
              <a:latin typeface="Arial"/>
              <a:ea typeface="微软雅黑"/>
              <a:cs typeface="+mn-cs"/>
            </a:rPr>
            <a:t>MapReduce,1</a:t>
          </a:r>
          <a:endParaRPr lang="zh-CN" altLang="en-US" sz="1200" b="1" kern="1200" dirty="0">
            <a:latin typeface="Arial"/>
            <a:ea typeface="微软雅黑"/>
            <a:cs typeface="+mn-cs"/>
          </a:endParaRPr>
        </a:p>
      </dsp:txBody>
      <dsp:txXfrm>
        <a:off x="733830" y="29731"/>
        <a:ext cx="1091390" cy="592748"/>
      </dsp:txXfrm>
    </dsp:sp>
    <dsp:sp modelId="{0126BC0C-8343-4B4E-B33C-1F5FA5BB3E9C}">
      <dsp:nvSpPr>
        <dsp:cNvPr id="0" name=""/>
        <dsp:cNvSpPr/>
      </dsp:nvSpPr>
      <dsp:spPr>
        <a:xfrm>
          <a:off x="719298" y="680447"/>
          <a:ext cx="541619" cy="62963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99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99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99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200" b="1" kern="1200" dirty="0"/>
            <a:t>like,1</a:t>
          </a:r>
          <a:endParaRPr lang="zh-CN" altLang="en-US" sz="1200" b="1" kern="1200" dirty="0"/>
        </a:p>
      </dsp:txBody>
      <dsp:txXfrm>
        <a:off x="735161" y="696310"/>
        <a:ext cx="509893" cy="597904"/>
      </dsp:txXfrm>
    </dsp:sp>
    <dsp:sp modelId="{FD7DBC2C-604D-4126-A9F2-EBCF0173DEF6}">
      <dsp:nvSpPr>
        <dsp:cNvPr id="0" name=""/>
        <dsp:cNvSpPr/>
      </dsp:nvSpPr>
      <dsp:spPr>
        <a:xfrm>
          <a:off x="1290677" y="680447"/>
          <a:ext cx="583608" cy="62963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99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99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99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200" b="1" kern="1200" dirty="0">
              <a:latin typeface="Arial"/>
              <a:ea typeface="微软雅黑"/>
              <a:cs typeface="+mn-cs"/>
            </a:rPr>
            <a:t>Java,1</a:t>
          </a:r>
          <a:endParaRPr lang="zh-CN" altLang="en-US" sz="1200" b="1" kern="1200" dirty="0">
            <a:latin typeface="Arial"/>
            <a:ea typeface="微软雅黑"/>
            <a:cs typeface="+mn-cs"/>
          </a:endParaRPr>
        </a:p>
      </dsp:txBody>
      <dsp:txXfrm>
        <a:off x="1307770" y="697540"/>
        <a:ext cx="549422" cy="59544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35E8B9-DB89-4C2B-8565-D7EB39524393}">
      <dsp:nvSpPr>
        <dsp:cNvPr id="0" name=""/>
        <dsp:cNvSpPr/>
      </dsp:nvSpPr>
      <dsp:spPr>
        <a:xfrm>
          <a:off x="1686" y="0"/>
          <a:ext cx="1725341" cy="24798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shade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shade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/>
            <a:t>Hadoop,1</a:t>
          </a:r>
          <a:endParaRPr lang="zh-CN" altLang="en-US" sz="1100" b="1" kern="1200" dirty="0"/>
        </a:p>
      </dsp:txBody>
      <dsp:txXfrm>
        <a:off x="8949" y="7263"/>
        <a:ext cx="1710815" cy="233459"/>
      </dsp:txXfrm>
    </dsp:sp>
    <dsp:sp modelId="{4750E58D-49B8-47CA-A11C-241656F8BE7A}">
      <dsp:nvSpPr>
        <dsp:cNvPr id="0" name=""/>
        <dsp:cNvSpPr/>
      </dsp:nvSpPr>
      <dsp:spPr>
        <a:xfrm>
          <a:off x="56545" y="266786"/>
          <a:ext cx="1613936" cy="24798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99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99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99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/>
            <a:t>Hello,1</a:t>
          </a:r>
          <a:endParaRPr lang="zh-CN" altLang="en-US" sz="1100" b="1" kern="1200" dirty="0"/>
        </a:p>
      </dsp:txBody>
      <dsp:txXfrm>
        <a:off x="63808" y="274049"/>
        <a:ext cx="1599410" cy="233459"/>
      </dsp:txXfrm>
    </dsp:sp>
    <dsp:sp modelId="{13C28A85-56C2-475F-81BC-8648DAEF60BF}">
      <dsp:nvSpPr>
        <dsp:cNvPr id="0" name=""/>
        <dsp:cNvSpPr/>
      </dsp:nvSpPr>
      <dsp:spPr>
        <a:xfrm>
          <a:off x="126219" y="533023"/>
          <a:ext cx="1474589" cy="24798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/>
            <a:t>I,1</a:t>
          </a:r>
          <a:endParaRPr lang="zh-CN" altLang="en-US" sz="1100" b="1" kern="1200" dirty="0"/>
        </a:p>
      </dsp:txBody>
      <dsp:txXfrm>
        <a:off x="133482" y="540286"/>
        <a:ext cx="1460063" cy="233459"/>
      </dsp:txXfrm>
    </dsp:sp>
    <dsp:sp modelId="{C0F88DFC-B9A5-4962-8B3C-9C4CB4788D59}">
      <dsp:nvSpPr>
        <dsp:cNvPr id="0" name=""/>
        <dsp:cNvSpPr/>
      </dsp:nvSpPr>
      <dsp:spPr>
        <a:xfrm>
          <a:off x="163011" y="799260"/>
          <a:ext cx="1401005" cy="24798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7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7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7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/>
            <a:t>like,1</a:t>
          </a:r>
          <a:endParaRPr lang="zh-CN" altLang="en-US" sz="1100" b="1" kern="1200" dirty="0"/>
        </a:p>
      </dsp:txBody>
      <dsp:txXfrm>
        <a:off x="170274" y="806523"/>
        <a:ext cx="1386479" cy="233459"/>
      </dsp:txXfrm>
    </dsp:sp>
    <dsp:sp modelId="{A00B4E21-56CE-466F-A246-DEF04D17E6C9}">
      <dsp:nvSpPr>
        <dsp:cNvPr id="0" name=""/>
        <dsp:cNvSpPr/>
      </dsp:nvSpPr>
      <dsp:spPr>
        <a:xfrm>
          <a:off x="208792" y="1065497"/>
          <a:ext cx="1309443" cy="24798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7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7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7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/>
            <a:t>World,1</a:t>
          </a:r>
          <a:endParaRPr lang="zh-CN" altLang="en-US" sz="1100" b="1" kern="1200" dirty="0"/>
        </a:p>
      </dsp:txBody>
      <dsp:txXfrm>
        <a:off x="216055" y="1072760"/>
        <a:ext cx="1294917" cy="23345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042095-245F-4ADC-919C-A4F4188B0BF4}">
      <dsp:nvSpPr>
        <dsp:cNvPr id="0" name=""/>
        <dsp:cNvSpPr/>
      </dsp:nvSpPr>
      <dsp:spPr>
        <a:xfrm>
          <a:off x="808" y="728"/>
          <a:ext cx="1873215" cy="24602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shade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shade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/>
            <a:t>Hadoop,1</a:t>
          </a:r>
          <a:endParaRPr lang="zh-CN" altLang="en-US" sz="1100" b="1" kern="1200" dirty="0"/>
        </a:p>
      </dsp:txBody>
      <dsp:txXfrm>
        <a:off x="8014" y="7934"/>
        <a:ext cx="1858803" cy="231617"/>
      </dsp:txXfrm>
    </dsp:sp>
    <dsp:sp modelId="{F80DBAD6-040B-45C1-AADF-84B052693733}">
      <dsp:nvSpPr>
        <dsp:cNvPr id="0" name=""/>
        <dsp:cNvSpPr/>
      </dsp:nvSpPr>
      <dsp:spPr>
        <a:xfrm>
          <a:off x="101658" y="266469"/>
          <a:ext cx="1671516" cy="24602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99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99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99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/>
            <a:t>Hello,1</a:t>
          </a:r>
          <a:endParaRPr lang="zh-CN" altLang="en-US" sz="1100" b="1" kern="1200" dirty="0"/>
        </a:p>
      </dsp:txBody>
      <dsp:txXfrm>
        <a:off x="108864" y="273675"/>
        <a:ext cx="1657104" cy="231617"/>
      </dsp:txXfrm>
    </dsp:sp>
    <dsp:sp modelId="{4DE37092-85C9-4804-8F53-8F3B6F9FF1DE}">
      <dsp:nvSpPr>
        <dsp:cNvPr id="0" name=""/>
        <dsp:cNvSpPr/>
      </dsp:nvSpPr>
      <dsp:spPr>
        <a:xfrm>
          <a:off x="149045" y="532210"/>
          <a:ext cx="1576742" cy="24602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>
              <a:latin typeface="Arial"/>
              <a:ea typeface="微软雅黑"/>
              <a:cs typeface="+mn-cs"/>
            </a:rPr>
            <a:t>I,1</a:t>
          </a:r>
          <a:endParaRPr lang="zh-CN" altLang="en-US" sz="1100" b="1" kern="1200" dirty="0">
            <a:latin typeface="Arial"/>
            <a:ea typeface="微软雅黑"/>
            <a:cs typeface="+mn-cs"/>
          </a:endParaRPr>
        </a:p>
      </dsp:txBody>
      <dsp:txXfrm>
        <a:off x="156251" y="539416"/>
        <a:ext cx="1562330" cy="231617"/>
      </dsp:txXfrm>
    </dsp:sp>
    <dsp:sp modelId="{A7E2333D-A890-46C1-A309-7C62A5328CE0}">
      <dsp:nvSpPr>
        <dsp:cNvPr id="0" name=""/>
        <dsp:cNvSpPr/>
      </dsp:nvSpPr>
      <dsp:spPr>
        <a:xfrm>
          <a:off x="194512" y="797951"/>
          <a:ext cx="1485807" cy="24602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7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7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7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/>
            <a:t>like,1</a:t>
          </a:r>
          <a:endParaRPr lang="zh-CN" altLang="en-US" sz="1100" b="1" kern="1200" dirty="0"/>
        </a:p>
      </dsp:txBody>
      <dsp:txXfrm>
        <a:off x="201718" y="805157"/>
        <a:ext cx="1471395" cy="231617"/>
      </dsp:txXfrm>
    </dsp:sp>
    <dsp:sp modelId="{EF02F223-52A6-43C2-80DC-853DD2590C8F}">
      <dsp:nvSpPr>
        <dsp:cNvPr id="0" name=""/>
        <dsp:cNvSpPr/>
      </dsp:nvSpPr>
      <dsp:spPr>
        <a:xfrm>
          <a:off x="231414" y="1063692"/>
          <a:ext cx="1412003" cy="24602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7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7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7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050" b="1" kern="1200" dirty="0">
              <a:latin typeface="Arial"/>
              <a:ea typeface="微软雅黑"/>
              <a:cs typeface="+mn-cs"/>
            </a:rPr>
            <a:t>MapReduce,1</a:t>
          </a:r>
          <a:endParaRPr lang="zh-CN" altLang="en-US" sz="1050" b="1" kern="1200" dirty="0">
            <a:latin typeface="Arial"/>
            <a:ea typeface="微软雅黑"/>
            <a:cs typeface="+mn-cs"/>
          </a:endParaRPr>
        </a:p>
      </dsp:txBody>
      <dsp:txXfrm>
        <a:off x="238620" y="1070898"/>
        <a:ext cx="1397591" cy="23161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042095-245F-4ADC-919C-A4F4188B0BF4}">
      <dsp:nvSpPr>
        <dsp:cNvPr id="0" name=""/>
        <dsp:cNvSpPr/>
      </dsp:nvSpPr>
      <dsp:spPr>
        <a:xfrm>
          <a:off x="349" y="728"/>
          <a:ext cx="1874133" cy="24602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shade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shade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/>
            <a:t>Hello,1</a:t>
          </a:r>
          <a:endParaRPr lang="zh-CN" altLang="en-US" sz="1100" b="1" kern="1200" dirty="0"/>
        </a:p>
      </dsp:txBody>
      <dsp:txXfrm>
        <a:off x="7555" y="7934"/>
        <a:ext cx="1859721" cy="231617"/>
      </dsp:txXfrm>
    </dsp:sp>
    <dsp:sp modelId="{F80DBAD6-040B-45C1-AADF-84B052693733}">
      <dsp:nvSpPr>
        <dsp:cNvPr id="0" name=""/>
        <dsp:cNvSpPr/>
      </dsp:nvSpPr>
      <dsp:spPr>
        <a:xfrm>
          <a:off x="102064" y="266469"/>
          <a:ext cx="1670703" cy="24602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99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99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99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/>
            <a:t>I,1</a:t>
          </a:r>
          <a:endParaRPr lang="zh-CN" altLang="en-US" sz="1100" b="1" kern="1200" dirty="0"/>
        </a:p>
      </dsp:txBody>
      <dsp:txXfrm>
        <a:off x="109270" y="273675"/>
        <a:ext cx="1656291" cy="231617"/>
      </dsp:txXfrm>
    </dsp:sp>
    <dsp:sp modelId="{5130EBAB-10D0-4E72-93AE-02897EBE41F2}">
      <dsp:nvSpPr>
        <dsp:cNvPr id="0" name=""/>
        <dsp:cNvSpPr/>
      </dsp:nvSpPr>
      <dsp:spPr>
        <a:xfrm>
          <a:off x="150586" y="532210"/>
          <a:ext cx="1573660" cy="24602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>
              <a:latin typeface="Arial"/>
              <a:ea typeface="微软雅黑"/>
              <a:cs typeface="+mn-cs"/>
            </a:rPr>
            <a:t>Java,1</a:t>
          </a:r>
          <a:endParaRPr lang="zh-CN" altLang="en-US" sz="1100" b="1" kern="1200" dirty="0">
            <a:latin typeface="Arial"/>
            <a:ea typeface="微软雅黑"/>
            <a:cs typeface="+mn-cs"/>
          </a:endParaRPr>
        </a:p>
      </dsp:txBody>
      <dsp:txXfrm>
        <a:off x="157792" y="539416"/>
        <a:ext cx="1559248" cy="231617"/>
      </dsp:txXfrm>
    </dsp:sp>
    <dsp:sp modelId="{61E668EF-2E03-41F8-8B79-9D74C6A1BEC8}">
      <dsp:nvSpPr>
        <dsp:cNvPr id="0" name=""/>
        <dsp:cNvSpPr/>
      </dsp:nvSpPr>
      <dsp:spPr>
        <a:xfrm>
          <a:off x="197411" y="797951"/>
          <a:ext cx="1480010" cy="24602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7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7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7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/>
            <a:t>like,1</a:t>
          </a:r>
          <a:endParaRPr lang="zh-CN" altLang="en-US" sz="1100" b="1" kern="1200" dirty="0"/>
        </a:p>
      </dsp:txBody>
      <dsp:txXfrm>
        <a:off x="204617" y="805157"/>
        <a:ext cx="1465598" cy="231617"/>
      </dsp:txXfrm>
    </dsp:sp>
    <dsp:sp modelId="{7E7CBA4A-9139-43CE-B7CF-03D14816B1BC}">
      <dsp:nvSpPr>
        <dsp:cNvPr id="0" name=""/>
        <dsp:cNvSpPr/>
      </dsp:nvSpPr>
      <dsp:spPr>
        <a:xfrm>
          <a:off x="239964" y="1063692"/>
          <a:ext cx="1394904" cy="24602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7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7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7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>
              <a:latin typeface="Arial"/>
              <a:ea typeface="微软雅黑"/>
              <a:cs typeface="+mn-cs"/>
            </a:rPr>
            <a:t>MapReduce,1</a:t>
          </a:r>
          <a:endParaRPr lang="zh-CN" altLang="en-US" sz="1100" b="1" kern="1200" dirty="0">
            <a:latin typeface="Arial"/>
            <a:ea typeface="微软雅黑"/>
            <a:cs typeface="+mn-cs"/>
          </a:endParaRPr>
        </a:p>
      </dsp:txBody>
      <dsp:txXfrm>
        <a:off x="247170" y="1070898"/>
        <a:ext cx="1380492" cy="23161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35E8B9-DB89-4C2B-8565-D7EB39524393}">
      <dsp:nvSpPr>
        <dsp:cNvPr id="0" name=""/>
        <dsp:cNvSpPr/>
      </dsp:nvSpPr>
      <dsp:spPr>
        <a:xfrm>
          <a:off x="1686" y="0"/>
          <a:ext cx="1725341" cy="24798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shade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shade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/>
            <a:t>Hadoop,1</a:t>
          </a:r>
          <a:endParaRPr lang="zh-CN" altLang="en-US" sz="1100" b="1" kern="1200" dirty="0"/>
        </a:p>
      </dsp:txBody>
      <dsp:txXfrm>
        <a:off x="8949" y="7263"/>
        <a:ext cx="1710815" cy="233459"/>
      </dsp:txXfrm>
    </dsp:sp>
    <dsp:sp modelId="{4750E58D-49B8-47CA-A11C-241656F8BE7A}">
      <dsp:nvSpPr>
        <dsp:cNvPr id="0" name=""/>
        <dsp:cNvSpPr/>
      </dsp:nvSpPr>
      <dsp:spPr>
        <a:xfrm>
          <a:off x="56545" y="266786"/>
          <a:ext cx="1613936" cy="24798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99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99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99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/>
            <a:t>Hello,1</a:t>
          </a:r>
          <a:endParaRPr lang="zh-CN" altLang="en-US" sz="1100" b="1" kern="1200" dirty="0"/>
        </a:p>
      </dsp:txBody>
      <dsp:txXfrm>
        <a:off x="63808" y="274049"/>
        <a:ext cx="1599410" cy="233459"/>
      </dsp:txXfrm>
    </dsp:sp>
    <dsp:sp modelId="{13C28A85-56C2-475F-81BC-8648DAEF60BF}">
      <dsp:nvSpPr>
        <dsp:cNvPr id="0" name=""/>
        <dsp:cNvSpPr/>
      </dsp:nvSpPr>
      <dsp:spPr>
        <a:xfrm>
          <a:off x="126219" y="533023"/>
          <a:ext cx="1474589" cy="24798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/>
            <a:t>I,1</a:t>
          </a:r>
          <a:endParaRPr lang="zh-CN" altLang="en-US" sz="1100" b="1" kern="1200" dirty="0"/>
        </a:p>
      </dsp:txBody>
      <dsp:txXfrm>
        <a:off x="133482" y="540286"/>
        <a:ext cx="1460063" cy="233459"/>
      </dsp:txXfrm>
    </dsp:sp>
    <dsp:sp modelId="{C0F88DFC-B9A5-4962-8B3C-9C4CB4788D59}">
      <dsp:nvSpPr>
        <dsp:cNvPr id="0" name=""/>
        <dsp:cNvSpPr/>
      </dsp:nvSpPr>
      <dsp:spPr>
        <a:xfrm>
          <a:off x="163011" y="799260"/>
          <a:ext cx="1401005" cy="24798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7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7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7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/>
            <a:t>like,1</a:t>
          </a:r>
          <a:endParaRPr lang="zh-CN" altLang="en-US" sz="1100" b="1" kern="1200" dirty="0"/>
        </a:p>
      </dsp:txBody>
      <dsp:txXfrm>
        <a:off x="170274" y="806523"/>
        <a:ext cx="1386479" cy="233459"/>
      </dsp:txXfrm>
    </dsp:sp>
    <dsp:sp modelId="{A00B4E21-56CE-466F-A246-DEF04D17E6C9}">
      <dsp:nvSpPr>
        <dsp:cNvPr id="0" name=""/>
        <dsp:cNvSpPr/>
      </dsp:nvSpPr>
      <dsp:spPr>
        <a:xfrm>
          <a:off x="208792" y="1065497"/>
          <a:ext cx="1309443" cy="24798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7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7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7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/>
            <a:t>World,1</a:t>
          </a:r>
          <a:endParaRPr lang="zh-CN" altLang="en-US" sz="1100" b="1" kern="1200" dirty="0"/>
        </a:p>
      </dsp:txBody>
      <dsp:txXfrm>
        <a:off x="216055" y="1072760"/>
        <a:ext cx="1294917" cy="233459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042095-245F-4ADC-919C-A4F4188B0BF4}">
      <dsp:nvSpPr>
        <dsp:cNvPr id="0" name=""/>
        <dsp:cNvSpPr/>
      </dsp:nvSpPr>
      <dsp:spPr>
        <a:xfrm>
          <a:off x="808" y="728"/>
          <a:ext cx="1873215" cy="24602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shade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shade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/>
            <a:t>Hadoop,1</a:t>
          </a:r>
          <a:endParaRPr lang="zh-CN" altLang="en-US" sz="1100" b="1" kern="1200" dirty="0"/>
        </a:p>
      </dsp:txBody>
      <dsp:txXfrm>
        <a:off x="8014" y="7934"/>
        <a:ext cx="1858803" cy="231617"/>
      </dsp:txXfrm>
    </dsp:sp>
    <dsp:sp modelId="{F80DBAD6-040B-45C1-AADF-84B052693733}">
      <dsp:nvSpPr>
        <dsp:cNvPr id="0" name=""/>
        <dsp:cNvSpPr/>
      </dsp:nvSpPr>
      <dsp:spPr>
        <a:xfrm>
          <a:off x="101658" y="266469"/>
          <a:ext cx="1671516" cy="24602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99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99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99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/>
            <a:t>Hello,1</a:t>
          </a:r>
          <a:endParaRPr lang="zh-CN" altLang="en-US" sz="1100" b="1" kern="1200" dirty="0"/>
        </a:p>
      </dsp:txBody>
      <dsp:txXfrm>
        <a:off x="108864" y="273675"/>
        <a:ext cx="1657104" cy="231617"/>
      </dsp:txXfrm>
    </dsp:sp>
    <dsp:sp modelId="{4DE37092-85C9-4804-8F53-8F3B6F9FF1DE}">
      <dsp:nvSpPr>
        <dsp:cNvPr id="0" name=""/>
        <dsp:cNvSpPr/>
      </dsp:nvSpPr>
      <dsp:spPr>
        <a:xfrm>
          <a:off x="149045" y="532210"/>
          <a:ext cx="1576742" cy="24602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>
              <a:latin typeface="Arial"/>
              <a:ea typeface="微软雅黑"/>
              <a:cs typeface="+mn-cs"/>
            </a:rPr>
            <a:t>I,1</a:t>
          </a:r>
          <a:endParaRPr lang="zh-CN" altLang="en-US" sz="1100" b="1" kern="1200" dirty="0">
            <a:latin typeface="Arial"/>
            <a:ea typeface="微软雅黑"/>
            <a:cs typeface="+mn-cs"/>
          </a:endParaRPr>
        </a:p>
      </dsp:txBody>
      <dsp:txXfrm>
        <a:off x="156251" y="539416"/>
        <a:ext cx="1562330" cy="231617"/>
      </dsp:txXfrm>
    </dsp:sp>
    <dsp:sp modelId="{A7E2333D-A890-46C1-A309-7C62A5328CE0}">
      <dsp:nvSpPr>
        <dsp:cNvPr id="0" name=""/>
        <dsp:cNvSpPr/>
      </dsp:nvSpPr>
      <dsp:spPr>
        <a:xfrm>
          <a:off x="194512" y="797951"/>
          <a:ext cx="1485807" cy="24602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7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7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7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/>
            <a:t>like,1</a:t>
          </a:r>
          <a:endParaRPr lang="zh-CN" altLang="en-US" sz="1100" b="1" kern="1200" dirty="0"/>
        </a:p>
      </dsp:txBody>
      <dsp:txXfrm>
        <a:off x="201718" y="805157"/>
        <a:ext cx="1471395" cy="231617"/>
      </dsp:txXfrm>
    </dsp:sp>
    <dsp:sp modelId="{EF02F223-52A6-43C2-80DC-853DD2590C8F}">
      <dsp:nvSpPr>
        <dsp:cNvPr id="0" name=""/>
        <dsp:cNvSpPr/>
      </dsp:nvSpPr>
      <dsp:spPr>
        <a:xfrm>
          <a:off x="231414" y="1063692"/>
          <a:ext cx="1412003" cy="24602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7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7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7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050" b="1" kern="1200" dirty="0">
              <a:latin typeface="Arial"/>
              <a:ea typeface="微软雅黑"/>
              <a:cs typeface="+mn-cs"/>
            </a:rPr>
            <a:t>MapReduce,1</a:t>
          </a:r>
          <a:endParaRPr lang="zh-CN" altLang="en-US" sz="1050" b="1" kern="1200" dirty="0">
            <a:latin typeface="Arial"/>
            <a:ea typeface="微软雅黑"/>
            <a:cs typeface="+mn-cs"/>
          </a:endParaRPr>
        </a:p>
      </dsp:txBody>
      <dsp:txXfrm>
        <a:off x="238620" y="1070898"/>
        <a:ext cx="1397591" cy="231617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042095-245F-4ADC-919C-A4F4188B0BF4}">
      <dsp:nvSpPr>
        <dsp:cNvPr id="0" name=""/>
        <dsp:cNvSpPr/>
      </dsp:nvSpPr>
      <dsp:spPr>
        <a:xfrm>
          <a:off x="349" y="728"/>
          <a:ext cx="1874133" cy="24602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shade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shade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shade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/>
            <a:t>Hello,1</a:t>
          </a:r>
          <a:endParaRPr lang="zh-CN" altLang="en-US" sz="1100" b="1" kern="1200" dirty="0"/>
        </a:p>
      </dsp:txBody>
      <dsp:txXfrm>
        <a:off x="7555" y="7934"/>
        <a:ext cx="1859721" cy="231617"/>
      </dsp:txXfrm>
    </dsp:sp>
    <dsp:sp modelId="{F80DBAD6-040B-45C1-AADF-84B052693733}">
      <dsp:nvSpPr>
        <dsp:cNvPr id="0" name=""/>
        <dsp:cNvSpPr/>
      </dsp:nvSpPr>
      <dsp:spPr>
        <a:xfrm>
          <a:off x="102064" y="266469"/>
          <a:ext cx="1670703" cy="24602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99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99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99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/>
            <a:t>I,1</a:t>
          </a:r>
          <a:endParaRPr lang="zh-CN" altLang="en-US" sz="1100" b="1" kern="1200" dirty="0"/>
        </a:p>
      </dsp:txBody>
      <dsp:txXfrm>
        <a:off x="109270" y="273675"/>
        <a:ext cx="1656291" cy="231617"/>
      </dsp:txXfrm>
    </dsp:sp>
    <dsp:sp modelId="{5130EBAB-10D0-4E72-93AE-02897EBE41F2}">
      <dsp:nvSpPr>
        <dsp:cNvPr id="0" name=""/>
        <dsp:cNvSpPr/>
      </dsp:nvSpPr>
      <dsp:spPr>
        <a:xfrm>
          <a:off x="150586" y="532210"/>
          <a:ext cx="1573660" cy="24602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>
              <a:latin typeface="Arial"/>
              <a:ea typeface="微软雅黑"/>
              <a:cs typeface="+mn-cs"/>
            </a:rPr>
            <a:t>Java,1</a:t>
          </a:r>
          <a:endParaRPr lang="zh-CN" altLang="en-US" sz="1100" b="1" kern="1200" dirty="0">
            <a:latin typeface="Arial"/>
            <a:ea typeface="微软雅黑"/>
            <a:cs typeface="+mn-cs"/>
          </a:endParaRPr>
        </a:p>
      </dsp:txBody>
      <dsp:txXfrm>
        <a:off x="157792" y="539416"/>
        <a:ext cx="1559248" cy="231617"/>
      </dsp:txXfrm>
    </dsp:sp>
    <dsp:sp modelId="{61E668EF-2E03-41F8-8B79-9D74C6A1BEC8}">
      <dsp:nvSpPr>
        <dsp:cNvPr id="0" name=""/>
        <dsp:cNvSpPr/>
      </dsp:nvSpPr>
      <dsp:spPr>
        <a:xfrm>
          <a:off x="197411" y="797951"/>
          <a:ext cx="1480010" cy="24602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7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7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7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/>
            <a:t>like,1</a:t>
          </a:r>
          <a:endParaRPr lang="zh-CN" altLang="en-US" sz="1100" b="1" kern="1200" dirty="0"/>
        </a:p>
      </dsp:txBody>
      <dsp:txXfrm>
        <a:off x="204617" y="805157"/>
        <a:ext cx="1465598" cy="231617"/>
      </dsp:txXfrm>
    </dsp:sp>
    <dsp:sp modelId="{7E7CBA4A-9139-43CE-B7CF-03D14816B1BC}">
      <dsp:nvSpPr>
        <dsp:cNvPr id="0" name=""/>
        <dsp:cNvSpPr/>
      </dsp:nvSpPr>
      <dsp:spPr>
        <a:xfrm>
          <a:off x="239964" y="1063692"/>
          <a:ext cx="1394904" cy="24602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7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7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7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100" b="1" kern="1200" dirty="0">
              <a:latin typeface="Arial"/>
              <a:ea typeface="微软雅黑"/>
              <a:cs typeface="+mn-cs"/>
            </a:rPr>
            <a:t>MapReduce,1</a:t>
          </a:r>
          <a:endParaRPr lang="zh-CN" altLang="en-US" sz="1100" b="1" kern="1200" dirty="0">
            <a:latin typeface="Arial"/>
            <a:ea typeface="微软雅黑"/>
            <a:cs typeface="+mn-cs"/>
          </a:endParaRPr>
        </a:p>
      </dsp:txBody>
      <dsp:txXfrm>
        <a:off x="247170" y="1070898"/>
        <a:ext cx="1380492" cy="23161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9C1566F3-34C2-4E8C-A939-25A67BD53A8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A4846BF2-E251-4FE4-92D4-E68C7F25778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AA5306-8B27-44D8-9E97-B29761986D4B}" type="datetimeFigureOut">
              <a:rPr lang="zh-CN" altLang="en-US" smtClean="0"/>
              <a:t>2023/9/2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40E4EB0E-525A-419C-8B7F-869A7F8E59F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72F2C08B-4247-4232-B248-D7C1BA57F72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D32E12-3F38-4534-AB00-4995EC204A8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797804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3/9/2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1.</a:t>
            </a:r>
            <a:r>
              <a:rPr lang="zh-CN" altLang="en-US" dirty="0"/>
              <a:t>和二次排序有关</a:t>
            </a:r>
            <a:endParaRPr lang="en-US" altLang="zh-CN" dirty="0"/>
          </a:p>
          <a:p>
            <a:r>
              <a:rPr lang="en-US" altLang="zh-CN" dirty="0"/>
              <a:t>2.</a:t>
            </a:r>
            <a:r>
              <a:rPr lang="zh-CN" altLang="en-US" dirty="0"/>
              <a:t>最简步骤搭建 跑出第一个代码 有自信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56220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828355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239607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最后根据</a:t>
            </a:r>
            <a:r>
              <a:rPr lang="en-US" altLang="zh-CN" dirty="0"/>
              <a:t>key</a:t>
            </a:r>
            <a:r>
              <a:rPr lang="zh-CN" altLang="en-US" dirty="0"/>
              <a:t>值的范围将这些元组进行分组，对应不同的</a:t>
            </a:r>
            <a:r>
              <a:rPr lang="en-US" altLang="zh-CN" dirty="0"/>
              <a:t>Reduce</a:t>
            </a:r>
            <a:r>
              <a:rPr lang="zh-CN" altLang="en-US" dirty="0"/>
              <a:t>任务，即</a:t>
            </a:r>
            <a:r>
              <a:rPr lang="en-US" altLang="zh-CN" dirty="0"/>
              <a:t>hash(key) mod R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870102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Reduce</a:t>
            </a:r>
            <a:r>
              <a:rPr lang="zh-CN" altLang="en-US" dirty="0"/>
              <a:t>将从来自不同的</a:t>
            </a:r>
            <a:r>
              <a:rPr lang="en-US" altLang="zh-CN" dirty="0"/>
              <a:t>Map</a:t>
            </a:r>
            <a:r>
              <a:rPr lang="zh-CN" altLang="en-US" dirty="0"/>
              <a:t>的数据整合在一起并进行排序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477439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然后调用用户自定义的</a:t>
            </a:r>
            <a:r>
              <a:rPr lang="en-US" altLang="zh-CN" dirty="0"/>
              <a:t>Reduce</a:t>
            </a:r>
            <a:r>
              <a:rPr lang="zh-CN" altLang="en-US" dirty="0"/>
              <a:t>函数，对输入的中间结果进行相应的处理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749675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并将得到的键值对输出到</a:t>
            </a:r>
            <a:r>
              <a:rPr lang="en-US" altLang="zh-CN" dirty="0"/>
              <a:t>HDFS</a:t>
            </a:r>
            <a:r>
              <a:rPr lang="zh-CN" altLang="en-US" dirty="0"/>
              <a:t>上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14255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排序发生了两次，一次在</a:t>
            </a:r>
            <a:r>
              <a:rPr lang="en-US" altLang="zh-CN" dirty="0"/>
              <a:t>map</a:t>
            </a:r>
            <a:r>
              <a:rPr lang="zh-CN" altLang="en-US" dirty="0"/>
              <a:t>的中间结果，一次在</a:t>
            </a:r>
            <a:r>
              <a:rPr lang="en-US" altLang="zh-CN" dirty="0"/>
              <a:t>reduce</a:t>
            </a:r>
            <a:r>
              <a:rPr lang="zh-CN" altLang="en-US" dirty="0"/>
              <a:t>中</a:t>
            </a:r>
            <a:endParaRPr lang="en-US" altLang="zh-CN" dirty="0"/>
          </a:p>
          <a:p>
            <a:r>
              <a:rPr lang="zh-CN" altLang="en-US" dirty="0"/>
              <a:t>在</a:t>
            </a:r>
            <a:r>
              <a:rPr lang="en-US" altLang="zh-CN" dirty="0"/>
              <a:t>reduce</a:t>
            </a:r>
            <a:r>
              <a:rPr lang="zh-CN" altLang="en-US" dirty="0"/>
              <a:t>中的合并，若</a:t>
            </a:r>
            <a:r>
              <a:rPr lang="en-US" altLang="zh-CN" dirty="0"/>
              <a:t>&lt;</a:t>
            </a:r>
            <a:r>
              <a:rPr lang="en-US" altLang="zh-CN" dirty="0" err="1"/>
              <a:t>key,list</a:t>
            </a:r>
            <a:r>
              <a:rPr lang="en-US" altLang="zh-CN" dirty="0"/>
              <a:t>(value)&gt;</a:t>
            </a:r>
            <a:r>
              <a:rPr lang="zh-CN" altLang="en-US" dirty="0"/>
              <a:t>过长，可能会造成溢出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5888975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在这张单击后要等个</a:t>
            </a:r>
            <a:r>
              <a:rPr lang="en-US" altLang="zh-CN" dirty="0"/>
              <a:t>2~3</a:t>
            </a:r>
            <a:r>
              <a:rPr lang="zh-CN" altLang="en-US" dirty="0"/>
              <a:t>秒才会出动画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8674291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发现这里有一</a:t>
            </a:r>
            <a:r>
              <a:rPr lang="zh-CN" altLang="en-US"/>
              <a:t>个错误警告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9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709789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从一个简单的</a:t>
            </a:r>
            <a:r>
              <a:rPr lang="en-US" altLang="zh-CN" dirty="0"/>
              <a:t>wordcount</a:t>
            </a:r>
            <a:r>
              <a:rPr lang="zh-CN" altLang="en-US" dirty="0"/>
              <a:t>实例开始，熟悉流程有助于写代码，做实验，假设有</a:t>
            </a:r>
            <a:r>
              <a:rPr lang="en-US" altLang="zh-CN" dirty="0"/>
              <a:t>3</a:t>
            </a:r>
            <a:r>
              <a:rPr lang="zh-CN" altLang="en-US" dirty="0"/>
              <a:t>个输入文件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142649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016466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MapReduce</a:t>
            </a:r>
            <a:r>
              <a:rPr lang="zh-CN" altLang="en-US" dirty="0"/>
              <a:t>框架将任务的输入数据分割成固定大小的数据片段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081148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/>
              <a:t>MapReduce</a:t>
            </a:r>
            <a:r>
              <a:rPr lang="zh-CN" altLang="en-US" dirty="0"/>
              <a:t>框架将任务的输入数据分割成固定大小的数据片段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524839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/>
              <a:t>MapReduce</a:t>
            </a:r>
            <a:r>
              <a:rPr lang="zh-CN" altLang="en-US" dirty="0"/>
              <a:t>框架将任务的输入数据分割成固定大小的数据片段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805817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随后将每个</a:t>
            </a:r>
            <a:r>
              <a:rPr lang="en-US" altLang="zh-CN" dirty="0"/>
              <a:t>split</a:t>
            </a:r>
            <a:r>
              <a:rPr lang="zh-CN" altLang="en-US" dirty="0"/>
              <a:t>进一步分解成一批键值对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966205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Hadoop</a:t>
            </a:r>
            <a:r>
              <a:rPr lang="zh-CN" altLang="en-US" dirty="0"/>
              <a:t>为每一个</a:t>
            </a:r>
            <a:r>
              <a:rPr lang="en-US" altLang="zh-CN" dirty="0"/>
              <a:t>split</a:t>
            </a:r>
            <a:r>
              <a:rPr lang="zh-CN" altLang="en-US" dirty="0"/>
              <a:t>创建一个</a:t>
            </a:r>
            <a:r>
              <a:rPr lang="en-US" altLang="zh-CN" dirty="0"/>
              <a:t>Map</a:t>
            </a:r>
            <a:r>
              <a:rPr lang="zh-CN" altLang="en-US" dirty="0"/>
              <a:t>任务用于执行用户定义的</a:t>
            </a:r>
            <a:r>
              <a:rPr lang="en-US" altLang="zh-CN" dirty="0"/>
              <a:t>Map</a:t>
            </a:r>
            <a:r>
              <a:rPr lang="zh-CN" altLang="en-US" dirty="0"/>
              <a:t>函数，并将对应的键值对做为输出得到中间结果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488537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接着将中间结果进行排序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并将</a:t>
            </a:r>
            <a:r>
              <a:rPr lang="en-US" altLang="zh-CN" dirty="0"/>
              <a:t>key</a:t>
            </a:r>
            <a:r>
              <a:rPr lang="zh-CN" altLang="en-US" dirty="0"/>
              <a:t>值相等的结果进行排序，把</a:t>
            </a:r>
            <a:r>
              <a:rPr lang="en-US" altLang="zh-CN" dirty="0"/>
              <a:t>value</a:t>
            </a:r>
            <a:r>
              <a:rPr lang="zh-CN" altLang="en-US" dirty="0"/>
              <a:t>放在一起形成一个新列表，此处没有</a:t>
            </a:r>
            <a:r>
              <a:rPr lang="en-US" altLang="zh-CN" dirty="0"/>
              <a:t>key</a:t>
            </a:r>
            <a:r>
              <a:rPr lang="zh-CN" altLang="en-US" dirty="0"/>
              <a:t>相等的，因此不需合并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650008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Freeform 85">
            <a:extLst>
              <a:ext uri="{FF2B5EF4-FFF2-40B4-BE49-F238E27FC236}">
                <a16:creationId xmlns:a16="http://schemas.microsoft.com/office/drawing/2014/main" id="{A38ADE2F-2C2A-495B-8992-857E3C67FF0D}"/>
              </a:ext>
            </a:extLst>
          </p:cNvPr>
          <p:cNvSpPr>
            <a:spLocks/>
          </p:cNvSpPr>
          <p:nvPr userDrawn="1"/>
        </p:nvSpPr>
        <p:spPr bwMode="auto">
          <a:xfrm>
            <a:off x="-1508125" y="9526"/>
            <a:ext cx="7410450" cy="2273300"/>
          </a:xfrm>
          <a:custGeom>
            <a:avLst/>
            <a:gdLst>
              <a:gd name="T0" fmla="*/ 3815 w 4668"/>
              <a:gd name="T1" fmla="*/ 0 h 1432"/>
              <a:gd name="T2" fmla="*/ 0 w 4668"/>
              <a:gd name="T3" fmla="*/ 1170 h 1432"/>
              <a:gd name="T4" fmla="*/ 0 w 4668"/>
              <a:gd name="T5" fmla="*/ 1432 h 1432"/>
              <a:gd name="T6" fmla="*/ 4668 w 4668"/>
              <a:gd name="T7" fmla="*/ 0 h 1432"/>
              <a:gd name="T8" fmla="*/ 3815 w 4668"/>
              <a:gd name="T9" fmla="*/ 0 h 1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68" h="1432">
                <a:moveTo>
                  <a:pt x="3815" y="0"/>
                </a:moveTo>
                <a:lnTo>
                  <a:pt x="0" y="1170"/>
                </a:lnTo>
                <a:lnTo>
                  <a:pt x="0" y="1432"/>
                </a:lnTo>
                <a:lnTo>
                  <a:pt x="4668" y="0"/>
                </a:lnTo>
                <a:lnTo>
                  <a:pt x="3815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2" name="Freeform 87">
            <a:extLst>
              <a:ext uri="{FF2B5EF4-FFF2-40B4-BE49-F238E27FC236}">
                <a16:creationId xmlns:a16="http://schemas.microsoft.com/office/drawing/2014/main" id="{E73626DE-29FA-4783-977D-6F282396EA57}"/>
              </a:ext>
            </a:extLst>
          </p:cNvPr>
          <p:cNvSpPr>
            <a:spLocks/>
          </p:cNvSpPr>
          <p:nvPr userDrawn="1"/>
        </p:nvSpPr>
        <p:spPr bwMode="auto">
          <a:xfrm>
            <a:off x="-1482725" y="9526"/>
            <a:ext cx="10887075" cy="3340100"/>
          </a:xfrm>
          <a:custGeom>
            <a:avLst/>
            <a:gdLst>
              <a:gd name="T0" fmla="*/ 6004 w 6858"/>
              <a:gd name="T1" fmla="*/ 0 h 2104"/>
              <a:gd name="T2" fmla="*/ 0 w 6858"/>
              <a:gd name="T3" fmla="*/ 1842 h 2104"/>
              <a:gd name="T4" fmla="*/ 0 w 6858"/>
              <a:gd name="T5" fmla="*/ 2104 h 2104"/>
              <a:gd name="T6" fmla="*/ 6858 w 6858"/>
              <a:gd name="T7" fmla="*/ 0 h 2104"/>
              <a:gd name="T8" fmla="*/ 6004 w 6858"/>
              <a:gd name="T9" fmla="*/ 0 h 2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858" h="2104">
                <a:moveTo>
                  <a:pt x="6004" y="0"/>
                </a:moveTo>
                <a:lnTo>
                  <a:pt x="0" y="1842"/>
                </a:lnTo>
                <a:lnTo>
                  <a:pt x="0" y="2104"/>
                </a:lnTo>
                <a:lnTo>
                  <a:pt x="6858" y="0"/>
                </a:lnTo>
                <a:lnTo>
                  <a:pt x="6004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4" name="Freeform 89">
            <a:extLst>
              <a:ext uri="{FF2B5EF4-FFF2-40B4-BE49-F238E27FC236}">
                <a16:creationId xmlns:a16="http://schemas.microsoft.com/office/drawing/2014/main" id="{3D1869FE-9FD2-418E-A14D-75FD7AD5BE4B}"/>
              </a:ext>
            </a:extLst>
          </p:cNvPr>
          <p:cNvSpPr>
            <a:spLocks/>
          </p:cNvSpPr>
          <p:nvPr userDrawn="1"/>
        </p:nvSpPr>
        <p:spPr bwMode="auto">
          <a:xfrm>
            <a:off x="-1482725" y="273051"/>
            <a:ext cx="12149138" cy="4141788"/>
          </a:xfrm>
          <a:custGeom>
            <a:avLst/>
            <a:gdLst>
              <a:gd name="T0" fmla="*/ 7653 w 7653"/>
              <a:gd name="T1" fmla="*/ 0 h 2609"/>
              <a:gd name="T2" fmla="*/ 0 w 7653"/>
              <a:gd name="T3" fmla="*/ 2348 h 2609"/>
              <a:gd name="T4" fmla="*/ 0 w 7653"/>
              <a:gd name="T5" fmla="*/ 2609 h 2609"/>
              <a:gd name="T6" fmla="*/ 7653 w 7653"/>
              <a:gd name="T7" fmla="*/ 261 h 2609"/>
              <a:gd name="T8" fmla="*/ 7653 w 7653"/>
              <a:gd name="T9" fmla="*/ 0 h 26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53" h="2609">
                <a:moveTo>
                  <a:pt x="7653" y="0"/>
                </a:moveTo>
                <a:lnTo>
                  <a:pt x="0" y="2348"/>
                </a:lnTo>
                <a:lnTo>
                  <a:pt x="0" y="2609"/>
                </a:lnTo>
                <a:lnTo>
                  <a:pt x="7653" y="261"/>
                </a:lnTo>
                <a:lnTo>
                  <a:pt x="7653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6" name="Freeform 91">
            <a:extLst>
              <a:ext uri="{FF2B5EF4-FFF2-40B4-BE49-F238E27FC236}">
                <a16:creationId xmlns:a16="http://schemas.microsoft.com/office/drawing/2014/main" id="{7DBD9847-EA9F-4FD9-A514-1E81386BAE01}"/>
              </a:ext>
            </a:extLst>
          </p:cNvPr>
          <p:cNvSpPr>
            <a:spLocks/>
          </p:cNvSpPr>
          <p:nvPr userDrawn="1"/>
        </p:nvSpPr>
        <p:spPr bwMode="auto">
          <a:xfrm>
            <a:off x="-1482725" y="1338263"/>
            <a:ext cx="12149138" cy="4143375"/>
          </a:xfrm>
          <a:custGeom>
            <a:avLst/>
            <a:gdLst>
              <a:gd name="T0" fmla="*/ 7653 w 7653"/>
              <a:gd name="T1" fmla="*/ 0 h 2610"/>
              <a:gd name="T2" fmla="*/ 0 w 7653"/>
              <a:gd name="T3" fmla="*/ 2348 h 2610"/>
              <a:gd name="T4" fmla="*/ 0 w 7653"/>
              <a:gd name="T5" fmla="*/ 2610 h 2610"/>
              <a:gd name="T6" fmla="*/ 7653 w 7653"/>
              <a:gd name="T7" fmla="*/ 262 h 2610"/>
              <a:gd name="T8" fmla="*/ 7653 w 7653"/>
              <a:gd name="T9" fmla="*/ 0 h 26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53" h="2610">
                <a:moveTo>
                  <a:pt x="7653" y="0"/>
                </a:moveTo>
                <a:lnTo>
                  <a:pt x="0" y="2348"/>
                </a:lnTo>
                <a:lnTo>
                  <a:pt x="0" y="2610"/>
                </a:lnTo>
                <a:lnTo>
                  <a:pt x="7653" y="262"/>
                </a:lnTo>
                <a:lnTo>
                  <a:pt x="7653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8" name="Freeform 93">
            <a:extLst>
              <a:ext uri="{FF2B5EF4-FFF2-40B4-BE49-F238E27FC236}">
                <a16:creationId xmlns:a16="http://schemas.microsoft.com/office/drawing/2014/main" id="{DF7F21A5-46F1-4516-BB20-245AC8DAD10F}"/>
              </a:ext>
            </a:extLst>
          </p:cNvPr>
          <p:cNvSpPr>
            <a:spLocks/>
          </p:cNvSpPr>
          <p:nvPr userDrawn="1"/>
        </p:nvSpPr>
        <p:spPr bwMode="auto">
          <a:xfrm>
            <a:off x="-1482725" y="2405063"/>
            <a:ext cx="12149138" cy="4143375"/>
          </a:xfrm>
          <a:custGeom>
            <a:avLst/>
            <a:gdLst>
              <a:gd name="T0" fmla="*/ 7653 w 7653"/>
              <a:gd name="T1" fmla="*/ 0 h 2610"/>
              <a:gd name="T2" fmla="*/ 0 w 7653"/>
              <a:gd name="T3" fmla="*/ 2348 h 2610"/>
              <a:gd name="T4" fmla="*/ 0 w 7653"/>
              <a:gd name="T5" fmla="*/ 2610 h 2610"/>
              <a:gd name="T6" fmla="*/ 7653 w 7653"/>
              <a:gd name="T7" fmla="*/ 262 h 2610"/>
              <a:gd name="T8" fmla="*/ 7653 w 7653"/>
              <a:gd name="T9" fmla="*/ 0 h 26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53" h="2610">
                <a:moveTo>
                  <a:pt x="7653" y="0"/>
                </a:moveTo>
                <a:lnTo>
                  <a:pt x="0" y="2348"/>
                </a:lnTo>
                <a:lnTo>
                  <a:pt x="0" y="2610"/>
                </a:lnTo>
                <a:lnTo>
                  <a:pt x="7653" y="262"/>
                </a:lnTo>
                <a:lnTo>
                  <a:pt x="7653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0" name="Freeform 95">
            <a:extLst>
              <a:ext uri="{FF2B5EF4-FFF2-40B4-BE49-F238E27FC236}">
                <a16:creationId xmlns:a16="http://schemas.microsoft.com/office/drawing/2014/main" id="{B6FE9C0E-A909-4572-B7FB-E0D229E4468C}"/>
              </a:ext>
            </a:extLst>
          </p:cNvPr>
          <p:cNvSpPr>
            <a:spLocks/>
          </p:cNvSpPr>
          <p:nvPr userDrawn="1"/>
        </p:nvSpPr>
        <p:spPr bwMode="auto">
          <a:xfrm>
            <a:off x="-325437" y="3473451"/>
            <a:ext cx="10991850" cy="3371850"/>
          </a:xfrm>
          <a:custGeom>
            <a:avLst/>
            <a:gdLst>
              <a:gd name="T0" fmla="*/ 6924 w 6924"/>
              <a:gd name="T1" fmla="*/ 0 h 2124"/>
              <a:gd name="T2" fmla="*/ 0 w 6924"/>
              <a:gd name="T3" fmla="*/ 2124 h 2124"/>
              <a:gd name="T4" fmla="*/ 852 w 6924"/>
              <a:gd name="T5" fmla="*/ 2124 h 2124"/>
              <a:gd name="T6" fmla="*/ 6924 w 6924"/>
              <a:gd name="T7" fmla="*/ 260 h 2124"/>
              <a:gd name="T8" fmla="*/ 6924 w 6924"/>
              <a:gd name="T9" fmla="*/ 0 h 2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924" h="2124">
                <a:moveTo>
                  <a:pt x="6924" y="0"/>
                </a:moveTo>
                <a:lnTo>
                  <a:pt x="0" y="2124"/>
                </a:lnTo>
                <a:lnTo>
                  <a:pt x="852" y="2124"/>
                </a:lnTo>
                <a:lnTo>
                  <a:pt x="6924" y="260"/>
                </a:lnTo>
                <a:lnTo>
                  <a:pt x="6924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2" name="Freeform 97">
            <a:extLst>
              <a:ext uri="{FF2B5EF4-FFF2-40B4-BE49-F238E27FC236}">
                <a16:creationId xmlns:a16="http://schemas.microsoft.com/office/drawing/2014/main" id="{B512B6B5-CD40-4E42-9A0A-94DD93B03A6A}"/>
              </a:ext>
            </a:extLst>
          </p:cNvPr>
          <p:cNvSpPr>
            <a:spLocks/>
          </p:cNvSpPr>
          <p:nvPr userDrawn="1"/>
        </p:nvSpPr>
        <p:spPr bwMode="auto">
          <a:xfrm>
            <a:off x="3149600" y="4538663"/>
            <a:ext cx="7516813" cy="2306638"/>
          </a:xfrm>
          <a:custGeom>
            <a:avLst/>
            <a:gdLst>
              <a:gd name="T0" fmla="*/ 4735 w 4735"/>
              <a:gd name="T1" fmla="*/ 0 h 1453"/>
              <a:gd name="T2" fmla="*/ 0 w 4735"/>
              <a:gd name="T3" fmla="*/ 1453 h 1453"/>
              <a:gd name="T4" fmla="*/ 852 w 4735"/>
              <a:gd name="T5" fmla="*/ 1453 h 1453"/>
              <a:gd name="T6" fmla="*/ 4735 w 4735"/>
              <a:gd name="T7" fmla="*/ 262 h 1453"/>
              <a:gd name="T8" fmla="*/ 4735 w 4735"/>
              <a:gd name="T9" fmla="*/ 0 h 1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735" h="1453">
                <a:moveTo>
                  <a:pt x="4735" y="0"/>
                </a:moveTo>
                <a:lnTo>
                  <a:pt x="0" y="1453"/>
                </a:lnTo>
                <a:lnTo>
                  <a:pt x="852" y="1453"/>
                </a:lnTo>
                <a:lnTo>
                  <a:pt x="4735" y="262"/>
                </a:lnTo>
                <a:lnTo>
                  <a:pt x="4735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94478D35-2659-4EB8-AB02-F2133486E1FF}"/>
              </a:ext>
            </a:extLst>
          </p:cNvPr>
          <p:cNvGrpSpPr/>
          <p:nvPr userDrawn="1"/>
        </p:nvGrpSpPr>
        <p:grpSpPr>
          <a:xfrm>
            <a:off x="-12700" y="0"/>
            <a:ext cx="9156701" cy="6845302"/>
            <a:chOff x="-12700" y="0"/>
            <a:chExt cx="9156701" cy="6845302"/>
          </a:xfrm>
        </p:grpSpPr>
        <p:sp>
          <p:nvSpPr>
            <p:cNvPr id="47" name="Rectangle 81">
              <a:extLst>
                <a:ext uri="{FF2B5EF4-FFF2-40B4-BE49-F238E27FC236}">
                  <a16:creationId xmlns:a16="http://schemas.microsoft.com/office/drawing/2014/main" id="{BF6420CF-29EB-454E-B05B-1CEF9C4BE27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0" y="0"/>
              <a:ext cx="9144000" cy="684530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EDE6C622-92BC-44E0-91E9-56D91632CE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00" y="9526"/>
              <a:ext cx="2439988" cy="749024"/>
            </a:xfrm>
            <a:custGeom>
              <a:avLst/>
              <a:gdLst>
                <a:gd name="connsiteX0" fmla="*/ 1084263 w 2439988"/>
                <a:gd name="connsiteY0" fmla="*/ 0 h 749024"/>
                <a:gd name="connsiteX1" fmla="*/ 2439988 w 2439988"/>
                <a:gd name="connsiteY1" fmla="*/ 0 h 749024"/>
                <a:gd name="connsiteX2" fmla="*/ 0 w 2439988"/>
                <a:gd name="connsiteY2" fmla="*/ 749024 h 749024"/>
                <a:gd name="connsiteX3" fmla="*/ 0 w 2439988"/>
                <a:gd name="connsiteY3" fmla="*/ 332952 h 749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9988" h="749024">
                  <a:moveTo>
                    <a:pt x="1084263" y="0"/>
                  </a:moveTo>
                  <a:lnTo>
                    <a:pt x="2439988" y="0"/>
                  </a:lnTo>
                  <a:lnTo>
                    <a:pt x="0" y="749024"/>
                  </a:lnTo>
                  <a:lnTo>
                    <a:pt x="0" y="332952"/>
                  </a:lnTo>
                  <a:close/>
                </a:path>
              </a:pathLst>
            </a:custGeom>
            <a:solidFill>
              <a:schemeClr val="accent2">
                <a:alpha val="52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F913E4DE-C076-4078-B82B-35FE23DA5F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00" y="9526"/>
              <a:ext cx="5912432" cy="1813754"/>
            </a:xfrm>
            <a:custGeom>
              <a:avLst/>
              <a:gdLst>
                <a:gd name="connsiteX0" fmla="*/ 4558295 w 5912432"/>
                <a:gd name="connsiteY0" fmla="*/ 0 h 1813754"/>
                <a:gd name="connsiteX1" fmla="*/ 5912432 w 5912432"/>
                <a:gd name="connsiteY1" fmla="*/ 0 h 1813754"/>
                <a:gd name="connsiteX2" fmla="*/ 0 w 5912432"/>
                <a:gd name="connsiteY2" fmla="*/ 1813754 h 1813754"/>
                <a:gd name="connsiteX3" fmla="*/ 0 w 5912432"/>
                <a:gd name="connsiteY3" fmla="*/ 1397957 h 1813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12432" h="1813754">
                  <a:moveTo>
                    <a:pt x="4558295" y="0"/>
                  </a:moveTo>
                  <a:lnTo>
                    <a:pt x="5912432" y="0"/>
                  </a:lnTo>
                  <a:lnTo>
                    <a:pt x="0" y="1813754"/>
                  </a:lnTo>
                  <a:lnTo>
                    <a:pt x="0" y="1397957"/>
                  </a:lnTo>
                  <a:close/>
                </a:path>
              </a:pathLst>
            </a:custGeom>
            <a:solidFill>
              <a:schemeClr val="accent2">
                <a:alpha val="52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428B3EA3-A9E5-4737-96D4-156D375EF9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9526"/>
              <a:ext cx="9144000" cy="2882772"/>
            </a:xfrm>
            <a:custGeom>
              <a:avLst/>
              <a:gdLst>
                <a:gd name="connsiteX0" fmla="*/ 8025745 w 9144000"/>
                <a:gd name="connsiteY0" fmla="*/ 0 h 2882772"/>
                <a:gd name="connsiteX1" fmla="*/ 9144000 w 9144000"/>
                <a:gd name="connsiteY1" fmla="*/ 0 h 2882772"/>
                <a:gd name="connsiteX2" fmla="*/ 9144000 w 9144000"/>
                <a:gd name="connsiteY2" fmla="*/ 72216 h 2882772"/>
                <a:gd name="connsiteX3" fmla="*/ 0 w 9144000"/>
                <a:gd name="connsiteY3" fmla="*/ 2882772 h 2882772"/>
                <a:gd name="connsiteX4" fmla="*/ 0 w 9144000"/>
                <a:gd name="connsiteY4" fmla="*/ 2466847 h 2882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882772">
                  <a:moveTo>
                    <a:pt x="8025745" y="0"/>
                  </a:moveTo>
                  <a:lnTo>
                    <a:pt x="9144000" y="0"/>
                  </a:lnTo>
                  <a:lnTo>
                    <a:pt x="9144000" y="72216"/>
                  </a:lnTo>
                  <a:lnTo>
                    <a:pt x="0" y="2882772"/>
                  </a:lnTo>
                  <a:lnTo>
                    <a:pt x="0" y="2466847"/>
                  </a:lnTo>
                  <a:close/>
                </a:path>
              </a:pathLst>
            </a:custGeom>
            <a:solidFill>
              <a:schemeClr val="accent2">
                <a:alpha val="52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676E63BA-D4CC-4F4F-BDB4-92A56E2A77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00" y="739591"/>
              <a:ext cx="9156700" cy="3217458"/>
            </a:xfrm>
            <a:custGeom>
              <a:avLst/>
              <a:gdLst>
                <a:gd name="connsiteX0" fmla="*/ 9156700 w 9156700"/>
                <a:gd name="connsiteY0" fmla="*/ 0 h 3217458"/>
                <a:gd name="connsiteX1" fmla="*/ 9156700 w 9156700"/>
                <a:gd name="connsiteY1" fmla="*/ 414337 h 3217458"/>
                <a:gd name="connsiteX2" fmla="*/ 0 w 9156700"/>
                <a:gd name="connsiteY2" fmla="*/ 3217458 h 3217458"/>
                <a:gd name="connsiteX3" fmla="*/ 0 w 9156700"/>
                <a:gd name="connsiteY3" fmla="*/ 2803121 h 321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56700" h="3217458">
                  <a:moveTo>
                    <a:pt x="9156700" y="0"/>
                  </a:moveTo>
                  <a:lnTo>
                    <a:pt x="9156700" y="414337"/>
                  </a:lnTo>
                  <a:lnTo>
                    <a:pt x="0" y="3217458"/>
                  </a:lnTo>
                  <a:lnTo>
                    <a:pt x="0" y="2803121"/>
                  </a:lnTo>
                  <a:close/>
                </a:path>
              </a:pathLst>
            </a:custGeom>
            <a:solidFill>
              <a:schemeClr val="accent2">
                <a:alpha val="52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2B6A81CB-EDD9-4A48-B14B-5F5710573A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00" y="1804803"/>
              <a:ext cx="9156701" cy="3219045"/>
            </a:xfrm>
            <a:custGeom>
              <a:avLst/>
              <a:gdLst>
                <a:gd name="connsiteX0" fmla="*/ 9156701 w 9156701"/>
                <a:gd name="connsiteY0" fmla="*/ 0 h 3219045"/>
                <a:gd name="connsiteX1" fmla="*/ 9156701 w 9156701"/>
                <a:gd name="connsiteY1" fmla="*/ 415925 h 3219045"/>
                <a:gd name="connsiteX2" fmla="*/ 0 w 9156701"/>
                <a:gd name="connsiteY2" fmla="*/ 3219045 h 3219045"/>
                <a:gd name="connsiteX3" fmla="*/ 0 w 9156701"/>
                <a:gd name="connsiteY3" fmla="*/ 2803120 h 3219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56701" h="3219045">
                  <a:moveTo>
                    <a:pt x="9156701" y="0"/>
                  </a:moveTo>
                  <a:lnTo>
                    <a:pt x="9156701" y="415925"/>
                  </a:lnTo>
                  <a:lnTo>
                    <a:pt x="0" y="3219045"/>
                  </a:lnTo>
                  <a:lnTo>
                    <a:pt x="0" y="2803120"/>
                  </a:lnTo>
                  <a:close/>
                </a:path>
              </a:pathLst>
            </a:custGeom>
            <a:solidFill>
              <a:schemeClr val="accent2">
                <a:alpha val="52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331B75D9-475E-4549-9CFA-FCBED712BC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2871603"/>
              <a:ext cx="9144000" cy="3219045"/>
            </a:xfrm>
            <a:custGeom>
              <a:avLst/>
              <a:gdLst>
                <a:gd name="connsiteX0" fmla="*/ 9156700 w 9156700"/>
                <a:gd name="connsiteY0" fmla="*/ 0 h 3219045"/>
                <a:gd name="connsiteX1" fmla="*/ 9156700 w 9156700"/>
                <a:gd name="connsiteY1" fmla="*/ 415925 h 3219045"/>
                <a:gd name="connsiteX2" fmla="*/ 0 w 9156700"/>
                <a:gd name="connsiteY2" fmla="*/ 3219045 h 3219045"/>
                <a:gd name="connsiteX3" fmla="*/ 0 w 9156700"/>
                <a:gd name="connsiteY3" fmla="*/ 2803120 h 3219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56700" h="3219045">
                  <a:moveTo>
                    <a:pt x="9156700" y="0"/>
                  </a:moveTo>
                  <a:lnTo>
                    <a:pt x="9156700" y="415925"/>
                  </a:lnTo>
                  <a:lnTo>
                    <a:pt x="0" y="3219045"/>
                  </a:lnTo>
                  <a:lnTo>
                    <a:pt x="0" y="2803120"/>
                  </a:lnTo>
                  <a:close/>
                </a:path>
              </a:pathLst>
            </a:custGeom>
            <a:solidFill>
              <a:schemeClr val="accent2">
                <a:alpha val="52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73464A8D-AE57-42AF-9CB0-CD559AA0B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00" y="3940465"/>
              <a:ext cx="9156701" cy="2904836"/>
            </a:xfrm>
            <a:custGeom>
              <a:avLst/>
              <a:gdLst>
                <a:gd name="connsiteX0" fmla="*/ 9156701 w 9156701"/>
                <a:gd name="connsiteY0" fmla="*/ 0 h 2904836"/>
                <a:gd name="connsiteX1" fmla="*/ 9156701 w 9156701"/>
                <a:gd name="connsiteY1" fmla="*/ 413091 h 2904836"/>
                <a:gd name="connsiteX2" fmla="*/ 1039814 w 9156701"/>
                <a:gd name="connsiteY2" fmla="*/ 2904836 h 2904836"/>
                <a:gd name="connsiteX3" fmla="*/ 0 w 9156701"/>
                <a:gd name="connsiteY3" fmla="*/ 2904836 h 2904836"/>
                <a:gd name="connsiteX4" fmla="*/ 0 w 9156701"/>
                <a:gd name="connsiteY4" fmla="*/ 2808902 h 2904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56701" h="2904836">
                  <a:moveTo>
                    <a:pt x="9156701" y="0"/>
                  </a:moveTo>
                  <a:lnTo>
                    <a:pt x="9156701" y="413091"/>
                  </a:lnTo>
                  <a:lnTo>
                    <a:pt x="1039814" y="2904836"/>
                  </a:lnTo>
                  <a:lnTo>
                    <a:pt x="0" y="2904836"/>
                  </a:lnTo>
                  <a:lnTo>
                    <a:pt x="0" y="2808902"/>
                  </a:lnTo>
                  <a:close/>
                </a:path>
              </a:pathLst>
            </a:custGeom>
            <a:solidFill>
              <a:schemeClr val="accent2">
                <a:alpha val="52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5C615AFC-01E3-4377-BD11-9CCC9668F8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49600" y="5005837"/>
              <a:ext cx="5994400" cy="1839464"/>
            </a:xfrm>
            <a:custGeom>
              <a:avLst/>
              <a:gdLst>
                <a:gd name="connsiteX0" fmla="*/ 5994400 w 5994400"/>
                <a:gd name="connsiteY0" fmla="*/ 0 h 1839464"/>
                <a:gd name="connsiteX1" fmla="*/ 5994400 w 5994400"/>
                <a:gd name="connsiteY1" fmla="*/ 415708 h 1839464"/>
                <a:gd name="connsiteX2" fmla="*/ 1352550 w 5994400"/>
                <a:gd name="connsiteY2" fmla="*/ 1839464 h 1839464"/>
                <a:gd name="connsiteX3" fmla="*/ 0 w 5994400"/>
                <a:gd name="connsiteY3" fmla="*/ 1839464 h 1839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94400" h="1839464">
                  <a:moveTo>
                    <a:pt x="5994400" y="0"/>
                  </a:moveTo>
                  <a:lnTo>
                    <a:pt x="5994400" y="415708"/>
                  </a:lnTo>
                  <a:lnTo>
                    <a:pt x="1352550" y="1839464"/>
                  </a:lnTo>
                  <a:lnTo>
                    <a:pt x="0" y="1839464"/>
                  </a:lnTo>
                  <a:close/>
                </a:path>
              </a:pathLst>
            </a:custGeom>
            <a:solidFill>
              <a:schemeClr val="accent2">
                <a:alpha val="52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86AD3BC4-8C3A-469F-80C5-1DF6868D9F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24638" y="6072473"/>
              <a:ext cx="2519362" cy="772829"/>
            </a:xfrm>
            <a:custGeom>
              <a:avLst/>
              <a:gdLst>
                <a:gd name="connsiteX0" fmla="*/ 2519362 w 2519362"/>
                <a:gd name="connsiteY0" fmla="*/ 0 h 772829"/>
                <a:gd name="connsiteX1" fmla="*/ 2519362 w 2519362"/>
                <a:gd name="connsiteY1" fmla="*/ 415898 h 772829"/>
                <a:gd name="connsiteX2" fmla="*/ 1355725 w 2519362"/>
                <a:gd name="connsiteY2" fmla="*/ 772829 h 772829"/>
                <a:gd name="connsiteX3" fmla="*/ 0 w 2519362"/>
                <a:gd name="connsiteY3" fmla="*/ 772829 h 772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19362" h="772829">
                  <a:moveTo>
                    <a:pt x="2519362" y="0"/>
                  </a:moveTo>
                  <a:lnTo>
                    <a:pt x="2519362" y="415898"/>
                  </a:lnTo>
                  <a:lnTo>
                    <a:pt x="1355725" y="772829"/>
                  </a:lnTo>
                  <a:lnTo>
                    <a:pt x="0" y="772829"/>
                  </a:lnTo>
                  <a:close/>
                </a:path>
              </a:pathLst>
            </a:custGeom>
            <a:solidFill>
              <a:schemeClr val="accent2">
                <a:alpha val="52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64" name="Freeform 99">
              <a:extLst>
                <a:ext uri="{FF2B5EF4-FFF2-40B4-BE49-F238E27FC236}">
                  <a16:creationId xmlns:a16="http://schemas.microsoft.com/office/drawing/2014/main" id="{D577F5E5-E437-4A3B-8717-C3F9E96B40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54900" y="4772026"/>
              <a:ext cx="827088" cy="684213"/>
            </a:xfrm>
            <a:custGeom>
              <a:avLst/>
              <a:gdLst>
                <a:gd name="T0" fmla="*/ 82 w 436"/>
                <a:gd name="T1" fmla="*/ 59 h 361"/>
                <a:gd name="T2" fmla="*/ 75 w 436"/>
                <a:gd name="T3" fmla="*/ 294 h 361"/>
                <a:gd name="T4" fmla="*/ 357 w 436"/>
                <a:gd name="T5" fmla="*/ 296 h 361"/>
                <a:gd name="T6" fmla="*/ 355 w 436"/>
                <a:gd name="T7" fmla="*/ 299 h 361"/>
                <a:gd name="T8" fmla="*/ 348 w 436"/>
                <a:gd name="T9" fmla="*/ 59 h 361"/>
                <a:gd name="T10" fmla="*/ 75 w 436"/>
                <a:gd name="T11" fmla="*/ 65 h 361"/>
                <a:gd name="T12" fmla="*/ 82 w 436"/>
                <a:gd name="T13" fmla="*/ 59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6" h="361">
                  <a:moveTo>
                    <a:pt x="82" y="59"/>
                  </a:moveTo>
                  <a:cubicBezTo>
                    <a:pt x="6" y="123"/>
                    <a:pt x="0" y="229"/>
                    <a:pt x="75" y="294"/>
                  </a:cubicBezTo>
                  <a:cubicBezTo>
                    <a:pt x="152" y="361"/>
                    <a:pt x="279" y="361"/>
                    <a:pt x="357" y="296"/>
                  </a:cubicBezTo>
                  <a:cubicBezTo>
                    <a:pt x="355" y="299"/>
                    <a:pt x="355" y="299"/>
                    <a:pt x="355" y="299"/>
                  </a:cubicBezTo>
                  <a:cubicBezTo>
                    <a:pt x="436" y="232"/>
                    <a:pt x="432" y="123"/>
                    <a:pt x="348" y="59"/>
                  </a:cubicBezTo>
                  <a:cubicBezTo>
                    <a:pt x="270" y="0"/>
                    <a:pt x="150" y="3"/>
                    <a:pt x="75" y="65"/>
                  </a:cubicBezTo>
                  <a:lnTo>
                    <a:pt x="82" y="5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" name="Freeform 100">
              <a:extLst>
                <a:ext uri="{FF2B5EF4-FFF2-40B4-BE49-F238E27FC236}">
                  <a16:creationId xmlns:a16="http://schemas.microsoft.com/office/drawing/2014/main" id="{5C3CD09B-9E32-4416-9E38-35D1AB7EE6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78825" y="4854576"/>
              <a:ext cx="327025" cy="271463"/>
            </a:xfrm>
            <a:custGeom>
              <a:avLst/>
              <a:gdLst>
                <a:gd name="T0" fmla="*/ 32 w 172"/>
                <a:gd name="T1" fmla="*/ 23 h 143"/>
                <a:gd name="T2" fmla="*/ 29 w 172"/>
                <a:gd name="T3" fmla="*/ 116 h 143"/>
                <a:gd name="T4" fmla="*/ 141 w 172"/>
                <a:gd name="T5" fmla="*/ 117 h 143"/>
                <a:gd name="T6" fmla="*/ 140 w 172"/>
                <a:gd name="T7" fmla="*/ 119 h 143"/>
                <a:gd name="T8" fmla="*/ 137 w 172"/>
                <a:gd name="T9" fmla="*/ 23 h 143"/>
                <a:gd name="T10" fmla="*/ 29 w 172"/>
                <a:gd name="T11" fmla="*/ 26 h 143"/>
                <a:gd name="T12" fmla="*/ 32 w 172"/>
                <a:gd name="T13" fmla="*/ 2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2" h="143">
                  <a:moveTo>
                    <a:pt x="32" y="23"/>
                  </a:moveTo>
                  <a:cubicBezTo>
                    <a:pt x="2" y="49"/>
                    <a:pt x="0" y="90"/>
                    <a:pt x="29" y="116"/>
                  </a:cubicBezTo>
                  <a:cubicBezTo>
                    <a:pt x="60" y="143"/>
                    <a:pt x="110" y="143"/>
                    <a:pt x="141" y="117"/>
                  </a:cubicBezTo>
                  <a:cubicBezTo>
                    <a:pt x="140" y="119"/>
                    <a:pt x="140" y="119"/>
                    <a:pt x="140" y="119"/>
                  </a:cubicBezTo>
                  <a:cubicBezTo>
                    <a:pt x="172" y="92"/>
                    <a:pt x="171" y="48"/>
                    <a:pt x="137" y="23"/>
                  </a:cubicBezTo>
                  <a:cubicBezTo>
                    <a:pt x="106" y="0"/>
                    <a:pt x="59" y="1"/>
                    <a:pt x="29" y="26"/>
                  </a:cubicBezTo>
                  <a:lnTo>
                    <a:pt x="32" y="2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" name="Freeform 101">
              <a:extLst>
                <a:ext uri="{FF2B5EF4-FFF2-40B4-BE49-F238E27FC236}">
                  <a16:creationId xmlns:a16="http://schemas.microsoft.com/office/drawing/2014/main" id="{CAE1464A-EAB8-4462-B042-F95DD6629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888" y="357188"/>
              <a:ext cx="8027988" cy="6013450"/>
            </a:xfrm>
            <a:custGeom>
              <a:avLst/>
              <a:gdLst>
                <a:gd name="T0" fmla="*/ 3931 w 4229"/>
                <a:gd name="T1" fmla="*/ 1815 h 3167"/>
                <a:gd name="T2" fmla="*/ 3787 w 4229"/>
                <a:gd name="T3" fmla="*/ 1695 h 3167"/>
                <a:gd name="T4" fmla="*/ 4078 w 4229"/>
                <a:gd name="T5" fmla="*/ 1302 h 3167"/>
                <a:gd name="T6" fmla="*/ 3657 w 4229"/>
                <a:gd name="T7" fmla="*/ 1502 h 3167"/>
                <a:gd name="T8" fmla="*/ 3536 w 4229"/>
                <a:gd name="T9" fmla="*/ 1401 h 3167"/>
                <a:gd name="T10" fmla="*/ 3643 w 4229"/>
                <a:gd name="T11" fmla="*/ 1182 h 3167"/>
                <a:gd name="T12" fmla="*/ 4067 w 4229"/>
                <a:gd name="T13" fmla="*/ 692 h 3167"/>
                <a:gd name="T14" fmla="*/ 3884 w 4229"/>
                <a:gd name="T15" fmla="*/ 539 h 3167"/>
                <a:gd name="T16" fmla="*/ 3611 w 4229"/>
                <a:gd name="T17" fmla="*/ 714 h 3167"/>
                <a:gd name="T18" fmla="*/ 3652 w 4229"/>
                <a:gd name="T19" fmla="*/ 626 h 3167"/>
                <a:gd name="T20" fmla="*/ 3466 w 4229"/>
                <a:gd name="T21" fmla="*/ 471 h 3167"/>
                <a:gd name="T22" fmla="*/ 3238 w 4229"/>
                <a:gd name="T23" fmla="*/ 515 h 3167"/>
                <a:gd name="T24" fmla="*/ 3280 w 4229"/>
                <a:gd name="T25" fmla="*/ 334 h 3167"/>
                <a:gd name="T26" fmla="*/ 2966 w 4229"/>
                <a:gd name="T27" fmla="*/ 72 h 3167"/>
                <a:gd name="T28" fmla="*/ 2492 w 4229"/>
                <a:gd name="T29" fmla="*/ 391 h 3167"/>
                <a:gd name="T30" fmla="*/ 2580 w 4229"/>
                <a:gd name="T31" fmla="*/ 240 h 3167"/>
                <a:gd name="T32" fmla="*/ 2392 w 4229"/>
                <a:gd name="T33" fmla="*/ 83 h 3167"/>
                <a:gd name="T34" fmla="*/ 1992 w 4229"/>
                <a:gd name="T35" fmla="*/ 249 h 3167"/>
                <a:gd name="T36" fmla="*/ 1476 w 4229"/>
                <a:gd name="T37" fmla="*/ 511 h 3167"/>
                <a:gd name="T38" fmla="*/ 1314 w 4229"/>
                <a:gd name="T39" fmla="*/ 376 h 3167"/>
                <a:gd name="T40" fmla="*/ 1414 w 4229"/>
                <a:gd name="T41" fmla="*/ 112 h 3167"/>
                <a:gd name="T42" fmla="*/ 213 w 4229"/>
                <a:gd name="T43" fmla="*/ 900 h 3167"/>
                <a:gd name="T44" fmla="*/ 217 w 4229"/>
                <a:gd name="T45" fmla="*/ 1240 h 3167"/>
                <a:gd name="T46" fmla="*/ 217 w 4229"/>
                <a:gd name="T47" fmla="*/ 1575 h 3167"/>
                <a:gd name="T48" fmla="*/ 144 w 4229"/>
                <a:gd name="T49" fmla="*/ 1828 h 3167"/>
                <a:gd name="T50" fmla="*/ 558 w 4229"/>
                <a:gd name="T51" fmla="*/ 1676 h 3167"/>
                <a:gd name="T52" fmla="*/ 637 w 4229"/>
                <a:gd name="T53" fmla="*/ 1742 h 3167"/>
                <a:gd name="T54" fmla="*/ 66 w 4229"/>
                <a:gd name="T55" fmla="*/ 2417 h 3167"/>
                <a:gd name="T56" fmla="*/ 997 w 4229"/>
                <a:gd name="T57" fmla="*/ 1838 h 3167"/>
                <a:gd name="T58" fmla="*/ 1113 w 4229"/>
                <a:gd name="T59" fmla="*/ 1934 h 3167"/>
                <a:gd name="T60" fmla="*/ 719 w 4229"/>
                <a:gd name="T61" fmla="*/ 2408 h 3167"/>
                <a:gd name="T62" fmla="*/ 1179 w 4229"/>
                <a:gd name="T63" fmla="*/ 2169 h 3167"/>
                <a:gd name="T64" fmla="*/ 1319 w 4229"/>
                <a:gd name="T65" fmla="*/ 2285 h 3167"/>
                <a:gd name="T66" fmla="*/ 1319 w 4229"/>
                <a:gd name="T67" fmla="*/ 2585 h 3167"/>
                <a:gd name="T68" fmla="*/ 1138 w 4229"/>
                <a:gd name="T69" fmla="*/ 2912 h 3167"/>
                <a:gd name="T70" fmla="*/ 1692 w 4229"/>
                <a:gd name="T71" fmla="*/ 2630 h 3167"/>
                <a:gd name="T72" fmla="*/ 1968 w 4229"/>
                <a:gd name="T73" fmla="*/ 2628 h 3167"/>
                <a:gd name="T74" fmla="*/ 1968 w 4229"/>
                <a:gd name="T75" fmla="*/ 2866 h 3167"/>
                <a:gd name="T76" fmla="*/ 2254 w 4229"/>
                <a:gd name="T77" fmla="*/ 3101 h 3167"/>
                <a:gd name="T78" fmla="*/ 2610 w 4229"/>
                <a:gd name="T79" fmla="*/ 2979 h 3167"/>
                <a:gd name="T80" fmla="*/ 4185 w 4229"/>
                <a:gd name="T81" fmla="*/ 1872 h 3167"/>
                <a:gd name="T82" fmla="*/ 4024 w 4229"/>
                <a:gd name="T83" fmla="*/ 1738 h 3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29" h="3167">
                  <a:moveTo>
                    <a:pt x="4024" y="1738"/>
                  </a:moveTo>
                  <a:cubicBezTo>
                    <a:pt x="3931" y="1815"/>
                    <a:pt x="3931" y="1815"/>
                    <a:pt x="3931" y="1815"/>
                  </a:cubicBezTo>
                  <a:cubicBezTo>
                    <a:pt x="3891" y="1848"/>
                    <a:pt x="3827" y="1848"/>
                    <a:pt x="3787" y="1815"/>
                  </a:cubicBezTo>
                  <a:cubicBezTo>
                    <a:pt x="3748" y="1782"/>
                    <a:pt x="3748" y="1729"/>
                    <a:pt x="3787" y="1695"/>
                  </a:cubicBezTo>
                  <a:cubicBezTo>
                    <a:pt x="4078" y="1453"/>
                    <a:pt x="4078" y="1453"/>
                    <a:pt x="4078" y="1453"/>
                  </a:cubicBezTo>
                  <a:cubicBezTo>
                    <a:pt x="4128" y="1411"/>
                    <a:pt x="4128" y="1344"/>
                    <a:pt x="4078" y="1302"/>
                  </a:cubicBezTo>
                  <a:cubicBezTo>
                    <a:pt x="4028" y="1260"/>
                    <a:pt x="3947" y="1260"/>
                    <a:pt x="3897" y="1302"/>
                  </a:cubicBezTo>
                  <a:cubicBezTo>
                    <a:pt x="3657" y="1502"/>
                    <a:pt x="3657" y="1502"/>
                    <a:pt x="3657" y="1502"/>
                  </a:cubicBezTo>
                  <a:cubicBezTo>
                    <a:pt x="3624" y="1530"/>
                    <a:pt x="3570" y="1530"/>
                    <a:pt x="3536" y="1502"/>
                  </a:cubicBezTo>
                  <a:cubicBezTo>
                    <a:pt x="3503" y="1474"/>
                    <a:pt x="3503" y="1429"/>
                    <a:pt x="3536" y="1401"/>
                  </a:cubicBezTo>
                  <a:cubicBezTo>
                    <a:pt x="3643" y="1311"/>
                    <a:pt x="3643" y="1311"/>
                    <a:pt x="3643" y="1311"/>
                  </a:cubicBezTo>
                  <a:cubicBezTo>
                    <a:pt x="3686" y="1276"/>
                    <a:pt x="3686" y="1218"/>
                    <a:pt x="3643" y="1182"/>
                  </a:cubicBezTo>
                  <a:cubicBezTo>
                    <a:pt x="3598" y="1145"/>
                    <a:pt x="3598" y="1084"/>
                    <a:pt x="3643" y="1047"/>
                  </a:cubicBezTo>
                  <a:cubicBezTo>
                    <a:pt x="4067" y="692"/>
                    <a:pt x="4067" y="692"/>
                    <a:pt x="4067" y="692"/>
                  </a:cubicBezTo>
                  <a:cubicBezTo>
                    <a:pt x="4118" y="650"/>
                    <a:pt x="4118" y="582"/>
                    <a:pt x="4067" y="539"/>
                  </a:cubicBezTo>
                  <a:cubicBezTo>
                    <a:pt x="4017" y="497"/>
                    <a:pt x="3935" y="497"/>
                    <a:pt x="3884" y="539"/>
                  </a:cubicBezTo>
                  <a:cubicBezTo>
                    <a:pt x="3675" y="714"/>
                    <a:pt x="3675" y="714"/>
                    <a:pt x="3675" y="714"/>
                  </a:cubicBezTo>
                  <a:cubicBezTo>
                    <a:pt x="3657" y="729"/>
                    <a:pt x="3629" y="729"/>
                    <a:pt x="3611" y="714"/>
                  </a:cubicBezTo>
                  <a:cubicBezTo>
                    <a:pt x="3593" y="699"/>
                    <a:pt x="3593" y="675"/>
                    <a:pt x="3611" y="660"/>
                  </a:cubicBezTo>
                  <a:cubicBezTo>
                    <a:pt x="3652" y="626"/>
                    <a:pt x="3652" y="626"/>
                    <a:pt x="3652" y="626"/>
                  </a:cubicBezTo>
                  <a:cubicBezTo>
                    <a:pt x="3703" y="583"/>
                    <a:pt x="3703" y="514"/>
                    <a:pt x="3652" y="471"/>
                  </a:cubicBezTo>
                  <a:cubicBezTo>
                    <a:pt x="3600" y="428"/>
                    <a:pt x="3517" y="428"/>
                    <a:pt x="3466" y="471"/>
                  </a:cubicBezTo>
                  <a:cubicBezTo>
                    <a:pt x="3413" y="515"/>
                    <a:pt x="3413" y="515"/>
                    <a:pt x="3413" y="515"/>
                  </a:cubicBezTo>
                  <a:cubicBezTo>
                    <a:pt x="3365" y="555"/>
                    <a:pt x="3286" y="555"/>
                    <a:pt x="3238" y="515"/>
                  </a:cubicBezTo>
                  <a:cubicBezTo>
                    <a:pt x="3190" y="475"/>
                    <a:pt x="3190" y="409"/>
                    <a:pt x="3238" y="369"/>
                  </a:cubicBezTo>
                  <a:cubicBezTo>
                    <a:pt x="3280" y="334"/>
                    <a:pt x="3280" y="334"/>
                    <a:pt x="3280" y="334"/>
                  </a:cubicBezTo>
                  <a:cubicBezTo>
                    <a:pt x="3366" y="262"/>
                    <a:pt x="3366" y="144"/>
                    <a:pt x="3280" y="72"/>
                  </a:cubicBezTo>
                  <a:cubicBezTo>
                    <a:pt x="3193" y="0"/>
                    <a:pt x="3053" y="0"/>
                    <a:pt x="2966" y="72"/>
                  </a:cubicBezTo>
                  <a:cubicBezTo>
                    <a:pt x="2584" y="391"/>
                    <a:pt x="2584" y="391"/>
                    <a:pt x="2584" y="391"/>
                  </a:cubicBezTo>
                  <a:cubicBezTo>
                    <a:pt x="2558" y="413"/>
                    <a:pt x="2517" y="413"/>
                    <a:pt x="2492" y="391"/>
                  </a:cubicBezTo>
                  <a:cubicBezTo>
                    <a:pt x="2466" y="370"/>
                    <a:pt x="2466" y="335"/>
                    <a:pt x="2492" y="314"/>
                  </a:cubicBezTo>
                  <a:cubicBezTo>
                    <a:pt x="2580" y="240"/>
                    <a:pt x="2580" y="240"/>
                    <a:pt x="2580" y="240"/>
                  </a:cubicBezTo>
                  <a:cubicBezTo>
                    <a:pt x="2632" y="197"/>
                    <a:pt x="2632" y="126"/>
                    <a:pt x="2580" y="83"/>
                  </a:cubicBezTo>
                  <a:cubicBezTo>
                    <a:pt x="2528" y="40"/>
                    <a:pt x="2444" y="40"/>
                    <a:pt x="2392" y="83"/>
                  </a:cubicBezTo>
                  <a:cubicBezTo>
                    <a:pt x="2194" y="249"/>
                    <a:pt x="2194" y="249"/>
                    <a:pt x="2194" y="249"/>
                  </a:cubicBezTo>
                  <a:cubicBezTo>
                    <a:pt x="2138" y="295"/>
                    <a:pt x="2048" y="295"/>
                    <a:pt x="1992" y="249"/>
                  </a:cubicBezTo>
                  <a:cubicBezTo>
                    <a:pt x="1937" y="202"/>
                    <a:pt x="1846" y="202"/>
                    <a:pt x="1791" y="249"/>
                  </a:cubicBezTo>
                  <a:cubicBezTo>
                    <a:pt x="1476" y="511"/>
                    <a:pt x="1476" y="511"/>
                    <a:pt x="1476" y="511"/>
                  </a:cubicBezTo>
                  <a:cubicBezTo>
                    <a:pt x="1431" y="549"/>
                    <a:pt x="1359" y="549"/>
                    <a:pt x="1314" y="511"/>
                  </a:cubicBezTo>
                  <a:cubicBezTo>
                    <a:pt x="1269" y="474"/>
                    <a:pt x="1269" y="414"/>
                    <a:pt x="1314" y="376"/>
                  </a:cubicBezTo>
                  <a:cubicBezTo>
                    <a:pt x="1414" y="293"/>
                    <a:pt x="1414" y="293"/>
                    <a:pt x="1414" y="293"/>
                  </a:cubicBezTo>
                  <a:cubicBezTo>
                    <a:pt x="1474" y="243"/>
                    <a:pt x="1474" y="162"/>
                    <a:pt x="1414" y="112"/>
                  </a:cubicBezTo>
                  <a:cubicBezTo>
                    <a:pt x="1355" y="62"/>
                    <a:pt x="1260" y="62"/>
                    <a:pt x="1200" y="110"/>
                  </a:cubicBezTo>
                  <a:cubicBezTo>
                    <a:pt x="213" y="900"/>
                    <a:pt x="213" y="900"/>
                    <a:pt x="213" y="900"/>
                  </a:cubicBezTo>
                  <a:cubicBezTo>
                    <a:pt x="154" y="947"/>
                    <a:pt x="154" y="1027"/>
                    <a:pt x="214" y="1074"/>
                  </a:cubicBezTo>
                  <a:cubicBezTo>
                    <a:pt x="271" y="1119"/>
                    <a:pt x="273" y="1194"/>
                    <a:pt x="217" y="1240"/>
                  </a:cubicBezTo>
                  <a:cubicBezTo>
                    <a:pt x="164" y="1285"/>
                    <a:pt x="164" y="1357"/>
                    <a:pt x="217" y="1402"/>
                  </a:cubicBezTo>
                  <a:cubicBezTo>
                    <a:pt x="274" y="1450"/>
                    <a:pt x="274" y="1527"/>
                    <a:pt x="217" y="1575"/>
                  </a:cubicBezTo>
                  <a:cubicBezTo>
                    <a:pt x="144" y="1636"/>
                    <a:pt x="144" y="1636"/>
                    <a:pt x="144" y="1636"/>
                  </a:cubicBezTo>
                  <a:cubicBezTo>
                    <a:pt x="81" y="1689"/>
                    <a:pt x="81" y="1775"/>
                    <a:pt x="144" y="1828"/>
                  </a:cubicBezTo>
                  <a:cubicBezTo>
                    <a:pt x="208" y="1881"/>
                    <a:pt x="311" y="1881"/>
                    <a:pt x="375" y="1828"/>
                  </a:cubicBezTo>
                  <a:cubicBezTo>
                    <a:pt x="558" y="1676"/>
                    <a:pt x="558" y="1676"/>
                    <a:pt x="558" y="1676"/>
                  </a:cubicBezTo>
                  <a:cubicBezTo>
                    <a:pt x="579" y="1657"/>
                    <a:pt x="615" y="1657"/>
                    <a:pt x="637" y="1676"/>
                  </a:cubicBezTo>
                  <a:cubicBezTo>
                    <a:pt x="659" y="1694"/>
                    <a:pt x="659" y="1724"/>
                    <a:pt x="637" y="1742"/>
                  </a:cubicBezTo>
                  <a:cubicBezTo>
                    <a:pt x="66" y="2219"/>
                    <a:pt x="66" y="2219"/>
                    <a:pt x="66" y="2219"/>
                  </a:cubicBezTo>
                  <a:cubicBezTo>
                    <a:pt x="0" y="2274"/>
                    <a:pt x="0" y="2363"/>
                    <a:pt x="66" y="2417"/>
                  </a:cubicBezTo>
                  <a:cubicBezTo>
                    <a:pt x="131" y="2472"/>
                    <a:pt x="238" y="2472"/>
                    <a:pt x="303" y="2417"/>
                  </a:cubicBezTo>
                  <a:cubicBezTo>
                    <a:pt x="997" y="1838"/>
                    <a:pt x="997" y="1838"/>
                    <a:pt x="997" y="1838"/>
                  </a:cubicBezTo>
                  <a:cubicBezTo>
                    <a:pt x="1029" y="1811"/>
                    <a:pt x="1081" y="1811"/>
                    <a:pt x="1113" y="1838"/>
                  </a:cubicBezTo>
                  <a:cubicBezTo>
                    <a:pt x="1144" y="1864"/>
                    <a:pt x="1144" y="1907"/>
                    <a:pt x="1113" y="1934"/>
                  </a:cubicBezTo>
                  <a:cubicBezTo>
                    <a:pt x="719" y="2263"/>
                    <a:pt x="719" y="2263"/>
                    <a:pt x="719" y="2263"/>
                  </a:cubicBezTo>
                  <a:cubicBezTo>
                    <a:pt x="671" y="2303"/>
                    <a:pt x="671" y="2368"/>
                    <a:pt x="719" y="2408"/>
                  </a:cubicBezTo>
                  <a:cubicBezTo>
                    <a:pt x="767" y="2448"/>
                    <a:pt x="845" y="2448"/>
                    <a:pt x="893" y="2408"/>
                  </a:cubicBezTo>
                  <a:cubicBezTo>
                    <a:pt x="1179" y="2169"/>
                    <a:pt x="1179" y="2169"/>
                    <a:pt x="1179" y="2169"/>
                  </a:cubicBezTo>
                  <a:cubicBezTo>
                    <a:pt x="1218" y="2137"/>
                    <a:pt x="1280" y="2137"/>
                    <a:pt x="1319" y="2169"/>
                  </a:cubicBezTo>
                  <a:cubicBezTo>
                    <a:pt x="1357" y="2201"/>
                    <a:pt x="1357" y="2253"/>
                    <a:pt x="1319" y="2285"/>
                  </a:cubicBezTo>
                  <a:cubicBezTo>
                    <a:pt x="1262" y="2332"/>
                    <a:pt x="1262" y="2409"/>
                    <a:pt x="1319" y="2457"/>
                  </a:cubicBezTo>
                  <a:cubicBezTo>
                    <a:pt x="1361" y="2492"/>
                    <a:pt x="1361" y="2549"/>
                    <a:pt x="1319" y="2585"/>
                  </a:cubicBezTo>
                  <a:cubicBezTo>
                    <a:pt x="1138" y="2735"/>
                    <a:pt x="1138" y="2735"/>
                    <a:pt x="1138" y="2735"/>
                  </a:cubicBezTo>
                  <a:cubicBezTo>
                    <a:pt x="1080" y="2784"/>
                    <a:pt x="1080" y="2863"/>
                    <a:pt x="1138" y="2912"/>
                  </a:cubicBezTo>
                  <a:cubicBezTo>
                    <a:pt x="1197" y="2961"/>
                    <a:pt x="1292" y="2961"/>
                    <a:pt x="1350" y="2912"/>
                  </a:cubicBezTo>
                  <a:cubicBezTo>
                    <a:pt x="1692" y="2630"/>
                    <a:pt x="1692" y="2630"/>
                    <a:pt x="1692" y="2630"/>
                  </a:cubicBezTo>
                  <a:cubicBezTo>
                    <a:pt x="1768" y="2567"/>
                    <a:pt x="1890" y="2567"/>
                    <a:pt x="1968" y="2628"/>
                  </a:cubicBezTo>
                  <a:cubicBezTo>
                    <a:pt x="1968" y="2628"/>
                    <a:pt x="1968" y="2628"/>
                    <a:pt x="1968" y="2628"/>
                  </a:cubicBezTo>
                  <a:cubicBezTo>
                    <a:pt x="2047" y="2692"/>
                    <a:pt x="2049" y="2797"/>
                    <a:pt x="1972" y="2863"/>
                  </a:cubicBezTo>
                  <a:cubicBezTo>
                    <a:pt x="1968" y="2866"/>
                    <a:pt x="1968" y="2866"/>
                    <a:pt x="1968" y="2866"/>
                  </a:cubicBezTo>
                  <a:cubicBezTo>
                    <a:pt x="1892" y="2932"/>
                    <a:pt x="1893" y="3037"/>
                    <a:pt x="1970" y="3101"/>
                  </a:cubicBezTo>
                  <a:cubicBezTo>
                    <a:pt x="2049" y="3167"/>
                    <a:pt x="2176" y="3167"/>
                    <a:pt x="2254" y="3101"/>
                  </a:cubicBezTo>
                  <a:cubicBezTo>
                    <a:pt x="2401" y="2979"/>
                    <a:pt x="2401" y="2979"/>
                    <a:pt x="2401" y="2979"/>
                  </a:cubicBezTo>
                  <a:cubicBezTo>
                    <a:pt x="2459" y="2931"/>
                    <a:pt x="2553" y="2931"/>
                    <a:pt x="2610" y="2979"/>
                  </a:cubicBezTo>
                  <a:cubicBezTo>
                    <a:pt x="2679" y="3036"/>
                    <a:pt x="2791" y="3036"/>
                    <a:pt x="2860" y="2979"/>
                  </a:cubicBezTo>
                  <a:cubicBezTo>
                    <a:pt x="4185" y="1872"/>
                    <a:pt x="4185" y="1872"/>
                    <a:pt x="4185" y="1872"/>
                  </a:cubicBezTo>
                  <a:cubicBezTo>
                    <a:pt x="4229" y="1835"/>
                    <a:pt x="4229" y="1775"/>
                    <a:pt x="4185" y="1738"/>
                  </a:cubicBezTo>
                  <a:cubicBezTo>
                    <a:pt x="4140" y="1701"/>
                    <a:pt x="4068" y="1701"/>
                    <a:pt x="4024" y="1738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" name="Freeform 102">
              <a:extLst>
                <a:ext uri="{FF2B5EF4-FFF2-40B4-BE49-F238E27FC236}">
                  <a16:creationId xmlns:a16="http://schemas.microsoft.com/office/drawing/2014/main" id="{07A353E7-0DBF-4034-89E4-8CDD50AB64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7600" y="6467476"/>
              <a:ext cx="317500" cy="263525"/>
            </a:xfrm>
            <a:custGeom>
              <a:avLst/>
              <a:gdLst>
                <a:gd name="T0" fmla="*/ 32 w 167"/>
                <a:gd name="T1" fmla="*/ 22 h 139"/>
                <a:gd name="T2" fmla="*/ 29 w 167"/>
                <a:gd name="T3" fmla="*/ 113 h 139"/>
                <a:gd name="T4" fmla="*/ 137 w 167"/>
                <a:gd name="T5" fmla="*/ 114 h 139"/>
                <a:gd name="T6" fmla="*/ 136 w 167"/>
                <a:gd name="T7" fmla="*/ 115 h 139"/>
                <a:gd name="T8" fmla="*/ 134 w 167"/>
                <a:gd name="T9" fmla="*/ 23 h 139"/>
                <a:gd name="T10" fmla="*/ 29 w 167"/>
                <a:gd name="T11" fmla="*/ 25 h 139"/>
                <a:gd name="T12" fmla="*/ 32 w 167"/>
                <a:gd name="T13" fmla="*/ 2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139">
                  <a:moveTo>
                    <a:pt x="32" y="22"/>
                  </a:moveTo>
                  <a:cubicBezTo>
                    <a:pt x="2" y="47"/>
                    <a:pt x="0" y="88"/>
                    <a:pt x="29" y="113"/>
                  </a:cubicBezTo>
                  <a:cubicBezTo>
                    <a:pt x="58" y="138"/>
                    <a:pt x="107" y="139"/>
                    <a:pt x="137" y="114"/>
                  </a:cubicBezTo>
                  <a:cubicBezTo>
                    <a:pt x="136" y="115"/>
                    <a:pt x="136" y="115"/>
                    <a:pt x="136" y="115"/>
                  </a:cubicBezTo>
                  <a:cubicBezTo>
                    <a:pt x="167" y="89"/>
                    <a:pt x="166" y="47"/>
                    <a:pt x="134" y="23"/>
                  </a:cubicBezTo>
                  <a:cubicBezTo>
                    <a:pt x="104" y="0"/>
                    <a:pt x="58" y="1"/>
                    <a:pt x="29" y="25"/>
                  </a:cubicBezTo>
                  <a:lnTo>
                    <a:pt x="32" y="22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" name="Freeform 103">
              <a:extLst>
                <a:ext uri="{FF2B5EF4-FFF2-40B4-BE49-F238E27FC236}">
                  <a16:creationId xmlns:a16="http://schemas.microsoft.com/office/drawing/2014/main" id="{138E905C-6227-493E-8AB8-20A84A037A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7713" y="2419351"/>
              <a:ext cx="354013" cy="293688"/>
            </a:xfrm>
            <a:custGeom>
              <a:avLst/>
              <a:gdLst>
                <a:gd name="T0" fmla="*/ 35 w 187"/>
                <a:gd name="T1" fmla="*/ 25 h 155"/>
                <a:gd name="T2" fmla="*/ 32 w 187"/>
                <a:gd name="T3" fmla="*/ 126 h 155"/>
                <a:gd name="T4" fmla="*/ 153 w 187"/>
                <a:gd name="T5" fmla="*/ 127 h 155"/>
                <a:gd name="T6" fmla="*/ 152 w 187"/>
                <a:gd name="T7" fmla="*/ 128 h 155"/>
                <a:gd name="T8" fmla="*/ 149 w 187"/>
                <a:gd name="T9" fmla="*/ 25 h 155"/>
                <a:gd name="T10" fmla="*/ 32 w 187"/>
                <a:gd name="T11" fmla="*/ 28 h 155"/>
                <a:gd name="T12" fmla="*/ 35 w 187"/>
                <a:gd name="T13" fmla="*/ 2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5">
                  <a:moveTo>
                    <a:pt x="35" y="25"/>
                  </a:moveTo>
                  <a:cubicBezTo>
                    <a:pt x="2" y="53"/>
                    <a:pt x="0" y="98"/>
                    <a:pt x="32" y="126"/>
                  </a:cubicBezTo>
                  <a:cubicBezTo>
                    <a:pt x="65" y="155"/>
                    <a:pt x="120" y="155"/>
                    <a:pt x="153" y="127"/>
                  </a:cubicBezTo>
                  <a:cubicBezTo>
                    <a:pt x="152" y="128"/>
                    <a:pt x="152" y="128"/>
                    <a:pt x="152" y="128"/>
                  </a:cubicBezTo>
                  <a:cubicBezTo>
                    <a:pt x="187" y="100"/>
                    <a:pt x="185" y="52"/>
                    <a:pt x="149" y="25"/>
                  </a:cubicBezTo>
                  <a:cubicBezTo>
                    <a:pt x="115" y="0"/>
                    <a:pt x="64" y="1"/>
                    <a:pt x="32" y="28"/>
                  </a:cubicBezTo>
                  <a:lnTo>
                    <a:pt x="35" y="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" name="Freeform 104">
              <a:extLst>
                <a:ext uri="{FF2B5EF4-FFF2-40B4-BE49-F238E27FC236}">
                  <a16:creationId xmlns:a16="http://schemas.microsoft.com/office/drawing/2014/main" id="{1E974652-387B-4AE8-B277-5E9F9234E8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23263" y="898526"/>
              <a:ext cx="425450" cy="352425"/>
            </a:xfrm>
            <a:custGeom>
              <a:avLst/>
              <a:gdLst>
                <a:gd name="T0" fmla="*/ 42 w 224"/>
                <a:gd name="T1" fmla="*/ 30 h 186"/>
                <a:gd name="T2" fmla="*/ 39 w 224"/>
                <a:gd name="T3" fmla="*/ 151 h 186"/>
                <a:gd name="T4" fmla="*/ 183 w 224"/>
                <a:gd name="T5" fmla="*/ 152 h 186"/>
                <a:gd name="T6" fmla="*/ 182 w 224"/>
                <a:gd name="T7" fmla="*/ 154 h 186"/>
                <a:gd name="T8" fmla="*/ 178 w 224"/>
                <a:gd name="T9" fmla="*/ 30 h 186"/>
                <a:gd name="T10" fmla="*/ 38 w 224"/>
                <a:gd name="T11" fmla="*/ 33 h 186"/>
                <a:gd name="T12" fmla="*/ 42 w 224"/>
                <a:gd name="T13" fmla="*/ 3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186">
                  <a:moveTo>
                    <a:pt x="42" y="30"/>
                  </a:moveTo>
                  <a:cubicBezTo>
                    <a:pt x="3" y="63"/>
                    <a:pt x="0" y="117"/>
                    <a:pt x="39" y="151"/>
                  </a:cubicBezTo>
                  <a:cubicBezTo>
                    <a:pt x="78" y="185"/>
                    <a:pt x="143" y="186"/>
                    <a:pt x="183" y="152"/>
                  </a:cubicBezTo>
                  <a:cubicBezTo>
                    <a:pt x="182" y="154"/>
                    <a:pt x="182" y="154"/>
                    <a:pt x="182" y="154"/>
                  </a:cubicBezTo>
                  <a:cubicBezTo>
                    <a:pt x="224" y="119"/>
                    <a:pt x="222" y="63"/>
                    <a:pt x="178" y="30"/>
                  </a:cubicBezTo>
                  <a:cubicBezTo>
                    <a:pt x="138" y="0"/>
                    <a:pt x="77" y="2"/>
                    <a:pt x="38" y="33"/>
                  </a:cubicBezTo>
                  <a:lnTo>
                    <a:pt x="42" y="3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" name="Freeform 105">
              <a:extLst>
                <a:ext uri="{FF2B5EF4-FFF2-40B4-BE49-F238E27FC236}">
                  <a16:creationId xmlns:a16="http://schemas.microsoft.com/office/drawing/2014/main" id="{FE93D47F-FEE8-49B6-ABA6-4BED3CD02A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55063" y="695326"/>
              <a:ext cx="244475" cy="203200"/>
            </a:xfrm>
            <a:custGeom>
              <a:avLst/>
              <a:gdLst>
                <a:gd name="T0" fmla="*/ 24 w 129"/>
                <a:gd name="T1" fmla="*/ 17 h 107"/>
                <a:gd name="T2" fmla="*/ 22 w 129"/>
                <a:gd name="T3" fmla="*/ 87 h 107"/>
                <a:gd name="T4" fmla="*/ 106 w 129"/>
                <a:gd name="T5" fmla="*/ 88 h 107"/>
                <a:gd name="T6" fmla="*/ 105 w 129"/>
                <a:gd name="T7" fmla="*/ 89 h 107"/>
                <a:gd name="T8" fmla="*/ 103 w 129"/>
                <a:gd name="T9" fmla="*/ 17 h 107"/>
                <a:gd name="T10" fmla="*/ 22 w 129"/>
                <a:gd name="T11" fmla="*/ 19 h 107"/>
                <a:gd name="T12" fmla="*/ 24 w 129"/>
                <a:gd name="T13" fmla="*/ 1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" h="107">
                  <a:moveTo>
                    <a:pt x="24" y="17"/>
                  </a:moveTo>
                  <a:cubicBezTo>
                    <a:pt x="1" y="36"/>
                    <a:pt x="0" y="68"/>
                    <a:pt x="22" y="87"/>
                  </a:cubicBezTo>
                  <a:cubicBezTo>
                    <a:pt x="45" y="107"/>
                    <a:pt x="82" y="107"/>
                    <a:pt x="106" y="88"/>
                  </a:cubicBezTo>
                  <a:cubicBezTo>
                    <a:pt x="105" y="89"/>
                    <a:pt x="105" y="89"/>
                    <a:pt x="105" y="89"/>
                  </a:cubicBezTo>
                  <a:cubicBezTo>
                    <a:pt x="129" y="69"/>
                    <a:pt x="128" y="36"/>
                    <a:pt x="103" y="17"/>
                  </a:cubicBezTo>
                  <a:cubicBezTo>
                    <a:pt x="79" y="0"/>
                    <a:pt x="44" y="1"/>
                    <a:pt x="22" y="19"/>
                  </a:cubicBezTo>
                  <a:lnTo>
                    <a:pt x="24" y="17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" name="Freeform 106">
              <a:extLst>
                <a:ext uri="{FF2B5EF4-FFF2-40B4-BE49-F238E27FC236}">
                  <a16:creationId xmlns:a16="http://schemas.microsoft.com/office/drawing/2014/main" id="{3AB5348B-4CE6-4B4C-92C8-A55AEC1135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64425" y="822326"/>
              <a:ext cx="312738" cy="257175"/>
            </a:xfrm>
            <a:custGeom>
              <a:avLst/>
              <a:gdLst>
                <a:gd name="T0" fmla="*/ 32 w 165"/>
                <a:gd name="T1" fmla="*/ 22 h 136"/>
                <a:gd name="T2" fmla="*/ 29 w 165"/>
                <a:gd name="T3" fmla="*/ 111 h 136"/>
                <a:gd name="T4" fmla="*/ 135 w 165"/>
                <a:gd name="T5" fmla="*/ 111 h 136"/>
                <a:gd name="T6" fmla="*/ 134 w 165"/>
                <a:gd name="T7" fmla="*/ 113 h 136"/>
                <a:gd name="T8" fmla="*/ 132 w 165"/>
                <a:gd name="T9" fmla="*/ 22 h 136"/>
                <a:gd name="T10" fmla="*/ 29 w 165"/>
                <a:gd name="T11" fmla="*/ 24 h 136"/>
                <a:gd name="T12" fmla="*/ 32 w 165"/>
                <a:gd name="T13" fmla="*/ 2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136">
                  <a:moveTo>
                    <a:pt x="32" y="22"/>
                  </a:moveTo>
                  <a:cubicBezTo>
                    <a:pt x="3" y="46"/>
                    <a:pt x="0" y="86"/>
                    <a:pt x="29" y="111"/>
                  </a:cubicBezTo>
                  <a:cubicBezTo>
                    <a:pt x="58" y="136"/>
                    <a:pt x="106" y="136"/>
                    <a:pt x="135" y="111"/>
                  </a:cubicBezTo>
                  <a:cubicBezTo>
                    <a:pt x="134" y="113"/>
                    <a:pt x="134" y="113"/>
                    <a:pt x="134" y="113"/>
                  </a:cubicBezTo>
                  <a:cubicBezTo>
                    <a:pt x="165" y="87"/>
                    <a:pt x="163" y="46"/>
                    <a:pt x="132" y="22"/>
                  </a:cubicBezTo>
                  <a:cubicBezTo>
                    <a:pt x="102" y="0"/>
                    <a:pt x="57" y="1"/>
                    <a:pt x="29" y="24"/>
                  </a:cubicBezTo>
                  <a:lnTo>
                    <a:pt x="32" y="22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" name="Freeform 107">
              <a:extLst>
                <a:ext uri="{FF2B5EF4-FFF2-40B4-BE49-F238E27FC236}">
                  <a16:creationId xmlns:a16="http://schemas.microsoft.com/office/drawing/2014/main" id="{6E8E5CBB-19EB-4A70-8755-26B1232F20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19738" y="252413"/>
              <a:ext cx="304800" cy="252413"/>
            </a:xfrm>
            <a:custGeom>
              <a:avLst/>
              <a:gdLst>
                <a:gd name="T0" fmla="*/ 31 w 160"/>
                <a:gd name="T1" fmla="*/ 22 h 133"/>
                <a:gd name="T2" fmla="*/ 28 w 160"/>
                <a:gd name="T3" fmla="*/ 108 h 133"/>
                <a:gd name="T4" fmla="*/ 132 w 160"/>
                <a:gd name="T5" fmla="*/ 109 h 133"/>
                <a:gd name="T6" fmla="*/ 131 w 160"/>
                <a:gd name="T7" fmla="*/ 110 h 133"/>
                <a:gd name="T8" fmla="*/ 128 w 160"/>
                <a:gd name="T9" fmla="*/ 22 h 133"/>
                <a:gd name="T10" fmla="*/ 28 w 160"/>
                <a:gd name="T11" fmla="*/ 24 h 133"/>
                <a:gd name="T12" fmla="*/ 31 w 160"/>
                <a:gd name="T13" fmla="*/ 2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133">
                  <a:moveTo>
                    <a:pt x="31" y="22"/>
                  </a:moveTo>
                  <a:cubicBezTo>
                    <a:pt x="3" y="45"/>
                    <a:pt x="0" y="84"/>
                    <a:pt x="28" y="108"/>
                  </a:cubicBezTo>
                  <a:cubicBezTo>
                    <a:pt x="56" y="132"/>
                    <a:pt x="103" y="133"/>
                    <a:pt x="132" y="109"/>
                  </a:cubicBezTo>
                  <a:cubicBezTo>
                    <a:pt x="131" y="110"/>
                    <a:pt x="131" y="110"/>
                    <a:pt x="131" y="110"/>
                  </a:cubicBezTo>
                  <a:cubicBezTo>
                    <a:pt x="160" y="85"/>
                    <a:pt x="159" y="45"/>
                    <a:pt x="128" y="22"/>
                  </a:cubicBezTo>
                  <a:cubicBezTo>
                    <a:pt x="99" y="0"/>
                    <a:pt x="55" y="1"/>
                    <a:pt x="28" y="24"/>
                  </a:cubicBezTo>
                  <a:lnTo>
                    <a:pt x="31" y="22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" name="Freeform 108">
              <a:extLst>
                <a:ext uri="{FF2B5EF4-FFF2-40B4-BE49-F238E27FC236}">
                  <a16:creationId xmlns:a16="http://schemas.microsoft.com/office/drawing/2014/main" id="{61A09E01-1740-46BE-8A81-106C859E1F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66925" y="5981701"/>
              <a:ext cx="423863" cy="349250"/>
            </a:xfrm>
            <a:custGeom>
              <a:avLst/>
              <a:gdLst>
                <a:gd name="T0" fmla="*/ 42 w 223"/>
                <a:gd name="T1" fmla="*/ 30 h 184"/>
                <a:gd name="T2" fmla="*/ 39 w 223"/>
                <a:gd name="T3" fmla="*/ 150 h 184"/>
                <a:gd name="T4" fmla="*/ 183 w 223"/>
                <a:gd name="T5" fmla="*/ 151 h 184"/>
                <a:gd name="T6" fmla="*/ 182 w 223"/>
                <a:gd name="T7" fmla="*/ 153 h 184"/>
                <a:gd name="T8" fmla="*/ 178 w 223"/>
                <a:gd name="T9" fmla="*/ 30 h 184"/>
                <a:gd name="T10" fmla="*/ 39 w 223"/>
                <a:gd name="T11" fmla="*/ 33 h 184"/>
                <a:gd name="T12" fmla="*/ 42 w 223"/>
                <a:gd name="T13" fmla="*/ 3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184">
                  <a:moveTo>
                    <a:pt x="42" y="30"/>
                  </a:moveTo>
                  <a:cubicBezTo>
                    <a:pt x="3" y="63"/>
                    <a:pt x="0" y="117"/>
                    <a:pt x="39" y="150"/>
                  </a:cubicBezTo>
                  <a:cubicBezTo>
                    <a:pt x="78" y="184"/>
                    <a:pt x="143" y="184"/>
                    <a:pt x="183" y="151"/>
                  </a:cubicBezTo>
                  <a:cubicBezTo>
                    <a:pt x="182" y="153"/>
                    <a:pt x="182" y="153"/>
                    <a:pt x="182" y="153"/>
                  </a:cubicBezTo>
                  <a:cubicBezTo>
                    <a:pt x="223" y="119"/>
                    <a:pt x="221" y="63"/>
                    <a:pt x="178" y="30"/>
                  </a:cubicBezTo>
                  <a:cubicBezTo>
                    <a:pt x="138" y="0"/>
                    <a:pt x="77" y="1"/>
                    <a:pt x="39" y="33"/>
                  </a:cubicBezTo>
                  <a:lnTo>
                    <a:pt x="42" y="3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" name="Freeform 109">
              <a:extLst>
                <a:ext uri="{FF2B5EF4-FFF2-40B4-BE49-F238E27FC236}">
                  <a16:creationId xmlns:a16="http://schemas.microsoft.com/office/drawing/2014/main" id="{086152BF-D5D0-4DEF-845E-8964A7EDF2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22400" y="5046663"/>
              <a:ext cx="276225" cy="230188"/>
            </a:xfrm>
            <a:custGeom>
              <a:avLst/>
              <a:gdLst>
                <a:gd name="T0" fmla="*/ 28 w 146"/>
                <a:gd name="T1" fmla="*/ 20 h 121"/>
                <a:gd name="T2" fmla="*/ 25 w 146"/>
                <a:gd name="T3" fmla="*/ 99 h 121"/>
                <a:gd name="T4" fmla="*/ 120 w 146"/>
                <a:gd name="T5" fmla="*/ 100 h 121"/>
                <a:gd name="T6" fmla="*/ 119 w 146"/>
                <a:gd name="T7" fmla="*/ 101 h 121"/>
                <a:gd name="T8" fmla="*/ 117 w 146"/>
                <a:gd name="T9" fmla="*/ 20 h 121"/>
                <a:gd name="T10" fmla="*/ 25 w 146"/>
                <a:gd name="T11" fmla="*/ 22 h 121"/>
                <a:gd name="T12" fmla="*/ 28 w 146"/>
                <a:gd name="T13" fmla="*/ 2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1">
                  <a:moveTo>
                    <a:pt x="28" y="20"/>
                  </a:moveTo>
                  <a:cubicBezTo>
                    <a:pt x="2" y="42"/>
                    <a:pt x="0" y="77"/>
                    <a:pt x="25" y="99"/>
                  </a:cubicBezTo>
                  <a:cubicBezTo>
                    <a:pt x="51" y="121"/>
                    <a:pt x="94" y="121"/>
                    <a:pt x="120" y="100"/>
                  </a:cubicBezTo>
                  <a:cubicBezTo>
                    <a:pt x="119" y="101"/>
                    <a:pt x="119" y="101"/>
                    <a:pt x="119" y="101"/>
                  </a:cubicBezTo>
                  <a:cubicBezTo>
                    <a:pt x="146" y="78"/>
                    <a:pt x="145" y="41"/>
                    <a:pt x="117" y="20"/>
                  </a:cubicBezTo>
                  <a:cubicBezTo>
                    <a:pt x="90" y="0"/>
                    <a:pt x="50" y="1"/>
                    <a:pt x="25" y="22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" name="Freeform 110">
              <a:extLst>
                <a:ext uri="{FF2B5EF4-FFF2-40B4-BE49-F238E27FC236}">
                  <a16:creationId xmlns:a16="http://schemas.microsoft.com/office/drawing/2014/main" id="{EBBFEB16-5B0E-48D1-8367-0FC348B392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800" y="6448426"/>
              <a:ext cx="188913" cy="157163"/>
            </a:xfrm>
            <a:custGeom>
              <a:avLst/>
              <a:gdLst>
                <a:gd name="T0" fmla="*/ 19 w 100"/>
                <a:gd name="T1" fmla="*/ 14 h 83"/>
                <a:gd name="T2" fmla="*/ 17 w 100"/>
                <a:gd name="T3" fmla="*/ 68 h 83"/>
                <a:gd name="T4" fmla="*/ 82 w 100"/>
                <a:gd name="T5" fmla="*/ 68 h 83"/>
                <a:gd name="T6" fmla="*/ 81 w 100"/>
                <a:gd name="T7" fmla="*/ 69 h 83"/>
                <a:gd name="T8" fmla="*/ 80 w 100"/>
                <a:gd name="T9" fmla="*/ 14 h 83"/>
                <a:gd name="T10" fmla="*/ 17 w 100"/>
                <a:gd name="T11" fmla="*/ 15 h 83"/>
                <a:gd name="T12" fmla="*/ 19 w 100"/>
                <a:gd name="T13" fmla="*/ 1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83">
                  <a:moveTo>
                    <a:pt x="19" y="14"/>
                  </a:moveTo>
                  <a:cubicBezTo>
                    <a:pt x="1" y="29"/>
                    <a:pt x="0" y="53"/>
                    <a:pt x="17" y="68"/>
                  </a:cubicBezTo>
                  <a:cubicBezTo>
                    <a:pt x="35" y="83"/>
                    <a:pt x="64" y="83"/>
                    <a:pt x="82" y="68"/>
                  </a:cubicBezTo>
                  <a:cubicBezTo>
                    <a:pt x="81" y="69"/>
                    <a:pt x="81" y="69"/>
                    <a:pt x="81" y="69"/>
                  </a:cubicBezTo>
                  <a:cubicBezTo>
                    <a:pt x="100" y="54"/>
                    <a:pt x="99" y="29"/>
                    <a:pt x="80" y="14"/>
                  </a:cubicBezTo>
                  <a:cubicBezTo>
                    <a:pt x="62" y="0"/>
                    <a:pt x="34" y="1"/>
                    <a:pt x="17" y="15"/>
                  </a:cubicBezTo>
                  <a:lnTo>
                    <a:pt x="19" y="1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" name="Freeform 111">
              <a:extLst>
                <a:ext uri="{FF2B5EF4-FFF2-40B4-BE49-F238E27FC236}">
                  <a16:creationId xmlns:a16="http://schemas.microsoft.com/office/drawing/2014/main" id="{CDD8837D-4415-4880-B84B-8EB5C845A4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63169" y="5893120"/>
              <a:ext cx="387350" cy="320675"/>
            </a:xfrm>
            <a:custGeom>
              <a:avLst/>
              <a:gdLst>
                <a:gd name="T0" fmla="*/ 39 w 204"/>
                <a:gd name="T1" fmla="*/ 27 h 169"/>
                <a:gd name="T2" fmla="*/ 35 w 204"/>
                <a:gd name="T3" fmla="*/ 137 h 169"/>
                <a:gd name="T4" fmla="*/ 167 w 204"/>
                <a:gd name="T5" fmla="*/ 138 h 169"/>
                <a:gd name="T6" fmla="*/ 166 w 204"/>
                <a:gd name="T7" fmla="*/ 140 h 169"/>
                <a:gd name="T8" fmla="*/ 163 w 204"/>
                <a:gd name="T9" fmla="*/ 27 h 169"/>
                <a:gd name="T10" fmla="*/ 35 w 204"/>
                <a:gd name="T11" fmla="*/ 30 h 169"/>
                <a:gd name="T12" fmla="*/ 39 w 204"/>
                <a:gd name="T13" fmla="*/ 27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169">
                  <a:moveTo>
                    <a:pt x="39" y="27"/>
                  </a:moveTo>
                  <a:cubicBezTo>
                    <a:pt x="3" y="57"/>
                    <a:pt x="0" y="107"/>
                    <a:pt x="35" y="137"/>
                  </a:cubicBezTo>
                  <a:cubicBezTo>
                    <a:pt x="71" y="168"/>
                    <a:pt x="131" y="169"/>
                    <a:pt x="167" y="138"/>
                  </a:cubicBezTo>
                  <a:cubicBezTo>
                    <a:pt x="166" y="140"/>
                    <a:pt x="166" y="140"/>
                    <a:pt x="166" y="140"/>
                  </a:cubicBezTo>
                  <a:cubicBezTo>
                    <a:pt x="204" y="108"/>
                    <a:pt x="202" y="57"/>
                    <a:pt x="163" y="27"/>
                  </a:cubicBezTo>
                  <a:cubicBezTo>
                    <a:pt x="126" y="0"/>
                    <a:pt x="70" y="1"/>
                    <a:pt x="35" y="30"/>
                  </a:cubicBezTo>
                  <a:cubicBezTo>
                    <a:pt x="39" y="27"/>
                    <a:pt x="39" y="27"/>
                    <a:pt x="39" y="27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" name="Freeform 112">
              <a:extLst>
                <a:ext uri="{FF2B5EF4-FFF2-40B4-BE49-F238E27FC236}">
                  <a16:creationId xmlns:a16="http://schemas.microsoft.com/office/drawing/2014/main" id="{ADF1543E-031D-4A39-AFF8-7114C5F6A6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9713" y="3948113"/>
              <a:ext cx="341313" cy="284163"/>
            </a:xfrm>
            <a:custGeom>
              <a:avLst/>
              <a:gdLst>
                <a:gd name="T0" fmla="*/ 35 w 180"/>
                <a:gd name="T1" fmla="*/ 25 h 150"/>
                <a:gd name="T2" fmla="*/ 32 w 180"/>
                <a:gd name="T3" fmla="*/ 122 h 150"/>
                <a:gd name="T4" fmla="*/ 148 w 180"/>
                <a:gd name="T5" fmla="*/ 123 h 150"/>
                <a:gd name="T6" fmla="*/ 147 w 180"/>
                <a:gd name="T7" fmla="*/ 124 h 150"/>
                <a:gd name="T8" fmla="*/ 144 w 180"/>
                <a:gd name="T9" fmla="*/ 25 h 150"/>
                <a:gd name="T10" fmla="*/ 32 w 180"/>
                <a:gd name="T11" fmla="*/ 27 h 150"/>
                <a:gd name="T12" fmla="*/ 35 w 180"/>
                <a:gd name="T13" fmla="*/ 2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" h="150">
                  <a:moveTo>
                    <a:pt x="35" y="25"/>
                  </a:moveTo>
                  <a:cubicBezTo>
                    <a:pt x="3" y="51"/>
                    <a:pt x="0" y="95"/>
                    <a:pt x="32" y="122"/>
                  </a:cubicBezTo>
                  <a:cubicBezTo>
                    <a:pt x="63" y="149"/>
                    <a:pt x="116" y="150"/>
                    <a:pt x="148" y="123"/>
                  </a:cubicBezTo>
                  <a:cubicBezTo>
                    <a:pt x="147" y="124"/>
                    <a:pt x="147" y="124"/>
                    <a:pt x="147" y="124"/>
                  </a:cubicBezTo>
                  <a:cubicBezTo>
                    <a:pt x="180" y="96"/>
                    <a:pt x="179" y="51"/>
                    <a:pt x="144" y="25"/>
                  </a:cubicBezTo>
                  <a:cubicBezTo>
                    <a:pt x="112" y="0"/>
                    <a:pt x="62" y="1"/>
                    <a:pt x="32" y="27"/>
                  </a:cubicBezTo>
                  <a:lnTo>
                    <a:pt x="35" y="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" name="Freeform 113">
              <a:extLst>
                <a:ext uri="{FF2B5EF4-FFF2-40B4-BE49-F238E27FC236}">
                  <a16:creationId xmlns:a16="http://schemas.microsoft.com/office/drawing/2014/main" id="{41EC6EA7-251B-4B6E-ADC9-0669778A94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113" y="5526088"/>
              <a:ext cx="227013" cy="188913"/>
            </a:xfrm>
            <a:custGeom>
              <a:avLst/>
              <a:gdLst>
                <a:gd name="T0" fmla="*/ 23 w 120"/>
                <a:gd name="T1" fmla="*/ 16 h 100"/>
                <a:gd name="T2" fmla="*/ 21 w 120"/>
                <a:gd name="T3" fmla="*/ 81 h 100"/>
                <a:gd name="T4" fmla="*/ 99 w 120"/>
                <a:gd name="T5" fmla="*/ 82 h 100"/>
                <a:gd name="T6" fmla="*/ 98 w 120"/>
                <a:gd name="T7" fmla="*/ 83 h 100"/>
                <a:gd name="T8" fmla="*/ 96 w 120"/>
                <a:gd name="T9" fmla="*/ 16 h 100"/>
                <a:gd name="T10" fmla="*/ 20 w 120"/>
                <a:gd name="T11" fmla="*/ 18 h 100"/>
                <a:gd name="T12" fmla="*/ 23 w 120"/>
                <a:gd name="T13" fmla="*/ 16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00">
                  <a:moveTo>
                    <a:pt x="23" y="16"/>
                  </a:moveTo>
                  <a:cubicBezTo>
                    <a:pt x="1" y="34"/>
                    <a:pt x="0" y="63"/>
                    <a:pt x="21" y="81"/>
                  </a:cubicBezTo>
                  <a:cubicBezTo>
                    <a:pt x="42" y="100"/>
                    <a:pt x="77" y="100"/>
                    <a:pt x="99" y="82"/>
                  </a:cubicBezTo>
                  <a:cubicBezTo>
                    <a:pt x="98" y="83"/>
                    <a:pt x="98" y="83"/>
                    <a:pt x="98" y="83"/>
                  </a:cubicBezTo>
                  <a:cubicBezTo>
                    <a:pt x="120" y="64"/>
                    <a:pt x="119" y="34"/>
                    <a:pt x="96" y="16"/>
                  </a:cubicBezTo>
                  <a:cubicBezTo>
                    <a:pt x="74" y="0"/>
                    <a:pt x="41" y="1"/>
                    <a:pt x="20" y="18"/>
                  </a:cubicBezTo>
                  <a:lnTo>
                    <a:pt x="23" y="1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9" name="Freeform 114">
              <a:extLst>
                <a:ext uri="{FF2B5EF4-FFF2-40B4-BE49-F238E27FC236}">
                  <a16:creationId xmlns:a16="http://schemas.microsoft.com/office/drawing/2014/main" id="{1AAE7386-E7F2-43B4-B071-0AE91428C3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2888" y="3119438"/>
              <a:ext cx="292100" cy="242888"/>
            </a:xfrm>
            <a:custGeom>
              <a:avLst/>
              <a:gdLst>
                <a:gd name="T0" fmla="*/ 29 w 154"/>
                <a:gd name="T1" fmla="*/ 21 h 128"/>
                <a:gd name="T2" fmla="*/ 26 w 154"/>
                <a:gd name="T3" fmla="*/ 104 h 128"/>
                <a:gd name="T4" fmla="*/ 126 w 154"/>
                <a:gd name="T5" fmla="*/ 105 h 128"/>
                <a:gd name="T6" fmla="*/ 126 w 154"/>
                <a:gd name="T7" fmla="*/ 106 h 128"/>
                <a:gd name="T8" fmla="*/ 123 w 154"/>
                <a:gd name="T9" fmla="*/ 21 h 128"/>
                <a:gd name="T10" fmla="*/ 26 w 154"/>
                <a:gd name="T11" fmla="*/ 23 h 128"/>
                <a:gd name="T12" fmla="*/ 29 w 154"/>
                <a:gd name="T13" fmla="*/ 2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" h="128">
                  <a:moveTo>
                    <a:pt x="29" y="21"/>
                  </a:moveTo>
                  <a:cubicBezTo>
                    <a:pt x="2" y="44"/>
                    <a:pt x="0" y="81"/>
                    <a:pt x="26" y="104"/>
                  </a:cubicBezTo>
                  <a:cubicBezTo>
                    <a:pt x="54" y="128"/>
                    <a:pt x="99" y="128"/>
                    <a:pt x="126" y="105"/>
                  </a:cubicBezTo>
                  <a:cubicBezTo>
                    <a:pt x="126" y="106"/>
                    <a:pt x="126" y="106"/>
                    <a:pt x="126" y="106"/>
                  </a:cubicBezTo>
                  <a:cubicBezTo>
                    <a:pt x="154" y="82"/>
                    <a:pt x="153" y="44"/>
                    <a:pt x="123" y="21"/>
                  </a:cubicBezTo>
                  <a:cubicBezTo>
                    <a:pt x="95" y="0"/>
                    <a:pt x="53" y="1"/>
                    <a:pt x="26" y="23"/>
                  </a:cubicBezTo>
                  <a:lnTo>
                    <a:pt x="29" y="2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0" name="Freeform 115">
              <a:extLst>
                <a:ext uri="{FF2B5EF4-FFF2-40B4-BE49-F238E27FC236}">
                  <a16:creationId xmlns:a16="http://schemas.microsoft.com/office/drawing/2014/main" id="{4098C2F3-B142-4360-8333-F812B9AE17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1238" y="428626"/>
              <a:ext cx="285750" cy="234950"/>
            </a:xfrm>
            <a:custGeom>
              <a:avLst/>
              <a:gdLst>
                <a:gd name="T0" fmla="*/ 29 w 150"/>
                <a:gd name="T1" fmla="*/ 20 h 124"/>
                <a:gd name="T2" fmla="*/ 26 w 150"/>
                <a:gd name="T3" fmla="*/ 100 h 124"/>
                <a:gd name="T4" fmla="*/ 123 w 150"/>
                <a:gd name="T5" fmla="*/ 101 h 124"/>
                <a:gd name="T6" fmla="*/ 122 w 150"/>
                <a:gd name="T7" fmla="*/ 102 h 124"/>
                <a:gd name="T8" fmla="*/ 120 w 150"/>
                <a:gd name="T9" fmla="*/ 20 h 124"/>
                <a:gd name="T10" fmla="*/ 26 w 150"/>
                <a:gd name="T11" fmla="*/ 22 h 124"/>
                <a:gd name="T12" fmla="*/ 29 w 150"/>
                <a:gd name="T13" fmla="*/ 2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124">
                  <a:moveTo>
                    <a:pt x="29" y="20"/>
                  </a:moveTo>
                  <a:cubicBezTo>
                    <a:pt x="2" y="42"/>
                    <a:pt x="0" y="78"/>
                    <a:pt x="26" y="100"/>
                  </a:cubicBezTo>
                  <a:cubicBezTo>
                    <a:pt x="53" y="123"/>
                    <a:pt x="96" y="124"/>
                    <a:pt x="123" y="101"/>
                  </a:cubicBezTo>
                  <a:cubicBezTo>
                    <a:pt x="122" y="102"/>
                    <a:pt x="122" y="102"/>
                    <a:pt x="122" y="102"/>
                  </a:cubicBezTo>
                  <a:cubicBezTo>
                    <a:pt x="150" y="79"/>
                    <a:pt x="149" y="42"/>
                    <a:pt x="120" y="20"/>
                  </a:cubicBezTo>
                  <a:cubicBezTo>
                    <a:pt x="93" y="0"/>
                    <a:pt x="52" y="1"/>
                    <a:pt x="26" y="22"/>
                  </a:cubicBezTo>
                  <a:lnTo>
                    <a:pt x="29" y="2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1" name="Freeform 123">
              <a:extLst>
                <a:ext uri="{FF2B5EF4-FFF2-40B4-BE49-F238E27FC236}">
                  <a16:creationId xmlns:a16="http://schemas.microsoft.com/office/drawing/2014/main" id="{2D67B2BB-FA33-4CAF-B727-99D39CCC89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5175" y="438151"/>
              <a:ext cx="4867275" cy="5487988"/>
            </a:xfrm>
            <a:custGeom>
              <a:avLst/>
              <a:gdLst>
                <a:gd name="T0" fmla="*/ 1119 w 2564"/>
                <a:gd name="T1" fmla="*/ 58 h 2890"/>
                <a:gd name="T2" fmla="*/ 162 w 2564"/>
                <a:gd name="T3" fmla="*/ 611 h 2890"/>
                <a:gd name="T4" fmla="*/ 0 w 2564"/>
                <a:gd name="T5" fmla="*/ 892 h 2890"/>
                <a:gd name="T6" fmla="*/ 0 w 2564"/>
                <a:gd name="T7" fmla="*/ 1998 h 2890"/>
                <a:gd name="T8" fmla="*/ 162 w 2564"/>
                <a:gd name="T9" fmla="*/ 2279 h 2890"/>
                <a:gd name="T10" fmla="*/ 1119 w 2564"/>
                <a:gd name="T11" fmla="*/ 2832 h 2890"/>
                <a:gd name="T12" fmla="*/ 1444 w 2564"/>
                <a:gd name="T13" fmla="*/ 2832 h 2890"/>
                <a:gd name="T14" fmla="*/ 2401 w 2564"/>
                <a:gd name="T15" fmla="*/ 2279 h 2890"/>
                <a:gd name="T16" fmla="*/ 2564 w 2564"/>
                <a:gd name="T17" fmla="*/ 1998 h 2890"/>
                <a:gd name="T18" fmla="*/ 2564 w 2564"/>
                <a:gd name="T19" fmla="*/ 892 h 2890"/>
                <a:gd name="T20" fmla="*/ 2401 w 2564"/>
                <a:gd name="T21" fmla="*/ 611 h 2890"/>
                <a:gd name="T22" fmla="*/ 1444 w 2564"/>
                <a:gd name="T23" fmla="*/ 58 h 2890"/>
                <a:gd name="T24" fmla="*/ 1119 w 2564"/>
                <a:gd name="T25" fmla="*/ 58 h 2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64" h="2890">
                  <a:moveTo>
                    <a:pt x="1119" y="58"/>
                  </a:moveTo>
                  <a:cubicBezTo>
                    <a:pt x="162" y="611"/>
                    <a:pt x="162" y="611"/>
                    <a:pt x="162" y="611"/>
                  </a:cubicBezTo>
                  <a:cubicBezTo>
                    <a:pt x="62" y="669"/>
                    <a:pt x="0" y="776"/>
                    <a:pt x="0" y="892"/>
                  </a:cubicBezTo>
                  <a:cubicBezTo>
                    <a:pt x="0" y="1998"/>
                    <a:pt x="0" y="1998"/>
                    <a:pt x="0" y="1998"/>
                  </a:cubicBezTo>
                  <a:cubicBezTo>
                    <a:pt x="0" y="2114"/>
                    <a:pt x="62" y="2221"/>
                    <a:pt x="162" y="2279"/>
                  </a:cubicBezTo>
                  <a:cubicBezTo>
                    <a:pt x="1119" y="2832"/>
                    <a:pt x="1119" y="2832"/>
                    <a:pt x="1119" y="2832"/>
                  </a:cubicBezTo>
                  <a:cubicBezTo>
                    <a:pt x="1220" y="2890"/>
                    <a:pt x="1344" y="2890"/>
                    <a:pt x="1444" y="2832"/>
                  </a:cubicBezTo>
                  <a:cubicBezTo>
                    <a:pt x="2401" y="2279"/>
                    <a:pt x="2401" y="2279"/>
                    <a:pt x="2401" y="2279"/>
                  </a:cubicBezTo>
                  <a:cubicBezTo>
                    <a:pt x="2502" y="2221"/>
                    <a:pt x="2564" y="2114"/>
                    <a:pt x="2564" y="1998"/>
                  </a:cubicBezTo>
                  <a:cubicBezTo>
                    <a:pt x="2564" y="892"/>
                    <a:pt x="2564" y="892"/>
                    <a:pt x="2564" y="892"/>
                  </a:cubicBezTo>
                  <a:cubicBezTo>
                    <a:pt x="2564" y="776"/>
                    <a:pt x="2502" y="669"/>
                    <a:pt x="2401" y="611"/>
                  </a:cubicBezTo>
                  <a:cubicBezTo>
                    <a:pt x="1444" y="58"/>
                    <a:pt x="1444" y="58"/>
                    <a:pt x="1444" y="58"/>
                  </a:cubicBezTo>
                  <a:cubicBezTo>
                    <a:pt x="1344" y="0"/>
                    <a:pt x="1220" y="0"/>
                    <a:pt x="1119" y="58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2" name="Freeform 124">
              <a:extLst>
                <a:ext uri="{FF2B5EF4-FFF2-40B4-BE49-F238E27FC236}">
                  <a16:creationId xmlns:a16="http://schemas.microsoft.com/office/drawing/2014/main" id="{C2516849-EE6F-44DC-AE3E-2A83B5355A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51313" y="544513"/>
              <a:ext cx="17463" cy="9525"/>
            </a:xfrm>
            <a:custGeom>
              <a:avLst/>
              <a:gdLst>
                <a:gd name="T0" fmla="*/ 9 w 9"/>
                <a:gd name="T1" fmla="*/ 0 h 5"/>
                <a:gd name="T2" fmla="*/ 4 w 9"/>
                <a:gd name="T3" fmla="*/ 2 h 5"/>
                <a:gd name="T4" fmla="*/ 0 w 9"/>
                <a:gd name="T5" fmla="*/ 5 h 5"/>
                <a:gd name="T6" fmla="*/ 4 w 9"/>
                <a:gd name="T7" fmla="*/ 2 h 5"/>
                <a:gd name="T8" fmla="*/ 9 w 9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9" y="0"/>
                  </a:moveTo>
                  <a:cubicBezTo>
                    <a:pt x="7" y="1"/>
                    <a:pt x="6" y="2"/>
                    <a:pt x="4" y="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6" y="2"/>
                    <a:pt x="7" y="1"/>
                    <a:pt x="9" y="0"/>
                  </a:cubicBezTo>
                </a:path>
              </a:pathLst>
            </a:custGeom>
            <a:solidFill>
              <a:srgbClr val="546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3" name="Freeform 125">
              <a:extLst>
                <a:ext uri="{FF2B5EF4-FFF2-40B4-BE49-F238E27FC236}">
                  <a16:creationId xmlns:a16="http://schemas.microsoft.com/office/drawing/2014/main" id="{3BA624F3-E4AF-4018-B6A0-64D5681C06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0838" y="581660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955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4" name="Freeform 126">
              <a:extLst>
                <a:ext uri="{FF2B5EF4-FFF2-40B4-BE49-F238E27FC236}">
                  <a16:creationId xmlns:a16="http://schemas.microsoft.com/office/drawing/2014/main" id="{147CA4F3-95E0-464F-A23B-BF9AF9E8A0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5175" y="466726"/>
              <a:ext cx="2598738" cy="5422900"/>
            </a:xfrm>
            <a:custGeom>
              <a:avLst/>
              <a:gdLst>
                <a:gd name="T0" fmla="*/ 1282 w 1369"/>
                <a:gd name="T1" fmla="*/ 0 h 2856"/>
                <a:gd name="T2" fmla="*/ 1124 w 1369"/>
                <a:gd name="T3" fmla="*/ 41 h 2856"/>
                <a:gd name="T4" fmla="*/ 1119 w 1369"/>
                <a:gd name="T5" fmla="*/ 43 h 2856"/>
                <a:gd name="T6" fmla="*/ 1115 w 1369"/>
                <a:gd name="T7" fmla="*/ 46 h 2856"/>
                <a:gd name="T8" fmla="*/ 476 w 1369"/>
                <a:gd name="T9" fmla="*/ 415 h 2856"/>
                <a:gd name="T10" fmla="*/ 162 w 1369"/>
                <a:gd name="T11" fmla="*/ 596 h 2856"/>
                <a:gd name="T12" fmla="*/ 0 w 1369"/>
                <a:gd name="T13" fmla="*/ 877 h 2856"/>
                <a:gd name="T14" fmla="*/ 0 w 1369"/>
                <a:gd name="T15" fmla="*/ 1983 h 2856"/>
                <a:gd name="T16" fmla="*/ 162 w 1369"/>
                <a:gd name="T17" fmla="*/ 2264 h 2856"/>
                <a:gd name="T18" fmla="*/ 1119 w 1369"/>
                <a:gd name="T19" fmla="*/ 2817 h 2856"/>
                <a:gd name="T20" fmla="*/ 1120 w 1369"/>
                <a:gd name="T21" fmla="*/ 2817 h 2856"/>
                <a:gd name="T22" fmla="*/ 1120 w 1369"/>
                <a:gd name="T23" fmla="*/ 2817 h 2856"/>
                <a:gd name="T24" fmla="*/ 1232 w 1369"/>
                <a:gd name="T25" fmla="*/ 2856 h 2856"/>
                <a:gd name="T26" fmla="*/ 1157 w 1369"/>
                <a:gd name="T27" fmla="*/ 2825 h 2856"/>
                <a:gd name="T28" fmla="*/ 200 w 1369"/>
                <a:gd name="T29" fmla="*/ 2272 h 2856"/>
                <a:gd name="T30" fmla="*/ 37 w 1369"/>
                <a:gd name="T31" fmla="*/ 1991 h 2856"/>
                <a:gd name="T32" fmla="*/ 37 w 1369"/>
                <a:gd name="T33" fmla="*/ 886 h 2856"/>
                <a:gd name="T34" fmla="*/ 200 w 1369"/>
                <a:gd name="T35" fmla="*/ 604 h 2856"/>
                <a:gd name="T36" fmla="*/ 1157 w 1369"/>
                <a:gd name="T37" fmla="*/ 51 h 2856"/>
                <a:gd name="T38" fmla="*/ 1319 w 1369"/>
                <a:gd name="T39" fmla="*/ 8 h 2856"/>
                <a:gd name="T40" fmla="*/ 1369 w 1369"/>
                <a:gd name="T41" fmla="*/ 12 h 2856"/>
                <a:gd name="T42" fmla="*/ 1282 w 1369"/>
                <a:gd name="T43" fmla="*/ 0 h 2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69" h="2856">
                  <a:moveTo>
                    <a:pt x="1282" y="0"/>
                  </a:moveTo>
                  <a:cubicBezTo>
                    <a:pt x="1227" y="0"/>
                    <a:pt x="1173" y="14"/>
                    <a:pt x="1124" y="41"/>
                  </a:cubicBezTo>
                  <a:cubicBezTo>
                    <a:pt x="1122" y="42"/>
                    <a:pt x="1121" y="43"/>
                    <a:pt x="1119" y="43"/>
                  </a:cubicBezTo>
                  <a:cubicBezTo>
                    <a:pt x="1115" y="46"/>
                    <a:pt x="1115" y="46"/>
                    <a:pt x="1115" y="46"/>
                  </a:cubicBezTo>
                  <a:cubicBezTo>
                    <a:pt x="476" y="415"/>
                    <a:pt x="476" y="415"/>
                    <a:pt x="476" y="415"/>
                  </a:cubicBezTo>
                  <a:cubicBezTo>
                    <a:pt x="162" y="596"/>
                    <a:pt x="162" y="596"/>
                    <a:pt x="162" y="596"/>
                  </a:cubicBezTo>
                  <a:cubicBezTo>
                    <a:pt x="62" y="654"/>
                    <a:pt x="0" y="761"/>
                    <a:pt x="0" y="877"/>
                  </a:cubicBezTo>
                  <a:cubicBezTo>
                    <a:pt x="0" y="1983"/>
                    <a:pt x="0" y="1983"/>
                    <a:pt x="0" y="1983"/>
                  </a:cubicBezTo>
                  <a:cubicBezTo>
                    <a:pt x="0" y="2099"/>
                    <a:pt x="62" y="2206"/>
                    <a:pt x="162" y="2264"/>
                  </a:cubicBezTo>
                  <a:cubicBezTo>
                    <a:pt x="1119" y="2817"/>
                    <a:pt x="1119" y="2817"/>
                    <a:pt x="1119" y="2817"/>
                  </a:cubicBezTo>
                  <a:cubicBezTo>
                    <a:pt x="1120" y="2817"/>
                    <a:pt x="1120" y="2817"/>
                    <a:pt x="1120" y="2817"/>
                  </a:cubicBezTo>
                  <a:cubicBezTo>
                    <a:pt x="1120" y="2817"/>
                    <a:pt x="1120" y="2817"/>
                    <a:pt x="1120" y="2817"/>
                  </a:cubicBezTo>
                  <a:cubicBezTo>
                    <a:pt x="1155" y="2837"/>
                    <a:pt x="1193" y="2850"/>
                    <a:pt x="1232" y="2856"/>
                  </a:cubicBezTo>
                  <a:cubicBezTo>
                    <a:pt x="1206" y="2849"/>
                    <a:pt x="1181" y="2838"/>
                    <a:pt x="1157" y="2825"/>
                  </a:cubicBezTo>
                  <a:cubicBezTo>
                    <a:pt x="200" y="2272"/>
                    <a:pt x="200" y="2272"/>
                    <a:pt x="200" y="2272"/>
                  </a:cubicBezTo>
                  <a:cubicBezTo>
                    <a:pt x="99" y="2214"/>
                    <a:pt x="37" y="2107"/>
                    <a:pt x="37" y="1991"/>
                  </a:cubicBezTo>
                  <a:cubicBezTo>
                    <a:pt x="37" y="886"/>
                    <a:pt x="37" y="886"/>
                    <a:pt x="37" y="886"/>
                  </a:cubicBezTo>
                  <a:cubicBezTo>
                    <a:pt x="37" y="769"/>
                    <a:pt x="99" y="662"/>
                    <a:pt x="200" y="604"/>
                  </a:cubicBezTo>
                  <a:cubicBezTo>
                    <a:pt x="1157" y="51"/>
                    <a:pt x="1157" y="51"/>
                    <a:pt x="1157" y="51"/>
                  </a:cubicBezTo>
                  <a:cubicBezTo>
                    <a:pt x="1207" y="22"/>
                    <a:pt x="1263" y="8"/>
                    <a:pt x="1319" y="8"/>
                  </a:cubicBezTo>
                  <a:cubicBezTo>
                    <a:pt x="1336" y="8"/>
                    <a:pt x="1352" y="9"/>
                    <a:pt x="1369" y="12"/>
                  </a:cubicBezTo>
                  <a:cubicBezTo>
                    <a:pt x="1340" y="4"/>
                    <a:pt x="1311" y="0"/>
                    <a:pt x="1282" y="0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5" name="Freeform 127">
              <a:extLst>
                <a:ext uri="{FF2B5EF4-FFF2-40B4-BE49-F238E27FC236}">
                  <a16:creationId xmlns:a16="http://schemas.microsoft.com/office/drawing/2014/main" id="{A938832F-21A3-4ACD-A5E5-1EB897BC07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0125" y="920751"/>
              <a:ext cx="1812925" cy="922338"/>
            </a:xfrm>
            <a:custGeom>
              <a:avLst/>
              <a:gdLst>
                <a:gd name="T0" fmla="*/ 885 w 955"/>
                <a:gd name="T1" fmla="*/ 94 h 486"/>
                <a:gd name="T2" fmla="*/ 841 w 955"/>
                <a:gd name="T3" fmla="*/ 136 h 486"/>
                <a:gd name="T4" fmla="*/ 856 w 955"/>
                <a:gd name="T5" fmla="*/ 189 h 486"/>
                <a:gd name="T6" fmla="*/ 748 w 955"/>
                <a:gd name="T7" fmla="*/ 315 h 486"/>
                <a:gd name="T8" fmla="*/ 725 w 955"/>
                <a:gd name="T9" fmla="*/ 310 h 486"/>
                <a:gd name="T10" fmla="*/ 699 w 955"/>
                <a:gd name="T11" fmla="*/ 228 h 486"/>
                <a:gd name="T12" fmla="*/ 678 w 955"/>
                <a:gd name="T13" fmla="*/ 222 h 486"/>
                <a:gd name="T14" fmla="*/ 617 w 955"/>
                <a:gd name="T15" fmla="*/ 273 h 486"/>
                <a:gd name="T16" fmla="*/ 597 w 955"/>
                <a:gd name="T17" fmla="*/ 270 h 486"/>
                <a:gd name="T18" fmla="*/ 515 w 955"/>
                <a:gd name="T19" fmla="*/ 124 h 486"/>
                <a:gd name="T20" fmla="*/ 544 w 955"/>
                <a:gd name="T21" fmla="*/ 57 h 486"/>
                <a:gd name="T22" fmla="*/ 496 w 955"/>
                <a:gd name="T23" fmla="*/ 9 h 486"/>
                <a:gd name="T24" fmla="*/ 419 w 955"/>
                <a:gd name="T25" fmla="*/ 70 h 486"/>
                <a:gd name="T26" fmla="*/ 450 w 955"/>
                <a:gd name="T27" fmla="*/ 124 h 486"/>
                <a:gd name="T28" fmla="*/ 368 w 955"/>
                <a:gd name="T29" fmla="*/ 270 h 486"/>
                <a:gd name="T30" fmla="*/ 348 w 955"/>
                <a:gd name="T31" fmla="*/ 273 h 486"/>
                <a:gd name="T32" fmla="*/ 287 w 955"/>
                <a:gd name="T33" fmla="*/ 222 h 486"/>
                <a:gd name="T34" fmla="*/ 266 w 955"/>
                <a:gd name="T35" fmla="*/ 228 h 486"/>
                <a:gd name="T36" fmla="*/ 240 w 955"/>
                <a:gd name="T37" fmla="*/ 310 h 486"/>
                <a:gd name="T38" fmla="*/ 217 w 955"/>
                <a:gd name="T39" fmla="*/ 315 h 486"/>
                <a:gd name="T40" fmla="*/ 113 w 955"/>
                <a:gd name="T41" fmla="*/ 194 h 486"/>
                <a:gd name="T42" fmla="*/ 120 w 955"/>
                <a:gd name="T43" fmla="*/ 150 h 486"/>
                <a:gd name="T44" fmla="*/ 73 w 955"/>
                <a:gd name="T45" fmla="*/ 108 h 486"/>
                <a:gd name="T46" fmla="*/ 8 w 955"/>
                <a:gd name="T47" fmla="*/ 176 h 486"/>
                <a:gd name="T48" fmla="*/ 38 w 955"/>
                <a:gd name="T49" fmla="*/ 216 h 486"/>
                <a:gd name="T50" fmla="*/ 76 w 955"/>
                <a:gd name="T51" fmla="*/ 221 h 486"/>
                <a:gd name="T52" fmla="*/ 118 w 955"/>
                <a:gd name="T53" fmla="*/ 425 h 486"/>
                <a:gd name="T54" fmla="*/ 193 w 955"/>
                <a:gd name="T55" fmla="*/ 486 h 486"/>
                <a:gd name="T56" fmla="*/ 772 w 955"/>
                <a:gd name="T57" fmla="*/ 486 h 486"/>
                <a:gd name="T58" fmla="*/ 847 w 955"/>
                <a:gd name="T59" fmla="*/ 425 h 486"/>
                <a:gd name="T60" fmla="*/ 892 w 955"/>
                <a:gd name="T61" fmla="*/ 207 h 486"/>
                <a:gd name="T62" fmla="*/ 897 w 955"/>
                <a:gd name="T63" fmla="*/ 207 h 486"/>
                <a:gd name="T64" fmla="*/ 955 w 955"/>
                <a:gd name="T65" fmla="*/ 150 h 486"/>
                <a:gd name="T66" fmla="*/ 885 w 955"/>
                <a:gd name="T67" fmla="*/ 94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55" h="486">
                  <a:moveTo>
                    <a:pt x="885" y="94"/>
                  </a:moveTo>
                  <a:cubicBezTo>
                    <a:pt x="864" y="98"/>
                    <a:pt x="846" y="115"/>
                    <a:pt x="841" y="136"/>
                  </a:cubicBezTo>
                  <a:cubicBezTo>
                    <a:pt x="837" y="157"/>
                    <a:pt x="843" y="176"/>
                    <a:pt x="856" y="189"/>
                  </a:cubicBezTo>
                  <a:cubicBezTo>
                    <a:pt x="748" y="315"/>
                    <a:pt x="748" y="315"/>
                    <a:pt x="748" y="315"/>
                  </a:cubicBezTo>
                  <a:cubicBezTo>
                    <a:pt x="741" y="322"/>
                    <a:pt x="728" y="320"/>
                    <a:pt x="725" y="310"/>
                  </a:cubicBezTo>
                  <a:cubicBezTo>
                    <a:pt x="699" y="228"/>
                    <a:pt x="699" y="228"/>
                    <a:pt x="699" y="228"/>
                  </a:cubicBezTo>
                  <a:cubicBezTo>
                    <a:pt x="696" y="219"/>
                    <a:pt x="685" y="216"/>
                    <a:pt x="678" y="222"/>
                  </a:cubicBezTo>
                  <a:cubicBezTo>
                    <a:pt x="617" y="273"/>
                    <a:pt x="617" y="273"/>
                    <a:pt x="617" y="273"/>
                  </a:cubicBezTo>
                  <a:cubicBezTo>
                    <a:pt x="611" y="279"/>
                    <a:pt x="601" y="277"/>
                    <a:pt x="597" y="270"/>
                  </a:cubicBezTo>
                  <a:cubicBezTo>
                    <a:pt x="515" y="124"/>
                    <a:pt x="515" y="124"/>
                    <a:pt x="515" y="124"/>
                  </a:cubicBezTo>
                  <a:cubicBezTo>
                    <a:pt x="536" y="111"/>
                    <a:pt x="550" y="85"/>
                    <a:pt x="544" y="57"/>
                  </a:cubicBezTo>
                  <a:cubicBezTo>
                    <a:pt x="539" y="33"/>
                    <a:pt x="520" y="14"/>
                    <a:pt x="496" y="9"/>
                  </a:cubicBezTo>
                  <a:cubicBezTo>
                    <a:pt x="455" y="0"/>
                    <a:pt x="419" y="31"/>
                    <a:pt x="419" y="70"/>
                  </a:cubicBezTo>
                  <a:cubicBezTo>
                    <a:pt x="419" y="93"/>
                    <a:pt x="432" y="113"/>
                    <a:pt x="450" y="124"/>
                  </a:cubicBezTo>
                  <a:cubicBezTo>
                    <a:pt x="368" y="270"/>
                    <a:pt x="368" y="270"/>
                    <a:pt x="368" y="270"/>
                  </a:cubicBezTo>
                  <a:cubicBezTo>
                    <a:pt x="364" y="277"/>
                    <a:pt x="354" y="279"/>
                    <a:pt x="348" y="273"/>
                  </a:cubicBezTo>
                  <a:cubicBezTo>
                    <a:pt x="287" y="222"/>
                    <a:pt x="287" y="222"/>
                    <a:pt x="287" y="222"/>
                  </a:cubicBezTo>
                  <a:cubicBezTo>
                    <a:pt x="280" y="216"/>
                    <a:pt x="269" y="219"/>
                    <a:pt x="266" y="228"/>
                  </a:cubicBezTo>
                  <a:cubicBezTo>
                    <a:pt x="240" y="310"/>
                    <a:pt x="240" y="310"/>
                    <a:pt x="240" y="310"/>
                  </a:cubicBezTo>
                  <a:cubicBezTo>
                    <a:pt x="237" y="320"/>
                    <a:pt x="224" y="322"/>
                    <a:pt x="217" y="315"/>
                  </a:cubicBezTo>
                  <a:cubicBezTo>
                    <a:pt x="113" y="194"/>
                    <a:pt x="113" y="194"/>
                    <a:pt x="113" y="194"/>
                  </a:cubicBezTo>
                  <a:cubicBezTo>
                    <a:pt x="121" y="182"/>
                    <a:pt x="124" y="166"/>
                    <a:pt x="120" y="150"/>
                  </a:cubicBezTo>
                  <a:cubicBezTo>
                    <a:pt x="114" y="128"/>
                    <a:pt x="95" y="111"/>
                    <a:pt x="73" y="108"/>
                  </a:cubicBezTo>
                  <a:cubicBezTo>
                    <a:pt x="34" y="102"/>
                    <a:pt x="0" y="136"/>
                    <a:pt x="8" y="176"/>
                  </a:cubicBezTo>
                  <a:cubicBezTo>
                    <a:pt x="11" y="193"/>
                    <a:pt x="23" y="208"/>
                    <a:pt x="38" y="216"/>
                  </a:cubicBezTo>
                  <a:cubicBezTo>
                    <a:pt x="52" y="223"/>
                    <a:pt x="65" y="223"/>
                    <a:pt x="76" y="221"/>
                  </a:cubicBezTo>
                  <a:cubicBezTo>
                    <a:pt x="118" y="425"/>
                    <a:pt x="118" y="425"/>
                    <a:pt x="118" y="425"/>
                  </a:cubicBezTo>
                  <a:cubicBezTo>
                    <a:pt x="125" y="460"/>
                    <a:pt x="157" y="486"/>
                    <a:pt x="193" y="486"/>
                  </a:cubicBezTo>
                  <a:cubicBezTo>
                    <a:pt x="772" y="486"/>
                    <a:pt x="772" y="486"/>
                    <a:pt x="772" y="486"/>
                  </a:cubicBezTo>
                  <a:cubicBezTo>
                    <a:pt x="809" y="486"/>
                    <a:pt x="840" y="460"/>
                    <a:pt x="847" y="425"/>
                  </a:cubicBezTo>
                  <a:cubicBezTo>
                    <a:pt x="892" y="207"/>
                    <a:pt x="892" y="207"/>
                    <a:pt x="892" y="207"/>
                  </a:cubicBezTo>
                  <a:cubicBezTo>
                    <a:pt x="894" y="207"/>
                    <a:pt x="895" y="207"/>
                    <a:pt x="897" y="207"/>
                  </a:cubicBezTo>
                  <a:cubicBezTo>
                    <a:pt x="929" y="207"/>
                    <a:pt x="955" y="181"/>
                    <a:pt x="955" y="150"/>
                  </a:cubicBezTo>
                  <a:cubicBezTo>
                    <a:pt x="955" y="114"/>
                    <a:pt x="922" y="86"/>
                    <a:pt x="885" y="9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6" name="Freeform 128">
              <a:extLst>
                <a:ext uri="{FF2B5EF4-FFF2-40B4-BE49-F238E27FC236}">
                  <a16:creationId xmlns:a16="http://schemas.microsoft.com/office/drawing/2014/main" id="{E050E914-649B-4F67-891B-0E14746E62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34000" y="4713288"/>
              <a:ext cx="1881188" cy="1882775"/>
            </a:xfrm>
            <a:custGeom>
              <a:avLst/>
              <a:gdLst>
                <a:gd name="T0" fmla="*/ 927 w 991"/>
                <a:gd name="T1" fmla="*/ 380 h 992"/>
                <a:gd name="T2" fmla="*/ 380 w 991"/>
                <a:gd name="T3" fmla="*/ 64 h 992"/>
                <a:gd name="T4" fmla="*/ 64 w 991"/>
                <a:gd name="T5" fmla="*/ 612 h 992"/>
                <a:gd name="T6" fmla="*/ 611 w 991"/>
                <a:gd name="T7" fmla="*/ 928 h 992"/>
                <a:gd name="T8" fmla="*/ 927 w 991"/>
                <a:gd name="T9" fmla="*/ 380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1" h="992">
                  <a:moveTo>
                    <a:pt x="927" y="380"/>
                  </a:moveTo>
                  <a:cubicBezTo>
                    <a:pt x="864" y="142"/>
                    <a:pt x="618" y="0"/>
                    <a:pt x="380" y="64"/>
                  </a:cubicBezTo>
                  <a:cubicBezTo>
                    <a:pt x="142" y="128"/>
                    <a:pt x="0" y="373"/>
                    <a:pt x="64" y="612"/>
                  </a:cubicBezTo>
                  <a:cubicBezTo>
                    <a:pt x="128" y="850"/>
                    <a:pt x="373" y="992"/>
                    <a:pt x="611" y="928"/>
                  </a:cubicBezTo>
                  <a:cubicBezTo>
                    <a:pt x="850" y="864"/>
                    <a:pt x="991" y="619"/>
                    <a:pt x="927" y="380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7" name="Freeform 129">
              <a:extLst>
                <a:ext uri="{FF2B5EF4-FFF2-40B4-BE49-F238E27FC236}">
                  <a16:creationId xmlns:a16="http://schemas.microsoft.com/office/drawing/2014/main" id="{76992F36-66F6-44DB-A021-7010F27BB4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1238" y="482600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3942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8" name="Freeform 130">
              <a:extLst>
                <a:ext uri="{FF2B5EF4-FFF2-40B4-BE49-F238E27FC236}">
                  <a16:creationId xmlns:a16="http://schemas.microsoft.com/office/drawing/2014/main" id="{1FCA4E0A-8576-4808-AF50-D60DAA742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59413" y="4826001"/>
              <a:ext cx="630238" cy="595313"/>
            </a:xfrm>
            <a:custGeom>
              <a:avLst/>
              <a:gdLst>
                <a:gd name="T0" fmla="*/ 332 w 332"/>
                <a:gd name="T1" fmla="*/ 0 h 313"/>
                <a:gd name="T2" fmla="*/ 314 w 332"/>
                <a:gd name="T3" fmla="*/ 4 h 313"/>
                <a:gd name="T4" fmla="*/ 0 w 332"/>
                <a:gd name="T5" fmla="*/ 313 h 313"/>
                <a:gd name="T6" fmla="*/ 0 w 332"/>
                <a:gd name="T7" fmla="*/ 313 h 313"/>
                <a:gd name="T8" fmla="*/ 314 w 332"/>
                <a:gd name="T9" fmla="*/ 4 h 313"/>
                <a:gd name="T10" fmla="*/ 332 w 332"/>
                <a:gd name="T11" fmla="*/ 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2" h="313">
                  <a:moveTo>
                    <a:pt x="332" y="0"/>
                  </a:moveTo>
                  <a:cubicBezTo>
                    <a:pt x="326" y="1"/>
                    <a:pt x="320" y="3"/>
                    <a:pt x="314" y="4"/>
                  </a:cubicBezTo>
                  <a:cubicBezTo>
                    <a:pt x="157" y="46"/>
                    <a:pt x="42" y="167"/>
                    <a:pt x="0" y="313"/>
                  </a:cubicBezTo>
                  <a:cubicBezTo>
                    <a:pt x="0" y="313"/>
                    <a:pt x="0" y="313"/>
                    <a:pt x="0" y="313"/>
                  </a:cubicBezTo>
                  <a:cubicBezTo>
                    <a:pt x="42" y="167"/>
                    <a:pt x="157" y="46"/>
                    <a:pt x="314" y="4"/>
                  </a:cubicBezTo>
                  <a:cubicBezTo>
                    <a:pt x="320" y="3"/>
                    <a:pt x="326" y="1"/>
                    <a:pt x="332" y="0"/>
                  </a:cubicBezTo>
                </a:path>
              </a:pathLst>
            </a:custGeom>
            <a:solidFill>
              <a:srgbClr val="3942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9" name="Freeform 131">
              <a:extLst>
                <a:ext uri="{FF2B5EF4-FFF2-40B4-BE49-F238E27FC236}">
                  <a16:creationId xmlns:a16="http://schemas.microsoft.com/office/drawing/2014/main" id="{46F27CE7-6093-46DB-83B2-9F3BEAF31B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456238" y="5876926"/>
              <a:ext cx="11113" cy="33338"/>
            </a:xfrm>
            <a:custGeom>
              <a:avLst/>
              <a:gdLst>
                <a:gd name="T0" fmla="*/ 6 w 6"/>
                <a:gd name="T1" fmla="*/ 18 h 18"/>
                <a:gd name="T2" fmla="*/ 6 w 6"/>
                <a:gd name="T3" fmla="*/ 18 h 18"/>
                <a:gd name="T4" fmla="*/ 6 w 6"/>
                <a:gd name="T5" fmla="*/ 18 h 18"/>
                <a:gd name="T6" fmla="*/ 5 w 6"/>
                <a:gd name="T7" fmla="*/ 16 h 18"/>
                <a:gd name="T8" fmla="*/ 5 w 6"/>
                <a:gd name="T9" fmla="*/ 16 h 18"/>
                <a:gd name="T10" fmla="*/ 5 w 6"/>
                <a:gd name="T11" fmla="*/ 16 h 18"/>
                <a:gd name="T12" fmla="*/ 4 w 6"/>
                <a:gd name="T13" fmla="*/ 12 h 18"/>
                <a:gd name="T14" fmla="*/ 4 w 6"/>
                <a:gd name="T15" fmla="*/ 12 h 18"/>
                <a:gd name="T16" fmla="*/ 4 w 6"/>
                <a:gd name="T17" fmla="*/ 12 h 18"/>
                <a:gd name="T18" fmla="*/ 4 w 6"/>
                <a:gd name="T19" fmla="*/ 11 h 18"/>
                <a:gd name="T20" fmla="*/ 4 w 6"/>
                <a:gd name="T21" fmla="*/ 11 h 18"/>
                <a:gd name="T22" fmla="*/ 4 w 6"/>
                <a:gd name="T23" fmla="*/ 11 h 18"/>
                <a:gd name="T24" fmla="*/ 3 w 6"/>
                <a:gd name="T25" fmla="*/ 9 h 18"/>
                <a:gd name="T26" fmla="*/ 3 w 6"/>
                <a:gd name="T27" fmla="*/ 10 h 18"/>
                <a:gd name="T28" fmla="*/ 3 w 6"/>
                <a:gd name="T29" fmla="*/ 9 h 18"/>
                <a:gd name="T30" fmla="*/ 3 w 6"/>
                <a:gd name="T31" fmla="*/ 8 h 18"/>
                <a:gd name="T32" fmla="*/ 3 w 6"/>
                <a:gd name="T33" fmla="*/ 9 h 18"/>
                <a:gd name="T34" fmla="*/ 3 w 6"/>
                <a:gd name="T35" fmla="*/ 8 h 18"/>
                <a:gd name="T36" fmla="*/ 2 w 6"/>
                <a:gd name="T37" fmla="*/ 7 h 18"/>
                <a:gd name="T38" fmla="*/ 2 w 6"/>
                <a:gd name="T39" fmla="*/ 7 h 18"/>
                <a:gd name="T40" fmla="*/ 2 w 6"/>
                <a:gd name="T41" fmla="*/ 7 h 18"/>
                <a:gd name="T42" fmla="*/ 2 w 6"/>
                <a:gd name="T43" fmla="*/ 5 h 18"/>
                <a:gd name="T44" fmla="*/ 2 w 6"/>
                <a:gd name="T45" fmla="*/ 6 h 18"/>
                <a:gd name="T46" fmla="*/ 2 w 6"/>
                <a:gd name="T47" fmla="*/ 5 h 18"/>
                <a:gd name="T48" fmla="*/ 2 w 6"/>
                <a:gd name="T49" fmla="*/ 4 h 18"/>
                <a:gd name="T50" fmla="*/ 2 w 6"/>
                <a:gd name="T51" fmla="*/ 4 h 18"/>
                <a:gd name="T52" fmla="*/ 2 w 6"/>
                <a:gd name="T53" fmla="*/ 4 h 18"/>
                <a:gd name="T54" fmla="*/ 1 w 6"/>
                <a:gd name="T55" fmla="*/ 2 h 18"/>
                <a:gd name="T56" fmla="*/ 1 w 6"/>
                <a:gd name="T57" fmla="*/ 3 h 18"/>
                <a:gd name="T58" fmla="*/ 1 w 6"/>
                <a:gd name="T59" fmla="*/ 2 h 18"/>
                <a:gd name="T60" fmla="*/ 1 w 6"/>
                <a:gd name="T61" fmla="*/ 1 h 18"/>
                <a:gd name="T62" fmla="*/ 1 w 6"/>
                <a:gd name="T63" fmla="*/ 2 h 18"/>
                <a:gd name="T64" fmla="*/ 1 w 6"/>
                <a:gd name="T65" fmla="*/ 1 h 18"/>
                <a:gd name="T66" fmla="*/ 0 w 6"/>
                <a:gd name="T67" fmla="*/ 0 h 18"/>
                <a:gd name="T68" fmla="*/ 1 w 6"/>
                <a:gd name="T69" fmla="*/ 0 h 18"/>
                <a:gd name="T70" fmla="*/ 0 w 6"/>
                <a:gd name="T7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" h="18">
                  <a:moveTo>
                    <a:pt x="6" y="18"/>
                  </a:move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moveTo>
                    <a:pt x="5" y="16"/>
                  </a:move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moveTo>
                    <a:pt x="4" y="12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moveTo>
                    <a:pt x="4" y="11"/>
                  </a:move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moveTo>
                    <a:pt x="3" y="9"/>
                  </a:move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9"/>
                  </a:cubicBezTo>
                  <a:moveTo>
                    <a:pt x="3" y="8"/>
                  </a:moveTo>
                  <a:cubicBezTo>
                    <a:pt x="3" y="8"/>
                    <a:pt x="3" y="8"/>
                    <a:pt x="3" y="9"/>
                  </a:cubicBezTo>
                  <a:cubicBezTo>
                    <a:pt x="3" y="8"/>
                    <a:pt x="3" y="8"/>
                    <a:pt x="3" y="8"/>
                  </a:cubicBezTo>
                  <a:moveTo>
                    <a:pt x="2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moveTo>
                    <a:pt x="2" y="5"/>
                  </a:moveTo>
                  <a:cubicBezTo>
                    <a:pt x="2" y="5"/>
                    <a:pt x="2" y="5"/>
                    <a:pt x="2" y="6"/>
                  </a:cubicBezTo>
                  <a:cubicBezTo>
                    <a:pt x="2" y="5"/>
                    <a:pt x="2" y="5"/>
                    <a:pt x="2" y="5"/>
                  </a:cubicBezTo>
                  <a:moveTo>
                    <a:pt x="2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moveTo>
                    <a:pt x="1" y="2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2"/>
                  </a:cubicBezTo>
                  <a:moveTo>
                    <a:pt x="1" y="1"/>
                  </a:moveTo>
                  <a:cubicBezTo>
                    <a:pt x="1" y="1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0" name="Freeform 132">
              <a:extLst>
                <a:ext uri="{FF2B5EF4-FFF2-40B4-BE49-F238E27FC236}">
                  <a16:creationId xmlns:a16="http://schemas.microsoft.com/office/drawing/2014/main" id="{1D6A265B-9DE1-48F4-9008-6C5DAC0819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0513" y="4805363"/>
              <a:ext cx="1371600" cy="1577975"/>
            </a:xfrm>
            <a:custGeom>
              <a:avLst/>
              <a:gdLst>
                <a:gd name="T0" fmla="*/ 477 w 723"/>
                <a:gd name="T1" fmla="*/ 0 h 831"/>
                <a:gd name="T2" fmla="*/ 380 w 723"/>
                <a:gd name="T3" fmla="*/ 11 h 831"/>
                <a:gd name="T4" fmla="*/ 380 w 723"/>
                <a:gd name="T5" fmla="*/ 11 h 831"/>
                <a:gd name="T6" fmla="*/ 379 w 723"/>
                <a:gd name="T7" fmla="*/ 11 h 831"/>
                <a:gd name="T8" fmla="*/ 361 w 723"/>
                <a:gd name="T9" fmla="*/ 15 h 831"/>
                <a:gd name="T10" fmla="*/ 47 w 723"/>
                <a:gd name="T11" fmla="*/ 324 h 831"/>
                <a:gd name="T12" fmla="*/ 30 w 723"/>
                <a:gd name="T13" fmla="*/ 447 h 831"/>
                <a:gd name="T14" fmla="*/ 45 w 723"/>
                <a:gd name="T15" fmla="*/ 563 h 831"/>
                <a:gd name="T16" fmla="*/ 45 w 723"/>
                <a:gd name="T17" fmla="*/ 564 h 831"/>
                <a:gd name="T18" fmla="*/ 46 w 723"/>
                <a:gd name="T19" fmla="*/ 564 h 831"/>
                <a:gd name="T20" fmla="*/ 46 w 723"/>
                <a:gd name="T21" fmla="*/ 565 h 831"/>
                <a:gd name="T22" fmla="*/ 46 w 723"/>
                <a:gd name="T23" fmla="*/ 566 h 831"/>
                <a:gd name="T24" fmla="*/ 46 w 723"/>
                <a:gd name="T25" fmla="*/ 566 h 831"/>
                <a:gd name="T26" fmla="*/ 46 w 723"/>
                <a:gd name="T27" fmla="*/ 567 h 831"/>
                <a:gd name="T28" fmla="*/ 47 w 723"/>
                <a:gd name="T29" fmla="*/ 568 h 831"/>
                <a:gd name="T30" fmla="*/ 47 w 723"/>
                <a:gd name="T31" fmla="*/ 568 h 831"/>
                <a:gd name="T32" fmla="*/ 47 w 723"/>
                <a:gd name="T33" fmla="*/ 569 h 831"/>
                <a:gd name="T34" fmla="*/ 47 w 723"/>
                <a:gd name="T35" fmla="*/ 570 h 831"/>
                <a:gd name="T36" fmla="*/ 47 w 723"/>
                <a:gd name="T37" fmla="*/ 571 h 831"/>
                <a:gd name="T38" fmla="*/ 47 w 723"/>
                <a:gd name="T39" fmla="*/ 571 h 831"/>
                <a:gd name="T40" fmla="*/ 48 w 723"/>
                <a:gd name="T41" fmla="*/ 572 h 831"/>
                <a:gd name="T42" fmla="*/ 48 w 723"/>
                <a:gd name="T43" fmla="*/ 573 h 831"/>
                <a:gd name="T44" fmla="*/ 48 w 723"/>
                <a:gd name="T45" fmla="*/ 573 h 831"/>
                <a:gd name="T46" fmla="*/ 48 w 723"/>
                <a:gd name="T47" fmla="*/ 574 h 831"/>
                <a:gd name="T48" fmla="*/ 49 w 723"/>
                <a:gd name="T49" fmla="*/ 575 h 831"/>
                <a:gd name="T50" fmla="*/ 49 w 723"/>
                <a:gd name="T51" fmla="*/ 575 h 831"/>
                <a:gd name="T52" fmla="*/ 49 w 723"/>
                <a:gd name="T53" fmla="*/ 576 h 831"/>
                <a:gd name="T54" fmla="*/ 49 w 723"/>
                <a:gd name="T55" fmla="*/ 576 h 831"/>
                <a:gd name="T56" fmla="*/ 50 w 723"/>
                <a:gd name="T57" fmla="*/ 580 h 831"/>
                <a:gd name="T58" fmla="*/ 50 w 723"/>
                <a:gd name="T59" fmla="*/ 580 h 831"/>
                <a:gd name="T60" fmla="*/ 51 w 723"/>
                <a:gd name="T61" fmla="*/ 582 h 831"/>
                <a:gd name="T62" fmla="*/ 51 w 723"/>
                <a:gd name="T63" fmla="*/ 582 h 831"/>
                <a:gd name="T64" fmla="*/ 249 w 723"/>
                <a:gd name="T65" fmla="*/ 831 h 831"/>
                <a:gd name="T66" fmla="*/ 63 w 723"/>
                <a:gd name="T67" fmla="*/ 574 h 831"/>
                <a:gd name="T68" fmla="*/ 379 w 723"/>
                <a:gd name="T69" fmla="*/ 27 h 831"/>
                <a:gd name="T70" fmla="*/ 495 w 723"/>
                <a:gd name="T71" fmla="*/ 12 h 831"/>
                <a:gd name="T72" fmla="*/ 723 w 723"/>
                <a:gd name="T73" fmla="*/ 74 h 831"/>
                <a:gd name="T74" fmla="*/ 477 w 723"/>
                <a:gd name="T75" fmla="*/ 0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23" h="831">
                  <a:moveTo>
                    <a:pt x="477" y="0"/>
                  </a:moveTo>
                  <a:cubicBezTo>
                    <a:pt x="445" y="0"/>
                    <a:pt x="413" y="3"/>
                    <a:pt x="380" y="11"/>
                  </a:cubicBezTo>
                  <a:cubicBezTo>
                    <a:pt x="380" y="11"/>
                    <a:pt x="380" y="11"/>
                    <a:pt x="380" y="11"/>
                  </a:cubicBezTo>
                  <a:cubicBezTo>
                    <a:pt x="380" y="11"/>
                    <a:pt x="380" y="11"/>
                    <a:pt x="379" y="11"/>
                  </a:cubicBezTo>
                  <a:cubicBezTo>
                    <a:pt x="373" y="12"/>
                    <a:pt x="367" y="14"/>
                    <a:pt x="361" y="15"/>
                  </a:cubicBezTo>
                  <a:cubicBezTo>
                    <a:pt x="204" y="57"/>
                    <a:pt x="89" y="178"/>
                    <a:pt x="47" y="324"/>
                  </a:cubicBezTo>
                  <a:cubicBezTo>
                    <a:pt x="36" y="363"/>
                    <a:pt x="30" y="405"/>
                    <a:pt x="30" y="447"/>
                  </a:cubicBezTo>
                  <a:cubicBezTo>
                    <a:pt x="30" y="485"/>
                    <a:pt x="35" y="524"/>
                    <a:pt x="45" y="563"/>
                  </a:cubicBezTo>
                  <a:cubicBezTo>
                    <a:pt x="45" y="563"/>
                    <a:pt x="45" y="564"/>
                    <a:pt x="45" y="564"/>
                  </a:cubicBezTo>
                  <a:cubicBezTo>
                    <a:pt x="45" y="564"/>
                    <a:pt x="46" y="564"/>
                    <a:pt x="46" y="564"/>
                  </a:cubicBezTo>
                  <a:cubicBezTo>
                    <a:pt x="46" y="565"/>
                    <a:pt x="46" y="565"/>
                    <a:pt x="46" y="565"/>
                  </a:cubicBezTo>
                  <a:cubicBezTo>
                    <a:pt x="46" y="565"/>
                    <a:pt x="46" y="566"/>
                    <a:pt x="46" y="566"/>
                  </a:cubicBezTo>
                  <a:cubicBezTo>
                    <a:pt x="46" y="566"/>
                    <a:pt x="46" y="566"/>
                    <a:pt x="46" y="566"/>
                  </a:cubicBezTo>
                  <a:cubicBezTo>
                    <a:pt x="46" y="567"/>
                    <a:pt x="46" y="567"/>
                    <a:pt x="46" y="567"/>
                  </a:cubicBezTo>
                  <a:cubicBezTo>
                    <a:pt x="46" y="567"/>
                    <a:pt x="46" y="568"/>
                    <a:pt x="47" y="568"/>
                  </a:cubicBezTo>
                  <a:cubicBezTo>
                    <a:pt x="47" y="568"/>
                    <a:pt x="47" y="568"/>
                    <a:pt x="47" y="568"/>
                  </a:cubicBezTo>
                  <a:cubicBezTo>
                    <a:pt x="47" y="569"/>
                    <a:pt x="47" y="569"/>
                    <a:pt x="47" y="569"/>
                  </a:cubicBezTo>
                  <a:cubicBezTo>
                    <a:pt x="47" y="569"/>
                    <a:pt x="47" y="569"/>
                    <a:pt x="47" y="570"/>
                  </a:cubicBezTo>
                  <a:cubicBezTo>
                    <a:pt x="47" y="570"/>
                    <a:pt x="47" y="570"/>
                    <a:pt x="47" y="571"/>
                  </a:cubicBezTo>
                  <a:cubicBezTo>
                    <a:pt x="47" y="571"/>
                    <a:pt x="47" y="571"/>
                    <a:pt x="47" y="571"/>
                  </a:cubicBezTo>
                  <a:cubicBezTo>
                    <a:pt x="48" y="571"/>
                    <a:pt x="48" y="572"/>
                    <a:pt x="48" y="572"/>
                  </a:cubicBezTo>
                  <a:cubicBezTo>
                    <a:pt x="48" y="572"/>
                    <a:pt x="48" y="572"/>
                    <a:pt x="48" y="573"/>
                  </a:cubicBezTo>
                  <a:cubicBezTo>
                    <a:pt x="48" y="573"/>
                    <a:pt x="48" y="573"/>
                    <a:pt x="48" y="573"/>
                  </a:cubicBezTo>
                  <a:cubicBezTo>
                    <a:pt x="48" y="574"/>
                    <a:pt x="48" y="574"/>
                    <a:pt x="48" y="574"/>
                  </a:cubicBezTo>
                  <a:cubicBezTo>
                    <a:pt x="48" y="574"/>
                    <a:pt x="48" y="574"/>
                    <a:pt x="49" y="575"/>
                  </a:cubicBezTo>
                  <a:cubicBezTo>
                    <a:pt x="49" y="575"/>
                    <a:pt x="49" y="575"/>
                    <a:pt x="49" y="575"/>
                  </a:cubicBezTo>
                  <a:cubicBezTo>
                    <a:pt x="49" y="575"/>
                    <a:pt x="49" y="576"/>
                    <a:pt x="49" y="576"/>
                  </a:cubicBezTo>
                  <a:cubicBezTo>
                    <a:pt x="49" y="576"/>
                    <a:pt x="49" y="576"/>
                    <a:pt x="49" y="576"/>
                  </a:cubicBezTo>
                  <a:cubicBezTo>
                    <a:pt x="49" y="578"/>
                    <a:pt x="50" y="579"/>
                    <a:pt x="50" y="580"/>
                  </a:cubicBezTo>
                  <a:cubicBezTo>
                    <a:pt x="50" y="580"/>
                    <a:pt x="50" y="580"/>
                    <a:pt x="50" y="580"/>
                  </a:cubicBezTo>
                  <a:cubicBezTo>
                    <a:pt x="50" y="581"/>
                    <a:pt x="51" y="581"/>
                    <a:pt x="51" y="582"/>
                  </a:cubicBezTo>
                  <a:cubicBezTo>
                    <a:pt x="51" y="582"/>
                    <a:pt x="51" y="582"/>
                    <a:pt x="51" y="582"/>
                  </a:cubicBezTo>
                  <a:cubicBezTo>
                    <a:pt x="85" y="690"/>
                    <a:pt x="157" y="777"/>
                    <a:pt x="249" y="831"/>
                  </a:cubicBezTo>
                  <a:cubicBezTo>
                    <a:pt x="161" y="773"/>
                    <a:pt x="93" y="684"/>
                    <a:pt x="63" y="574"/>
                  </a:cubicBezTo>
                  <a:cubicBezTo>
                    <a:pt x="0" y="336"/>
                    <a:pt x="141" y="91"/>
                    <a:pt x="379" y="27"/>
                  </a:cubicBezTo>
                  <a:cubicBezTo>
                    <a:pt x="418" y="16"/>
                    <a:pt x="457" y="12"/>
                    <a:pt x="495" y="12"/>
                  </a:cubicBezTo>
                  <a:cubicBezTo>
                    <a:pt x="576" y="12"/>
                    <a:pt x="655" y="34"/>
                    <a:pt x="723" y="74"/>
                  </a:cubicBezTo>
                  <a:cubicBezTo>
                    <a:pt x="651" y="27"/>
                    <a:pt x="566" y="0"/>
                    <a:pt x="477" y="0"/>
                  </a:cubicBez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1" name="Rectangle 133">
              <a:extLst>
                <a:ext uri="{FF2B5EF4-FFF2-40B4-BE49-F238E27FC236}">
                  <a16:creationId xmlns:a16="http://schemas.microsoft.com/office/drawing/2014/main" id="{82DEC404-A594-4D99-8FDE-983F2AFE40A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752850" y="3963988"/>
              <a:ext cx="1431925" cy="434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altLang="zh-CN" sz="2200" b="0" i="0" u="none" strike="noStrike" cap="none" normalizeH="0" baseline="0" dirty="0">
                  <a:ln>
                    <a:noFill/>
                  </a:ln>
                  <a:solidFill>
                    <a:srgbClr val="242A50"/>
                  </a:solidFill>
                  <a:effectLst/>
                  <a:latin typeface="微软雅黑 Light" panose="020B0502040204020203" pitchFamily="34" charset="-122"/>
                  <a:ea typeface="微软雅黑 Light" panose="020B0502040204020203" pitchFamily="34" charset="-122"/>
                </a:rPr>
                <a:t>subtitle he</a:t>
              </a:r>
              <a:endParaRPr kumimoji="0" lang="zh-CN" altLang="zh-CN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2" name="Rectangle 134">
              <a:extLst>
                <a:ext uri="{FF2B5EF4-FFF2-40B4-BE49-F238E27FC236}">
                  <a16:creationId xmlns:a16="http://schemas.microsoft.com/office/drawing/2014/main" id="{AA68CEF8-ABF4-40EE-9FFE-337B2261884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022850" y="3963988"/>
              <a:ext cx="233363" cy="434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altLang="zh-CN" sz="2200" b="0" i="0" u="none" strike="noStrike" cap="none" normalizeH="0" baseline="0">
                  <a:ln>
                    <a:noFill/>
                  </a:ln>
                  <a:solidFill>
                    <a:srgbClr val="242A50"/>
                  </a:solidFill>
                  <a:effectLst/>
                  <a:latin typeface="微软雅黑 Light" panose="020B0502040204020203" pitchFamily="34" charset="-122"/>
                  <a:ea typeface="微软雅黑 Light" panose="020B0502040204020203" pitchFamily="34" charset="-122"/>
                </a:rPr>
                <a:t>r</a:t>
              </a:r>
              <a:endParaRPr kumimoji="0" lang="zh-CN" altLang="zh-CN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3" name="Rectangle 135">
              <a:extLst>
                <a:ext uri="{FF2B5EF4-FFF2-40B4-BE49-F238E27FC236}">
                  <a16:creationId xmlns:a16="http://schemas.microsoft.com/office/drawing/2014/main" id="{3BD6AA47-EEFF-4EAD-8EB7-752975F6613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16513" y="3963988"/>
              <a:ext cx="285750" cy="434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altLang="zh-CN" sz="2200" b="0" i="0" u="none" strike="noStrike" cap="none" normalizeH="0" baseline="0">
                  <a:ln>
                    <a:noFill/>
                  </a:ln>
                  <a:solidFill>
                    <a:srgbClr val="242A50"/>
                  </a:solidFill>
                  <a:effectLst/>
                  <a:latin typeface="微软雅黑 Light" panose="020B0502040204020203" pitchFamily="34" charset="-122"/>
                  <a:ea typeface="微软雅黑 Light" panose="020B0502040204020203" pitchFamily="34" charset="-122"/>
                </a:rPr>
                <a:t>e</a:t>
              </a:r>
              <a:endParaRPr kumimoji="0" lang="zh-CN" altLang="zh-CN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2" name="矩形 1">
            <a:extLst>
              <a:ext uri="{FF2B5EF4-FFF2-40B4-BE49-F238E27FC236}">
                <a16:creationId xmlns:a16="http://schemas.microsoft.com/office/drawing/2014/main" id="{429D0576-B63E-4B93-9F37-C44FD9C112C5}"/>
              </a:ext>
            </a:extLst>
          </p:cNvPr>
          <p:cNvSpPr/>
          <p:nvPr userDrawn="1"/>
        </p:nvSpPr>
        <p:spPr>
          <a:xfrm>
            <a:off x="3347244" y="3767138"/>
            <a:ext cx="2598738" cy="4723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2577504" y="3265423"/>
            <a:ext cx="3919538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2575122" y="2064591"/>
            <a:ext cx="3921920" cy="1166812"/>
          </a:xfrm>
        </p:spPr>
        <p:txBody>
          <a:bodyPr anchor="ctr">
            <a:normAutofit/>
          </a:bodyPr>
          <a:lstStyle>
            <a:lvl1pPr algn="ctr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575122" y="4180752"/>
            <a:ext cx="392192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200" b="0">
                <a:solidFill>
                  <a:schemeClr val="bg1"/>
                </a:solidFill>
              </a:defRPr>
            </a:lvl1pPr>
            <a:lvl2pPr marL="342883" indent="0">
              <a:buNone/>
              <a:defRPr/>
            </a:lvl2pPr>
            <a:lvl3pPr marL="685765" indent="0">
              <a:buNone/>
              <a:defRPr/>
            </a:lvl3pPr>
            <a:lvl4pPr marL="1028648" indent="0">
              <a:buNone/>
              <a:defRPr/>
            </a:lvl4pPr>
            <a:lvl5pPr marL="1371532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575122" y="4477023"/>
            <a:ext cx="392192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200" b="0">
                <a:solidFill>
                  <a:schemeClr val="bg1"/>
                </a:solidFill>
              </a:defRPr>
            </a:lvl1pPr>
            <a:lvl2pPr marL="342883" indent="0">
              <a:buNone/>
              <a:defRPr/>
            </a:lvl2pPr>
            <a:lvl3pPr marL="685765" indent="0">
              <a:buNone/>
              <a:defRPr/>
            </a:lvl3pPr>
            <a:lvl4pPr marL="1028648" indent="0">
              <a:buNone/>
              <a:defRPr/>
            </a:lvl4pPr>
            <a:lvl5pPr marL="1371532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F4758B24-9DAB-4575-9AEF-6745F34F02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4000" y="0"/>
            <a:ext cx="12192000" cy="6858000"/>
          </a:xfrm>
          <a:prstGeom prst="rect">
            <a:avLst/>
          </a:prstGeom>
        </p:spPr>
      </p:pic>
      <p:grpSp>
        <p:nvGrpSpPr>
          <p:cNvPr id="45" name="组合 44">
            <a:extLst>
              <a:ext uri="{FF2B5EF4-FFF2-40B4-BE49-F238E27FC236}">
                <a16:creationId xmlns:a16="http://schemas.microsoft.com/office/drawing/2014/main" id="{1F4BF741-425B-4D41-964F-947F4D61E26B}"/>
              </a:ext>
            </a:extLst>
          </p:cNvPr>
          <p:cNvGrpSpPr/>
          <p:nvPr userDrawn="1"/>
        </p:nvGrpSpPr>
        <p:grpSpPr>
          <a:xfrm>
            <a:off x="246743" y="1582600"/>
            <a:ext cx="4993104" cy="3692798"/>
            <a:chOff x="239714" y="754856"/>
            <a:chExt cx="7231524" cy="5348288"/>
          </a:xfrm>
        </p:grpSpPr>
        <p:sp>
          <p:nvSpPr>
            <p:cNvPr id="51" name="Freeform 99">
              <a:extLst>
                <a:ext uri="{FF2B5EF4-FFF2-40B4-BE49-F238E27FC236}">
                  <a16:creationId xmlns:a16="http://schemas.microsoft.com/office/drawing/2014/main" id="{152D4E9E-88AD-48DB-95B9-33E11ED75E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6088" y="4485946"/>
              <a:ext cx="682788" cy="564840"/>
            </a:xfrm>
            <a:custGeom>
              <a:avLst/>
              <a:gdLst>
                <a:gd name="T0" fmla="*/ 82 w 436"/>
                <a:gd name="T1" fmla="*/ 59 h 361"/>
                <a:gd name="T2" fmla="*/ 75 w 436"/>
                <a:gd name="T3" fmla="*/ 294 h 361"/>
                <a:gd name="T4" fmla="*/ 357 w 436"/>
                <a:gd name="T5" fmla="*/ 296 h 361"/>
                <a:gd name="T6" fmla="*/ 355 w 436"/>
                <a:gd name="T7" fmla="*/ 299 h 361"/>
                <a:gd name="T8" fmla="*/ 348 w 436"/>
                <a:gd name="T9" fmla="*/ 59 h 361"/>
                <a:gd name="T10" fmla="*/ 75 w 436"/>
                <a:gd name="T11" fmla="*/ 65 h 361"/>
                <a:gd name="T12" fmla="*/ 82 w 436"/>
                <a:gd name="T13" fmla="*/ 59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6" h="361">
                  <a:moveTo>
                    <a:pt x="82" y="59"/>
                  </a:moveTo>
                  <a:cubicBezTo>
                    <a:pt x="6" y="123"/>
                    <a:pt x="0" y="229"/>
                    <a:pt x="75" y="294"/>
                  </a:cubicBezTo>
                  <a:cubicBezTo>
                    <a:pt x="152" y="361"/>
                    <a:pt x="279" y="361"/>
                    <a:pt x="357" y="296"/>
                  </a:cubicBezTo>
                  <a:cubicBezTo>
                    <a:pt x="355" y="299"/>
                    <a:pt x="355" y="299"/>
                    <a:pt x="355" y="299"/>
                  </a:cubicBezTo>
                  <a:cubicBezTo>
                    <a:pt x="436" y="232"/>
                    <a:pt x="432" y="123"/>
                    <a:pt x="348" y="59"/>
                  </a:cubicBezTo>
                  <a:cubicBezTo>
                    <a:pt x="270" y="0"/>
                    <a:pt x="150" y="3"/>
                    <a:pt x="75" y="65"/>
                  </a:cubicBezTo>
                  <a:lnTo>
                    <a:pt x="82" y="5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" name="Freeform 100">
              <a:extLst>
                <a:ext uri="{FF2B5EF4-FFF2-40B4-BE49-F238E27FC236}">
                  <a16:creationId xmlns:a16="http://schemas.microsoft.com/office/drawing/2014/main" id="{3D7B7908-CF7C-47F5-8507-473B0D4C2B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8819" y="4554093"/>
              <a:ext cx="269970" cy="224102"/>
            </a:xfrm>
            <a:custGeom>
              <a:avLst/>
              <a:gdLst>
                <a:gd name="T0" fmla="*/ 32 w 172"/>
                <a:gd name="T1" fmla="*/ 23 h 143"/>
                <a:gd name="T2" fmla="*/ 29 w 172"/>
                <a:gd name="T3" fmla="*/ 116 h 143"/>
                <a:gd name="T4" fmla="*/ 141 w 172"/>
                <a:gd name="T5" fmla="*/ 117 h 143"/>
                <a:gd name="T6" fmla="*/ 140 w 172"/>
                <a:gd name="T7" fmla="*/ 119 h 143"/>
                <a:gd name="T8" fmla="*/ 137 w 172"/>
                <a:gd name="T9" fmla="*/ 23 h 143"/>
                <a:gd name="T10" fmla="*/ 29 w 172"/>
                <a:gd name="T11" fmla="*/ 26 h 143"/>
                <a:gd name="T12" fmla="*/ 32 w 172"/>
                <a:gd name="T13" fmla="*/ 2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2" h="143">
                  <a:moveTo>
                    <a:pt x="32" y="23"/>
                  </a:moveTo>
                  <a:cubicBezTo>
                    <a:pt x="2" y="49"/>
                    <a:pt x="0" y="90"/>
                    <a:pt x="29" y="116"/>
                  </a:cubicBezTo>
                  <a:cubicBezTo>
                    <a:pt x="60" y="143"/>
                    <a:pt x="110" y="143"/>
                    <a:pt x="141" y="117"/>
                  </a:cubicBezTo>
                  <a:cubicBezTo>
                    <a:pt x="140" y="119"/>
                    <a:pt x="140" y="119"/>
                    <a:pt x="140" y="119"/>
                  </a:cubicBezTo>
                  <a:cubicBezTo>
                    <a:pt x="172" y="92"/>
                    <a:pt x="171" y="48"/>
                    <a:pt x="137" y="23"/>
                  </a:cubicBezTo>
                  <a:cubicBezTo>
                    <a:pt x="106" y="0"/>
                    <a:pt x="59" y="1"/>
                    <a:pt x="29" y="26"/>
                  </a:cubicBezTo>
                  <a:lnTo>
                    <a:pt x="32" y="2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" name="Freeform 101">
              <a:extLst>
                <a:ext uri="{FF2B5EF4-FFF2-40B4-BE49-F238E27FC236}">
                  <a16:creationId xmlns:a16="http://schemas.microsoft.com/office/drawing/2014/main" id="{CA35C81D-479E-4103-A727-76A1332609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2020" y="841351"/>
              <a:ext cx="6627368" cy="4964301"/>
            </a:xfrm>
            <a:custGeom>
              <a:avLst/>
              <a:gdLst>
                <a:gd name="T0" fmla="*/ 3931 w 4229"/>
                <a:gd name="T1" fmla="*/ 1815 h 3167"/>
                <a:gd name="T2" fmla="*/ 3787 w 4229"/>
                <a:gd name="T3" fmla="*/ 1695 h 3167"/>
                <a:gd name="T4" fmla="*/ 4078 w 4229"/>
                <a:gd name="T5" fmla="*/ 1302 h 3167"/>
                <a:gd name="T6" fmla="*/ 3657 w 4229"/>
                <a:gd name="T7" fmla="*/ 1502 h 3167"/>
                <a:gd name="T8" fmla="*/ 3536 w 4229"/>
                <a:gd name="T9" fmla="*/ 1401 h 3167"/>
                <a:gd name="T10" fmla="*/ 3643 w 4229"/>
                <a:gd name="T11" fmla="*/ 1182 h 3167"/>
                <a:gd name="T12" fmla="*/ 4067 w 4229"/>
                <a:gd name="T13" fmla="*/ 692 h 3167"/>
                <a:gd name="T14" fmla="*/ 3884 w 4229"/>
                <a:gd name="T15" fmla="*/ 539 h 3167"/>
                <a:gd name="T16" fmla="*/ 3611 w 4229"/>
                <a:gd name="T17" fmla="*/ 714 h 3167"/>
                <a:gd name="T18" fmla="*/ 3652 w 4229"/>
                <a:gd name="T19" fmla="*/ 626 h 3167"/>
                <a:gd name="T20" fmla="*/ 3466 w 4229"/>
                <a:gd name="T21" fmla="*/ 471 h 3167"/>
                <a:gd name="T22" fmla="*/ 3238 w 4229"/>
                <a:gd name="T23" fmla="*/ 515 h 3167"/>
                <a:gd name="T24" fmla="*/ 3280 w 4229"/>
                <a:gd name="T25" fmla="*/ 334 h 3167"/>
                <a:gd name="T26" fmla="*/ 2966 w 4229"/>
                <a:gd name="T27" fmla="*/ 72 h 3167"/>
                <a:gd name="T28" fmla="*/ 2492 w 4229"/>
                <a:gd name="T29" fmla="*/ 391 h 3167"/>
                <a:gd name="T30" fmla="*/ 2580 w 4229"/>
                <a:gd name="T31" fmla="*/ 240 h 3167"/>
                <a:gd name="T32" fmla="*/ 2392 w 4229"/>
                <a:gd name="T33" fmla="*/ 83 h 3167"/>
                <a:gd name="T34" fmla="*/ 1992 w 4229"/>
                <a:gd name="T35" fmla="*/ 249 h 3167"/>
                <a:gd name="T36" fmla="*/ 1476 w 4229"/>
                <a:gd name="T37" fmla="*/ 511 h 3167"/>
                <a:gd name="T38" fmla="*/ 1314 w 4229"/>
                <a:gd name="T39" fmla="*/ 376 h 3167"/>
                <a:gd name="T40" fmla="*/ 1414 w 4229"/>
                <a:gd name="T41" fmla="*/ 112 h 3167"/>
                <a:gd name="T42" fmla="*/ 213 w 4229"/>
                <a:gd name="T43" fmla="*/ 900 h 3167"/>
                <a:gd name="T44" fmla="*/ 217 w 4229"/>
                <a:gd name="T45" fmla="*/ 1240 h 3167"/>
                <a:gd name="T46" fmla="*/ 217 w 4229"/>
                <a:gd name="T47" fmla="*/ 1575 h 3167"/>
                <a:gd name="T48" fmla="*/ 144 w 4229"/>
                <a:gd name="T49" fmla="*/ 1828 h 3167"/>
                <a:gd name="T50" fmla="*/ 558 w 4229"/>
                <a:gd name="T51" fmla="*/ 1676 h 3167"/>
                <a:gd name="T52" fmla="*/ 637 w 4229"/>
                <a:gd name="T53" fmla="*/ 1742 h 3167"/>
                <a:gd name="T54" fmla="*/ 66 w 4229"/>
                <a:gd name="T55" fmla="*/ 2417 h 3167"/>
                <a:gd name="T56" fmla="*/ 997 w 4229"/>
                <a:gd name="T57" fmla="*/ 1838 h 3167"/>
                <a:gd name="T58" fmla="*/ 1113 w 4229"/>
                <a:gd name="T59" fmla="*/ 1934 h 3167"/>
                <a:gd name="T60" fmla="*/ 719 w 4229"/>
                <a:gd name="T61" fmla="*/ 2408 h 3167"/>
                <a:gd name="T62" fmla="*/ 1179 w 4229"/>
                <a:gd name="T63" fmla="*/ 2169 h 3167"/>
                <a:gd name="T64" fmla="*/ 1319 w 4229"/>
                <a:gd name="T65" fmla="*/ 2285 h 3167"/>
                <a:gd name="T66" fmla="*/ 1319 w 4229"/>
                <a:gd name="T67" fmla="*/ 2585 h 3167"/>
                <a:gd name="T68" fmla="*/ 1138 w 4229"/>
                <a:gd name="T69" fmla="*/ 2912 h 3167"/>
                <a:gd name="T70" fmla="*/ 1692 w 4229"/>
                <a:gd name="T71" fmla="*/ 2630 h 3167"/>
                <a:gd name="T72" fmla="*/ 1968 w 4229"/>
                <a:gd name="T73" fmla="*/ 2628 h 3167"/>
                <a:gd name="T74" fmla="*/ 1968 w 4229"/>
                <a:gd name="T75" fmla="*/ 2866 h 3167"/>
                <a:gd name="T76" fmla="*/ 2254 w 4229"/>
                <a:gd name="T77" fmla="*/ 3101 h 3167"/>
                <a:gd name="T78" fmla="*/ 2610 w 4229"/>
                <a:gd name="T79" fmla="*/ 2979 h 3167"/>
                <a:gd name="T80" fmla="*/ 4185 w 4229"/>
                <a:gd name="T81" fmla="*/ 1872 h 3167"/>
                <a:gd name="T82" fmla="*/ 4024 w 4229"/>
                <a:gd name="T83" fmla="*/ 1738 h 3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29" h="3167">
                  <a:moveTo>
                    <a:pt x="4024" y="1738"/>
                  </a:moveTo>
                  <a:cubicBezTo>
                    <a:pt x="3931" y="1815"/>
                    <a:pt x="3931" y="1815"/>
                    <a:pt x="3931" y="1815"/>
                  </a:cubicBezTo>
                  <a:cubicBezTo>
                    <a:pt x="3891" y="1848"/>
                    <a:pt x="3827" y="1848"/>
                    <a:pt x="3787" y="1815"/>
                  </a:cubicBezTo>
                  <a:cubicBezTo>
                    <a:pt x="3748" y="1782"/>
                    <a:pt x="3748" y="1729"/>
                    <a:pt x="3787" y="1695"/>
                  </a:cubicBezTo>
                  <a:cubicBezTo>
                    <a:pt x="4078" y="1453"/>
                    <a:pt x="4078" y="1453"/>
                    <a:pt x="4078" y="1453"/>
                  </a:cubicBezTo>
                  <a:cubicBezTo>
                    <a:pt x="4128" y="1411"/>
                    <a:pt x="4128" y="1344"/>
                    <a:pt x="4078" y="1302"/>
                  </a:cubicBezTo>
                  <a:cubicBezTo>
                    <a:pt x="4028" y="1260"/>
                    <a:pt x="3947" y="1260"/>
                    <a:pt x="3897" y="1302"/>
                  </a:cubicBezTo>
                  <a:cubicBezTo>
                    <a:pt x="3657" y="1502"/>
                    <a:pt x="3657" y="1502"/>
                    <a:pt x="3657" y="1502"/>
                  </a:cubicBezTo>
                  <a:cubicBezTo>
                    <a:pt x="3624" y="1530"/>
                    <a:pt x="3570" y="1530"/>
                    <a:pt x="3536" y="1502"/>
                  </a:cubicBezTo>
                  <a:cubicBezTo>
                    <a:pt x="3503" y="1474"/>
                    <a:pt x="3503" y="1429"/>
                    <a:pt x="3536" y="1401"/>
                  </a:cubicBezTo>
                  <a:cubicBezTo>
                    <a:pt x="3643" y="1311"/>
                    <a:pt x="3643" y="1311"/>
                    <a:pt x="3643" y="1311"/>
                  </a:cubicBezTo>
                  <a:cubicBezTo>
                    <a:pt x="3686" y="1276"/>
                    <a:pt x="3686" y="1218"/>
                    <a:pt x="3643" y="1182"/>
                  </a:cubicBezTo>
                  <a:cubicBezTo>
                    <a:pt x="3598" y="1145"/>
                    <a:pt x="3598" y="1084"/>
                    <a:pt x="3643" y="1047"/>
                  </a:cubicBezTo>
                  <a:cubicBezTo>
                    <a:pt x="4067" y="692"/>
                    <a:pt x="4067" y="692"/>
                    <a:pt x="4067" y="692"/>
                  </a:cubicBezTo>
                  <a:cubicBezTo>
                    <a:pt x="4118" y="650"/>
                    <a:pt x="4118" y="582"/>
                    <a:pt x="4067" y="539"/>
                  </a:cubicBezTo>
                  <a:cubicBezTo>
                    <a:pt x="4017" y="497"/>
                    <a:pt x="3935" y="497"/>
                    <a:pt x="3884" y="539"/>
                  </a:cubicBezTo>
                  <a:cubicBezTo>
                    <a:pt x="3675" y="714"/>
                    <a:pt x="3675" y="714"/>
                    <a:pt x="3675" y="714"/>
                  </a:cubicBezTo>
                  <a:cubicBezTo>
                    <a:pt x="3657" y="729"/>
                    <a:pt x="3629" y="729"/>
                    <a:pt x="3611" y="714"/>
                  </a:cubicBezTo>
                  <a:cubicBezTo>
                    <a:pt x="3593" y="699"/>
                    <a:pt x="3593" y="675"/>
                    <a:pt x="3611" y="660"/>
                  </a:cubicBezTo>
                  <a:cubicBezTo>
                    <a:pt x="3652" y="626"/>
                    <a:pt x="3652" y="626"/>
                    <a:pt x="3652" y="626"/>
                  </a:cubicBezTo>
                  <a:cubicBezTo>
                    <a:pt x="3703" y="583"/>
                    <a:pt x="3703" y="514"/>
                    <a:pt x="3652" y="471"/>
                  </a:cubicBezTo>
                  <a:cubicBezTo>
                    <a:pt x="3600" y="428"/>
                    <a:pt x="3517" y="428"/>
                    <a:pt x="3466" y="471"/>
                  </a:cubicBezTo>
                  <a:cubicBezTo>
                    <a:pt x="3413" y="515"/>
                    <a:pt x="3413" y="515"/>
                    <a:pt x="3413" y="515"/>
                  </a:cubicBezTo>
                  <a:cubicBezTo>
                    <a:pt x="3365" y="555"/>
                    <a:pt x="3286" y="555"/>
                    <a:pt x="3238" y="515"/>
                  </a:cubicBezTo>
                  <a:cubicBezTo>
                    <a:pt x="3190" y="475"/>
                    <a:pt x="3190" y="409"/>
                    <a:pt x="3238" y="369"/>
                  </a:cubicBezTo>
                  <a:cubicBezTo>
                    <a:pt x="3280" y="334"/>
                    <a:pt x="3280" y="334"/>
                    <a:pt x="3280" y="334"/>
                  </a:cubicBezTo>
                  <a:cubicBezTo>
                    <a:pt x="3366" y="262"/>
                    <a:pt x="3366" y="144"/>
                    <a:pt x="3280" y="72"/>
                  </a:cubicBezTo>
                  <a:cubicBezTo>
                    <a:pt x="3193" y="0"/>
                    <a:pt x="3053" y="0"/>
                    <a:pt x="2966" y="72"/>
                  </a:cubicBezTo>
                  <a:cubicBezTo>
                    <a:pt x="2584" y="391"/>
                    <a:pt x="2584" y="391"/>
                    <a:pt x="2584" y="391"/>
                  </a:cubicBezTo>
                  <a:cubicBezTo>
                    <a:pt x="2558" y="413"/>
                    <a:pt x="2517" y="413"/>
                    <a:pt x="2492" y="391"/>
                  </a:cubicBezTo>
                  <a:cubicBezTo>
                    <a:pt x="2466" y="370"/>
                    <a:pt x="2466" y="335"/>
                    <a:pt x="2492" y="314"/>
                  </a:cubicBezTo>
                  <a:cubicBezTo>
                    <a:pt x="2580" y="240"/>
                    <a:pt x="2580" y="240"/>
                    <a:pt x="2580" y="240"/>
                  </a:cubicBezTo>
                  <a:cubicBezTo>
                    <a:pt x="2632" y="197"/>
                    <a:pt x="2632" y="126"/>
                    <a:pt x="2580" y="83"/>
                  </a:cubicBezTo>
                  <a:cubicBezTo>
                    <a:pt x="2528" y="40"/>
                    <a:pt x="2444" y="40"/>
                    <a:pt x="2392" y="83"/>
                  </a:cubicBezTo>
                  <a:cubicBezTo>
                    <a:pt x="2194" y="249"/>
                    <a:pt x="2194" y="249"/>
                    <a:pt x="2194" y="249"/>
                  </a:cubicBezTo>
                  <a:cubicBezTo>
                    <a:pt x="2138" y="295"/>
                    <a:pt x="2048" y="295"/>
                    <a:pt x="1992" y="249"/>
                  </a:cubicBezTo>
                  <a:cubicBezTo>
                    <a:pt x="1937" y="202"/>
                    <a:pt x="1846" y="202"/>
                    <a:pt x="1791" y="249"/>
                  </a:cubicBezTo>
                  <a:cubicBezTo>
                    <a:pt x="1476" y="511"/>
                    <a:pt x="1476" y="511"/>
                    <a:pt x="1476" y="511"/>
                  </a:cubicBezTo>
                  <a:cubicBezTo>
                    <a:pt x="1431" y="549"/>
                    <a:pt x="1359" y="549"/>
                    <a:pt x="1314" y="511"/>
                  </a:cubicBezTo>
                  <a:cubicBezTo>
                    <a:pt x="1269" y="474"/>
                    <a:pt x="1269" y="414"/>
                    <a:pt x="1314" y="376"/>
                  </a:cubicBezTo>
                  <a:cubicBezTo>
                    <a:pt x="1414" y="293"/>
                    <a:pt x="1414" y="293"/>
                    <a:pt x="1414" y="293"/>
                  </a:cubicBezTo>
                  <a:cubicBezTo>
                    <a:pt x="1474" y="243"/>
                    <a:pt x="1474" y="162"/>
                    <a:pt x="1414" y="112"/>
                  </a:cubicBezTo>
                  <a:cubicBezTo>
                    <a:pt x="1355" y="62"/>
                    <a:pt x="1260" y="62"/>
                    <a:pt x="1200" y="110"/>
                  </a:cubicBezTo>
                  <a:cubicBezTo>
                    <a:pt x="213" y="900"/>
                    <a:pt x="213" y="900"/>
                    <a:pt x="213" y="900"/>
                  </a:cubicBezTo>
                  <a:cubicBezTo>
                    <a:pt x="154" y="947"/>
                    <a:pt x="154" y="1027"/>
                    <a:pt x="214" y="1074"/>
                  </a:cubicBezTo>
                  <a:cubicBezTo>
                    <a:pt x="271" y="1119"/>
                    <a:pt x="273" y="1194"/>
                    <a:pt x="217" y="1240"/>
                  </a:cubicBezTo>
                  <a:cubicBezTo>
                    <a:pt x="164" y="1285"/>
                    <a:pt x="164" y="1357"/>
                    <a:pt x="217" y="1402"/>
                  </a:cubicBezTo>
                  <a:cubicBezTo>
                    <a:pt x="274" y="1450"/>
                    <a:pt x="274" y="1527"/>
                    <a:pt x="217" y="1575"/>
                  </a:cubicBezTo>
                  <a:cubicBezTo>
                    <a:pt x="144" y="1636"/>
                    <a:pt x="144" y="1636"/>
                    <a:pt x="144" y="1636"/>
                  </a:cubicBezTo>
                  <a:cubicBezTo>
                    <a:pt x="81" y="1689"/>
                    <a:pt x="81" y="1775"/>
                    <a:pt x="144" y="1828"/>
                  </a:cubicBezTo>
                  <a:cubicBezTo>
                    <a:pt x="208" y="1881"/>
                    <a:pt x="311" y="1881"/>
                    <a:pt x="375" y="1828"/>
                  </a:cubicBezTo>
                  <a:cubicBezTo>
                    <a:pt x="558" y="1676"/>
                    <a:pt x="558" y="1676"/>
                    <a:pt x="558" y="1676"/>
                  </a:cubicBezTo>
                  <a:cubicBezTo>
                    <a:pt x="579" y="1657"/>
                    <a:pt x="615" y="1657"/>
                    <a:pt x="637" y="1676"/>
                  </a:cubicBezTo>
                  <a:cubicBezTo>
                    <a:pt x="659" y="1694"/>
                    <a:pt x="659" y="1724"/>
                    <a:pt x="637" y="1742"/>
                  </a:cubicBezTo>
                  <a:cubicBezTo>
                    <a:pt x="66" y="2219"/>
                    <a:pt x="66" y="2219"/>
                    <a:pt x="66" y="2219"/>
                  </a:cubicBezTo>
                  <a:cubicBezTo>
                    <a:pt x="0" y="2274"/>
                    <a:pt x="0" y="2363"/>
                    <a:pt x="66" y="2417"/>
                  </a:cubicBezTo>
                  <a:cubicBezTo>
                    <a:pt x="131" y="2472"/>
                    <a:pt x="238" y="2472"/>
                    <a:pt x="303" y="2417"/>
                  </a:cubicBezTo>
                  <a:cubicBezTo>
                    <a:pt x="997" y="1838"/>
                    <a:pt x="997" y="1838"/>
                    <a:pt x="997" y="1838"/>
                  </a:cubicBezTo>
                  <a:cubicBezTo>
                    <a:pt x="1029" y="1811"/>
                    <a:pt x="1081" y="1811"/>
                    <a:pt x="1113" y="1838"/>
                  </a:cubicBezTo>
                  <a:cubicBezTo>
                    <a:pt x="1144" y="1864"/>
                    <a:pt x="1144" y="1907"/>
                    <a:pt x="1113" y="1934"/>
                  </a:cubicBezTo>
                  <a:cubicBezTo>
                    <a:pt x="719" y="2263"/>
                    <a:pt x="719" y="2263"/>
                    <a:pt x="719" y="2263"/>
                  </a:cubicBezTo>
                  <a:cubicBezTo>
                    <a:pt x="671" y="2303"/>
                    <a:pt x="671" y="2368"/>
                    <a:pt x="719" y="2408"/>
                  </a:cubicBezTo>
                  <a:cubicBezTo>
                    <a:pt x="767" y="2448"/>
                    <a:pt x="845" y="2448"/>
                    <a:pt x="893" y="2408"/>
                  </a:cubicBezTo>
                  <a:cubicBezTo>
                    <a:pt x="1179" y="2169"/>
                    <a:pt x="1179" y="2169"/>
                    <a:pt x="1179" y="2169"/>
                  </a:cubicBezTo>
                  <a:cubicBezTo>
                    <a:pt x="1218" y="2137"/>
                    <a:pt x="1280" y="2137"/>
                    <a:pt x="1319" y="2169"/>
                  </a:cubicBezTo>
                  <a:cubicBezTo>
                    <a:pt x="1357" y="2201"/>
                    <a:pt x="1357" y="2253"/>
                    <a:pt x="1319" y="2285"/>
                  </a:cubicBezTo>
                  <a:cubicBezTo>
                    <a:pt x="1262" y="2332"/>
                    <a:pt x="1262" y="2409"/>
                    <a:pt x="1319" y="2457"/>
                  </a:cubicBezTo>
                  <a:cubicBezTo>
                    <a:pt x="1361" y="2492"/>
                    <a:pt x="1361" y="2549"/>
                    <a:pt x="1319" y="2585"/>
                  </a:cubicBezTo>
                  <a:cubicBezTo>
                    <a:pt x="1138" y="2735"/>
                    <a:pt x="1138" y="2735"/>
                    <a:pt x="1138" y="2735"/>
                  </a:cubicBezTo>
                  <a:cubicBezTo>
                    <a:pt x="1080" y="2784"/>
                    <a:pt x="1080" y="2863"/>
                    <a:pt x="1138" y="2912"/>
                  </a:cubicBezTo>
                  <a:cubicBezTo>
                    <a:pt x="1197" y="2961"/>
                    <a:pt x="1292" y="2961"/>
                    <a:pt x="1350" y="2912"/>
                  </a:cubicBezTo>
                  <a:cubicBezTo>
                    <a:pt x="1692" y="2630"/>
                    <a:pt x="1692" y="2630"/>
                    <a:pt x="1692" y="2630"/>
                  </a:cubicBezTo>
                  <a:cubicBezTo>
                    <a:pt x="1768" y="2567"/>
                    <a:pt x="1890" y="2567"/>
                    <a:pt x="1968" y="2628"/>
                  </a:cubicBezTo>
                  <a:cubicBezTo>
                    <a:pt x="1968" y="2628"/>
                    <a:pt x="1968" y="2628"/>
                    <a:pt x="1968" y="2628"/>
                  </a:cubicBezTo>
                  <a:cubicBezTo>
                    <a:pt x="2047" y="2692"/>
                    <a:pt x="2049" y="2797"/>
                    <a:pt x="1972" y="2863"/>
                  </a:cubicBezTo>
                  <a:cubicBezTo>
                    <a:pt x="1968" y="2866"/>
                    <a:pt x="1968" y="2866"/>
                    <a:pt x="1968" y="2866"/>
                  </a:cubicBezTo>
                  <a:cubicBezTo>
                    <a:pt x="1892" y="2932"/>
                    <a:pt x="1893" y="3037"/>
                    <a:pt x="1970" y="3101"/>
                  </a:cubicBezTo>
                  <a:cubicBezTo>
                    <a:pt x="2049" y="3167"/>
                    <a:pt x="2176" y="3167"/>
                    <a:pt x="2254" y="3101"/>
                  </a:cubicBezTo>
                  <a:cubicBezTo>
                    <a:pt x="2401" y="2979"/>
                    <a:pt x="2401" y="2979"/>
                    <a:pt x="2401" y="2979"/>
                  </a:cubicBezTo>
                  <a:cubicBezTo>
                    <a:pt x="2459" y="2931"/>
                    <a:pt x="2553" y="2931"/>
                    <a:pt x="2610" y="2979"/>
                  </a:cubicBezTo>
                  <a:cubicBezTo>
                    <a:pt x="2679" y="3036"/>
                    <a:pt x="2791" y="3036"/>
                    <a:pt x="2860" y="2979"/>
                  </a:cubicBezTo>
                  <a:cubicBezTo>
                    <a:pt x="4185" y="1872"/>
                    <a:pt x="4185" y="1872"/>
                    <a:pt x="4185" y="1872"/>
                  </a:cubicBezTo>
                  <a:cubicBezTo>
                    <a:pt x="4229" y="1835"/>
                    <a:pt x="4229" y="1775"/>
                    <a:pt x="4185" y="1738"/>
                  </a:cubicBezTo>
                  <a:cubicBezTo>
                    <a:pt x="4140" y="1701"/>
                    <a:pt x="4068" y="1701"/>
                    <a:pt x="4024" y="1738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" name="Freeform 102">
              <a:extLst>
                <a:ext uri="{FF2B5EF4-FFF2-40B4-BE49-F238E27FC236}">
                  <a16:creationId xmlns:a16="http://schemas.microsoft.com/office/drawing/2014/main" id="{02E1C399-319C-413A-9C29-C3D5B4D8AE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61292" y="5885595"/>
              <a:ext cx="262107" cy="217549"/>
            </a:xfrm>
            <a:custGeom>
              <a:avLst/>
              <a:gdLst>
                <a:gd name="T0" fmla="*/ 32 w 167"/>
                <a:gd name="T1" fmla="*/ 22 h 139"/>
                <a:gd name="T2" fmla="*/ 29 w 167"/>
                <a:gd name="T3" fmla="*/ 113 h 139"/>
                <a:gd name="T4" fmla="*/ 137 w 167"/>
                <a:gd name="T5" fmla="*/ 114 h 139"/>
                <a:gd name="T6" fmla="*/ 136 w 167"/>
                <a:gd name="T7" fmla="*/ 115 h 139"/>
                <a:gd name="T8" fmla="*/ 134 w 167"/>
                <a:gd name="T9" fmla="*/ 23 h 139"/>
                <a:gd name="T10" fmla="*/ 29 w 167"/>
                <a:gd name="T11" fmla="*/ 25 h 139"/>
                <a:gd name="T12" fmla="*/ 32 w 167"/>
                <a:gd name="T13" fmla="*/ 2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139">
                  <a:moveTo>
                    <a:pt x="32" y="22"/>
                  </a:moveTo>
                  <a:cubicBezTo>
                    <a:pt x="2" y="47"/>
                    <a:pt x="0" y="88"/>
                    <a:pt x="29" y="113"/>
                  </a:cubicBezTo>
                  <a:cubicBezTo>
                    <a:pt x="58" y="138"/>
                    <a:pt x="107" y="139"/>
                    <a:pt x="137" y="114"/>
                  </a:cubicBezTo>
                  <a:cubicBezTo>
                    <a:pt x="136" y="115"/>
                    <a:pt x="136" y="115"/>
                    <a:pt x="136" y="115"/>
                  </a:cubicBezTo>
                  <a:cubicBezTo>
                    <a:pt x="167" y="89"/>
                    <a:pt x="166" y="47"/>
                    <a:pt x="134" y="23"/>
                  </a:cubicBezTo>
                  <a:cubicBezTo>
                    <a:pt x="104" y="0"/>
                    <a:pt x="58" y="1"/>
                    <a:pt x="29" y="25"/>
                  </a:cubicBezTo>
                  <a:lnTo>
                    <a:pt x="32" y="22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" name="Freeform 103">
              <a:extLst>
                <a:ext uri="{FF2B5EF4-FFF2-40B4-BE49-F238E27FC236}">
                  <a16:creationId xmlns:a16="http://schemas.microsoft.com/office/drawing/2014/main" id="{2C18991A-D05B-4FE8-9006-9F76827C51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49646" y="2543735"/>
              <a:ext cx="292249" cy="242449"/>
            </a:xfrm>
            <a:custGeom>
              <a:avLst/>
              <a:gdLst>
                <a:gd name="T0" fmla="*/ 35 w 187"/>
                <a:gd name="T1" fmla="*/ 25 h 155"/>
                <a:gd name="T2" fmla="*/ 32 w 187"/>
                <a:gd name="T3" fmla="*/ 126 h 155"/>
                <a:gd name="T4" fmla="*/ 153 w 187"/>
                <a:gd name="T5" fmla="*/ 127 h 155"/>
                <a:gd name="T6" fmla="*/ 152 w 187"/>
                <a:gd name="T7" fmla="*/ 128 h 155"/>
                <a:gd name="T8" fmla="*/ 149 w 187"/>
                <a:gd name="T9" fmla="*/ 25 h 155"/>
                <a:gd name="T10" fmla="*/ 32 w 187"/>
                <a:gd name="T11" fmla="*/ 28 h 155"/>
                <a:gd name="T12" fmla="*/ 35 w 187"/>
                <a:gd name="T13" fmla="*/ 2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5">
                  <a:moveTo>
                    <a:pt x="35" y="25"/>
                  </a:moveTo>
                  <a:cubicBezTo>
                    <a:pt x="2" y="53"/>
                    <a:pt x="0" y="98"/>
                    <a:pt x="32" y="126"/>
                  </a:cubicBezTo>
                  <a:cubicBezTo>
                    <a:pt x="65" y="155"/>
                    <a:pt x="120" y="155"/>
                    <a:pt x="153" y="127"/>
                  </a:cubicBezTo>
                  <a:cubicBezTo>
                    <a:pt x="152" y="128"/>
                    <a:pt x="152" y="128"/>
                    <a:pt x="152" y="128"/>
                  </a:cubicBezTo>
                  <a:cubicBezTo>
                    <a:pt x="187" y="100"/>
                    <a:pt x="185" y="52"/>
                    <a:pt x="149" y="25"/>
                  </a:cubicBezTo>
                  <a:cubicBezTo>
                    <a:pt x="115" y="0"/>
                    <a:pt x="64" y="1"/>
                    <a:pt x="32" y="28"/>
                  </a:cubicBezTo>
                  <a:lnTo>
                    <a:pt x="35" y="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" name="Freeform 104">
              <a:extLst>
                <a:ext uri="{FF2B5EF4-FFF2-40B4-BE49-F238E27FC236}">
                  <a16:creationId xmlns:a16="http://schemas.microsoft.com/office/drawing/2014/main" id="{83206FC3-9B76-49F2-BEC8-2E69404F13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2951" y="1288244"/>
              <a:ext cx="351223" cy="290938"/>
            </a:xfrm>
            <a:custGeom>
              <a:avLst/>
              <a:gdLst>
                <a:gd name="T0" fmla="*/ 42 w 224"/>
                <a:gd name="T1" fmla="*/ 30 h 186"/>
                <a:gd name="T2" fmla="*/ 39 w 224"/>
                <a:gd name="T3" fmla="*/ 151 h 186"/>
                <a:gd name="T4" fmla="*/ 183 w 224"/>
                <a:gd name="T5" fmla="*/ 152 h 186"/>
                <a:gd name="T6" fmla="*/ 182 w 224"/>
                <a:gd name="T7" fmla="*/ 154 h 186"/>
                <a:gd name="T8" fmla="*/ 178 w 224"/>
                <a:gd name="T9" fmla="*/ 30 h 186"/>
                <a:gd name="T10" fmla="*/ 38 w 224"/>
                <a:gd name="T11" fmla="*/ 33 h 186"/>
                <a:gd name="T12" fmla="*/ 42 w 224"/>
                <a:gd name="T13" fmla="*/ 3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186">
                  <a:moveTo>
                    <a:pt x="42" y="30"/>
                  </a:moveTo>
                  <a:cubicBezTo>
                    <a:pt x="3" y="63"/>
                    <a:pt x="0" y="117"/>
                    <a:pt x="39" y="151"/>
                  </a:cubicBezTo>
                  <a:cubicBezTo>
                    <a:pt x="78" y="185"/>
                    <a:pt x="143" y="186"/>
                    <a:pt x="183" y="152"/>
                  </a:cubicBezTo>
                  <a:cubicBezTo>
                    <a:pt x="182" y="154"/>
                    <a:pt x="182" y="154"/>
                    <a:pt x="182" y="154"/>
                  </a:cubicBezTo>
                  <a:cubicBezTo>
                    <a:pt x="224" y="119"/>
                    <a:pt x="222" y="63"/>
                    <a:pt x="178" y="30"/>
                  </a:cubicBezTo>
                  <a:cubicBezTo>
                    <a:pt x="138" y="0"/>
                    <a:pt x="77" y="2"/>
                    <a:pt x="38" y="33"/>
                  </a:cubicBezTo>
                  <a:lnTo>
                    <a:pt x="42" y="3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" name="Freeform 105">
              <a:extLst>
                <a:ext uri="{FF2B5EF4-FFF2-40B4-BE49-F238E27FC236}">
                  <a16:creationId xmlns:a16="http://schemas.microsoft.com/office/drawing/2014/main" id="{2C4DF2BC-F623-4FC9-8498-F89E4A20F2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69416" y="1120495"/>
              <a:ext cx="201822" cy="167748"/>
            </a:xfrm>
            <a:custGeom>
              <a:avLst/>
              <a:gdLst>
                <a:gd name="T0" fmla="*/ 24 w 129"/>
                <a:gd name="T1" fmla="*/ 17 h 107"/>
                <a:gd name="T2" fmla="*/ 22 w 129"/>
                <a:gd name="T3" fmla="*/ 87 h 107"/>
                <a:gd name="T4" fmla="*/ 106 w 129"/>
                <a:gd name="T5" fmla="*/ 88 h 107"/>
                <a:gd name="T6" fmla="*/ 105 w 129"/>
                <a:gd name="T7" fmla="*/ 89 h 107"/>
                <a:gd name="T8" fmla="*/ 103 w 129"/>
                <a:gd name="T9" fmla="*/ 17 h 107"/>
                <a:gd name="T10" fmla="*/ 22 w 129"/>
                <a:gd name="T11" fmla="*/ 19 h 107"/>
                <a:gd name="T12" fmla="*/ 24 w 129"/>
                <a:gd name="T13" fmla="*/ 1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" h="107">
                  <a:moveTo>
                    <a:pt x="24" y="17"/>
                  </a:moveTo>
                  <a:cubicBezTo>
                    <a:pt x="1" y="36"/>
                    <a:pt x="0" y="68"/>
                    <a:pt x="22" y="87"/>
                  </a:cubicBezTo>
                  <a:cubicBezTo>
                    <a:pt x="45" y="107"/>
                    <a:pt x="82" y="107"/>
                    <a:pt x="106" y="88"/>
                  </a:cubicBezTo>
                  <a:cubicBezTo>
                    <a:pt x="105" y="89"/>
                    <a:pt x="105" y="89"/>
                    <a:pt x="105" y="89"/>
                  </a:cubicBezTo>
                  <a:cubicBezTo>
                    <a:pt x="129" y="69"/>
                    <a:pt x="128" y="36"/>
                    <a:pt x="103" y="17"/>
                  </a:cubicBezTo>
                  <a:cubicBezTo>
                    <a:pt x="79" y="0"/>
                    <a:pt x="44" y="1"/>
                    <a:pt x="22" y="19"/>
                  </a:cubicBezTo>
                  <a:lnTo>
                    <a:pt x="24" y="17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" name="Freeform 106">
              <a:extLst>
                <a:ext uri="{FF2B5EF4-FFF2-40B4-BE49-F238E27FC236}">
                  <a16:creationId xmlns:a16="http://schemas.microsoft.com/office/drawing/2014/main" id="{207B307E-7578-4252-B915-E29EAAC780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03952" y="1225338"/>
              <a:ext cx="258176" cy="212306"/>
            </a:xfrm>
            <a:custGeom>
              <a:avLst/>
              <a:gdLst>
                <a:gd name="T0" fmla="*/ 32 w 165"/>
                <a:gd name="T1" fmla="*/ 22 h 136"/>
                <a:gd name="T2" fmla="*/ 29 w 165"/>
                <a:gd name="T3" fmla="*/ 111 h 136"/>
                <a:gd name="T4" fmla="*/ 135 w 165"/>
                <a:gd name="T5" fmla="*/ 111 h 136"/>
                <a:gd name="T6" fmla="*/ 134 w 165"/>
                <a:gd name="T7" fmla="*/ 113 h 136"/>
                <a:gd name="T8" fmla="*/ 132 w 165"/>
                <a:gd name="T9" fmla="*/ 22 h 136"/>
                <a:gd name="T10" fmla="*/ 29 w 165"/>
                <a:gd name="T11" fmla="*/ 24 h 136"/>
                <a:gd name="T12" fmla="*/ 32 w 165"/>
                <a:gd name="T13" fmla="*/ 2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136">
                  <a:moveTo>
                    <a:pt x="32" y="22"/>
                  </a:moveTo>
                  <a:cubicBezTo>
                    <a:pt x="3" y="46"/>
                    <a:pt x="0" y="86"/>
                    <a:pt x="29" y="111"/>
                  </a:cubicBezTo>
                  <a:cubicBezTo>
                    <a:pt x="58" y="136"/>
                    <a:pt x="106" y="136"/>
                    <a:pt x="135" y="111"/>
                  </a:cubicBezTo>
                  <a:cubicBezTo>
                    <a:pt x="134" y="113"/>
                    <a:pt x="134" y="113"/>
                    <a:pt x="134" y="113"/>
                  </a:cubicBezTo>
                  <a:cubicBezTo>
                    <a:pt x="165" y="87"/>
                    <a:pt x="163" y="46"/>
                    <a:pt x="132" y="22"/>
                  </a:cubicBezTo>
                  <a:cubicBezTo>
                    <a:pt x="102" y="0"/>
                    <a:pt x="57" y="1"/>
                    <a:pt x="29" y="24"/>
                  </a:cubicBezTo>
                  <a:lnTo>
                    <a:pt x="32" y="22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" name="Freeform 107">
              <a:extLst>
                <a:ext uri="{FF2B5EF4-FFF2-40B4-BE49-F238E27FC236}">
                  <a16:creationId xmlns:a16="http://schemas.microsoft.com/office/drawing/2014/main" id="{32735B68-1C6F-4595-9BE6-F0438A4028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98549" y="754856"/>
              <a:ext cx="251622" cy="208375"/>
            </a:xfrm>
            <a:custGeom>
              <a:avLst/>
              <a:gdLst>
                <a:gd name="T0" fmla="*/ 31 w 160"/>
                <a:gd name="T1" fmla="*/ 22 h 133"/>
                <a:gd name="T2" fmla="*/ 28 w 160"/>
                <a:gd name="T3" fmla="*/ 108 h 133"/>
                <a:gd name="T4" fmla="*/ 132 w 160"/>
                <a:gd name="T5" fmla="*/ 109 h 133"/>
                <a:gd name="T6" fmla="*/ 131 w 160"/>
                <a:gd name="T7" fmla="*/ 110 h 133"/>
                <a:gd name="T8" fmla="*/ 128 w 160"/>
                <a:gd name="T9" fmla="*/ 22 h 133"/>
                <a:gd name="T10" fmla="*/ 28 w 160"/>
                <a:gd name="T11" fmla="*/ 24 h 133"/>
                <a:gd name="T12" fmla="*/ 31 w 160"/>
                <a:gd name="T13" fmla="*/ 2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133">
                  <a:moveTo>
                    <a:pt x="31" y="22"/>
                  </a:moveTo>
                  <a:cubicBezTo>
                    <a:pt x="3" y="45"/>
                    <a:pt x="0" y="84"/>
                    <a:pt x="28" y="108"/>
                  </a:cubicBezTo>
                  <a:cubicBezTo>
                    <a:pt x="56" y="132"/>
                    <a:pt x="103" y="133"/>
                    <a:pt x="132" y="109"/>
                  </a:cubicBezTo>
                  <a:cubicBezTo>
                    <a:pt x="131" y="110"/>
                    <a:pt x="131" y="110"/>
                    <a:pt x="131" y="110"/>
                  </a:cubicBezTo>
                  <a:cubicBezTo>
                    <a:pt x="160" y="85"/>
                    <a:pt x="159" y="45"/>
                    <a:pt x="128" y="22"/>
                  </a:cubicBezTo>
                  <a:cubicBezTo>
                    <a:pt x="99" y="0"/>
                    <a:pt x="55" y="1"/>
                    <a:pt x="28" y="24"/>
                  </a:cubicBezTo>
                  <a:lnTo>
                    <a:pt x="31" y="22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" name="Freeform 108">
              <a:extLst>
                <a:ext uri="{FF2B5EF4-FFF2-40B4-BE49-F238E27FC236}">
                  <a16:creationId xmlns:a16="http://schemas.microsoft.com/office/drawing/2014/main" id="{2CB0AEC7-8E30-4290-A6AB-BB2698CC1A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8138" y="5484572"/>
              <a:ext cx="349913" cy="288317"/>
            </a:xfrm>
            <a:custGeom>
              <a:avLst/>
              <a:gdLst>
                <a:gd name="T0" fmla="*/ 42 w 223"/>
                <a:gd name="T1" fmla="*/ 30 h 184"/>
                <a:gd name="T2" fmla="*/ 39 w 223"/>
                <a:gd name="T3" fmla="*/ 150 h 184"/>
                <a:gd name="T4" fmla="*/ 183 w 223"/>
                <a:gd name="T5" fmla="*/ 151 h 184"/>
                <a:gd name="T6" fmla="*/ 182 w 223"/>
                <a:gd name="T7" fmla="*/ 153 h 184"/>
                <a:gd name="T8" fmla="*/ 178 w 223"/>
                <a:gd name="T9" fmla="*/ 30 h 184"/>
                <a:gd name="T10" fmla="*/ 39 w 223"/>
                <a:gd name="T11" fmla="*/ 33 h 184"/>
                <a:gd name="T12" fmla="*/ 42 w 223"/>
                <a:gd name="T13" fmla="*/ 3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184">
                  <a:moveTo>
                    <a:pt x="42" y="30"/>
                  </a:moveTo>
                  <a:cubicBezTo>
                    <a:pt x="3" y="63"/>
                    <a:pt x="0" y="117"/>
                    <a:pt x="39" y="150"/>
                  </a:cubicBezTo>
                  <a:cubicBezTo>
                    <a:pt x="78" y="184"/>
                    <a:pt x="143" y="184"/>
                    <a:pt x="183" y="151"/>
                  </a:cubicBezTo>
                  <a:cubicBezTo>
                    <a:pt x="182" y="153"/>
                    <a:pt x="182" y="153"/>
                    <a:pt x="182" y="153"/>
                  </a:cubicBezTo>
                  <a:cubicBezTo>
                    <a:pt x="223" y="119"/>
                    <a:pt x="221" y="63"/>
                    <a:pt x="178" y="30"/>
                  </a:cubicBezTo>
                  <a:cubicBezTo>
                    <a:pt x="138" y="0"/>
                    <a:pt x="77" y="1"/>
                    <a:pt x="39" y="33"/>
                  </a:cubicBezTo>
                  <a:lnTo>
                    <a:pt x="42" y="3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" name="Freeform 109">
              <a:extLst>
                <a:ext uri="{FF2B5EF4-FFF2-40B4-BE49-F238E27FC236}">
                  <a16:creationId xmlns:a16="http://schemas.microsoft.com/office/drawing/2014/main" id="{69171BA9-EEB5-4A54-8A83-6070067BA5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6061" y="4712667"/>
              <a:ext cx="228033" cy="190028"/>
            </a:xfrm>
            <a:custGeom>
              <a:avLst/>
              <a:gdLst>
                <a:gd name="T0" fmla="*/ 28 w 146"/>
                <a:gd name="T1" fmla="*/ 20 h 121"/>
                <a:gd name="T2" fmla="*/ 25 w 146"/>
                <a:gd name="T3" fmla="*/ 99 h 121"/>
                <a:gd name="T4" fmla="*/ 120 w 146"/>
                <a:gd name="T5" fmla="*/ 100 h 121"/>
                <a:gd name="T6" fmla="*/ 119 w 146"/>
                <a:gd name="T7" fmla="*/ 101 h 121"/>
                <a:gd name="T8" fmla="*/ 117 w 146"/>
                <a:gd name="T9" fmla="*/ 20 h 121"/>
                <a:gd name="T10" fmla="*/ 25 w 146"/>
                <a:gd name="T11" fmla="*/ 22 h 121"/>
                <a:gd name="T12" fmla="*/ 28 w 146"/>
                <a:gd name="T13" fmla="*/ 2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1">
                  <a:moveTo>
                    <a:pt x="28" y="20"/>
                  </a:moveTo>
                  <a:cubicBezTo>
                    <a:pt x="2" y="42"/>
                    <a:pt x="0" y="77"/>
                    <a:pt x="25" y="99"/>
                  </a:cubicBezTo>
                  <a:cubicBezTo>
                    <a:pt x="51" y="121"/>
                    <a:pt x="94" y="121"/>
                    <a:pt x="120" y="100"/>
                  </a:cubicBezTo>
                  <a:cubicBezTo>
                    <a:pt x="119" y="101"/>
                    <a:pt x="119" y="101"/>
                    <a:pt x="119" y="101"/>
                  </a:cubicBezTo>
                  <a:cubicBezTo>
                    <a:pt x="146" y="78"/>
                    <a:pt x="145" y="41"/>
                    <a:pt x="117" y="20"/>
                  </a:cubicBezTo>
                  <a:cubicBezTo>
                    <a:pt x="90" y="0"/>
                    <a:pt x="50" y="1"/>
                    <a:pt x="25" y="22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" name="Freeform 110">
              <a:extLst>
                <a:ext uri="{FF2B5EF4-FFF2-40B4-BE49-F238E27FC236}">
                  <a16:creationId xmlns:a16="http://schemas.microsoft.com/office/drawing/2014/main" id="{25280B45-5840-42B1-847A-01CFDBFEFE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46715" y="5869869"/>
              <a:ext cx="155954" cy="129743"/>
            </a:xfrm>
            <a:custGeom>
              <a:avLst/>
              <a:gdLst>
                <a:gd name="T0" fmla="*/ 19 w 100"/>
                <a:gd name="T1" fmla="*/ 14 h 83"/>
                <a:gd name="T2" fmla="*/ 17 w 100"/>
                <a:gd name="T3" fmla="*/ 68 h 83"/>
                <a:gd name="T4" fmla="*/ 82 w 100"/>
                <a:gd name="T5" fmla="*/ 68 h 83"/>
                <a:gd name="T6" fmla="*/ 81 w 100"/>
                <a:gd name="T7" fmla="*/ 69 h 83"/>
                <a:gd name="T8" fmla="*/ 80 w 100"/>
                <a:gd name="T9" fmla="*/ 14 h 83"/>
                <a:gd name="T10" fmla="*/ 17 w 100"/>
                <a:gd name="T11" fmla="*/ 15 h 83"/>
                <a:gd name="T12" fmla="*/ 19 w 100"/>
                <a:gd name="T13" fmla="*/ 1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83">
                  <a:moveTo>
                    <a:pt x="19" y="14"/>
                  </a:moveTo>
                  <a:cubicBezTo>
                    <a:pt x="1" y="29"/>
                    <a:pt x="0" y="53"/>
                    <a:pt x="17" y="68"/>
                  </a:cubicBezTo>
                  <a:cubicBezTo>
                    <a:pt x="35" y="83"/>
                    <a:pt x="64" y="83"/>
                    <a:pt x="82" y="68"/>
                  </a:cubicBezTo>
                  <a:cubicBezTo>
                    <a:pt x="81" y="69"/>
                    <a:pt x="81" y="69"/>
                    <a:pt x="81" y="69"/>
                  </a:cubicBezTo>
                  <a:cubicBezTo>
                    <a:pt x="100" y="54"/>
                    <a:pt x="99" y="29"/>
                    <a:pt x="80" y="14"/>
                  </a:cubicBezTo>
                  <a:cubicBezTo>
                    <a:pt x="62" y="0"/>
                    <a:pt x="34" y="1"/>
                    <a:pt x="17" y="15"/>
                  </a:cubicBezTo>
                  <a:lnTo>
                    <a:pt x="19" y="1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" name="Freeform 111">
              <a:extLst>
                <a:ext uri="{FF2B5EF4-FFF2-40B4-BE49-F238E27FC236}">
                  <a16:creationId xmlns:a16="http://schemas.microsoft.com/office/drawing/2014/main" id="{DA948930-5B79-41F5-8767-CA735C6396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48443" y="5411446"/>
              <a:ext cx="319770" cy="264728"/>
            </a:xfrm>
            <a:custGeom>
              <a:avLst/>
              <a:gdLst>
                <a:gd name="T0" fmla="*/ 39 w 204"/>
                <a:gd name="T1" fmla="*/ 27 h 169"/>
                <a:gd name="T2" fmla="*/ 35 w 204"/>
                <a:gd name="T3" fmla="*/ 137 h 169"/>
                <a:gd name="T4" fmla="*/ 167 w 204"/>
                <a:gd name="T5" fmla="*/ 138 h 169"/>
                <a:gd name="T6" fmla="*/ 166 w 204"/>
                <a:gd name="T7" fmla="*/ 140 h 169"/>
                <a:gd name="T8" fmla="*/ 163 w 204"/>
                <a:gd name="T9" fmla="*/ 27 h 169"/>
                <a:gd name="T10" fmla="*/ 35 w 204"/>
                <a:gd name="T11" fmla="*/ 30 h 169"/>
                <a:gd name="T12" fmla="*/ 39 w 204"/>
                <a:gd name="T13" fmla="*/ 27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169">
                  <a:moveTo>
                    <a:pt x="39" y="27"/>
                  </a:moveTo>
                  <a:cubicBezTo>
                    <a:pt x="3" y="57"/>
                    <a:pt x="0" y="107"/>
                    <a:pt x="35" y="137"/>
                  </a:cubicBezTo>
                  <a:cubicBezTo>
                    <a:pt x="71" y="168"/>
                    <a:pt x="131" y="169"/>
                    <a:pt x="167" y="138"/>
                  </a:cubicBezTo>
                  <a:cubicBezTo>
                    <a:pt x="166" y="140"/>
                    <a:pt x="166" y="140"/>
                    <a:pt x="166" y="140"/>
                  </a:cubicBezTo>
                  <a:cubicBezTo>
                    <a:pt x="204" y="108"/>
                    <a:pt x="202" y="57"/>
                    <a:pt x="163" y="27"/>
                  </a:cubicBezTo>
                  <a:cubicBezTo>
                    <a:pt x="126" y="0"/>
                    <a:pt x="70" y="1"/>
                    <a:pt x="35" y="30"/>
                  </a:cubicBezTo>
                  <a:cubicBezTo>
                    <a:pt x="39" y="27"/>
                    <a:pt x="39" y="27"/>
                    <a:pt x="39" y="27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" name="Freeform 112">
              <a:extLst>
                <a:ext uri="{FF2B5EF4-FFF2-40B4-BE49-F238E27FC236}">
                  <a16:creationId xmlns:a16="http://schemas.microsoft.com/office/drawing/2014/main" id="{81A7A749-DE75-4D96-B4A4-28D86C8EC4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9714" y="3805778"/>
              <a:ext cx="281765" cy="234586"/>
            </a:xfrm>
            <a:custGeom>
              <a:avLst/>
              <a:gdLst>
                <a:gd name="T0" fmla="*/ 35 w 180"/>
                <a:gd name="T1" fmla="*/ 25 h 150"/>
                <a:gd name="T2" fmla="*/ 32 w 180"/>
                <a:gd name="T3" fmla="*/ 122 h 150"/>
                <a:gd name="T4" fmla="*/ 148 w 180"/>
                <a:gd name="T5" fmla="*/ 123 h 150"/>
                <a:gd name="T6" fmla="*/ 147 w 180"/>
                <a:gd name="T7" fmla="*/ 124 h 150"/>
                <a:gd name="T8" fmla="*/ 144 w 180"/>
                <a:gd name="T9" fmla="*/ 25 h 150"/>
                <a:gd name="T10" fmla="*/ 32 w 180"/>
                <a:gd name="T11" fmla="*/ 27 h 150"/>
                <a:gd name="T12" fmla="*/ 35 w 180"/>
                <a:gd name="T13" fmla="*/ 2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" h="150">
                  <a:moveTo>
                    <a:pt x="35" y="25"/>
                  </a:moveTo>
                  <a:cubicBezTo>
                    <a:pt x="3" y="51"/>
                    <a:pt x="0" y="95"/>
                    <a:pt x="32" y="122"/>
                  </a:cubicBezTo>
                  <a:cubicBezTo>
                    <a:pt x="63" y="149"/>
                    <a:pt x="116" y="150"/>
                    <a:pt x="148" y="123"/>
                  </a:cubicBezTo>
                  <a:cubicBezTo>
                    <a:pt x="147" y="124"/>
                    <a:pt x="147" y="124"/>
                    <a:pt x="147" y="124"/>
                  </a:cubicBezTo>
                  <a:cubicBezTo>
                    <a:pt x="180" y="96"/>
                    <a:pt x="179" y="51"/>
                    <a:pt x="144" y="25"/>
                  </a:cubicBezTo>
                  <a:cubicBezTo>
                    <a:pt x="112" y="0"/>
                    <a:pt x="62" y="1"/>
                    <a:pt x="32" y="27"/>
                  </a:cubicBezTo>
                  <a:lnTo>
                    <a:pt x="35" y="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" name="Freeform 113">
              <a:extLst>
                <a:ext uri="{FF2B5EF4-FFF2-40B4-BE49-F238E27FC236}">
                  <a16:creationId xmlns:a16="http://schemas.microsoft.com/office/drawing/2014/main" id="{B15B73FD-3E72-42AC-9FF1-1B03AD434F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525" y="5108449"/>
              <a:ext cx="187407" cy="155954"/>
            </a:xfrm>
            <a:custGeom>
              <a:avLst/>
              <a:gdLst>
                <a:gd name="T0" fmla="*/ 23 w 120"/>
                <a:gd name="T1" fmla="*/ 16 h 100"/>
                <a:gd name="T2" fmla="*/ 21 w 120"/>
                <a:gd name="T3" fmla="*/ 81 h 100"/>
                <a:gd name="T4" fmla="*/ 99 w 120"/>
                <a:gd name="T5" fmla="*/ 82 h 100"/>
                <a:gd name="T6" fmla="*/ 98 w 120"/>
                <a:gd name="T7" fmla="*/ 83 h 100"/>
                <a:gd name="T8" fmla="*/ 96 w 120"/>
                <a:gd name="T9" fmla="*/ 16 h 100"/>
                <a:gd name="T10" fmla="*/ 20 w 120"/>
                <a:gd name="T11" fmla="*/ 18 h 100"/>
                <a:gd name="T12" fmla="*/ 23 w 120"/>
                <a:gd name="T13" fmla="*/ 16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00">
                  <a:moveTo>
                    <a:pt x="23" y="16"/>
                  </a:moveTo>
                  <a:cubicBezTo>
                    <a:pt x="1" y="34"/>
                    <a:pt x="0" y="63"/>
                    <a:pt x="21" y="81"/>
                  </a:cubicBezTo>
                  <a:cubicBezTo>
                    <a:pt x="42" y="100"/>
                    <a:pt x="77" y="100"/>
                    <a:pt x="99" y="82"/>
                  </a:cubicBezTo>
                  <a:cubicBezTo>
                    <a:pt x="98" y="83"/>
                    <a:pt x="98" y="83"/>
                    <a:pt x="98" y="83"/>
                  </a:cubicBezTo>
                  <a:cubicBezTo>
                    <a:pt x="120" y="64"/>
                    <a:pt x="119" y="34"/>
                    <a:pt x="96" y="16"/>
                  </a:cubicBezTo>
                  <a:cubicBezTo>
                    <a:pt x="74" y="0"/>
                    <a:pt x="41" y="1"/>
                    <a:pt x="20" y="18"/>
                  </a:cubicBezTo>
                  <a:lnTo>
                    <a:pt x="23" y="1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" name="Freeform 114">
              <a:extLst>
                <a:ext uri="{FF2B5EF4-FFF2-40B4-BE49-F238E27FC236}">
                  <a16:creationId xmlns:a16="http://schemas.microsoft.com/office/drawing/2014/main" id="{67A138FD-04E6-41EE-A7EB-1CEED2DCBB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2335" y="3121680"/>
              <a:ext cx="241138" cy="200512"/>
            </a:xfrm>
            <a:custGeom>
              <a:avLst/>
              <a:gdLst>
                <a:gd name="T0" fmla="*/ 29 w 154"/>
                <a:gd name="T1" fmla="*/ 21 h 128"/>
                <a:gd name="T2" fmla="*/ 26 w 154"/>
                <a:gd name="T3" fmla="*/ 104 h 128"/>
                <a:gd name="T4" fmla="*/ 126 w 154"/>
                <a:gd name="T5" fmla="*/ 105 h 128"/>
                <a:gd name="T6" fmla="*/ 126 w 154"/>
                <a:gd name="T7" fmla="*/ 106 h 128"/>
                <a:gd name="T8" fmla="*/ 123 w 154"/>
                <a:gd name="T9" fmla="*/ 21 h 128"/>
                <a:gd name="T10" fmla="*/ 26 w 154"/>
                <a:gd name="T11" fmla="*/ 23 h 128"/>
                <a:gd name="T12" fmla="*/ 29 w 154"/>
                <a:gd name="T13" fmla="*/ 2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" h="128">
                  <a:moveTo>
                    <a:pt x="29" y="21"/>
                  </a:moveTo>
                  <a:cubicBezTo>
                    <a:pt x="2" y="44"/>
                    <a:pt x="0" y="81"/>
                    <a:pt x="26" y="104"/>
                  </a:cubicBezTo>
                  <a:cubicBezTo>
                    <a:pt x="54" y="128"/>
                    <a:pt x="99" y="128"/>
                    <a:pt x="126" y="105"/>
                  </a:cubicBezTo>
                  <a:cubicBezTo>
                    <a:pt x="126" y="106"/>
                    <a:pt x="126" y="106"/>
                    <a:pt x="126" y="106"/>
                  </a:cubicBezTo>
                  <a:cubicBezTo>
                    <a:pt x="154" y="82"/>
                    <a:pt x="153" y="44"/>
                    <a:pt x="123" y="21"/>
                  </a:cubicBezTo>
                  <a:cubicBezTo>
                    <a:pt x="95" y="0"/>
                    <a:pt x="53" y="1"/>
                    <a:pt x="26" y="23"/>
                  </a:cubicBezTo>
                  <a:lnTo>
                    <a:pt x="29" y="2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" name="Freeform 115">
              <a:extLst>
                <a:ext uri="{FF2B5EF4-FFF2-40B4-BE49-F238E27FC236}">
                  <a16:creationId xmlns:a16="http://schemas.microsoft.com/office/drawing/2014/main" id="{53FBAEE9-91C9-4A80-A103-7579B6882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73487" y="900326"/>
              <a:ext cx="235896" cy="193959"/>
            </a:xfrm>
            <a:custGeom>
              <a:avLst/>
              <a:gdLst>
                <a:gd name="T0" fmla="*/ 29 w 150"/>
                <a:gd name="T1" fmla="*/ 20 h 124"/>
                <a:gd name="T2" fmla="*/ 26 w 150"/>
                <a:gd name="T3" fmla="*/ 100 h 124"/>
                <a:gd name="T4" fmla="*/ 123 w 150"/>
                <a:gd name="T5" fmla="*/ 101 h 124"/>
                <a:gd name="T6" fmla="*/ 122 w 150"/>
                <a:gd name="T7" fmla="*/ 102 h 124"/>
                <a:gd name="T8" fmla="*/ 120 w 150"/>
                <a:gd name="T9" fmla="*/ 20 h 124"/>
                <a:gd name="T10" fmla="*/ 26 w 150"/>
                <a:gd name="T11" fmla="*/ 22 h 124"/>
                <a:gd name="T12" fmla="*/ 29 w 150"/>
                <a:gd name="T13" fmla="*/ 2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124">
                  <a:moveTo>
                    <a:pt x="29" y="20"/>
                  </a:moveTo>
                  <a:cubicBezTo>
                    <a:pt x="2" y="42"/>
                    <a:pt x="0" y="78"/>
                    <a:pt x="26" y="100"/>
                  </a:cubicBezTo>
                  <a:cubicBezTo>
                    <a:pt x="53" y="123"/>
                    <a:pt x="96" y="124"/>
                    <a:pt x="123" y="101"/>
                  </a:cubicBezTo>
                  <a:cubicBezTo>
                    <a:pt x="122" y="102"/>
                    <a:pt x="122" y="102"/>
                    <a:pt x="122" y="102"/>
                  </a:cubicBezTo>
                  <a:cubicBezTo>
                    <a:pt x="150" y="79"/>
                    <a:pt x="149" y="42"/>
                    <a:pt x="120" y="20"/>
                  </a:cubicBezTo>
                  <a:cubicBezTo>
                    <a:pt x="93" y="0"/>
                    <a:pt x="52" y="1"/>
                    <a:pt x="26" y="22"/>
                  </a:cubicBezTo>
                  <a:lnTo>
                    <a:pt x="29" y="2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" name="Freeform 123">
              <a:extLst>
                <a:ext uri="{FF2B5EF4-FFF2-40B4-BE49-F238E27FC236}">
                  <a16:creationId xmlns:a16="http://schemas.microsoft.com/office/drawing/2014/main" id="{8122635A-1782-407F-952F-79072C8488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927" y="908189"/>
              <a:ext cx="4018096" cy="4530515"/>
            </a:xfrm>
            <a:custGeom>
              <a:avLst/>
              <a:gdLst>
                <a:gd name="T0" fmla="*/ 1119 w 2564"/>
                <a:gd name="T1" fmla="*/ 58 h 2890"/>
                <a:gd name="T2" fmla="*/ 162 w 2564"/>
                <a:gd name="T3" fmla="*/ 611 h 2890"/>
                <a:gd name="T4" fmla="*/ 0 w 2564"/>
                <a:gd name="T5" fmla="*/ 892 h 2890"/>
                <a:gd name="T6" fmla="*/ 0 w 2564"/>
                <a:gd name="T7" fmla="*/ 1998 h 2890"/>
                <a:gd name="T8" fmla="*/ 162 w 2564"/>
                <a:gd name="T9" fmla="*/ 2279 h 2890"/>
                <a:gd name="T10" fmla="*/ 1119 w 2564"/>
                <a:gd name="T11" fmla="*/ 2832 h 2890"/>
                <a:gd name="T12" fmla="*/ 1444 w 2564"/>
                <a:gd name="T13" fmla="*/ 2832 h 2890"/>
                <a:gd name="T14" fmla="*/ 2401 w 2564"/>
                <a:gd name="T15" fmla="*/ 2279 h 2890"/>
                <a:gd name="T16" fmla="*/ 2564 w 2564"/>
                <a:gd name="T17" fmla="*/ 1998 h 2890"/>
                <a:gd name="T18" fmla="*/ 2564 w 2564"/>
                <a:gd name="T19" fmla="*/ 892 h 2890"/>
                <a:gd name="T20" fmla="*/ 2401 w 2564"/>
                <a:gd name="T21" fmla="*/ 611 h 2890"/>
                <a:gd name="T22" fmla="*/ 1444 w 2564"/>
                <a:gd name="T23" fmla="*/ 58 h 2890"/>
                <a:gd name="T24" fmla="*/ 1119 w 2564"/>
                <a:gd name="T25" fmla="*/ 58 h 2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64" h="2890">
                  <a:moveTo>
                    <a:pt x="1119" y="58"/>
                  </a:moveTo>
                  <a:cubicBezTo>
                    <a:pt x="162" y="611"/>
                    <a:pt x="162" y="611"/>
                    <a:pt x="162" y="611"/>
                  </a:cubicBezTo>
                  <a:cubicBezTo>
                    <a:pt x="62" y="669"/>
                    <a:pt x="0" y="776"/>
                    <a:pt x="0" y="892"/>
                  </a:cubicBezTo>
                  <a:cubicBezTo>
                    <a:pt x="0" y="1998"/>
                    <a:pt x="0" y="1998"/>
                    <a:pt x="0" y="1998"/>
                  </a:cubicBezTo>
                  <a:cubicBezTo>
                    <a:pt x="0" y="2114"/>
                    <a:pt x="62" y="2221"/>
                    <a:pt x="162" y="2279"/>
                  </a:cubicBezTo>
                  <a:cubicBezTo>
                    <a:pt x="1119" y="2832"/>
                    <a:pt x="1119" y="2832"/>
                    <a:pt x="1119" y="2832"/>
                  </a:cubicBezTo>
                  <a:cubicBezTo>
                    <a:pt x="1220" y="2890"/>
                    <a:pt x="1344" y="2890"/>
                    <a:pt x="1444" y="2832"/>
                  </a:cubicBezTo>
                  <a:cubicBezTo>
                    <a:pt x="2401" y="2279"/>
                    <a:pt x="2401" y="2279"/>
                    <a:pt x="2401" y="2279"/>
                  </a:cubicBezTo>
                  <a:cubicBezTo>
                    <a:pt x="2502" y="2221"/>
                    <a:pt x="2564" y="2114"/>
                    <a:pt x="2564" y="1998"/>
                  </a:cubicBezTo>
                  <a:cubicBezTo>
                    <a:pt x="2564" y="892"/>
                    <a:pt x="2564" y="892"/>
                    <a:pt x="2564" y="892"/>
                  </a:cubicBezTo>
                  <a:cubicBezTo>
                    <a:pt x="2564" y="776"/>
                    <a:pt x="2502" y="669"/>
                    <a:pt x="2401" y="611"/>
                  </a:cubicBezTo>
                  <a:cubicBezTo>
                    <a:pt x="1444" y="58"/>
                    <a:pt x="1444" y="58"/>
                    <a:pt x="1444" y="58"/>
                  </a:cubicBezTo>
                  <a:cubicBezTo>
                    <a:pt x="1344" y="0"/>
                    <a:pt x="1220" y="0"/>
                    <a:pt x="1119" y="58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" name="Freeform 124">
              <a:extLst>
                <a:ext uri="{FF2B5EF4-FFF2-40B4-BE49-F238E27FC236}">
                  <a16:creationId xmlns:a16="http://schemas.microsoft.com/office/drawing/2014/main" id="{92648572-0C94-4DAB-8C74-D766DAE742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68869" y="995994"/>
              <a:ext cx="14416" cy="7863"/>
            </a:xfrm>
            <a:custGeom>
              <a:avLst/>
              <a:gdLst>
                <a:gd name="T0" fmla="*/ 9 w 9"/>
                <a:gd name="T1" fmla="*/ 0 h 5"/>
                <a:gd name="T2" fmla="*/ 4 w 9"/>
                <a:gd name="T3" fmla="*/ 2 h 5"/>
                <a:gd name="T4" fmla="*/ 0 w 9"/>
                <a:gd name="T5" fmla="*/ 5 h 5"/>
                <a:gd name="T6" fmla="*/ 4 w 9"/>
                <a:gd name="T7" fmla="*/ 2 h 5"/>
                <a:gd name="T8" fmla="*/ 9 w 9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9" y="0"/>
                  </a:moveTo>
                  <a:cubicBezTo>
                    <a:pt x="7" y="1"/>
                    <a:pt x="6" y="2"/>
                    <a:pt x="4" y="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6" y="2"/>
                    <a:pt x="7" y="1"/>
                    <a:pt x="9" y="0"/>
                  </a:cubicBezTo>
                </a:path>
              </a:pathLst>
            </a:custGeom>
            <a:solidFill>
              <a:srgbClr val="546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" name="Freeform 125">
              <a:extLst>
                <a:ext uri="{FF2B5EF4-FFF2-40B4-BE49-F238E27FC236}">
                  <a16:creationId xmlns:a16="http://schemas.microsoft.com/office/drawing/2014/main" id="{C021D9B5-4694-4207-A1F6-CBD60FDCEA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76732" y="534827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955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" name="Freeform 126">
              <a:extLst>
                <a:ext uri="{FF2B5EF4-FFF2-40B4-BE49-F238E27FC236}">
                  <a16:creationId xmlns:a16="http://schemas.microsoft.com/office/drawing/2014/main" id="{C2F283F7-28B6-486D-B37D-6BD2A3252D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1927" y="931778"/>
              <a:ext cx="2145344" cy="4476783"/>
            </a:xfrm>
            <a:custGeom>
              <a:avLst/>
              <a:gdLst>
                <a:gd name="T0" fmla="*/ 1282 w 1369"/>
                <a:gd name="T1" fmla="*/ 0 h 2856"/>
                <a:gd name="T2" fmla="*/ 1124 w 1369"/>
                <a:gd name="T3" fmla="*/ 41 h 2856"/>
                <a:gd name="T4" fmla="*/ 1119 w 1369"/>
                <a:gd name="T5" fmla="*/ 43 h 2856"/>
                <a:gd name="T6" fmla="*/ 1115 w 1369"/>
                <a:gd name="T7" fmla="*/ 46 h 2856"/>
                <a:gd name="T8" fmla="*/ 476 w 1369"/>
                <a:gd name="T9" fmla="*/ 415 h 2856"/>
                <a:gd name="T10" fmla="*/ 162 w 1369"/>
                <a:gd name="T11" fmla="*/ 596 h 2856"/>
                <a:gd name="T12" fmla="*/ 0 w 1369"/>
                <a:gd name="T13" fmla="*/ 877 h 2856"/>
                <a:gd name="T14" fmla="*/ 0 w 1369"/>
                <a:gd name="T15" fmla="*/ 1983 h 2856"/>
                <a:gd name="T16" fmla="*/ 162 w 1369"/>
                <a:gd name="T17" fmla="*/ 2264 h 2856"/>
                <a:gd name="T18" fmla="*/ 1119 w 1369"/>
                <a:gd name="T19" fmla="*/ 2817 h 2856"/>
                <a:gd name="T20" fmla="*/ 1120 w 1369"/>
                <a:gd name="T21" fmla="*/ 2817 h 2856"/>
                <a:gd name="T22" fmla="*/ 1120 w 1369"/>
                <a:gd name="T23" fmla="*/ 2817 h 2856"/>
                <a:gd name="T24" fmla="*/ 1232 w 1369"/>
                <a:gd name="T25" fmla="*/ 2856 h 2856"/>
                <a:gd name="T26" fmla="*/ 1157 w 1369"/>
                <a:gd name="T27" fmla="*/ 2825 h 2856"/>
                <a:gd name="T28" fmla="*/ 200 w 1369"/>
                <a:gd name="T29" fmla="*/ 2272 h 2856"/>
                <a:gd name="T30" fmla="*/ 37 w 1369"/>
                <a:gd name="T31" fmla="*/ 1991 h 2856"/>
                <a:gd name="T32" fmla="*/ 37 w 1369"/>
                <a:gd name="T33" fmla="*/ 886 h 2856"/>
                <a:gd name="T34" fmla="*/ 200 w 1369"/>
                <a:gd name="T35" fmla="*/ 604 h 2856"/>
                <a:gd name="T36" fmla="*/ 1157 w 1369"/>
                <a:gd name="T37" fmla="*/ 51 h 2856"/>
                <a:gd name="T38" fmla="*/ 1319 w 1369"/>
                <a:gd name="T39" fmla="*/ 8 h 2856"/>
                <a:gd name="T40" fmla="*/ 1369 w 1369"/>
                <a:gd name="T41" fmla="*/ 12 h 2856"/>
                <a:gd name="T42" fmla="*/ 1282 w 1369"/>
                <a:gd name="T43" fmla="*/ 0 h 2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69" h="2856">
                  <a:moveTo>
                    <a:pt x="1282" y="0"/>
                  </a:moveTo>
                  <a:cubicBezTo>
                    <a:pt x="1227" y="0"/>
                    <a:pt x="1173" y="14"/>
                    <a:pt x="1124" y="41"/>
                  </a:cubicBezTo>
                  <a:cubicBezTo>
                    <a:pt x="1122" y="42"/>
                    <a:pt x="1121" y="43"/>
                    <a:pt x="1119" y="43"/>
                  </a:cubicBezTo>
                  <a:cubicBezTo>
                    <a:pt x="1115" y="46"/>
                    <a:pt x="1115" y="46"/>
                    <a:pt x="1115" y="46"/>
                  </a:cubicBezTo>
                  <a:cubicBezTo>
                    <a:pt x="476" y="415"/>
                    <a:pt x="476" y="415"/>
                    <a:pt x="476" y="415"/>
                  </a:cubicBezTo>
                  <a:cubicBezTo>
                    <a:pt x="162" y="596"/>
                    <a:pt x="162" y="596"/>
                    <a:pt x="162" y="596"/>
                  </a:cubicBezTo>
                  <a:cubicBezTo>
                    <a:pt x="62" y="654"/>
                    <a:pt x="0" y="761"/>
                    <a:pt x="0" y="877"/>
                  </a:cubicBezTo>
                  <a:cubicBezTo>
                    <a:pt x="0" y="1983"/>
                    <a:pt x="0" y="1983"/>
                    <a:pt x="0" y="1983"/>
                  </a:cubicBezTo>
                  <a:cubicBezTo>
                    <a:pt x="0" y="2099"/>
                    <a:pt x="62" y="2206"/>
                    <a:pt x="162" y="2264"/>
                  </a:cubicBezTo>
                  <a:cubicBezTo>
                    <a:pt x="1119" y="2817"/>
                    <a:pt x="1119" y="2817"/>
                    <a:pt x="1119" y="2817"/>
                  </a:cubicBezTo>
                  <a:cubicBezTo>
                    <a:pt x="1120" y="2817"/>
                    <a:pt x="1120" y="2817"/>
                    <a:pt x="1120" y="2817"/>
                  </a:cubicBezTo>
                  <a:cubicBezTo>
                    <a:pt x="1120" y="2817"/>
                    <a:pt x="1120" y="2817"/>
                    <a:pt x="1120" y="2817"/>
                  </a:cubicBezTo>
                  <a:cubicBezTo>
                    <a:pt x="1155" y="2837"/>
                    <a:pt x="1193" y="2850"/>
                    <a:pt x="1232" y="2856"/>
                  </a:cubicBezTo>
                  <a:cubicBezTo>
                    <a:pt x="1206" y="2849"/>
                    <a:pt x="1181" y="2838"/>
                    <a:pt x="1157" y="2825"/>
                  </a:cubicBezTo>
                  <a:cubicBezTo>
                    <a:pt x="200" y="2272"/>
                    <a:pt x="200" y="2272"/>
                    <a:pt x="200" y="2272"/>
                  </a:cubicBezTo>
                  <a:cubicBezTo>
                    <a:pt x="99" y="2214"/>
                    <a:pt x="37" y="2107"/>
                    <a:pt x="37" y="1991"/>
                  </a:cubicBezTo>
                  <a:cubicBezTo>
                    <a:pt x="37" y="886"/>
                    <a:pt x="37" y="886"/>
                    <a:pt x="37" y="886"/>
                  </a:cubicBezTo>
                  <a:cubicBezTo>
                    <a:pt x="37" y="769"/>
                    <a:pt x="99" y="662"/>
                    <a:pt x="200" y="604"/>
                  </a:cubicBezTo>
                  <a:cubicBezTo>
                    <a:pt x="1157" y="51"/>
                    <a:pt x="1157" y="51"/>
                    <a:pt x="1157" y="51"/>
                  </a:cubicBezTo>
                  <a:cubicBezTo>
                    <a:pt x="1207" y="22"/>
                    <a:pt x="1263" y="8"/>
                    <a:pt x="1319" y="8"/>
                  </a:cubicBezTo>
                  <a:cubicBezTo>
                    <a:pt x="1336" y="8"/>
                    <a:pt x="1352" y="9"/>
                    <a:pt x="1369" y="12"/>
                  </a:cubicBezTo>
                  <a:cubicBezTo>
                    <a:pt x="1340" y="4"/>
                    <a:pt x="1311" y="0"/>
                    <a:pt x="1282" y="0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" name="Freeform 128">
              <a:extLst>
                <a:ext uri="{FF2B5EF4-FFF2-40B4-BE49-F238E27FC236}">
                  <a16:creationId xmlns:a16="http://schemas.microsoft.com/office/drawing/2014/main" id="{4DEF1962-7B41-4EDD-9912-9125417917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45216" y="4437455"/>
              <a:ext cx="1552983" cy="1554293"/>
            </a:xfrm>
            <a:custGeom>
              <a:avLst/>
              <a:gdLst>
                <a:gd name="T0" fmla="*/ 927 w 991"/>
                <a:gd name="T1" fmla="*/ 380 h 992"/>
                <a:gd name="T2" fmla="*/ 380 w 991"/>
                <a:gd name="T3" fmla="*/ 64 h 992"/>
                <a:gd name="T4" fmla="*/ 64 w 991"/>
                <a:gd name="T5" fmla="*/ 612 h 992"/>
                <a:gd name="T6" fmla="*/ 611 w 991"/>
                <a:gd name="T7" fmla="*/ 928 h 992"/>
                <a:gd name="T8" fmla="*/ 927 w 991"/>
                <a:gd name="T9" fmla="*/ 380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1" h="992">
                  <a:moveTo>
                    <a:pt x="927" y="380"/>
                  </a:moveTo>
                  <a:cubicBezTo>
                    <a:pt x="864" y="142"/>
                    <a:pt x="618" y="0"/>
                    <a:pt x="380" y="64"/>
                  </a:cubicBezTo>
                  <a:cubicBezTo>
                    <a:pt x="142" y="128"/>
                    <a:pt x="0" y="373"/>
                    <a:pt x="64" y="612"/>
                  </a:cubicBezTo>
                  <a:cubicBezTo>
                    <a:pt x="128" y="850"/>
                    <a:pt x="373" y="992"/>
                    <a:pt x="611" y="928"/>
                  </a:cubicBezTo>
                  <a:cubicBezTo>
                    <a:pt x="850" y="864"/>
                    <a:pt x="991" y="619"/>
                    <a:pt x="927" y="380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" name="Freeform 129">
              <a:extLst>
                <a:ext uri="{FF2B5EF4-FFF2-40B4-BE49-F238E27FC236}">
                  <a16:creationId xmlns:a16="http://schemas.microsoft.com/office/drawing/2014/main" id="{6F4CD87B-A73E-426F-8B3C-773BFE6A82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70341" y="453050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3942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" name="Freeform 130">
              <a:extLst>
                <a:ext uri="{FF2B5EF4-FFF2-40B4-BE49-F238E27FC236}">
                  <a16:creationId xmlns:a16="http://schemas.microsoft.com/office/drawing/2014/main" id="{627DC295-54A5-44D7-A71E-499B7CF48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48748" y="4530504"/>
              <a:ext cx="520282" cy="491451"/>
            </a:xfrm>
            <a:custGeom>
              <a:avLst/>
              <a:gdLst>
                <a:gd name="T0" fmla="*/ 332 w 332"/>
                <a:gd name="T1" fmla="*/ 0 h 313"/>
                <a:gd name="T2" fmla="*/ 314 w 332"/>
                <a:gd name="T3" fmla="*/ 4 h 313"/>
                <a:gd name="T4" fmla="*/ 0 w 332"/>
                <a:gd name="T5" fmla="*/ 313 h 313"/>
                <a:gd name="T6" fmla="*/ 0 w 332"/>
                <a:gd name="T7" fmla="*/ 313 h 313"/>
                <a:gd name="T8" fmla="*/ 314 w 332"/>
                <a:gd name="T9" fmla="*/ 4 h 313"/>
                <a:gd name="T10" fmla="*/ 332 w 332"/>
                <a:gd name="T11" fmla="*/ 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2" h="313">
                  <a:moveTo>
                    <a:pt x="332" y="0"/>
                  </a:moveTo>
                  <a:cubicBezTo>
                    <a:pt x="326" y="1"/>
                    <a:pt x="320" y="3"/>
                    <a:pt x="314" y="4"/>
                  </a:cubicBezTo>
                  <a:cubicBezTo>
                    <a:pt x="157" y="46"/>
                    <a:pt x="42" y="167"/>
                    <a:pt x="0" y="313"/>
                  </a:cubicBezTo>
                  <a:cubicBezTo>
                    <a:pt x="0" y="313"/>
                    <a:pt x="0" y="313"/>
                    <a:pt x="0" y="313"/>
                  </a:cubicBezTo>
                  <a:cubicBezTo>
                    <a:pt x="42" y="167"/>
                    <a:pt x="157" y="46"/>
                    <a:pt x="314" y="4"/>
                  </a:cubicBezTo>
                  <a:cubicBezTo>
                    <a:pt x="320" y="3"/>
                    <a:pt x="326" y="1"/>
                    <a:pt x="332" y="0"/>
                  </a:cubicBezTo>
                </a:path>
              </a:pathLst>
            </a:custGeom>
            <a:solidFill>
              <a:srgbClr val="3942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" name="Freeform 131">
              <a:extLst>
                <a:ext uri="{FF2B5EF4-FFF2-40B4-BE49-F238E27FC236}">
                  <a16:creationId xmlns:a16="http://schemas.microsoft.com/office/drawing/2014/main" id="{9A923672-8C8D-4F6F-AD65-4275C22908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46127" y="5398077"/>
              <a:ext cx="9174" cy="27522"/>
            </a:xfrm>
            <a:custGeom>
              <a:avLst/>
              <a:gdLst>
                <a:gd name="T0" fmla="*/ 6 w 6"/>
                <a:gd name="T1" fmla="*/ 18 h 18"/>
                <a:gd name="T2" fmla="*/ 6 w 6"/>
                <a:gd name="T3" fmla="*/ 18 h 18"/>
                <a:gd name="T4" fmla="*/ 6 w 6"/>
                <a:gd name="T5" fmla="*/ 18 h 18"/>
                <a:gd name="T6" fmla="*/ 5 w 6"/>
                <a:gd name="T7" fmla="*/ 16 h 18"/>
                <a:gd name="T8" fmla="*/ 5 w 6"/>
                <a:gd name="T9" fmla="*/ 16 h 18"/>
                <a:gd name="T10" fmla="*/ 5 w 6"/>
                <a:gd name="T11" fmla="*/ 16 h 18"/>
                <a:gd name="T12" fmla="*/ 4 w 6"/>
                <a:gd name="T13" fmla="*/ 12 h 18"/>
                <a:gd name="T14" fmla="*/ 4 w 6"/>
                <a:gd name="T15" fmla="*/ 12 h 18"/>
                <a:gd name="T16" fmla="*/ 4 w 6"/>
                <a:gd name="T17" fmla="*/ 12 h 18"/>
                <a:gd name="T18" fmla="*/ 4 w 6"/>
                <a:gd name="T19" fmla="*/ 11 h 18"/>
                <a:gd name="T20" fmla="*/ 4 w 6"/>
                <a:gd name="T21" fmla="*/ 11 h 18"/>
                <a:gd name="T22" fmla="*/ 4 w 6"/>
                <a:gd name="T23" fmla="*/ 11 h 18"/>
                <a:gd name="T24" fmla="*/ 3 w 6"/>
                <a:gd name="T25" fmla="*/ 9 h 18"/>
                <a:gd name="T26" fmla="*/ 3 w 6"/>
                <a:gd name="T27" fmla="*/ 10 h 18"/>
                <a:gd name="T28" fmla="*/ 3 w 6"/>
                <a:gd name="T29" fmla="*/ 9 h 18"/>
                <a:gd name="T30" fmla="*/ 3 w 6"/>
                <a:gd name="T31" fmla="*/ 8 h 18"/>
                <a:gd name="T32" fmla="*/ 3 w 6"/>
                <a:gd name="T33" fmla="*/ 9 h 18"/>
                <a:gd name="T34" fmla="*/ 3 w 6"/>
                <a:gd name="T35" fmla="*/ 8 h 18"/>
                <a:gd name="T36" fmla="*/ 2 w 6"/>
                <a:gd name="T37" fmla="*/ 7 h 18"/>
                <a:gd name="T38" fmla="*/ 2 w 6"/>
                <a:gd name="T39" fmla="*/ 7 h 18"/>
                <a:gd name="T40" fmla="*/ 2 w 6"/>
                <a:gd name="T41" fmla="*/ 7 h 18"/>
                <a:gd name="T42" fmla="*/ 2 w 6"/>
                <a:gd name="T43" fmla="*/ 5 h 18"/>
                <a:gd name="T44" fmla="*/ 2 w 6"/>
                <a:gd name="T45" fmla="*/ 6 h 18"/>
                <a:gd name="T46" fmla="*/ 2 w 6"/>
                <a:gd name="T47" fmla="*/ 5 h 18"/>
                <a:gd name="T48" fmla="*/ 2 w 6"/>
                <a:gd name="T49" fmla="*/ 4 h 18"/>
                <a:gd name="T50" fmla="*/ 2 w 6"/>
                <a:gd name="T51" fmla="*/ 4 h 18"/>
                <a:gd name="T52" fmla="*/ 2 w 6"/>
                <a:gd name="T53" fmla="*/ 4 h 18"/>
                <a:gd name="T54" fmla="*/ 1 w 6"/>
                <a:gd name="T55" fmla="*/ 2 h 18"/>
                <a:gd name="T56" fmla="*/ 1 w 6"/>
                <a:gd name="T57" fmla="*/ 3 h 18"/>
                <a:gd name="T58" fmla="*/ 1 w 6"/>
                <a:gd name="T59" fmla="*/ 2 h 18"/>
                <a:gd name="T60" fmla="*/ 1 w 6"/>
                <a:gd name="T61" fmla="*/ 1 h 18"/>
                <a:gd name="T62" fmla="*/ 1 w 6"/>
                <a:gd name="T63" fmla="*/ 2 h 18"/>
                <a:gd name="T64" fmla="*/ 1 w 6"/>
                <a:gd name="T65" fmla="*/ 1 h 18"/>
                <a:gd name="T66" fmla="*/ 0 w 6"/>
                <a:gd name="T67" fmla="*/ 0 h 18"/>
                <a:gd name="T68" fmla="*/ 1 w 6"/>
                <a:gd name="T69" fmla="*/ 0 h 18"/>
                <a:gd name="T70" fmla="*/ 0 w 6"/>
                <a:gd name="T7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" h="18">
                  <a:moveTo>
                    <a:pt x="6" y="18"/>
                  </a:move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moveTo>
                    <a:pt x="5" y="16"/>
                  </a:move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moveTo>
                    <a:pt x="4" y="12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moveTo>
                    <a:pt x="4" y="11"/>
                  </a:move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moveTo>
                    <a:pt x="3" y="9"/>
                  </a:move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9"/>
                  </a:cubicBezTo>
                  <a:moveTo>
                    <a:pt x="3" y="8"/>
                  </a:moveTo>
                  <a:cubicBezTo>
                    <a:pt x="3" y="8"/>
                    <a:pt x="3" y="8"/>
                    <a:pt x="3" y="9"/>
                  </a:cubicBezTo>
                  <a:cubicBezTo>
                    <a:pt x="3" y="8"/>
                    <a:pt x="3" y="8"/>
                    <a:pt x="3" y="8"/>
                  </a:cubicBezTo>
                  <a:moveTo>
                    <a:pt x="2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moveTo>
                    <a:pt x="2" y="5"/>
                  </a:moveTo>
                  <a:cubicBezTo>
                    <a:pt x="2" y="5"/>
                    <a:pt x="2" y="5"/>
                    <a:pt x="2" y="6"/>
                  </a:cubicBezTo>
                  <a:cubicBezTo>
                    <a:pt x="2" y="5"/>
                    <a:pt x="2" y="5"/>
                    <a:pt x="2" y="5"/>
                  </a:cubicBezTo>
                  <a:moveTo>
                    <a:pt x="2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moveTo>
                    <a:pt x="1" y="2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2"/>
                  </a:cubicBezTo>
                  <a:moveTo>
                    <a:pt x="1" y="1"/>
                  </a:moveTo>
                  <a:cubicBezTo>
                    <a:pt x="1" y="1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" name="Freeform 132">
              <a:extLst>
                <a:ext uri="{FF2B5EF4-FFF2-40B4-BE49-F238E27FC236}">
                  <a16:creationId xmlns:a16="http://schemas.microsoft.com/office/drawing/2014/main" id="{A8B07DB3-7AA5-4433-A042-2026A3D546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5358" y="4513466"/>
              <a:ext cx="1132301" cy="1302670"/>
            </a:xfrm>
            <a:custGeom>
              <a:avLst/>
              <a:gdLst>
                <a:gd name="T0" fmla="*/ 477 w 723"/>
                <a:gd name="T1" fmla="*/ 0 h 831"/>
                <a:gd name="T2" fmla="*/ 380 w 723"/>
                <a:gd name="T3" fmla="*/ 11 h 831"/>
                <a:gd name="T4" fmla="*/ 380 w 723"/>
                <a:gd name="T5" fmla="*/ 11 h 831"/>
                <a:gd name="T6" fmla="*/ 379 w 723"/>
                <a:gd name="T7" fmla="*/ 11 h 831"/>
                <a:gd name="T8" fmla="*/ 361 w 723"/>
                <a:gd name="T9" fmla="*/ 15 h 831"/>
                <a:gd name="T10" fmla="*/ 47 w 723"/>
                <a:gd name="T11" fmla="*/ 324 h 831"/>
                <a:gd name="T12" fmla="*/ 30 w 723"/>
                <a:gd name="T13" fmla="*/ 447 h 831"/>
                <a:gd name="T14" fmla="*/ 45 w 723"/>
                <a:gd name="T15" fmla="*/ 563 h 831"/>
                <a:gd name="T16" fmla="*/ 45 w 723"/>
                <a:gd name="T17" fmla="*/ 564 h 831"/>
                <a:gd name="T18" fmla="*/ 46 w 723"/>
                <a:gd name="T19" fmla="*/ 564 h 831"/>
                <a:gd name="T20" fmla="*/ 46 w 723"/>
                <a:gd name="T21" fmla="*/ 565 h 831"/>
                <a:gd name="T22" fmla="*/ 46 w 723"/>
                <a:gd name="T23" fmla="*/ 566 h 831"/>
                <a:gd name="T24" fmla="*/ 46 w 723"/>
                <a:gd name="T25" fmla="*/ 566 h 831"/>
                <a:gd name="T26" fmla="*/ 46 w 723"/>
                <a:gd name="T27" fmla="*/ 567 h 831"/>
                <a:gd name="T28" fmla="*/ 47 w 723"/>
                <a:gd name="T29" fmla="*/ 568 h 831"/>
                <a:gd name="T30" fmla="*/ 47 w 723"/>
                <a:gd name="T31" fmla="*/ 568 h 831"/>
                <a:gd name="T32" fmla="*/ 47 w 723"/>
                <a:gd name="T33" fmla="*/ 569 h 831"/>
                <a:gd name="T34" fmla="*/ 47 w 723"/>
                <a:gd name="T35" fmla="*/ 570 h 831"/>
                <a:gd name="T36" fmla="*/ 47 w 723"/>
                <a:gd name="T37" fmla="*/ 571 h 831"/>
                <a:gd name="T38" fmla="*/ 47 w 723"/>
                <a:gd name="T39" fmla="*/ 571 h 831"/>
                <a:gd name="T40" fmla="*/ 48 w 723"/>
                <a:gd name="T41" fmla="*/ 572 h 831"/>
                <a:gd name="T42" fmla="*/ 48 w 723"/>
                <a:gd name="T43" fmla="*/ 573 h 831"/>
                <a:gd name="T44" fmla="*/ 48 w 723"/>
                <a:gd name="T45" fmla="*/ 573 h 831"/>
                <a:gd name="T46" fmla="*/ 48 w 723"/>
                <a:gd name="T47" fmla="*/ 574 h 831"/>
                <a:gd name="T48" fmla="*/ 49 w 723"/>
                <a:gd name="T49" fmla="*/ 575 h 831"/>
                <a:gd name="T50" fmla="*/ 49 w 723"/>
                <a:gd name="T51" fmla="*/ 575 h 831"/>
                <a:gd name="T52" fmla="*/ 49 w 723"/>
                <a:gd name="T53" fmla="*/ 576 h 831"/>
                <a:gd name="T54" fmla="*/ 49 w 723"/>
                <a:gd name="T55" fmla="*/ 576 h 831"/>
                <a:gd name="T56" fmla="*/ 50 w 723"/>
                <a:gd name="T57" fmla="*/ 580 h 831"/>
                <a:gd name="T58" fmla="*/ 50 w 723"/>
                <a:gd name="T59" fmla="*/ 580 h 831"/>
                <a:gd name="T60" fmla="*/ 51 w 723"/>
                <a:gd name="T61" fmla="*/ 582 h 831"/>
                <a:gd name="T62" fmla="*/ 51 w 723"/>
                <a:gd name="T63" fmla="*/ 582 h 831"/>
                <a:gd name="T64" fmla="*/ 249 w 723"/>
                <a:gd name="T65" fmla="*/ 831 h 831"/>
                <a:gd name="T66" fmla="*/ 63 w 723"/>
                <a:gd name="T67" fmla="*/ 574 h 831"/>
                <a:gd name="T68" fmla="*/ 379 w 723"/>
                <a:gd name="T69" fmla="*/ 27 h 831"/>
                <a:gd name="T70" fmla="*/ 495 w 723"/>
                <a:gd name="T71" fmla="*/ 12 h 831"/>
                <a:gd name="T72" fmla="*/ 723 w 723"/>
                <a:gd name="T73" fmla="*/ 74 h 831"/>
                <a:gd name="T74" fmla="*/ 477 w 723"/>
                <a:gd name="T75" fmla="*/ 0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23" h="831">
                  <a:moveTo>
                    <a:pt x="477" y="0"/>
                  </a:moveTo>
                  <a:cubicBezTo>
                    <a:pt x="445" y="0"/>
                    <a:pt x="413" y="3"/>
                    <a:pt x="380" y="11"/>
                  </a:cubicBezTo>
                  <a:cubicBezTo>
                    <a:pt x="380" y="11"/>
                    <a:pt x="380" y="11"/>
                    <a:pt x="380" y="11"/>
                  </a:cubicBezTo>
                  <a:cubicBezTo>
                    <a:pt x="380" y="11"/>
                    <a:pt x="380" y="11"/>
                    <a:pt x="379" y="11"/>
                  </a:cubicBezTo>
                  <a:cubicBezTo>
                    <a:pt x="373" y="12"/>
                    <a:pt x="367" y="14"/>
                    <a:pt x="361" y="15"/>
                  </a:cubicBezTo>
                  <a:cubicBezTo>
                    <a:pt x="204" y="57"/>
                    <a:pt x="89" y="178"/>
                    <a:pt x="47" y="324"/>
                  </a:cubicBezTo>
                  <a:cubicBezTo>
                    <a:pt x="36" y="363"/>
                    <a:pt x="30" y="405"/>
                    <a:pt x="30" y="447"/>
                  </a:cubicBezTo>
                  <a:cubicBezTo>
                    <a:pt x="30" y="485"/>
                    <a:pt x="35" y="524"/>
                    <a:pt x="45" y="563"/>
                  </a:cubicBezTo>
                  <a:cubicBezTo>
                    <a:pt x="45" y="563"/>
                    <a:pt x="45" y="564"/>
                    <a:pt x="45" y="564"/>
                  </a:cubicBezTo>
                  <a:cubicBezTo>
                    <a:pt x="45" y="564"/>
                    <a:pt x="46" y="564"/>
                    <a:pt x="46" y="564"/>
                  </a:cubicBezTo>
                  <a:cubicBezTo>
                    <a:pt x="46" y="565"/>
                    <a:pt x="46" y="565"/>
                    <a:pt x="46" y="565"/>
                  </a:cubicBezTo>
                  <a:cubicBezTo>
                    <a:pt x="46" y="565"/>
                    <a:pt x="46" y="566"/>
                    <a:pt x="46" y="566"/>
                  </a:cubicBezTo>
                  <a:cubicBezTo>
                    <a:pt x="46" y="566"/>
                    <a:pt x="46" y="566"/>
                    <a:pt x="46" y="566"/>
                  </a:cubicBezTo>
                  <a:cubicBezTo>
                    <a:pt x="46" y="567"/>
                    <a:pt x="46" y="567"/>
                    <a:pt x="46" y="567"/>
                  </a:cubicBezTo>
                  <a:cubicBezTo>
                    <a:pt x="46" y="567"/>
                    <a:pt x="46" y="568"/>
                    <a:pt x="47" y="568"/>
                  </a:cubicBezTo>
                  <a:cubicBezTo>
                    <a:pt x="47" y="568"/>
                    <a:pt x="47" y="568"/>
                    <a:pt x="47" y="568"/>
                  </a:cubicBezTo>
                  <a:cubicBezTo>
                    <a:pt x="47" y="569"/>
                    <a:pt x="47" y="569"/>
                    <a:pt x="47" y="569"/>
                  </a:cubicBezTo>
                  <a:cubicBezTo>
                    <a:pt x="47" y="569"/>
                    <a:pt x="47" y="569"/>
                    <a:pt x="47" y="570"/>
                  </a:cubicBezTo>
                  <a:cubicBezTo>
                    <a:pt x="47" y="570"/>
                    <a:pt x="47" y="570"/>
                    <a:pt x="47" y="571"/>
                  </a:cubicBezTo>
                  <a:cubicBezTo>
                    <a:pt x="47" y="571"/>
                    <a:pt x="47" y="571"/>
                    <a:pt x="47" y="571"/>
                  </a:cubicBezTo>
                  <a:cubicBezTo>
                    <a:pt x="48" y="571"/>
                    <a:pt x="48" y="572"/>
                    <a:pt x="48" y="572"/>
                  </a:cubicBezTo>
                  <a:cubicBezTo>
                    <a:pt x="48" y="572"/>
                    <a:pt x="48" y="572"/>
                    <a:pt x="48" y="573"/>
                  </a:cubicBezTo>
                  <a:cubicBezTo>
                    <a:pt x="48" y="573"/>
                    <a:pt x="48" y="573"/>
                    <a:pt x="48" y="573"/>
                  </a:cubicBezTo>
                  <a:cubicBezTo>
                    <a:pt x="48" y="574"/>
                    <a:pt x="48" y="574"/>
                    <a:pt x="48" y="574"/>
                  </a:cubicBezTo>
                  <a:cubicBezTo>
                    <a:pt x="48" y="574"/>
                    <a:pt x="48" y="574"/>
                    <a:pt x="49" y="575"/>
                  </a:cubicBezTo>
                  <a:cubicBezTo>
                    <a:pt x="49" y="575"/>
                    <a:pt x="49" y="575"/>
                    <a:pt x="49" y="575"/>
                  </a:cubicBezTo>
                  <a:cubicBezTo>
                    <a:pt x="49" y="575"/>
                    <a:pt x="49" y="576"/>
                    <a:pt x="49" y="576"/>
                  </a:cubicBezTo>
                  <a:cubicBezTo>
                    <a:pt x="49" y="576"/>
                    <a:pt x="49" y="576"/>
                    <a:pt x="49" y="576"/>
                  </a:cubicBezTo>
                  <a:cubicBezTo>
                    <a:pt x="49" y="578"/>
                    <a:pt x="50" y="579"/>
                    <a:pt x="50" y="580"/>
                  </a:cubicBezTo>
                  <a:cubicBezTo>
                    <a:pt x="50" y="580"/>
                    <a:pt x="50" y="580"/>
                    <a:pt x="50" y="580"/>
                  </a:cubicBezTo>
                  <a:cubicBezTo>
                    <a:pt x="50" y="581"/>
                    <a:pt x="51" y="581"/>
                    <a:pt x="51" y="582"/>
                  </a:cubicBezTo>
                  <a:cubicBezTo>
                    <a:pt x="51" y="582"/>
                    <a:pt x="51" y="582"/>
                    <a:pt x="51" y="582"/>
                  </a:cubicBezTo>
                  <a:cubicBezTo>
                    <a:pt x="85" y="690"/>
                    <a:pt x="157" y="777"/>
                    <a:pt x="249" y="831"/>
                  </a:cubicBezTo>
                  <a:cubicBezTo>
                    <a:pt x="161" y="773"/>
                    <a:pt x="93" y="684"/>
                    <a:pt x="63" y="574"/>
                  </a:cubicBezTo>
                  <a:cubicBezTo>
                    <a:pt x="0" y="336"/>
                    <a:pt x="141" y="91"/>
                    <a:pt x="379" y="27"/>
                  </a:cubicBezTo>
                  <a:cubicBezTo>
                    <a:pt x="418" y="16"/>
                    <a:pt x="457" y="12"/>
                    <a:pt x="495" y="12"/>
                  </a:cubicBezTo>
                  <a:cubicBezTo>
                    <a:pt x="576" y="12"/>
                    <a:pt x="655" y="34"/>
                    <a:pt x="723" y="74"/>
                  </a:cubicBezTo>
                  <a:cubicBezTo>
                    <a:pt x="651" y="27"/>
                    <a:pt x="566" y="0"/>
                    <a:pt x="477" y="0"/>
                  </a:cubicBez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926999" y="2533650"/>
            <a:ext cx="3614314" cy="895350"/>
          </a:xfrm>
        </p:spPr>
        <p:txBody>
          <a:bodyPr anchor="b">
            <a:normAutofit/>
          </a:bodyPr>
          <a:lstStyle>
            <a:lvl1pPr algn="l"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927836" y="3429001"/>
            <a:ext cx="3614314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200">
                <a:solidFill>
                  <a:schemeClr val="tx1"/>
                </a:solidFill>
              </a:defRPr>
            </a:lvl1pPr>
            <a:lvl2pPr marL="34288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66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29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1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06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3/9/25</a:t>
            </a:fld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02444" y="1130300"/>
            <a:ext cx="8137922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:a16="http://schemas.microsoft.com/office/drawing/2014/main" id="{2AB5E735-B5BC-4987-AA50-6594404CBF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4000" y="0"/>
            <a:ext cx="12191996" cy="685799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3/9/25</a:t>
            </a:fld>
            <a:endParaRPr lang="zh-CN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组合 55">
            <a:extLst>
              <a:ext uri="{FF2B5EF4-FFF2-40B4-BE49-F238E27FC236}">
                <a16:creationId xmlns:a16="http://schemas.microsoft.com/office/drawing/2014/main" id="{B2311EBA-1AE2-401A-BC9A-4BD4100D3EE3}"/>
              </a:ext>
            </a:extLst>
          </p:cNvPr>
          <p:cNvGrpSpPr/>
          <p:nvPr userDrawn="1"/>
        </p:nvGrpSpPr>
        <p:grpSpPr>
          <a:xfrm flipH="1">
            <a:off x="-12700" y="0"/>
            <a:ext cx="9156701" cy="6845302"/>
            <a:chOff x="-12700" y="0"/>
            <a:chExt cx="9156701" cy="6845302"/>
          </a:xfrm>
        </p:grpSpPr>
        <p:sp>
          <p:nvSpPr>
            <p:cNvPr id="57" name="Rectangle 81">
              <a:extLst>
                <a:ext uri="{FF2B5EF4-FFF2-40B4-BE49-F238E27FC236}">
                  <a16:creationId xmlns:a16="http://schemas.microsoft.com/office/drawing/2014/main" id="{1783D7D3-EFDE-4D16-90AD-E7B0EA11EA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0" y="0"/>
              <a:ext cx="9144000" cy="684530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95C3338B-0B7E-485A-945B-63774EBD9B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00" y="9526"/>
              <a:ext cx="2439988" cy="749024"/>
            </a:xfrm>
            <a:custGeom>
              <a:avLst/>
              <a:gdLst>
                <a:gd name="connsiteX0" fmla="*/ 1084263 w 2439988"/>
                <a:gd name="connsiteY0" fmla="*/ 0 h 749024"/>
                <a:gd name="connsiteX1" fmla="*/ 2439988 w 2439988"/>
                <a:gd name="connsiteY1" fmla="*/ 0 h 749024"/>
                <a:gd name="connsiteX2" fmla="*/ 0 w 2439988"/>
                <a:gd name="connsiteY2" fmla="*/ 749024 h 749024"/>
                <a:gd name="connsiteX3" fmla="*/ 0 w 2439988"/>
                <a:gd name="connsiteY3" fmla="*/ 332952 h 749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9988" h="749024">
                  <a:moveTo>
                    <a:pt x="1084263" y="0"/>
                  </a:moveTo>
                  <a:lnTo>
                    <a:pt x="2439988" y="0"/>
                  </a:lnTo>
                  <a:lnTo>
                    <a:pt x="0" y="749024"/>
                  </a:lnTo>
                  <a:lnTo>
                    <a:pt x="0" y="332952"/>
                  </a:lnTo>
                  <a:close/>
                </a:path>
              </a:pathLst>
            </a:custGeom>
            <a:solidFill>
              <a:schemeClr val="accent2">
                <a:alpha val="52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11801879-E123-41AB-ABBF-E28144DE53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00" y="9526"/>
              <a:ext cx="5912432" cy="1813754"/>
            </a:xfrm>
            <a:custGeom>
              <a:avLst/>
              <a:gdLst>
                <a:gd name="connsiteX0" fmla="*/ 4558295 w 5912432"/>
                <a:gd name="connsiteY0" fmla="*/ 0 h 1813754"/>
                <a:gd name="connsiteX1" fmla="*/ 5912432 w 5912432"/>
                <a:gd name="connsiteY1" fmla="*/ 0 h 1813754"/>
                <a:gd name="connsiteX2" fmla="*/ 0 w 5912432"/>
                <a:gd name="connsiteY2" fmla="*/ 1813754 h 1813754"/>
                <a:gd name="connsiteX3" fmla="*/ 0 w 5912432"/>
                <a:gd name="connsiteY3" fmla="*/ 1397957 h 1813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12432" h="1813754">
                  <a:moveTo>
                    <a:pt x="4558295" y="0"/>
                  </a:moveTo>
                  <a:lnTo>
                    <a:pt x="5912432" y="0"/>
                  </a:lnTo>
                  <a:lnTo>
                    <a:pt x="0" y="1813754"/>
                  </a:lnTo>
                  <a:lnTo>
                    <a:pt x="0" y="1397957"/>
                  </a:lnTo>
                  <a:close/>
                </a:path>
              </a:pathLst>
            </a:custGeom>
            <a:solidFill>
              <a:schemeClr val="accent2">
                <a:alpha val="52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0C45473F-526F-424D-9F86-F9C35CDCD2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9526"/>
              <a:ext cx="9144000" cy="2882772"/>
            </a:xfrm>
            <a:custGeom>
              <a:avLst/>
              <a:gdLst>
                <a:gd name="connsiteX0" fmla="*/ 8025745 w 9144000"/>
                <a:gd name="connsiteY0" fmla="*/ 0 h 2882772"/>
                <a:gd name="connsiteX1" fmla="*/ 9144000 w 9144000"/>
                <a:gd name="connsiteY1" fmla="*/ 0 h 2882772"/>
                <a:gd name="connsiteX2" fmla="*/ 9144000 w 9144000"/>
                <a:gd name="connsiteY2" fmla="*/ 72216 h 2882772"/>
                <a:gd name="connsiteX3" fmla="*/ 0 w 9144000"/>
                <a:gd name="connsiteY3" fmla="*/ 2882772 h 2882772"/>
                <a:gd name="connsiteX4" fmla="*/ 0 w 9144000"/>
                <a:gd name="connsiteY4" fmla="*/ 2466847 h 2882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882772">
                  <a:moveTo>
                    <a:pt x="8025745" y="0"/>
                  </a:moveTo>
                  <a:lnTo>
                    <a:pt x="9144000" y="0"/>
                  </a:lnTo>
                  <a:lnTo>
                    <a:pt x="9144000" y="72216"/>
                  </a:lnTo>
                  <a:lnTo>
                    <a:pt x="0" y="2882772"/>
                  </a:lnTo>
                  <a:lnTo>
                    <a:pt x="0" y="2466847"/>
                  </a:lnTo>
                  <a:close/>
                </a:path>
              </a:pathLst>
            </a:custGeom>
            <a:solidFill>
              <a:schemeClr val="accent2">
                <a:alpha val="52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63C5997B-9D90-40E5-B400-B18ED7E1DE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00" y="739591"/>
              <a:ext cx="9156700" cy="3217458"/>
            </a:xfrm>
            <a:custGeom>
              <a:avLst/>
              <a:gdLst>
                <a:gd name="connsiteX0" fmla="*/ 9156700 w 9156700"/>
                <a:gd name="connsiteY0" fmla="*/ 0 h 3217458"/>
                <a:gd name="connsiteX1" fmla="*/ 9156700 w 9156700"/>
                <a:gd name="connsiteY1" fmla="*/ 414337 h 3217458"/>
                <a:gd name="connsiteX2" fmla="*/ 0 w 9156700"/>
                <a:gd name="connsiteY2" fmla="*/ 3217458 h 3217458"/>
                <a:gd name="connsiteX3" fmla="*/ 0 w 9156700"/>
                <a:gd name="connsiteY3" fmla="*/ 2803121 h 321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56700" h="3217458">
                  <a:moveTo>
                    <a:pt x="9156700" y="0"/>
                  </a:moveTo>
                  <a:lnTo>
                    <a:pt x="9156700" y="414337"/>
                  </a:lnTo>
                  <a:lnTo>
                    <a:pt x="0" y="3217458"/>
                  </a:lnTo>
                  <a:lnTo>
                    <a:pt x="0" y="2803121"/>
                  </a:lnTo>
                  <a:close/>
                </a:path>
              </a:pathLst>
            </a:custGeom>
            <a:solidFill>
              <a:schemeClr val="accent2">
                <a:alpha val="52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35B7CF0C-618E-4B53-A2F2-4D18891C2D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00" y="1804803"/>
              <a:ext cx="9156701" cy="3219045"/>
            </a:xfrm>
            <a:custGeom>
              <a:avLst/>
              <a:gdLst>
                <a:gd name="connsiteX0" fmla="*/ 9156701 w 9156701"/>
                <a:gd name="connsiteY0" fmla="*/ 0 h 3219045"/>
                <a:gd name="connsiteX1" fmla="*/ 9156701 w 9156701"/>
                <a:gd name="connsiteY1" fmla="*/ 415925 h 3219045"/>
                <a:gd name="connsiteX2" fmla="*/ 0 w 9156701"/>
                <a:gd name="connsiteY2" fmla="*/ 3219045 h 3219045"/>
                <a:gd name="connsiteX3" fmla="*/ 0 w 9156701"/>
                <a:gd name="connsiteY3" fmla="*/ 2803120 h 3219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56701" h="3219045">
                  <a:moveTo>
                    <a:pt x="9156701" y="0"/>
                  </a:moveTo>
                  <a:lnTo>
                    <a:pt x="9156701" y="415925"/>
                  </a:lnTo>
                  <a:lnTo>
                    <a:pt x="0" y="3219045"/>
                  </a:lnTo>
                  <a:lnTo>
                    <a:pt x="0" y="2803120"/>
                  </a:lnTo>
                  <a:close/>
                </a:path>
              </a:pathLst>
            </a:custGeom>
            <a:solidFill>
              <a:schemeClr val="accent2">
                <a:alpha val="52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01877138-8BB0-403B-B0A6-C7DA145EA9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2871603"/>
              <a:ext cx="9144000" cy="3219045"/>
            </a:xfrm>
            <a:custGeom>
              <a:avLst/>
              <a:gdLst>
                <a:gd name="connsiteX0" fmla="*/ 9156700 w 9156700"/>
                <a:gd name="connsiteY0" fmla="*/ 0 h 3219045"/>
                <a:gd name="connsiteX1" fmla="*/ 9156700 w 9156700"/>
                <a:gd name="connsiteY1" fmla="*/ 415925 h 3219045"/>
                <a:gd name="connsiteX2" fmla="*/ 0 w 9156700"/>
                <a:gd name="connsiteY2" fmla="*/ 3219045 h 3219045"/>
                <a:gd name="connsiteX3" fmla="*/ 0 w 9156700"/>
                <a:gd name="connsiteY3" fmla="*/ 2803120 h 3219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56700" h="3219045">
                  <a:moveTo>
                    <a:pt x="9156700" y="0"/>
                  </a:moveTo>
                  <a:lnTo>
                    <a:pt x="9156700" y="415925"/>
                  </a:lnTo>
                  <a:lnTo>
                    <a:pt x="0" y="3219045"/>
                  </a:lnTo>
                  <a:lnTo>
                    <a:pt x="0" y="2803120"/>
                  </a:lnTo>
                  <a:close/>
                </a:path>
              </a:pathLst>
            </a:custGeom>
            <a:solidFill>
              <a:schemeClr val="accent2">
                <a:alpha val="52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DCD237D3-300C-4EAF-9E1E-EE5B802A80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2700" y="3940465"/>
              <a:ext cx="9156701" cy="2904836"/>
            </a:xfrm>
            <a:custGeom>
              <a:avLst/>
              <a:gdLst>
                <a:gd name="connsiteX0" fmla="*/ 9156701 w 9156701"/>
                <a:gd name="connsiteY0" fmla="*/ 0 h 2904836"/>
                <a:gd name="connsiteX1" fmla="*/ 9156701 w 9156701"/>
                <a:gd name="connsiteY1" fmla="*/ 413091 h 2904836"/>
                <a:gd name="connsiteX2" fmla="*/ 1039814 w 9156701"/>
                <a:gd name="connsiteY2" fmla="*/ 2904836 h 2904836"/>
                <a:gd name="connsiteX3" fmla="*/ 0 w 9156701"/>
                <a:gd name="connsiteY3" fmla="*/ 2904836 h 2904836"/>
                <a:gd name="connsiteX4" fmla="*/ 0 w 9156701"/>
                <a:gd name="connsiteY4" fmla="*/ 2808902 h 2904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56701" h="2904836">
                  <a:moveTo>
                    <a:pt x="9156701" y="0"/>
                  </a:moveTo>
                  <a:lnTo>
                    <a:pt x="9156701" y="413091"/>
                  </a:lnTo>
                  <a:lnTo>
                    <a:pt x="1039814" y="2904836"/>
                  </a:lnTo>
                  <a:lnTo>
                    <a:pt x="0" y="2904836"/>
                  </a:lnTo>
                  <a:lnTo>
                    <a:pt x="0" y="2808902"/>
                  </a:lnTo>
                  <a:close/>
                </a:path>
              </a:pathLst>
            </a:custGeom>
            <a:solidFill>
              <a:schemeClr val="accent2">
                <a:alpha val="52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AD59A126-3760-422C-AA33-5C849D58E5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49600" y="5005837"/>
              <a:ext cx="5994400" cy="1839464"/>
            </a:xfrm>
            <a:custGeom>
              <a:avLst/>
              <a:gdLst>
                <a:gd name="connsiteX0" fmla="*/ 5994400 w 5994400"/>
                <a:gd name="connsiteY0" fmla="*/ 0 h 1839464"/>
                <a:gd name="connsiteX1" fmla="*/ 5994400 w 5994400"/>
                <a:gd name="connsiteY1" fmla="*/ 415708 h 1839464"/>
                <a:gd name="connsiteX2" fmla="*/ 1352550 w 5994400"/>
                <a:gd name="connsiteY2" fmla="*/ 1839464 h 1839464"/>
                <a:gd name="connsiteX3" fmla="*/ 0 w 5994400"/>
                <a:gd name="connsiteY3" fmla="*/ 1839464 h 1839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94400" h="1839464">
                  <a:moveTo>
                    <a:pt x="5994400" y="0"/>
                  </a:moveTo>
                  <a:lnTo>
                    <a:pt x="5994400" y="415708"/>
                  </a:lnTo>
                  <a:lnTo>
                    <a:pt x="1352550" y="1839464"/>
                  </a:lnTo>
                  <a:lnTo>
                    <a:pt x="0" y="1839464"/>
                  </a:lnTo>
                  <a:close/>
                </a:path>
              </a:pathLst>
            </a:custGeom>
            <a:solidFill>
              <a:schemeClr val="accent2">
                <a:alpha val="52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B1C68B28-03EA-46C6-8F24-6EF044923D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24638" y="6072473"/>
              <a:ext cx="2519362" cy="772829"/>
            </a:xfrm>
            <a:custGeom>
              <a:avLst/>
              <a:gdLst>
                <a:gd name="connsiteX0" fmla="*/ 2519362 w 2519362"/>
                <a:gd name="connsiteY0" fmla="*/ 0 h 772829"/>
                <a:gd name="connsiteX1" fmla="*/ 2519362 w 2519362"/>
                <a:gd name="connsiteY1" fmla="*/ 415898 h 772829"/>
                <a:gd name="connsiteX2" fmla="*/ 1355725 w 2519362"/>
                <a:gd name="connsiteY2" fmla="*/ 772829 h 772829"/>
                <a:gd name="connsiteX3" fmla="*/ 0 w 2519362"/>
                <a:gd name="connsiteY3" fmla="*/ 772829 h 772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19362" h="772829">
                  <a:moveTo>
                    <a:pt x="2519362" y="0"/>
                  </a:moveTo>
                  <a:lnTo>
                    <a:pt x="2519362" y="415898"/>
                  </a:lnTo>
                  <a:lnTo>
                    <a:pt x="1355725" y="772829"/>
                  </a:lnTo>
                  <a:lnTo>
                    <a:pt x="0" y="772829"/>
                  </a:lnTo>
                  <a:close/>
                </a:path>
              </a:pathLst>
            </a:custGeom>
            <a:solidFill>
              <a:schemeClr val="accent2">
                <a:alpha val="52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67" name="Freeform 99">
              <a:extLst>
                <a:ext uri="{FF2B5EF4-FFF2-40B4-BE49-F238E27FC236}">
                  <a16:creationId xmlns:a16="http://schemas.microsoft.com/office/drawing/2014/main" id="{B5ECCEC9-06BB-4AA4-A47F-7D04CDFF2E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54900" y="4772026"/>
              <a:ext cx="827088" cy="684213"/>
            </a:xfrm>
            <a:custGeom>
              <a:avLst/>
              <a:gdLst>
                <a:gd name="T0" fmla="*/ 82 w 436"/>
                <a:gd name="T1" fmla="*/ 59 h 361"/>
                <a:gd name="T2" fmla="*/ 75 w 436"/>
                <a:gd name="T3" fmla="*/ 294 h 361"/>
                <a:gd name="T4" fmla="*/ 357 w 436"/>
                <a:gd name="T5" fmla="*/ 296 h 361"/>
                <a:gd name="T6" fmla="*/ 355 w 436"/>
                <a:gd name="T7" fmla="*/ 299 h 361"/>
                <a:gd name="T8" fmla="*/ 348 w 436"/>
                <a:gd name="T9" fmla="*/ 59 h 361"/>
                <a:gd name="T10" fmla="*/ 75 w 436"/>
                <a:gd name="T11" fmla="*/ 65 h 361"/>
                <a:gd name="T12" fmla="*/ 82 w 436"/>
                <a:gd name="T13" fmla="*/ 59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6" h="361">
                  <a:moveTo>
                    <a:pt x="82" y="59"/>
                  </a:moveTo>
                  <a:cubicBezTo>
                    <a:pt x="6" y="123"/>
                    <a:pt x="0" y="229"/>
                    <a:pt x="75" y="294"/>
                  </a:cubicBezTo>
                  <a:cubicBezTo>
                    <a:pt x="152" y="361"/>
                    <a:pt x="279" y="361"/>
                    <a:pt x="357" y="296"/>
                  </a:cubicBezTo>
                  <a:cubicBezTo>
                    <a:pt x="355" y="299"/>
                    <a:pt x="355" y="299"/>
                    <a:pt x="355" y="299"/>
                  </a:cubicBezTo>
                  <a:cubicBezTo>
                    <a:pt x="436" y="232"/>
                    <a:pt x="432" y="123"/>
                    <a:pt x="348" y="59"/>
                  </a:cubicBezTo>
                  <a:cubicBezTo>
                    <a:pt x="270" y="0"/>
                    <a:pt x="150" y="3"/>
                    <a:pt x="75" y="65"/>
                  </a:cubicBezTo>
                  <a:lnTo>
                    <a:pt x="82" y="5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" name="Freeform 100">
              <a:extLst>
                <a:ext uri="{FF2B5EF4-FFF2-40B4-BE49-F238E27FC236}">
                  <a16:creationId xmlns:a16="http://schemas.microsoft.com/office/drawing/2014/main" id="{F6806C5A-092C-460E-80E7-15D89E41B2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78825" y="4854576"/>
              <a:ext cx="327025" cy="271463"/>
            </a:xfrm>
            <a:custGeom>
              <a:avLst/>
              <a:gdLst>
                <a:gd name="T0" fmla="*/ 32 w 172"/>
                <a:gd name="T1" fmla="*/ 23 h 143"/>
                <a:gd name="T2" fmla="*/ 29 w 172"/>
                <a:gd name="T3" fmla="*/ 116 h 143"/>
                <a:gd name="T4" fmla="*/ 141 w 172"/>
                <a:gd name="T5" fmla="*/ 117 h 143"/>
                <a:gd name="T6" fmla="*/ 140 w 172"/>
                <a:gd name="T7" fmla="*/ 119 h 143"/>
                <a:gd name="T8" fmla="*/ 137 w 172"/>
                <a:gd name="T9" fmla="*/ 23 h 143"/>
                <a:gd name="T10" fmla="*/ 29 w 172"/>
                <a:gd name="T11" fmla="*/ 26 h 143"/>
                <a:gd name="T12" fmla="*/ 32 w 172"/>
                <a:gd name="T13" fmla="*/ 2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2" h="143">
                  <a:moveTo>
                    <a:pt x="32" y="23"/>
                  </a:moveTo>
                  <a:cubicBezTo>
                    <a:pt x="2" y="49"/>
                    <a:pt x="0" y="90"/>
                    <a:pt x="29" y="116"/>
                  </a:cubicBezTo>
                  <a:cubicBezTo>
                    <a:pt x="60" y="143"/>
                    <a:pt x="110" y="143"/>
                    <a:pt x="141" y="117"/>
                  </a:cubicBezTo>
                  <a:cubicBezTo>
                    <a:pt x="140" y="119"/>
                    <a:pt x="140" y="119"/>
                    <a:pt x="140" y="119"/>
                  </a:cubicBezTo>
                  <a:cubicBezTo>
                    <a:pt x="172" y="92"/>
                    <a:pt x="171" y="48"/>
                    <a:pt x="137" y="23"/>
                  </a:cubicBezTo>
                  <a:cubicBezTo>
                    <a:pt x="106" y="0"/>
                    <a:pt x="59" y="1"/>
                    <a:pt x="29" y="26"/>
                  </a:cubicBezTo>
                  <a:lnTo>
                    <a:pt x="32" y="2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" name="Freeform 101">
              <a:extLst>
                <a:ext uri="{FF2B5EF4-FFF2-40B4-BE49-F238E27FC236}">
                  <a16:creationId xmlns:a16="http://schemas.microsoft.com/office/drawing/2014/main" id="{8BF9C07D-1685-4B3B-85A8-089EB66BE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888" y="357188"/>
              <a:ext cx="8027988" cy="6013450"/>
            </a:xfrm>
            <a:custGeom>
              <a:avLst/>
              <a:gdLst>
                <a:gd name="T0" fmla="*/ 3931 w 4229"/>
                <a:gd name="T1" fmla="*/ 1815 h 3167"/>
                <a:gd name="T2" fmla="*/ 3787 w 4229"/>
                <a:gd name="T3" fmla="*/ 1695 h 3167"/>
                <a:gd name="T4" fmla="*/ 4078 w 4229"/>
                <a:gd name="T5" fmla="*/ 1302 h 3167"/>
                <a:gd name="T6" fmla="*/ 3657 w 4229"/>
                <a:gd name="T7" fmla="*/ 1502 h 3167"/>
                <a:gd name="T8" fmla="*/ 3536 w 4229"/>
                <a:gd name="T9" fmla="*/ 1401 h 3167"/>
                <a:gd name="T10" fmla="*/ 3643 w 4229"/>
                <a:gd name="T11" fmla="*/ 1182 h 3167"/>
                <a:gd name="T12" fmla="*/ 4067 w 4229"/>
                <a:gd name="T13" fmla="*/ 692 h 3167"/>
                <a:gd name="T14" fmla="*/ 3884 w 4229"/>
                <a:gd name="T15" fmla="*/ 539 h 3167"/>
                <a:gd name="T16" fmla="*/ 3611 w 4229"/>
                <a:gd name="T17" fmla="*/ 714 h 3167"/>
                <a:gd name="T18" fmla="*/ 3652 w 4229"/>
                <a:gd name="T19" fmla="*/ 626 h 3167"/>
                <a:gd name="T20" fmla="*/ 3466 w 4229"/>
                <a:gd name="T21" fmla="*/ 471 h 3167"/>
                <a:gd name="T22" fmla="*/ 3238 w 4229"/>
                <a:gd name="T23" fmla="*/ 515 h 3167"/>
                <a:gd name="T24" fmla="*/ 3280 w 4229"/>
                <a:gd name="T25" fmla="*/ 334 h 3167"/>
                <a:gd name="T26" fmla="*/ 2966 w 4229"/>
                <a:gd name="T27" fmla="*/ 72 h 3167"/>
                <a:gd name="T28" fmla="*/ 2492 w 4229"/>
                <a:gd name="T29" fmla="*/ 391 h 3167"/>
                <a:gd name="T30" fmla="*/ 2580 w 4229"/>
                <a:gd name="T31" fmla="*/ 240 h 3167"/>
                <a:gd name="T32" fmla="*/ 2392 w 4229"/>
                <a:gd name="T33" fmla="*/ 83 h 3167"/>
                <a:gd name="T34" fmla="*/ 1992 w 4229"/>
                <a:gd name="T35" fmla="*/ 249 h 3167"/>
                <a:gd name="T36" fmla="*/ 1476 w 4229"/>
                <a:gd name="T37" fmla="*/ 511 h 3167"/>
                <a:gd name="T38" fmla="*/ 1314 w 4229"/>
                <a:gd name="T39" fmla="*/ 376 h 3167"/>
                <a:gd name="T40" fmla="*/ 1414 w 4229"/>
                <a:gd name="T41" fmla="*/ 112 h 3167"/>
                <a:gd name="T42" fmla="*/ 213 w 4229"/>
                <a:gd name="T43" fmla="*/ 900 h 3167"/>
                <a:gd name="T44" fmla="*/ 217 w 4229"/>
                <a:gd name="T45" fmla="*/ 1240 h 3167"/>
                <a:gd name="T46" fmla="*/ 217 w 4229"/>
                <a:gd name="T47" fmla="*/ 1575 h 3167"/>
                <a:gd name="T48" fmla="*/ 144 w 4229"/>
                <a:gd name="T49" fmla="*/ 1828 h 3167"/>
                <a:gd name="T50" fmla="*/ 558 w 4229"/>
                <a:gd name="T51" fmla="*/ 1676 h 3167"/>
                <a:gd name="T52" fmla="*/ 637 w 4229"/>
                <a:gd name="T53" fmla="*/ 1742 h 3167"/>
                <a:gd name="T54" fmla="*/ 66 w 4229"/>
                <a:gd name="T55" fmla="*/ 2417 h 3167"/>
                <a:gd name="T56" fmla="*/ 997 w 4229"/>
                <a:gd name="T57" fmla="*/ 1838 h 3167"/>
                <a:gd name="T58" fmla="*/ 1113 w 4229"/>
                <a:gd name="T59" fmla="*/ 1934 h 3167"/>
                <a:gd name="T60" fmla="*/ 719 w 4229"/>
                <a:gd name="T61" fmla="*/ 2408 h 3167"/>
                <a:gd name="T62" fmla="*/ 1179 w 4229"/>
                <a:gd name="T63" fmla="*/ 2169 h 3167"/>
                <a:gd name="T64" fmla="*/ 1319 w 4229"/>
                <a:gd name="T65" fmla="*/ 2285 h 3167"/>
                <a:gd name="T66" fmla="*/ 1319 w 4229"/>
                <a:gd name="T67" fmla="*/ 2585 h 3167"/>
                <a:gd name="T68" fmla="*/ 1138 w 4229"/>
                <a:gd name="T69" fmla="*/ 2912 h 3167"/>
                <a:gd name="T70" fmla="*/ 1692 w 4229"/>
                <a:gd name="T71" fmla="*/ 2630 h 3167"/>
                <a:gd name="T72" fmla="*/ 1968 w 4229"/>
                <a:gd name="T73" fmla="*/ 2628 h 3167"/>
                <a:gd name="T74" fmla="*/ 1968 w 4229"/>
                <a:gd name="T75" fmla="*/ 2866 h 3167"/>
                <a:gd name="T76" fmla="*/ 2254 w 4229"/>
                <a:gd name="T77" fmla="*/ 3101 h 3167"/>
                <a:gd name="T78" fmla="*/ 2610 w 4229"/>
                <a:gd name="T79" fmla="*/ 2979 h 3167"/>
                <a:gd name="T80" fmla="*/ 4185 w 4229"/>
                <a:gd name="T81" fmla="*/ 1872 h 3167"/>
                <a:gd name="T82" fmla="*/ 4024 w 4229"/>
                <a:gd name="T83" fmla="*/ 1738 h 3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29" h="3167">
                  <a:moveTo>
                    <a:pt x="4024" y="1738"/>
                  </a:moveTo>
                  <a:cubicBezTo>
                    <a:pt x="3931" y="1815"/>
                    <a:pt x="3931" y="1815"/>
                    <a:pt x="3931" y="1815"/>
                  </a:cubicBezTo>
                  <a:cubicBezTo>
                    <a:pt x="3891" y="1848"/>
                    <a:pt x="3827" y="1848"/>
                    <a:pt x="3787" y="1815"/>
                  </a:cubicBezTo>
                  <a:cubicBezTo>
                    <a:pt x="3748" y="1782"/>
                    <a:pt x="3748" y="1729"/>
                    <a:pt x="3787" y="1695"/>
                  </a:cubicBezTo>
                  <a:cubicBezTo>
                    <a:pt x="4078" y="1453"/>
                    <a:pt x="4078" y="1453"/>
                    <a:pt x="4078" y="1453"/>
                  </a:cubicBezTo>
                  <a:cubicBezTo>
                    <a:pt x="4128" y="1411"/>
                    <a:pt x="4128" y="1344"/>
                    <a:pt x="4078" y="1302"/>
                  </a:cubicBezTo>
                  <a:cubicBezTo>
                    <a:pt x="4028" y="1260"/>
                    <a:pt x="3947" y="1260"/>
                    <a:pt x="3897" y="1302"/>
                  </a:cubicBezTo>
                  <a:cubicBezTo>
                    <a:pt x="3657" y="1502"/>
                    <a:pt x="3657" y="1502"/>
                    <a:pt x="3657" y="1502"/>
                  </a:cubicBezTo>
                  <a:cubicBezTo>
                    <a:pt x="3624" y="1530"/>
                    <a:pt x="3570" y="1530"/>
                    <a:pt x="3536" y="1502"/>
                  </a:cubicBezTo>
                  <a:cubicBezTo>
                    <a:pt x="3503" y="1474"/>
                    <a:pt x="3503" y="1429"/>
                    <a:pt x="3536" y="1401"/>
                  </a:cubicBezTo>
                  <a:cubicBezTo>
                    <a:pt x="3643" y="1311"/>
                    <a:pt x="3643" y="1311"/>
                    <a:pt x="3643" y="1311"/>
                  </a:cubicBezTo>
                  <a:cubicBezTo>
                    <a:pt x="3686" y="1276"/>
                    <a:pt x="3686" y="1218"/>
                    <a:pt x="3643" y="1182"/>
                  </a:cubicBezTo>
                  <a:cubicBezTo>
                    <a:pt x="3598" y="1145"/>
                    <a:pt x="3598" y="1084"/>
                    <a:pt x="3643" y="1047"/>
                  </a:cubicBezTo>
                  <a:cubicBezTo>
                    <a:pt x="4067" y="692"/>
                    <a:pt x="4067" y="692"/>
                    <a:pt x="4067" y="692"/>
                  </a:cubicBezTo>
                  <a:cubicBezTo>
                    <a:pt x="4118" y="650"/>
                    <a:pt x="4118" y="582"/>
                    <a:pt x="4067" y="539"/>
                  </a:cubicBezTo>
                  <a:cubicBezTo>
                    <a:pt x="4017" y="497"/>
                    <a:pt x="3935" y="497"/>
                    <a:pt x="3884" y="539"/>
                  </a:cubicBezTo>
                  <a:cubicBezTo>
                    <a:pt x="3675" y="714"/>
                    <a:pt x="3675" y="714"/>
                    <a:pt x="3675" y="714"/>
                  </a:cubicBezTo>
                  <a:cubicBezTo>
                    <a:pt x="3657" y="729"/>
                    <a:pt x="3629" y="729"/>
                    <a:pt x="3611" y="714"/>
                  </a:cubicBezTo>
                  <a:cubicBezTo>
                    <a:pt x="3593" y="699"/>
                    <a:pt x="3593" y="675"/>
                    <a:pt x="3611" y="660"/>
                  </a:cubicBezTo>
                  <a:cubicBezTo>
                    <a:pt x="3652" y="626"/>
                    <a:pt x="3652" y="626"/>
                    <a:pt x="3652" y="626"/>
                  </a:cubicBezTo>
                  <a:cubicBezTo>
                    <a:pt x="3703" y="583"/>
                    <a:pt x="3703" y="514"/>
                    <a:pt x="3652" y="471"/>
                  </a:cubicBezTo>
                  <a:cubicBezTo>
                    <a:pt x="3600" y="428"/>
                    <a:pt x="3517" y="428"/>
                    <a:pt x="3466" y="471"/>
                  </a:cubicBezTo>
                  <a:cubicBezTo>
                    <a:pt x="3413" y="515"/>
                    <a:pt x="3413" y="515"/>
                    <a:pt x="3413" y="515"/>
                  </a:cubicBezTo>
                  <a:cubicBezTo>
                    <a:pt x="3365" y="555"/>
                    <a:pt x="3286" y="555"/>
                    <a:pt x="3238" y="515"/>
                  </a:cubicBezTo>
                  <a:cubicBezTo>
                    <a:pt x="3190" y="475"/>
                    <a:pt x="3190" y="409"/>
                    <a:pt x="3238" y="369"/>
                  </a:cubicBezTo>
                  <a:cubicBezTo>
                    <a:pt x="3280" y="334"/>
                    <a:pt x="3280" y="334"/>
                    <a:pt x="3280" y="334"/>
                  </a:cubicBezTo>
                  <a:cubicBezTo>
                    <a:pt x="3366" y="262"/>
                    <a:pt x="3366" y="144"/>
                    <a:pt x="3280" y="72"/>
                  </a:cubicBezTo>
                  <a:cubicBezTo>
                    <a:pt x="3193" y="0"/>
                    <a:pt x="3053" y="0"/>
                    <a:pt x="2966" y="72"/>
                  </a:cubicBezTo>
                  <a:cubicBezTo>
                    <a:pt x="2584" y="391"/>
                    <a:pt x="2584" y="391"/>
                    <a:pt x="2584" y="391"/>
                  </a:cubicBezTo>
                  <a:cubicBezTo>
                    <a:pt x="2558" y="413"/>
                    <a:pt x="2517" y="413"/>
                    <a:pt x="2492" y="391"/>
                  </a:cubicBezTo>
                  <a:cubicBezTo>
                    <a:pt x="2466" y="370"/>
                    <a:pt x="2466" y="335"/>
                    <a:pt x="2492" y="314"/>
                  </a:cubicBezTo>
                  <a:cubicBezTo>
                    <a:pt x="2580" y="240"/>
                    <a:pt x="2580" y="240"/>
                    <a:pt x="2580" y="240"/>
                  </a:cubicBezTo>
                  <a:cubicBezTo>
                    <a:pt x="2632" y="197"/>
                    <a:pt x="2632" y="126"/>
                    <a:pt x="2580" y="83"/>
                  </a:cubicBezTo>
                  <a:cubicBezTo>
                    <a:pt x="2528" y="40"/>
                    <a:pt x="2444" y="40"/>
                    <a:pt x="2392" y="83"/>
                  </a:cubicBezTo>
                  <a:cubicBezTo>
                    <a:pt x="2194" y="249"/>
                    <a:pt x="2194" y="249"/>
                    <a:pt x="2194" y="249"/>
                  </a:cubicBezTo>
                  <a:cubicBezTo>
                    <a:pt x="2138" y="295"/>
                    <a:pt x="2048" y="295"/>
                    <a:pt x="1992" y="249"/>
                  </a:cubicBezTo>
                  <a:cubicBezTo>
                    <a:pt x="1937" y="202"/>
                    <a:pt x="1846" y="202"/>
                    <a:pt x="1791" y="249"/>
                  </a:cubicBezTo>
                  <a:cubicBezTo>
                    <a:pt x="1476" y="511"/>
                    <a:pt x="1476" y="511"/>
                    <a:pt x="1476" y="511"/>
                  </a:cubicBezTo>
                  <a:cubicBezTo>
                    <a:pt x="1431" y="549"/>
                    <a:pt x="1359" y="549"/>
                    <a:pt x="1314" y="511"/>
                  </a:cubicBezTo>
                  <a:cubicBezTo>
                    <a:pt x="1269" y="474"/>
                    <a:pt x="1269" y="414"/>
                    <a:pt x="1314" y="376"/>
                  </a:cubicBezTo>
                  <a:cubicBezTo>
                    <a:pt x="1414" y="293"/>
                    <a:pt x="1414" y="293"/>
                    <a:pt x="1414" y="293"/>
                  </a:cubicBezTo>
                  <a:cubicBezTo>
                    <a:pt x="1474" y="243"/>
                    <a:pt x="1474" y="162"/>
                    <a:pt x="1414" y="112"/>
                  </a:cubicBezTo>
                  <a:cubicBezTo>
                    <a:pt x="1355" y="62"/>
                    <a:pt x="1260" y="62"/>
                    <a:pt x="1200" y="110"/>
                  </a:cubicBezTo>
                  <a:cubicBezTo>
                    <a:pt x="213" y="900"/>
                    <a:pt x="213" y="900"/>
                    <a:pt x="213" y="900"/>
                  </a:cubicBezTo>
                  <a:cubicBezTo>
                    <a:pt x="154" y="947"/>
                    <a:pt x="154" y="1027"/>
                    <a:pt x="214" y="1074"/>
                  </a:cubicBezTo>
                  <a:cubicBezTo>
                    <a:pt x="271" y="1119"/>
                    <a:pt x="273" y="1194"/>
                    <a:pt x="217" y="1240"/>
                  </a:cubicBezTo>
                  <a:cubicBezTo>
                    <a:pt x="164" y="1285"/>
                    <a:pt x="164" y="1357"/>
                    <a:pt x="217" y="1402"/>
                  </a:cubicBezTo>
                  <a:cubicBezTo>
                    <a:pt x="274" y="1450"/>
                    <a:pt x="274" y="1527"/>
                    <a:pt x="217" y="1575"/>
                  </a:cubicBezTo>
                  <a:cubicBezTo>
                    <a:pt x="144" y="1636"/>
                    <a:pt x="144" y="1636"/>
                    <a:pt x="144" y="1636"/>
                  </a:cubicBezTo>
                  <a:cubicBezTo>
                    <a:pt x="81" y="1689"/>
                    <a:pt x="81" y="1775"/>
                    <a:pt x="144" y="1828"/>
                  </a:cubicBezTo>
                  <a:cubicBezTo>
                    <a:pt x="208" y="1881"/>
                    <a:pt x="311" y="1881"/>
                    <a:pt x="375" y="1828"/>
                  </a:cubicBezTo>
                  <a:cubicBezTo>
                    <a:pt x="558" y="1676"/>
                    <a:pt x="558" y="1676"/>
                    <a:pt x="558" y="1676"/>
                  </a:cubicBezTo>
                  <a:cubicBezTo>
                    <a:pt x="579" y="1657"/>
                    <a:pt x="615" y="1657"/>
                    <a:pt x="637" y="1676"/>
                  </a:cubicBezTo>
                  <a:cubicBezTo>
                    <a:pt x="659" y="1694"/>
                    <a:pt x="659" y="1724"/>
                    <a:pt x="637" y="1742"/>
                  </a:cubicBezTo>
                  <a:cubicBezTo>
                    <a:pt x="66" y="2219"/>
                    <a:pt x="66" y="2219"/>
                    <a:pt x="66" y="2219"/>
                  </a:cubicBezTo>
                  <a:cubicBezTo>
                    <a:pt x="0" y="2274"/>
                    <a:pt x="0" y="2363"/>
                    <a:pt x="66" y="2417"/>
                  </a:cubicBezTo>
                  <a:cubicBezTo>
                    <a:pt x="131" y="2472"/>
                    <a:pt x="238" y="2472"/>
                    <a:pt x="303" y="2417"/>
                  </a:cubicBezTo>
                  <a:cubicBezTo>
                    <a:pt x="997" y="1838"/>
                    <a:pt x="997" y="1838"/>
                    <a:pt x="997" y="1838"/>
                  </a:cubicBezTo>
                  <a:cubicBezTo>
                    <a:pt x="1029" y="1811"/>
                    <a:pt x="1081" y="1811"/>
                    <a:pt x="1113" y="1838"/>
                  </a:cubicBezTo>
                  <a:cubicBezTo>
                    <a:pt x="1144" y="1864"/>
                    <a:pt x="1144" y="1907"/>
                    <a:pt x="1113" y="1934"/>
                  </a:cubicBezTo>
                  <a:cubicBezTo>
                    <a:pt x="719" y="2263"/>
                    <a:pt x="719" y="2263"/>
                    <a:pt x="719" y="2263"/>
                  </a:cubicBezTo>
                  <a:cubicBezTo>
                    <a:pt x="671" y="2303"/>
                    <a:pt x="671" y="2368"/>
                    <a:pt x="719" y="2408"/>
                  </a:cubicBezTo>
                  <a:cubicBezTo>
                    <a:pt x="767" y="2448"/>
                    <a:pt x="845" y="2448"/>
                    <a:pt x="893" y="2408"/>
                  </a:cubicBezTo>
                  <a:cubicBezTo>
                    <a:pt x="1179" y="2169"/>
                    <a:pt x="1179" y="2169"/>
                    <a:pt x="1179" y="2169"/>
                  </a:cubicBezTo>
                  <a:cubicBezTo>
                    <a:pt x="1218" y="2137"/>
                    <a:pt x="1280" y="2137"/>
                    <a:pt x="1319" y="2169"/>
                  </a:cubicBezTo>
                  <a:cubicBezTo>
                    <a:pt x="1357" y="2201"/>
                    <a:pt x="1357" y="2253"/>
                    <a:pt x="1319" y="2285"/>
                  </a:cubicBezTo>
                  <a:cubicBezTo>
                    <a:pt x="1262" y="2332"/>
                    <a:pt x="1262" y="2409"/>
                    <a:pt x="1319" y="2457"/>
                  </a:cubicBezTo>
                  <a:cubicBezTo>
                    <a:pt x="1361" y="2492"/>
                    <a:pt x="1361" y="2549"/>
                    <a:pt x="1319" y="2585"/>
                  </a:cubicBezTo>
                  <a:cubicBezTo>
                    <a:pt x="1138" y="2735"/>
                    <a:pt x="1138" y="2735"/>
                    <a:pt x="1138" y="2735"/>
                  </a:cubicBezTo>
                  <a:cubicBezTo>
                    <a:pt x="1080" y="2784"/>
                    <a:pt x="1080" y="2863"/>
                    <a:pt x="1138" y="2912"/>
                  </a:cubicBezTo>
                  <a:cubicBezTo>
                    <a:pt x="1197" y="2961"/>
                    <a:pt x="1292" y="2961"/>
                    <a:pt x="1350" y="2912"/>
                  </a:cubicBezTo>
                  <a:cubicBezTo>
                    <a:pt x="1692" y="2630"/>
                    <a:pt x="1692" y="2630"/>
                    <a:pt x="1692" y="2630"/>
                  </a:cubicBezTo>
                  <a:cubicBezTo>
                    <a:pt x="1768" y="2567"/>
                    <a:pt x="1890" y="2567"/>
                    <a:pt x="1968" y="2628"/>
                  </a:cubicBezTo>
                  <a:cubicBezTo>
                    <a:pt x="1968" y="2628"/>
                    <a:pt x="1968" y="2628"/>
                    <a:pt x="1968" y="2628"/>
                  </a:cubicBezTo>
                  <a:cubicBezTo>
                    <a:pt x="2047" y="2692"/>
                    <a:pt x="2049" y="2797"/>
                    <a:pt x="1972" y="2863"/>
                  </a:cubicBezTo>
                  <a:cubicBezTo>
                    <a:pt x="1968" y="2866"/>
                    <a:pt x="1968" y="2866"/>
                    <a:pt x="1968" y="2866"/>
                  </a:cubicBezTo>
                  <a:cubicBezTo>
                    <a:pt x="1892" y="2932"/>
                    <a:pt x="1893" y="3037"/>
                    <a:pt x="1970" y="3101"/>
                  </a:cubicBezTo>
                  <a:cubicBezTo>
                    <a:pt x="2049" y="3167"/>
                    <a:pt x="2176" y="3167"/>
                    <a:pt x="2254" y="3101"/>
                  </a:cubicBezTo>
                  <a:cubicBezTo>
                    <a:pt x="2401" y="2979"/>
                    <a:pt x="2401" y="2979"/>
                    <a:pt x="2401" y="2979"/>
                  </a:cubicBezTo>
                  <a:cubicBezTo>
                    <a:pt x="2459" y="2931"/>
                    <a:pt x="2553" y="2931"/>
                    <a:pt x="2610" y="2979"/>
                  </a:cubicBezTo>
                  <a:cubicBezTo>
                    <a:pt x="2679" y="3036"/>
                    <a:pt x="2791" y="3036"/>
                    <a:pt x="2860" y="2979"/>
                  </a:cubicBezTo>
                  <a:cubicBezTo>
                    <a:pt x="4185" y="1872"/>
                    <a:pt x="4185" y="1872"/>
                    <a:pt x="4185" y="1872"/>
                  </a:cubicBezTo>
                  <a:cubicBezTo>
                    <a:pt x="4229" y="1835"/>
                    <a:pt x="4229" y="1775"/>
                    <a:pt x="4185" y="1738"/>
                  </a:cubicBezTo>
                  <a:cubicBezTo>
                    <a:pt x="4140" y="1701"/>
                    <a:pt x="4068" y="1701"/>
                    <a:pt x="4024" y="1738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" name="Freeform 102">
              <a:extLst>
                <a:ext uri="{FF2B5EF4-FFF2-40B4-BE49-F238E27FC236}">
                  <a16:creationId xmlns:a16="http://schemas.microsoft.com/office/drawing/2014/main" id="{57B4B9F4-9334-4914-9E61-F4A7924CD0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57600" y="6467476"/>
              <a:ext cx="317500" cy="263525"/>
            </a:xfrm>
            <a:custGeom>
              <a:avLst/>
              <a:gdLst>
                <a:gd name="T0" fmla="*/ 32 w 167"/>
                <a:gd name="T1" fmla="*/ 22 h 139"/>
                <a:gd name="T2" fmla="*/ 29 w 167"/>
                <a:gd name="T3" fmla="*/ 113 h 139"/>
                <a:gd name="T4" fmla="*/ 137 w 167"/>
                <a:gd name="T5" fmla="*/ 114 h 139"/>
                <a:gd name="T6" fmla="*/ 136 w 167"/>
                <a:gd name="T7" fmla="*/ 115 h 139"/>
                <a:gd name="T8" fmla="*/ 134 w 167"/>
                <a:gd name="T9" fmla="*/ 23 h 139"/>
                <a:gd name="T10" fmla="*/ 29 w 167"/>
                <a:gd name="T11" fmla="*/ 25 h 139"/>
                <a:gd name="T12" fmla="*/ 32 w 167"/>
                <a:gd name="T13" fmla="*/ 2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139">
                  <a:moveTo>
                    <a:pt x="32" y="22"/>
                  </a:moveTo>
                  <a:cubicBezTo>
                    <a:pt x="2" y="47"/>
                    <a:pt x="0" y="88"/>
                    <a:pt x="29" y="113"/>
                  </a:cubicBezTo>
                  <a:cubicBezTo>
                    <a:pt x="58" y="138"/>
                    <a:pt x="107" y="139"/>
                    <a:pt x="137" y="114"/>
                  </a:cubicBezTo>
                  <a:cubicBezTo>
                    <a:pt x="136" y="115"/>
                    <a:pt x="136" y="115"/>
                    <a:pt x="136" y="115"/>
                  </a:cubicBezTo>
                  <a:cubicBezTo>
                    <a:pt x="167" y="89"/>
                    <a:pt x="166" y="47"/>
                    <a:pt x="134" y="23"/>
                  </a:cubicBezTo>
                  <a:cubicBezTo>
                    <a:pt x="104" y="0"/>
                    <a:pt x="58" y="1"/>
                    <a:pt x="29" y="25"/>
                  </a:cubicBezTo>
                  <a:lnTo>
                    <a:pt x="32" y="22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" name="Freeform 103">
              <a:extLst>
                <a:ext uri="{FF2B5EF4-FFF2-40B4-BE49-F238E27FC236}">
                  <a16:creationId xmlns:a16="http://schemas.microsoft.com/office/drawing/2014/main" id="{DFBB8363-C353-405E-A37C-BE82A4238F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7713" y="2419351"/>
              <a:ext cx="354013" cy="293688"/>
            </a:xfrm>
            <a:custGeom>
              <a:avLst/>
              <a:gdLst>
                <a:gd name="T0" fmla="*/ 35 w 187"/>
                <a:gd name="T1" fmla="*/ 25 h 155"/>
                <a:gd name="T2" fmla="*/ 32 w 187"/>
                <a:gd name="T3" fmla="*/ 126 h 155"/>
                <a:gd name="T4" fmla="*/ 153 w 187"/>
                <a:gd name="T5" fmla="*/ 127 h 155"/>
                <a:gd name="T6" fmla="*/ 152 w 187"/>
                <a:gd name="T7" fmla="*/ 128 h 155"/>
                <a:gd name="T8" fmla="*/ 149 w 187"/>
                <a:gd name="T9" fmla="*/ 25 h 155"/>
                <a:gd name="T10" fmla="*/ 32 w 187"/>
                <a:gd name="T11" fmla="*/ 28 h 155"/>
                <a:gd name="T12" fmla="*/ 35 w 187"/>
                <a:gd name="T13" fmla="*/ 2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5">
                  <a:moveTo>
                    <a:pt x="35" y="25"/>
                  </a:moveTo>
                  <a:cubicBezTo>
                    <a:pt x="2" y="53"/>
                    <a:pt x="0" y="98"/>
                    <a:pt x="32" y="126"/>
                  </a:cubicBezTo>
                  <a:cubicBezTo>
                    <a:pt x="65" y="155"/>
                    <a:pt x="120" y="155"/>
                    <a:pt x="153" y="127"/>
                  </a:cubicBezTo>
                  <a:cubicBezTo>
                    <a:pt x="152" y="128"/>
                    <a:pt x="152" y="128"/>
                    <a:pt x="152" y="128"/>
                  </a:cubicBezTo>
                  <a:cubicBezTo>
                    <a:pt x="187" y="100"/>
                    <a:pt x="185" y="52"/>
                    <a:pt x="149" y="25"/>
                  </a:cubicBezTo>
                  <a:cubicBezTo>
                    <a:pt x="115" y="0"/>
                    <a:pt x="64" y="1"/>
                    <a:pt x="32" y="28"/>
                  </a:cubicBezTo>
                  <a:lnTo>
                    <a:pt x="35" y="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" name="Freeform 104">
              <a:extLst>
                <a:ext uri="{FF2B5EF4-FFF2-40B4-BE49-F238E27FC236}">
                  <a16:creationId xmlns:a16="http://schemas.microsoft.com/office/drawing/2014/main" id="{9138B8E9-47D0-40AC-8E57-EA68180348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23263" y="898526"/>
              <a:ext cx="425450" cy="352425"/>
            </a:xfrm>
            <a:custGeom>
              <a:avLst/>
              <a:gdLst>
                <a:gd name="T0" fmla="*/ 42 w 224"/>
                <a:gd name="T1" fmla="*/ 30 h 186"/>
                <a:gd name="T2" fmla="*/ 39 w 224"/>
                <a:gd name="T3" fmla="*/ 151 h 186"/>
                <a:gd name="T4" fmla="*/ 183 w 224"/>
                <a:gd name="T5" fmla="*/ 152 h 186"/>
                <a:gd name="T6" fmla="*/ 182 w 224"/>
                <a:gd name="T7" fmla="*/ 154 h 186"/>
                <a:gd name="T8" fmla="*/ 178 w 224"/>
                <a:gd name="T9" fmla="*/ 30 h 186"/>
                <a:gd name="T10" fmla="*/ 38 w 224"/>
                <a:gd name="T11" fmla="*/ 33 h 186"/>
                <a:gd name="T12" fmla="*/ 42 w 224"/>
                <a:gd name="T13" fmla="*/ 3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186">
                  <a:moveTo>
                    <a:pt x="42" y="30"/>
                  </a:moveTo>
                  <a:cubicBezTo>
                    <a:pt x="3" y="63"/>
                    <a:pt x="0" y="117"/>
                    <a:pt x="39" y="151"/>
                  </a:cubicBezTo>
                  <a:cubicBezTo>
                    <a:pt x="78" y="185"/>
                    <a:pt x="143" y="186"/>
                    <a:pt x="183" y="152"/>
                  </a:cubicBezTo>
                  <a:cubicBezTo>
                    <a:pt x="182" y="154"/>
                    <a:pt x="182" y="154"/>
                    <a:pt x="182" y="154"/>
                  </a:cubicBezTo>
                  <a:cubicBezTo>
                    <a:pt x="224" y="119"/>
                    <a:pt x="222" y="63"/>
                    <a:pt x="178" y="30"/>
                  </a:cubicBezTo>
                  <a:cubicBezTo>
                    <a:pt x="138" y="0"/>
                    <a:pt x="77" y="2"/>
                    <a:pt x="38" y="33"/>
                  </a:cubicBezTo>
                  <a:lnTo>
                    <a:pt x="42" y="3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" name="Freeform 105">
              <a:extLst>
                <a:ext uri="{FF2B5EF4-FFF2-40B4-BE49-F238E27FC236}">
                  <a16:creationId xmlns:a16="http://schemas.microsoft.com/office/drawing/2014/main" id="{D393010C-CC5B-4D0B-B4C7-2BFC2722A1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55063" y="695326"/>
              <a:ext cx="244475" cy="203200"/>
            </a:xfrm>
            <a:custGeom>
              <a:avLst/>
              <a:gdLst>
                <a:gd name="T0" fmla="*/ 24 w 129"/>
                <a:gd name="T1" fmla="*/ 17 h 107"/>
                <a:gd name="T2" fmla="*/ 22 w 129"/>
                <a:gd name="T3" fmla="*/ 87 h 107"/>
                <a:gd name="T4" fmla="*/ 106 w 129"/>
                <a:gd name="T5" fmla="*/ 88 h 107"/>
                <a:gd name="T6" fmla="*/ 105 w 129"/>
                <a:gd name="T7" fmla="*/ 89 h 107"/>
                <a:gd name="T8" fmla="*/ 103 w 129"/>
                <a:gd name="T9" fmla="*/ 17 h 107"/>
                <a:gd name="T10" fmla="*/ 22 w 129"/>
                <a:gd name="T11" fmla="*/ 19 h 107"/>
                <a:gd name="T12" fmla="*/ 24 w 129"/>
                <a:gd name="T13" fmla="*/ 1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" h="107">
                  <a:moveTo>
                    <a:pt x="24" y="17"/>
                  </a:moveTo>
                  <a:cubicBezTo>
                    <a:pt x="1" y="36"/>
                    <a:pt x="0" y="68"/>
                    <a:pt x="22" y="87"/>
                  </a:cubicBezTo>
                  <a:cubicBezTo>
                    <a:pt x="45" y="107"/>
                    <a:pt x="82" y="107"/>
                    <a:pt x="106" y="88"/>
                  </a:cubicBezTo>
                  <a:cubicBezTo>
                    <a:pt x="105" y="89"/>
                    <a:pt x="105" y="89"/>
                    <a:pt x="105" y="89"/>
                  </a:cubicBezTo>
                  <a:cubicBezTo>
                    <a:pt x="129" y="69"/>
                    <a:pt x="128" y="36"/>
                    <a:pt x="103" y="17"/>
                  </a:cubicBezTo>
                  <a:cubicBezTo>
                    <a:pt x="79" y="0"/>
                    <a:pt x="44" y="1"/>
                    <a:pt x="22" y="19"/>
                  </a:cubicBezTo>
                  <a:lnTo>
                    <a:pt x="24" y="17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" name="Freeform 106">
              <a:extLst>
                <a:ext uri="{FF2B5EF4-FFF2-40B4-BE49-F238E27FC236}">
                  <a16:creationId xmlns:a16="http://schemas.microsoft.com/office/drawing/2014/main" id="{387CEEEB-9E45-49CA-ABCB-E11EEFEFC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64425" y="822326"/>
              <a:ext cx="312738" cy="257175"/>
            </a:xfrm>
            <a:custGeom>
              <a:avLst/>
              <a:gdLst>
                <a:gd name="T0" fmla="*/ 32 w 165"/>
                <a:gd name="T1" fmla="*/ 22 h 136"/>
                <a:gd name="T2" fmla="*/ 29 w 165"/>
                <a:gd name="T3" fmla="*/ 111 h 136"/>
                <a:gd name="T4" fmla="*/ 135 w 165"/>
                <a:gd name="T5" fmla="*/ 111 h 136"/>
                <a:gd name="T6" fmla="*/ 134 w 165"/>
                <a:gd name="T7" fmla="*/ 113 h 136"/>
                <a:gd name="T8" fmla="*/ 132 w 165"/>
                <a:gd name="T9" fmla="*/ 22 h 136"/>
                <a:gd name="T10" fmla="*/ 29 w 165"/>
                <a:gd name="T11" fmla="*/ 24 h 136"/>
                <a:gd name="T12" fmla="*/ 32 w 165"/>
                <a:gd name="T13" fmla="*/ 2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136">
                  <a:moveTo>
                    <a:pt x="32" y="22"/>
                  </a:moveTo>
                  <a:cubicBezTo>
                    <a:pt x="3" y="46"/>
                    <a:pt x="0" y="86"/>
                    <a:pt x="29" y="111"/>
                  </a:cubicBezTo>
                  <a:cubicBezTo>
                    <a:pt x="58" y="136"/>
                    <a:pt x="106" y="136"/>
                    <a:pt x="135" y="111"/>
                  </a:cubicBezTo>
                  <a:cubicBezTo>
                    <a:pt x="134" y="113"/>
                    <a:pt x="134" y="113"/>
                    <a:pt x="134" y="113"/>
                  </a:cubicBezTo>
                  <a:cubicBezTo>
                    <a:pt x="165" y="87"/>
                    <a:pt x="163" y="46"/>
                    <a:pt x="132" y="22"/>
                  </a:cubicBezTo>
                  <a:cubicBezTo>
                    <a:pt x="102" y="0"/>
                    <a:pt x="57" y="1"/>
                    <a:pt x="29" y="24"/>
                  </a:cubicBezTo>
                  <a:lnTo>
                    <a:pt x="32" y="22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" name="Freeform 107">
              <a:extLst>
                <a:ext uri="{FF2B5EF4-FFF2-40B4-BE49-F238E27FC236}">
                  <a16:creationId xmlns:a16="http://schemas.microsoft.com/office/drawing/2014/main" id="{5110DB6B-DD49-4D3D-B760-4F9812B969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19738" y="252413"/>
              <a:ext cx="304800" cy="252413"/>
            </a:xfrm>
            <a:custGeom>
              <a:avLst/>
              <a:gdLst>
                <a:gd name="T0" fmla="*/ 31 w 160"/>
                <a:gd name="T1" fmla="*/ 22 h 133"/>
                <a:gd name="T2" fmla="*/ 28 w 160"/>
                <a:gd name="T3" fmla="*/ 108 h 133"/>
                <a:gd name="T4" fmla="*/ 132 w 160"/>
                <a:gd name="T5" fmla="*/ 109 h 133"/>
                <a:gd name="T6" fmla="*/ 131 w 160"/>
                <a:gd name="T7" fmla="*/ 110 h 133"/>
                <a:gd name="T8" fmla="*/ 128 w 160"/>
                <a:gd name="T9" fmla="*/ 22 h 133"/>
                <a:gd name="T10" fmla="*/ 28 w 160"/>
                <a:gd name="T11" fmla="*/ 24 h 133"/>
                <a:gd name="T12" fmla="*/ 31 w 160"/>
                <a:gd name="T13" fmla="*/ 2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133">
                  <a:moveTo>
                    <a:pt x="31" y="22"/>
                  </a:moveTo>
                  <a:cubicBezTo>
                    <a:pt x="3" y="45"/>
                    <a:pt x="0" y="84"/>
                    <a:pt x="28" y="108"/>
                  </a:cubicBezTo>
                  <a:cubicBezTo>
                    <a:pt x="56" y="132"/>
                    <a:pt x="103" y="133"/>
                    <a:pt x="132" y="109"/>
                  </a:cubicBezTo>
                  <a:cubicBezTo>
                    <a:pt x="131" y="110"/>
                    <a:pt x="131" y="110"/>
                    <a:pt x="131" y="110"/>
                  </a:cubicBezTo>
                  <a:cubicBezTo>
                    <a:pt x="160" y="85"/>
                    <a:pt x="159" y="45"/>
                    <a:pt x="128" y="22"/>
                  </a:cubicBezTo>
                  <a:cubicBezTo>
                    <a:pt x="99" y="0"/>
                    <a:pt x="55" y="1"/>
                    <a:pt x="28" y="24"/>
                  </a:cubicBezTo>
                  <a:lnTo>
                    <a:pt x="31" y="22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" name="Freeform 108">
              <a:extLst>
                <a:ext uri="{FF2B5EF4-FFF2-40B4-BE49-F238E27FC236}">
                  <a16:creationId xmlns:a16="http://schemas.microsoft.com/office/drawing/2014/main" id="{3A94C5E3-FA13-4312-A7F0-82289C8CEC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66925" y="5981701"/>
              <a:ext cx="423863" cy="349250"/>
            </a:xfrm>
            <a:custGeom>
              <a:avLst/>
              <a:gdLst>
                <a:gd name="T0" fmla="*/ 42 w 223"/>
                <a:gd name="T1" fmla="*/ 30 h 184"/>
                <a:gd name="T2" fmla="*/ 39 w 223"/>
                <a:gd name="T3" fmla="*/ 150 h 184"/>
                <a:gd name="T4" fmla="*/ 183 w 223"/>
                <a:gd name="T5" fmla="*/ 151 h 184"/>
                <a:gd name="T6" fmla="*/ 182 w 223"/>
                <a:gd name="T7" fmla="*/ 153 h 184"/>
                <a:gd name="T8" fmla="*/ 178 w 223"/>
                <a:gd name="T9" fmla="*/ 30 h 184"/>
                <a:gd name="T10" fmla="*/ 39 w 223"/>
                <a:gd name="T11" fmla="*/ 33 h 184"/>
                <a:gd name="T12" fmla="*/ 42 w 223"/>
                <a:gd name="T13" fmla="*/ 3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184">
                  <a:moveTo>
                    <a:pt x="42" y="30"/>
                  </a:moveTo>
                  <a:cubicBezTo>
                    <a:pt x="3" y="63"/>
                    <a:pt x="0" y="117"/>
                    <a:pt x="39" y="150"/>
                  </a:cubicBezTo>
                  <a:cubicBezTo>
                    <a:pt x="78" y="184"/>
                    <a:pt x="143" y="184"/>
                    <a:pt x="183" y="151"/>
                  </a:cubicBezTo>
                  <a:cubicBezTo>
                    <a:pt x="182" y="153"/>
                    <a:pt x="182" y="153"/>
                    <a:pt x="182" y="153"/>
                  </a:cubicBezTo>
                  <a:cubicBezTo>
                    <a:pt x="223" y="119"/>
                    <a:pt x="221" y="63"/>
                    <a:pt x="178" y="30"/>
                  </a:cubicBezTo>
                  <a:cubicBezTo>
                    <a:pt x="138" y="0"/>
                    <a:pt x="77" y="1"/>
                    <a:pt x="39" y="33"/>
                  </a:cubicBezTo>
                  <a:lnTo>
                    <a:pt x="42" y="3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" name="Freeform 109">
              <a:extLst>
                <a:ext uri="{FF2B5EF4-FFF2-40B4-BE49-F238E27FC236}">
                  <a16:creationId xmlns:a16="http://schemas.microsoft.com/office/drawing/2014/main" id="{BD364ACD-B88F-45D3-A7CE-76CE8F647F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22400" y="5046663"/>
              <a:ext cx="276225" cy="230188"/>
            </a:xfrm>
            <a:custGeom>
              <a:avLst/>
              <a:gdLst>
                <a:gd name="T0" fmla="*/ 28 w 146"/>
                <a:gd name="T1" fmla="*/ 20 h 121"/>
                <a:gd name="T2" fmla="*/ 25 w 146"/>
                <a:gd name="T3" fmla="*/ 99 h 121"/>
                <a:gd name="T4" fmla="*/ 120 w 146"/>
                <a:gd name="T5" fmla="*/ 100 h 121"/>
                <a:gd name="T6" fmla="*/ 119 w 146"/>
                <a:gd name="T7" fmla="*/ 101 h 121"/>
                <a:gd name="T8" fmla="*/ 117 w 146"/>
                <a:gd name="T9" fmla="*/ 20 h 121"/>
                <a:gd name="T10" fmla="*/ 25 w 146"/>
                <a:gd name="T11" fmla="*/ 22 h 121"/>
                <a:gd name="T12" fmla="*/ 28 w 146"/>
                <a:gd name="T13" fmla="*/ 2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1">
                  <a:moveTo>
                    <a:pt x="28" y="20"/>
                  </a:moveTo>
                  <a:cubicBezTo>
                    <a:pt x="2" y="42"/>
                    <a:pt x="0" y="77"/>
                    <a:pt x="25" y="99"/>
                  </a:cubicBezTo>
                  <a:cubicBezTo>
                    <a:pt x="51" y="121"/>
                    <a:pt x="94" y="121"/>
                    <a:pt x="120" y="100"/>
                  </a:cubicBezTo>
                  <a:cubicBezTo>
                    <a:pt x="119" y="101"/>
                    <a:pt x="119" y="101"/>
                    <a:pt x="119" y="101"/>
                  </a:cubicBezTo>
                  <a:cubicBezTo>
                    <a:pt x="146" y="78"/>
                    <a:pt x="145" y="41"/>
                    <a:pt x="117" y="20"/>
                  </a:cubicBezTo>
                  <a:cubicBezTo>
                    <a:pt x="90" y="0"/>
                    <a:pt x="50" y="1"/>
                    <a:pt x="25" y="22"/>
                  </a:cubicBezTo>
                  <a:lnTo>
                    <a:pt x="28" y="2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" name="Freeform 110">
              <a:extLst>
                <a:ext uri="{FF2B5EF4-FFF2-40B4-BE49-F238E27FC236}">
                  <a16:creationId xmlns:a16="http://schemas.microsoft.com/office/drawing/2014/main" id="{FBA12C5A-4219-4CD4-9B4D-E61827F77C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800" y="6448426"/>
              <a:ext cx="188913" cy="157163"/>
            </a:xfrm>
            <a:custGeom>
              <a:avLst/>
              <a:gdLst>
                <a:gd name="T0" fmla="*/ 19 w 100"/>
                <a:gd name="T1" fmla="*/ 14 h 83"/>
                <a:gd name="T2" fmla="*/ 17 w 100"/>
                <a:gd name="T3" fmla="*/ 68 h 83"/>
                <a:gd name="T4" fmla="*/ 82 w 100"/>
                <a:gd name="T5" fmla="*/ 68 h 83"/>
                <a:gd name="T6" fmla="*/ 81 w 100"/>
                <a:gd name="T7" fmla="*/ 69 h 83"/>
                <a:gd name="T8" fmla="*/ 80 w 100"/>
                <a:gd name="T9" fmla="*/ 14 h 83"/>
                <a:gd name="T10" fmla="*/ 17 w 100"/>
                <a:gd name="T11" fmla="*/ 15 h 83"/>
                <a:gd name="T12" fmla="*/ 19 w 100"/>
                <a:gd name="T13" fmla="*/ 1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83">
                  <a:moveTo>
                    <a:pt x="19" y="14"/>
                  </a:moveTo>
                  <a:cubicBezTo>
                    <a:pt x="1" y="29"/>
                    <a:pt x="0" y="53"/>
                    <a:pt x="17" y="68"/>
                  </a:cubicBezTo>
                  <a:cubicBezTo>
                    <a:pt x="35" y="83"/>
                    <a:pt x="64" y="83"/>
                    <a:pt x="82" y="68"/>
                  </a:cubicBezTo>
                  <a:cubicBezTo>
                    <a:pt x="81" y="69"/>
                    <a:pt x="81" y="69"/>
                    <a:pt x="81" y="69"/>
                  </a:cubicBezTo>
                  <a:cubicBezTo>
                    <a:pt x="100" y="54"/>
                    <a:pt x="99" y="29"/>
                    <a:pt x="80" y="14"/>
                  </a:cubicBezTo>
                  <a:cubicBezTo>
                    <a:pt x="62" y="0"/>
                    <a:pt x="34" y="1"/>
                    <a:pt x="17" y="15"/>
                  </a:cubicBezTo>
                  <a:lnTo>
                    <a:pt x="19" y="1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9" name="Freeform 111">
              <a:extLst>
                <a:ext uri="{FF2B5EF4-FFF2-40B4-BE49-F238E27FC236}">
                  <a16:creationId xmlns:a16="http://schemas.microsoft.com/office/drawing/2014/main" id="{301939DD-306B-4B0C-91FE-1DB6689D2F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63169" y="5893120"/>
              <a:ext cx="387350" cy="320675"/>
            </a:xfrm>
            <a:custGeom>
              <a:avLst/>
              <a:gdLst>
                <a:gd name="T0" fmla="*/ 39 w 204"/>
                <a:gd name="T1" fmla="*/ 27 h 169"/>
                <a:gd name="T2" fmla="*/ 35 w 204"/>
                <a:gd name="T3" fmla="*/ 137 h 169"/>
                <a:gd name="T4" fmla="*/ 167 w 204"/>
                <a:gd name="T5" fmla="*/ 138 h 169"/>
                <a:gd name="T6" fmla="*/ 166 w 204"/>
                <a:gd name="T7" fmla="*/ 140 h 169"/>
                <a:gd name="T8" fmla="*/ 163 w 204"/>
                <a:gd name="T9" fmla="*/ 27 h 169"/>
                <a:gd name="T10" fmla="*/ 35 w 204"/>
                <a:gd name="T11" fmla="*/ 30 h 169"/>
                <a:gd name="T12" fmla="*/ 39 w 204"/>
                <a:gd name="T13" fmla="*/ 27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169">
                  <a:moveTo>
                    <a:pt x="39" y="27"/>
                  </a:moveTo>
                  <a:cubicBezTo>
                    <a:pt x="3" y="57"/>
                    <a:pt x="0" y="107"/>
                    <a:pt x="35" y="137"/>
                  </a:cubicBezTo>
                  <a:cubicBezTo>
                    <a:pt x="71" y="168"/>
                    <a:pt x="131" y="169"/>
                    <a:pt x="167" y="138"/>
                  </a:cubicBezTo>
                  <a:cubicBezTo>
                    <a:pt x="166" y="140"/>
                    <a:pt x="166" y="140"/>
                    <a:pt x="166" y="140"/>
                  </a:cubicBezTo>
                  <a:cubicBezTo>
                    <a:pt x="204" y="108"/>
                    <a:pt x="202" y="57"/>
                    <a:pt x="163" y="27"/>
                  </a:cubicBezTo>
                  <a:cubicBezTo>
                    <a:pt x="126" y="0"/>
                    <a:pt x="70" y="1"/>
                    <a:pt x="35" y="30"/>
                  </a:cubicBezTo>
                  <a:cubicBezTo>
                    <a:pt x="39" y="27"/>
                    <a:pt x="39" y="27"/>
                    <a:pt x="39" y="27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0" name="Freeform 112">
              <a:extLst>
                <a:ext uri="{FF2B5EF4-FFF2-40B4-BE49-F238E27FC236}">
                  <a16:creationId xmlns:a16="http://schemas.microsoft.com/office/drawing/2014/main" id="{A78A0814-0281-4941-8DB5-7764D77287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9713" y="3948113"/>
              <a:ext cx="341313" cy="284163"/>
            </a:xfrm>
            <a:custGeom>
              <a:avLst/>
              <a:gdLst>
                <a:gd name="T0" fmla="*/ 35 w 180"/>
                <a:gd name="T1" fmla="*/ 25 h 150"/>
                <a:gd name="T2" fmla="*/ 32 w 180"/>
                <a:gd name="T3" fmla="*/ 122 h 150"/>
                <a:gd name="T4" fmla="*/ 148 w 180"/>
                <a:gd name="T5" fmla="*/ 123 h 150"/>
                <a:gd name="T6" fmla="*/ 147 w 180"/>
                <a:gd name="T7" fmla="*/ 124 h 150"/>
                <a:gd name="T8" fmla="*/ 144 w 180"/>
                <a:gd name="T9" fmla="*/ 25 h 150"/>
                <a:gd name="T10" fmla="*/ 32 w 180"/>
                <a:gd name="T11" fmla="*/ 27 h 150"/>
                <a:gd name="T12" fmla="*/ 35 w 180"/>
                <a:gd name="T13" fmla="*/ 2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" h="150">
                  <a:moveTo>
                    <a:pt x="35" y="25"/>
                  </a:moveTo>
                  <a:cubicBezTo>
                    <a:pt x="3" y="51"/>
                    <a:pt x="0" y="95"/>
                    <a:pt x="32" y="122"/>
                  </a:cubicBezTo>
                  <a:cubicBezTo>
                    <a:pt x="63" y="149"/>
                    <a:pt x="116" y="150"/>
                    <a:pt x="148" y="123"/>
                  </a:cubicBezTo>
                  <a:cubicBezTo>
                    <a:pt x="147" y="124"/>
                    <a:pt x="147" y="124"/>
                    <a:pt x="147" y="124"/>
                  </a:cubicBezTo>
                  <a:cubicBezTo>
                    <a:pt x="180" y="96"/>
                    <a:pt x="179" y="51"/>
                    <a:pt x="144" y="25"/>
                  </a:cubicBezTo>
                  <a:cubicBezTo>
                    <a:pt x="112" y="0"/>
                    <a:pt x="62" y="1"/>
                    <a:pt x="32" y="27"/>
                  </a:cubicBezTo>
                  <a:lnTo>
                    <a:pt x="35" y="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1" name="Freeform 113">
              <a:extLst>
                <a:ext uri="{FF2B5EF4-FFF2-40B4-BE49-F238E27FC236}">
                  <a16:creationId xmlns:a16="http://schemas.microsoft.com/office/drawing/2014/main" id="{79225393-73F3-4623-98CC-CDDBC42D12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2113" y="5526088"/>
              <a:ext cx="227013" cy="188913"/>
            </a:xfrm>
            <a:custGeom>
              <a:avLst/>
              <a:gdLst>
                <a:gd name="T0" fmla="*/ 23 w 120"/>
                <a:gd name="T1" fmla="*/ 16 h 100"/>
                <a:gd name="T2" fmla="*/ 21 w 120"/>
                <a:gd name="T3" fmla="*/ 81 h 100"/>
                <a:gd name="T4" fmla="*/ 99 w 120"/>
                <a:gd name="T5" fmla="*/ 82 h 100"/>
                <a:gd name="T6" fmla="*/ 98 w 120"/>
                <a:gd name="T7" fmla="*/ 83 h 100"/>
                <a:gd name="T8" fmla="*/ 96 w 120"/>
                <a:gd name="T9" fmla="*/ 16 h 100"/>
                <a:gd name="T10" fmla="*/ 20 w 120"/>
                <a:gd name="T11" fmla="*/ 18 h 100"/>
                <a:gd name="T12" fmla="*/ 23 w 120"/>
                <a:gd name="T13" fmla="*/ 16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00">
                  <a:moveTo>
                    <a:pt x="23" y="16"/>
                  </a:moveTo>
                  <a:cubicBezTo>
                    <a:pt x="1" y="34"/>
                    <a:pt x="0" y="63"/>
                    <a:pt x="21" y="81"/>
                  </a:cubicBezTo>
                  <a:cubicBezTo>
                    <a:pt x="42" y="100"/>
                    <a:pt x="77" y="100"/>
                    <a:pt x="99" y="82"/>
                  </a:cubicBezTo>
                  <a:cubicBezTo>
                    <a:pt x="98" y="83"/>
                    <a:pt x="98" y="83"/>
                    <a:pt x="98" y="83"/>
                  </a:cubicBezTo>
                  <a:cubicBezTo>
                    <a:pt x="120" y="64"/>
                    <a:pt x="119" y="34"/>
                    <a:pt x="96" y="16"/>
                  </a:cubicBezTo>
                  <a:cubicBezTo>
                    <a:pt x="74" y="0"/>
                    <a:pt x="41" y="1"/>
                    <a:pt x="20" y="18"/>
                  </a:cubicBezTo>
                  <a:lnTo>
                    <a:pt x="23" y="1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2" name="Freeform 114">
              <a:extLst>
                <a:ext uri="{FF2B5EF4-FFF2-40B4-BE49-F238E27FC236}">
                  <a16:creationId xmlns:a16="http://schemas.microsoft.com/office/drawing/2014/main" id="{E25D6770-493B-472F-A4CF-1437F0D2FC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2888" y="3119438"/>
              <a:ext cx="292100" cy="242888"/>
            </a:xfrm>
            <a:custGeom>
              <a:avLst/>
              <a:gdLst>
                <a:gd name="T0" fmla="*/ 29 w 154"/>
                <a:gd name="T1" fmla="*/ 21 h 128"/>
                <a:gd name="T2" fmla="*/ 26 w 154"/>
                <a:gd name="T3" fmla="*/ 104 h 128"/>
                <a:gd name="T4" fmla="*/ 126 w 154"/>
                <a:gd name="T5" fmla="*/ 105 h 128"/>
                <a:gd name="T6" fmla="*/ 126 w 154"/>
                <a:gd name="T7" fmla="*/ 106 h 128"/>
                <a:gd name="T8" fmla="*/ 123 w 154"/>
                <a:gd name="T9" fmla="*/ 21 h 128"/>
                <a:gd name="T10" fmla="*/ 26 w 154"/>
                <a:gd name="T11" fmla="*/ 23 h 128"/>
                <a:gd name="T12" fmla="*/ 29 w 154"/>
                <a:gd name="T13" fmla="*/ 2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" h="128">
                  <a:moveTo>
                    <a:pt x="29" y="21"/>
                  </a:moveTo>
                  <a:cubicBezTo>
                    <a:pt x="2" y="44"/>
                    <a:pt x="0" y="81"/>
                    <a:pt x="26" y="104"/>
                  </a:cubicBezTo>
                  <a:cubicBezTo>
                    <a:pt x="54" y="128"/>
                    <a:pt x="99" y="128"/>
                    <a:pt x="126" y="105"/>
                  </a:cubicBezTo>
                  <a:cubicBezTo>
                    <a:pt x="126" y="106"/>
                    <a:pt x="126" y="106"/>
                    <a:pt x="126" y="106"/>
                  </a:cubicBezTo>
                  <a:cubicBezTo>
                    <a:pt x="154" y="82"/>
                    <a:pt x="153" y="44"/>
                    <a:pt x="123" y="21"/>
                  </a:cubicBezTo>
                  <a:cubicBezTo>
                    <a:pt x="95" y="0"/>
                    <a:pt x="53" y="1"/>
                    <a:pt x="26" y="23"/>
                  </a:cubicBezTo>
                  <a:lnTo>
                    <a:pt x="29" y="2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3" name="Freeform 115">
              <a:extLst>
                <a:ext uri="{FF2B5EF4-FFF2-40B4-BE49-F238E27FC236}">
                  <a16:creationId xmlns:a16="http://schemas.microsoft.com/office/drawing/2014/main" id="{A4156EF4-C13C-4098-97FA-15A8590397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1238" y="428626"/>
              <a:ext cx="285750" cy="234950"/>
            </a:xfrm>
            <a:custGeom>
              <a:avLst/>
              <a:gdLst>
                <a:gd name="T0" fmla="*/ 29 w 150"/>
                <a:gd name="T1" fmla="*/ 20 h 124"/>
                <a:gd name="T2" fmla="*/ 26 w 150"/>
                <a:gd name="T3" fmla="*/ 100 h 124"/>
                <a:gd name="T4" fmla="*/ 123 w 150"/>
                <a:gd name="T5" fmla="*/ 101 h 124"/>
                <a:gd name="T6" fmla="*/ 122 w 150"/>
                <a:gd name="T7" fmla="*/ 102 h 124"/>
                <a:gd name="T8" fmla="*/ 120 w 150"/>
                <a:gd name="T9" fmla="*/ 20 h 124"/>
                <a:gd name="T10" fmla="*/ 26 w 150"/>
                <a:gd name="T11" fmla="*/ 22 h 124"/>
                <a:gd name="T12" fmla="*/ 29 w 150"/>
                <a:gd name="T13" fmla="*/ 2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124">
                  <a:moveTo>
                    <a:pt x="29" y="20"/>
                  </a:moveTo>
                  <a:cubicBezTo>
                    <a:pt x="2" y="42"/>
                    <a:pt x="0" y="78"/>
                    <a:pt x="26" y="100"/>
                  </a:cubicBezTo>
                  <a:cubicBezTo>
                    <a:pt x="53" y="123"/>
                    <a:pt x="96" y="124"/>
                    <a:pt x="123" y="101"/>
                  </a:cubicBezTo>
                  <a:cubicBezTo>
                    <a:pt x="122" y="102"/>
                    <a:pt x="122" y="102"/>
                    <a:pt x="122" y="102"/>
                  </a:cubicBezTo>
                  <a:cubicBezTo>
                    <a:pt x="150" y="79"/>
                    <a:pt x="149" y="42"/>
                    <a:pt x="120" y="20"/>
                  </a:cubicBezTo>
                  <a:cubicBezTo>
                    <a:pt x="93" y="0"/>
                    <a:pt x="52" y="1"/>
                    <a:pt x="26" y="22"/>
                  </a:cubicBezTo>
                  <a:lnTo>
                    <a:pt x="29" y="2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4" name="Freeform 123">
              <a:extLst>
                <a:ext uri="{FF2B5EF4-FFF2-40B4-BE49-F238E27FC236}">
                  <a16:creationId xmlns:a16="http://schemas.microsoft.com/office/drawing/2014/main" id="{C8252687-1070-418E-AE9F-15329D963F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5175" y="438151"/>
              <a:ext cx="4867275" cy="5487988"/>
            </a:xfrm>
            <a:custGeom>
              <a:avLst/>
              <a:gdLst>
                <a:gd name="T0" fmla="*/ 1119 w 2564"/>
                <a:gd name="T1" fmla="*/ 58 h 2890"/>
                <a:gd name="T2" fmla="*/ 162 w 2564"/>
                <a:gd name="T3" fmla="*/ 611 h 2890"/>
                <a:gd name="T4" fmla="*/ 0 w 2564"/>
                <a:gd name="T5" fmla="*/ 892 h 2890"/>
                <a:gd name="T6" fmla="*/ 0 w 2564"/>
                <a:gd name="T7" fmla="*/ 1998 h 2890"/>
                <a:gd name="T8" fmla="*/ 162 w 2564"/>
                <a:gd name="T9" fmla="*/ 2279 h 2890"/>
                <a:gd name="T10" fmla="*/ 1119 w 2564"/>
                <a:gd name="T11" fmla="*/ 2832 h 2890"/>
                <a:gd name="T12" fmla="*/ 1444 w 2564"/>
                <a:gd name="T13" fmla="*/ 2832 h 2890"/>
                <a:gd name="T14" fmla="*/ 2401 w 2564"/>
                <a:gd name="T15" fmla="*/ 2279 h 2890"/>
                <a:gd name="T16" fmla="*/ 2564 w 2564"/>
                <a:gd name="T17" fmla="*/ 1998 h 2890"/>
                <a:gd name="T18" fmla="*/ 2564 w 2564"/>
                <a:gd name="T19" fmla="*/ 892 h 2890"/>
                <a:gd name="T20" fmla="*/ 2401 w 2564"/>
                <a:gd name="T21" fmla="*/ 611 h 2890"/>
                <a:gd name="T22" fmla="*/ 1444 w 2564"/>
                <a:gd name="T23" fmla="*/ 58 h 2890"/>
                <a:gd name="T24" fmla="*/ 1119 w 2564"/>
                <a:gd name="T25" fmla="*/ 58 h 2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64" h="2890">
                  <a:moveTo>
                    <a:pt x="1119" y="58"/>
                  </a:moveTo>
                  <a:cubicBezTo>
                    <a:pt x="162" y="611"/>
                    <a:pt x="162" y="611"/>
                    <a:pt x="162" y="611"/>
                  </a:cubicBezTo>
                  <a:cubicBezTo>
                    <a:pt x="62" y="669"/>
                    <a:pt x="0" y="776"/>
                    <a:pt x="0" y="892"/>
                  </a:cubicBezTo>
                  <a:cubicBezTo>
                    <a:pt x="0" y="1998"/>
                    <a:pt x="0" y="1998"/>
                    <a:pt x="0" y="1998"/>
                  </a:cubicBezTo>
                  <a:cubicBezTo>
                    <a:pt x="0" y="2114"/>
                    <a:pt x="62" y="2221"/>
                    <a:pt x="162" y="2279"/>
                  </a:cubicBezTo>
                  <a:cubicBezTo>
                    <a:pt x="1119" y="2832"/>
                    <a:pt x="1119" y="2832"/>
                    <a:pt x="1119" y="2832"/>
                  </a:cubicBezTo>
                  <a:cubicBezTo>
                    <a:pt x="1220" y="2890"/>
                    <a:pt x="1344" y="2890"/>
                    <a:pt x="1444" y="2832"/>
                  </a:cubicBezTo>
                  <a:cubicBezTo>
                    <a:pt x="2401" y="2279"/>
                    <a:pt x="2401" y="2279"/>
                    <a:pt x="2401" y="2279"/>
                  </a:cubicBezTo>
                  <a:cubicBezTo>
                    <a:pt x="2502" y="2221"/>
                    <a:pt x="2564" y="2114"/>
                    <a:pt x="2564" y="1998"/>
                  </a:cubicBezTo>
                  <a:cubicBezTo>
                    <a:pt x="2564" y="892"/>
                    <a:pt x="2564" y="892"/>
                    <a:pt x="2564" y="892"/>
                  </a:cubicBezTo>
                  <a:cubicBezTo>
                    <a:pt x="2564" y="776"/>
                    <a:pt x="2502" y="669"/>
                    <a:pt x="2401" y="611"/>
                  </a:cubicBezTo>
                  <a:cubicBezTo>
                    <a:pt x="1444" y="58"/>
                    <a:pt x="1444" y="58"/>
                    <a:pt x="1444" y="58"/>
                  </a:cubicBezTo>
                  <a:cubicBezTo>
                    <a:pt x="1344" y="0"/>
                    <a:pt x="1220" y="0"/>
                    <a:pt x="1119" y="58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5" name="Freeform 124">
              <a:extLst>
                <a:ext uri="{FF2B5EF4-FFF2-40B4-BE49-F238E27FC236}">
                  <a16:creationId xmlns:a16="http://schemas.microsoft.com/office/drawing/2014/main" id="{B1457E3F-2661-465D-A75F-28F186A083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51313" y="544513"/>
              <a:ext cx="17463" cy="9525"/>
            </a:xfrm>
            <a:custGeom>
              <a:avLst/>
              <a:gdLst>
                <a:gd name="T0" fmla="*/ 9 w 9"/>
                <a:gd name="T1" fmla="*/ 0 h 5"/>
                <a:gd name="T2" fmla="*/ 4 w 9"/>
                <a:gd name="T3" fmla="*/ 2 h 5"/>
                <a:gd name="T4" fmla="*/ 0 w 9"/>
                <a:gd name="T5" fmla="*/ 5 h 5"/>
                <a:gd name="T6" fmla="*/ 4 w 9"/>
                <a:gd name="T7" fmla="*/ 2 h 5"/>
                <a:gd name="T8" fmla="*/ 9 w 9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9" y="0"/>
                  </a:moveTo>
                  <a:cubicBezTo>
                    <a:pt x="7" y="1"/>
                    <a:pt x="6" y="2"/>
                    <a:pt x="4" y="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6" y="2"/>
                    <a:pt x="7" y="1"/>
                    <a:pt x="9" y="0"/>
                  </a:cubicBezTo>
                </a:path>
              </a:pathLst>
            </a:custGeom>
            <a:solidFill>
              <a:srgbClr val="546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6" name="Freeform 125">
              <a:extLst>
                <a:ext uri="{FF2B5EF4-FFF2-40B4-BE49-F238E27FC236}">
                  <a16:creationId xmlns:a16="http://schemas.microsoft.com/office/drawing/2014/main" id="{3BC23B94-D420-436F-ACAA-14F06DABC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0838" y="581660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955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7" name="Freeform 126">
              <a:extLst>
                <a:ext uri="{FF2B5EF4-FFF2-40B4-BE49-F238E27FC236}">
                  <a16:creationId xmlns:a16="http://schemas.microsoft.com/office/drawing/2014/main" id="{E86C0289-A223-4956-85B6-8C9146ACCD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5175" y="466726"/>
              <a:ext cx="2598738" cy="5422900"/>
            </a:xfrm>
            <a:custGeom>
              <a:avLst/>
              <a:gdLst>
                <a:gd name="T0" fmla="*/ 1282 w 1369"/>
                <a:gd name="T1" fmla="*/ 0 h 2856"/>
                <a:gd name="T2" fmla="*/ 1124 w 1369"/>
                <a:gd name="T3" fmla="*/ 41 h 2856"/>
                <a:gd name="T4" fmla="*/ 1119 w 1369"/>
                <a:gd name="T5" fmla="*/ 43 h 2856"/>
                <a:gd name="T6" fmla="*/ 1115 w 1369"/>
                <a:gd name="T7" fmla="*/ 46 h 2856"/>
                <a:gd name="T8" fmla="*/ 476 w 1369"/>
                <a:gd name="T9" fmla="*/ 415 h 2856"/>
                <a:gd name="T10" fmla="*/ 162 w 1369"/>
                <a:gd name="T11" fmla="*/ 596 h 2856"/>
                <a:gd name="T12" fmla="*/ 0 w 1369"/>
                <a:gd name="T13" fmla="*/ 877 h 2856"/>
                <a:gd name="T14" fmla="*/ 0 w 1369"/>
                <a:gd name="T15" fmla="*/ 1983 h 2856"/>
                <a:gd name="T16" fmla="*/ 162 w 1369"/>
                <a:gd name="T17" fmla="*/ 2264 h 2856"/>
                <a:gd name="T18" fmla="*/ 1119 w 1369"/>
                <a:gd name="T19" fmla="*/ 2817 h 2856"/>
                <a:gd name="T20" fmla="*/ 1120 w 1369"/>
                <a:gd name="T21" fmla="*/ 2817 h 2856"/>
                <a:gd name="T22" fmla="*/ 1120 w 1369"/>
                <a:gd name="T23" fmla="*/ 2817 h 2856"/>
                <a:gd name="T24" fmla="*/ 1232 w 1369"/>
                <a:gd name="T25" fmla="*/ 2856 h 2856"/>
                <a:gd name="T26" fmla="*/ 1157 w 1369"/>
                <a:gd name="T27" fmla="*/ 2825 h 2856"/>
                <a:gd name="T28" fmla="*/ 200 w 1369"/>
                <a:gd name="T29" fmla="*/ 2272 h 2856"/>
                <a:gd name="T30" fmla="*/ 37 w 1369"/>
                <a:gd name="T31" fmla="*/ 1991 h 2856"/>
                <a:gd name="T32" fmla="*/ 37 w 1369"/>
                <a:gd name="T33" fmla="*/ 886 h 2856"/>
                <a:gd name="T34" fmla="*/ 200 w 1369"/>
                <a:gd name="T35" fmla="*/ 604 h 2856"/>
                <a:gd name="T36" fmla="*/ 1157 w 1369"/>
                <a:gd name="T37" fmla="*/ 51 h 2856"/>
                <a:gd name="T38" fmla="*/ 1319 w 1369"/>
                <a:gd name="T39" fmla="*/ 8 h 2856"/>
                <a:gd name="T40" fmla="*/ 1369 w 1369"/>
                <a:gd name="T41" fmla="*/ 12 h 2856"/>
                <a:gd name="T42" fmla="*/ 1282 w 1369"/>
                <a:gd name="T43" fmla="*/ 0 h 2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69" h="2856">
                  <a:moveTo>
                    <a:pt x="1282" y="0"/>
                  </a:moveTo>
                  <a:cubicBezTo>
                    <a:pt x="1227" y="0"/>
                    <a:pt x="1173" y="14"/>
                    <a:pt x="1124" y="41"/>
                  </a:cubicBezTo>
                  <a:cubicBezTo>
                    <a:pt x="1122" y="42"/>
                    <a:pt x="1121" y="43"/>
                    <a:pt x="1119" y="43"/>
                  </a:cubicBezTo>
                  <a:cubicBezTo>
                    <a:pt x="1115" y="46"/>
                    <a:pt x="1115" y="46"/>
                    <a:pt x="1115" y="46"/>
                  </a:cubicBezTo>
                  <a:cubicBezTo>
                    <a:pt x="476" y="415"/>
                    <a:pt x="476" y="415"/>
                    <a:pt x="476" y="415"/>
                  </a:cubicBezTo>
                  <a:cubicBezTo>
                    <a:pt x="162" y="596"/>
                    <a:pt x="162" y="596"/>
                    <a:pt x="162" y="596"/>
                  </a:cubicBezTo>
                  <a:cubicBezTo>
                    <a:pt x="62" y="654"/>
                    <a:pt x="0" y="761"/>
                    <a:pt x="0" y="877"/>
                  </a:cubicBezTo>
                  <a:cubicBezTo>
                    <a:pt x="0" y="1983"/>
                    <a:pt x="0" y="1983"/>
                    <a:pt x="0" y="1983"/>
                  </a:cubicBezTo>
                  <a:cubicBezTo>
                    <a:pt x="0" y="2099"/>
                    <a:pt x="62" y="2206"/>
                    <a:pt x="162" y="2264"/>
                  </a:cubicBezTo>
                  <a:cubicBezTo>
                    <a:pt x="1119" y="2817"/>
                    <a:pt x="1119" y="2817"/>
                    <a:pt x="1119" y="2817"/>
                  </a:cubicBezTo>
                  <a:cubicBezTo>
                    <a:pt x="1120" y="2817"/>
                    <a:pt x="1120" y="2817"/>
                    <a:pt x="1120" y="2817"/>
                  </a:cubicBezTo>
                  <a:cubicBezTo>
                    <a:pt x="1120" y="2817"/>
                    <a:pt x="1120" y="2817"/>
                    <a:pt x="1120" y="2817"/>
                  </a:cubicBezTo>
                  <a:cubicBezTo>
                    <a:pt x="1155" y="2837"/>
                    <a:pt x="1193" y="2850"/>
                    <a:pt x="1232" y="2856"/>
                  </a:cubicBezTo>
                  <a:cubicBezTo>
                    <a:pt x="1206" y="2849"/>
                    <a:pt x="1181" y="2838"/>
                    <a:pt x="1157" y="2825"/>
                  </a:cubicBezTo>
                  <a:cubicBezTo>
                    <a:pt x="200" y="2272"/>
                    <a:pt x="200" y="2272"/>
                    <a:pt x="200" y="2272"/>
                  </a:cubicBezTo>
                  <a:cubicBezTo>
                    <a:pt x="99" y="2214"/>
                    <a:pt x="37" y="2107"/>
                    <a:pt x="37" y="1991"/>
                  </a:cubicBezTo>
                  <a:cubicBezTo>
                    <a:pt x="37" y="886"/>
                    <a:pt x="37" y="886"/>
                    <a:pt x="37" y="886"/>
                  </a:cubicBezTo>
                  <a:cubicBezTo>
                    <a:pt x="37" y="769"/>
                    <a:pt x="99" y="662"/>
                    <a:pt x="200" y="604"/>
                  </a:cubicBezTo>
                  <a:cubicBezTo>
                    <a:pt x="1157" y="51"/>
                    <a:pt x="1157" y="51"/>
                    <a:pt x="1157" y="51"/>
                  </a:cubicBezTo>
                  <a:cubicBezTo>
                    <a:pt x="1207" y="22"/>
                    <a:pt x="1263" y="8"/>
                    <a:pt x="1319" y="8"/>
                  </a:cubicBezTo>
                  <a:cubicBezTo>
                    <a:pt x="1336" y="8"/>
                    <a:pt x="1352" y="9"/>
                    <a:pt x="1369" y="12"/>
                  </a:cubicBezTo>
                  <a:cubicBezTo>
                    <a:pt x="1340" y="4"/>
                    <a:pt x="1311" y="0"/>
                    <a:pt x="1282" y="0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8" name="Freeform 127">
              <a:extLst>
                <a:ext uri="{FF2B5EF4-FFF2-40B4-BE49-F238E27FC236}">
                  <a16:creationId xmlns:a16="http://schemas.microsoft.com/office/drawing/2014/main" id="{2EBB47C0-608C-42FD-8E3D-EBB0901FD8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0125" y="920751"/>
              <a:ext cx="1812925" cy="922338"/>
            </a:xfrm>
            <a:custGeom>
              <a:avLst/>
              <a:gdLst>
                <a:gd name="T0" fmla="*/ 885 w 955"/>
                <a:gd name="T1" fmla="*/ 94 h 486"/>
                <a:gd name="T2" fmla="*/ 841 w 955"/>
                <a:gd name="T3" fmla="*/ 136 h 486"/>
                <a:gd name="T4" fmla="*/ 856 w 955"/>
                <a:gd name="T5" fmla="*/ 189 h 486"/>
                <a:gd name="T6" fmla="*/ 748 w 955"/>
                <a:gd name="T7" fmla="*/ 315 h 486"/>
                <a:gd name="T8" fmla="*/ 725 w 955"/>
                <a:gd name="T9" fmla="*/ 310 h 486"/>
                <a:gd name="T10" fmla="*/ 699 w 955"/>
                <a:gd name="T11" fmla="*/ 228 h 486"/>
                <a:gd name="T12" fmla="*/ 678 w 955"/>
                <a:gd name="T13" fmla="*/ 222 h 486"/>
                <a:gd name="T14" fmla="*/ 617 w 955"/>
                <a:gd name="T15" fmla="*/ 273 h 486"/>
                <a:gd name="T16" fmla="*/ 597 w 955"/>
                <a:gd name="T17" fmla="*/ 270 h 486"/>
                <a:gd name="T18" fmla="*/ 515 w 955"/>
                <a:gd name="T19" fmla="*/ 124 h 486"/>
                <a:gd name="T20" fmla="*/ 544 w 955"/>
                <a:gd name="T21" fmla="*/ 57 h 486"/>
                <a:gd name="T22" fmla="*/ 496 w 955"/>
                <a:gd name="T23" fmla="*/ 9 h 486"/>
                <a:gd name="T24" fmla="*/ 419 w 955"/>
                <a:gd name="T25" fmla="*/ 70 h 486"/>
                <a:gd name="T26" fmla="*/ 450 w 955"/>
                <a:gd name="T27" fmla="*/ 124 h 486"/>
                <a:gd name="T28" fmla="*/ 368 w 955"/>
                <a:gd name="T29" fmla="*/ 270 h 486"/>
                <a:gd name="T30" fmla="*/ 348 w 955"/>
                <a:gd name="T31" fmla="*/ 273 h 486"/>
                <a:gd name="T32" fmla="*/ 287 w 955"/>
                <a:gd name="T33" fmla="*/ 222 h 486"/>
                <a:gd name="T34" fmla="*/ 266 w 955"/>
                <a:gd name="T35" fmla="*/ 228 h 486"/>
                <a:gd name="T36" fmla="*/ 240 w 955"/>
                <a:gd name="T37" fmla="*/ 310 h 486"/>
                <a:gd name="T38" fmla="*/ 217 w 955"/>
                <a:gd name="T39" fmla="*/ 315 h 486"/>
                <a:gd name="T40" fmla="*/ 113 w 955"/>
                <a:gd name="T41" fmla="*/ 194 h 486"/>
                <a:gd name="T42" fmla="*/ 120 w 955"/>
                <a:gd name="T43" fmla="*/ 150 h 486"/>
                <a:gd name="T44" fmla="*/ 73 w 955"/>
                <a:gd name="T45" fmla="*/ 108 h 486"/>
                <a:gd name="T46" fmla="*/ 8 w 955"/>
                <a:gd name="T47" fmla="*/ 176 h 486"/>
                <a:gd name="T48" fmla="*/ 38 w 955"/>
                <a:gd name="T49" fmla="*/ 216 h 486"/>
                <a:gd name="T50" fmla="*/ 76 w 955"/>
                <a:gd name="T51" fmla="*/ 221 h 486"/>
                <a:gd name="T52" fmla="*/ 118 w 955"/>
                <a:gd name="T53" fmla="*/ 425 h 486"/>
                <a:gd name="T54" fmla="*/ 193 w 955"/>
                <a:gd name="T55" fmla="*/ 486 h 486"/>
                <a:gd name="T56" fmla="*/ 772 w 955"/>
                <a:gd name="T57" fmla="*/ 486 h 486"/>
                <a:gd name="T58" fmla="*/ 847 w 955"/>
                <a:gd name="T59" fmla="*/ 425 h 486"/>
                <a:gd name="T60" fmla="*/ 892 w 955"/>
                <a:gd name="T61" fmla="*/ 207 h 486"/>
                <a:gd name="T62" fmla="*/ 897 w 955"/>
                <a:gd name="T63" fmla="*/ 207 h 486"/>
                <a:gd name="T64" fmla="*/ 955 w 955"/>
                <a:gd name="T65" fmla="*/ 150 h 486"/>
                <a:gd name="T66" fmla="*/ 885 w 955"/>
                <a:gd name="T67" fmla="*/ 94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55" h="486">
                  <a:moveTo>
                    <a:pt x="885" y="94"/>
                  </a:moveTo>
                  <a:cubicBezTo>
                    <a:pt x="864" y="98"/>
                    <a:pt x="846" y="115"/>
                    <a:pt x="841" y="136"/>
                  </a:cubicBezTo>
                  <a:cubicBezTo>
                    <a:pt x="837" y="157"/>
                    <a:pt x="843" y="176"/>
                    <a:pt x="856" y="189"/>
                  </a:cubicBezTo>
                  <a:cubicBezTo>
                    <a:pt x="748" y="315"/>
                    <a:pt x="748" y="315"/>
                    <a:pt x="748" y="315"/>
                  </a:cubicBezTo>
                  <a:cubicBezTo>
                    <a:pt x="741" y="322"/>
                    <a:pt x="728" y="320"/>
                    <a:pt x="725" y="310"/>
                  </a:cubicBezTo>
                  <a:cubicBezTo>
                    <a:pt x="699" y="228"/>
                    <a:pt x="699" y="228"/>
                    <a:pt x="699" y="228"/>
                  </a:cubicBezTo>
                  <a:cubicBezTo>
                    <a:pt x="696" y="219"/>
                    <a:pt x="685" y="216"/>
                    <a:pt x="678" y="222"/>
                  </a:cubicBezTo>
                  <a:cubicBezTo>
                    <a:pt x="617" y="273"/>
                    <a:pt x="617" y="273"/>
                    <a:pt x="617" y="273"/>
                  </a:cubicBezTo>
                  <a:cubicBezTo>
                    <a:pt x="611" y="279"/>
                    <a:pt x="601" y="277"/>
                    <a:pt x="597" y="270"/>
                  </a:cubicBezTo>
                  <a:cubicBezTo>
                    <a:pt x="515" y="124"/>
                    <a:pt x="515" y="124"/>
                    <a:pt x="515" y="124"/>
                  </a:cubicBezTo>
                  <a:cubicBezTo>
                    <a:pt x="536" y="111"/>
                    <a:pt x="550" y="85"/>
                    <a:pt x="544" y="57"/>
                  </a:cubicBezTo>
                  <a:cubicBezTo>
                    <a:pt x="539" y="33"/>
                    <a:pt x="520" y="14"/>
                    <a:pt x="496" y="9"/>
                  </a:cubicBezTo>
                  <a:cubicBezTo>
                    <a:pt x="455" y="0"/>
                    <a:pt x="419" y="31"/>
                    <a:pt x="419" y="70"/>
                  </a:cubicBezTo>
                  <a:cubicBezTo>
                    <a:pt x="419" y="93"/>
                    <a:pt x="432" y="113"/>
                    <a:pt x="450" y="124"/>
                  </a:cubicBezTo>
                  <a:cubicBezTo>
                    <a:pt x="368" y="270"/>
                    <a:pt x="368" y="270"/>
                    <a:pt x="368" y="270"/>
                  </a:cubicBezTo>
                  <a:cubicBezTo>
                    <a:pt x="364" y="277"/>
                    <a:pt x="354" y="279"/>
                    <a:pt x="348" y="273"/>
                  </a:cubicBezTo>
                  <a:cubicBezTo>
                    <a:pt x="287" y="222"/>
                    <a:pt x="287" y="222"/>
                    <a:pt x="287" y="222"/>
                  </a:cubicBezTo>
                  <a:cubicBezTo>
                    <a:pt x="280" y="216"/>
                    <a:pt x="269" y="219"/>
                    <a:pt x="266" y="228"/>
                  </a:cubicBezTo>
                  <a:cubicBezTo>
                    <a:pt x="240" y="310"/>
                    <a:pt x="240" y="310"/>
                    <a:pt x="240" y="310"/>
                  </a:cubicBezTo>
                  <a:cubicBezTo>
                    <a:pt x="237" y="320"/>
                    <a:pt x="224" y="322"/>
                    <a:pt x="217" y="315"/>
                  </a:cubicBezTo>
                  <a:cubicBezTo>
                    <a:pt x="113" y="194"/>
                    <a:pt x="113" y="194"/>
                    <a:pt x="113" y="194"/>
                  </a:cubicBezTo>
                  <a:cubicBezTo>
                    <a:pt x="121" y="182"/>
                    <a:pt x="124" y="166"/>
                    <a:pt x="120" y="150"/>
                  </a:cubicBezTo>
                  <a:cubicBezTo>
                    <a:pt x="114" y="128"/>
                    <a:pt x="95" y="111"/>
                    <a:pt x="73" y="108"/>
                  </a:cubicBezTo>
                  <a:cubicBezTo>
                    <a:pt x="34" y="102"/>
                    <a:pt x="0" y="136"/>
                    <a:pt x="8" y="176"/>
                  </a:cubicBezTo>
                  <a:cubicBezTo>
                    <a:pt x="11" y="193"/>
                    <a:pt x="23" y="208"/>
                    <a:pt x="38" y="216"/>
                  </a:cubicBezTo>
                  <a:cubicBezTo>
                    <a:pt x="52" y="223"/>
                    <a:pt x="65" y="223"/>
                    <a:pt x="76" y="221"/>
                  </a:cubicBezTo>
                  <a:cubicBezTo>
                    <a:pt x="118" y="425"/>
                    <a:pt x="118" y="425"/>
                    <a:pt x="118" y="425"/>
                  </a:cubicBezTo>
                  <a:cubicBezTo>
                    <a:pt x="125" y="460"/>
                    <a:pt x="157" y="486"/>
                    <a:pt x="193" y="486"/>
                  </a:cubicBezTo>
                  <a:cubicBezTo>
                    <a:pt x="772" y="486"/>
                    <a:pt x="772" y="486"/>
                    <a:pt x="772" y="486"/>
                  </a:cubicBezTo>
                  <a:cubicBezTo>
                    <a:pt x="809" y="486"/>
                    <a:pt x="840" y="460"/>
                    <a:pt x="847" y="425"/>
                  </a:cubicBezTo>
                  <a:cubicBezTo>
                    <a:pt x="892" y="207"/>
                    <a:pt x="892" y="207"/>
                    <a:pt x="892" y="207"/>
                  </a:cubicBezTo>
                  <a:cubicBezTo>
                    <a:pt x="894" y="207"/>
                    <a:pt x="895" y="207"/>
                    <a:pt x="897" y="207"/>
                  </a:cubicBezTo>
                  <a:cubicBezTo>
                    <a:pt x="929" y="207"/>
                    <a:pt x="955" y="181"/>
                    <a:pt x="955" y="150"/>
                  </a:cubicBezTo>
                  <a:cubicBezTo>
                    <a:pt x="955" y="114"/>
                    <a:pt x="922" y="86"/>
                    <a:pt x="885" y="9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9" name="Freeform 128">
              <a:extLst>
                <a:ext uri="{FF2B5EF4-FFF2-40B4-BE49-F238E27FC236}">
                  <a16:creationId xmlns:a16="http://schemas.microsoft.com/office/drawing/2014/main" id="{EDCB4489-DE45-408D-925E-F5FC36023F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34000" y="4713288"/>
              <a:ext cx="1881188" cy="1882775"/>
            </a:xfrm>
            <a:custGeom>
              <a:avLst/>
              <a:gdLst>
                <a:gd name="T0" fmla="*/ 927 w 991"/>
                <a:gd name="T1" fmla="*/ 380 h 992"/>
                <a:gd name="T2" fmla="*/ 380 w 991"/>
                <a:gd name="T3" fmla="*/ 64 h 992"/>
                <a:gd name="T4" fmla="*/ 64 w 991"/>
                <a:gd name="T5" fmla="*/ 612 h 992"/>
                <a:gd name="T6" fmla="*/ 611 w 991"/>
                <a:gd name="T7" fmla="*/ 928 h 992"/>
                <a:gd name="T8" fmla="*/ 927 w 991"/>
                <a:gd name="T9" fmla="*/ 380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1" h="992">
                  <a:moveTo>
                    <a:pt x="927" y="380"/>
                  </a:moveTo>
                  <a:cubicBezTo>
                    <a:pt x="864" y="142"/>
                    <a:pt x="618" y="0"/>
                    <a:pt x="380" y="64"/>
                  </a:cubicBezTo>
                  <a:cubicBezTo>
                    <a:pt x="142" y="128"/>
                    <a:pt x="0" y="373"/>
                    <a:pt x="64" y="612"/>
                  </a:cubicBezTo>
                  <a:cubicBezTo>
                    <a:pt x="128" y="850"/>
                    <a:pt x="373" y="992"/>
                    <a:pt x="611" y="928"/>
                  </a:cubicBezTo>
                  <a:cubicBezTo>
                    <a:pt x="850" y="864"/>
                    <a:pt x="991" y="619"/>
                    <a:pt x="927" y="380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0" name="Freeform 129">
              <a:extLst>
                <a:ext uri="{FF2B5EF4-FFF2-40B4-BE49-F238E27FC236}">
                  <a16:creationId xmlns:a16="http://schemas.microsoft.com/office/drawing/2014/main" id="{E35604BB-845D-4C38-B547-39F5B3D31A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1238" y="482600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3942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1" name="Freeform 130">
              <a:extLst>
                <a:ext uri="{FF2B5EF4-FFF2-40B4-BE49-F238E27FC236}">
                  <a16:creationId xmlns:a16="http://schemas.microsoft.com/office/drawing/2014/main" id="{0680544E-D9A7-4168-BCA5-0421CF1337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59413" y="4826001"/>
              <a:ext cx="630238" cy="595313"/>
            </a:xfrm>
            <a:custGeom>
              <a:avLst/>
              <a:gdLst>
                <a:gd name="T0" fmla="*/ 332 w 332"/>
                <a:gd name="T1" fmla="*/ 0 h 313"/>
                <a:gd name="T2" fmla="*/ 314 w 332"/>
                <a:gd name="T3" fmla="*/ 4 h 313"/>
                <a:gd name="T4" fmla="*/ 0 w 332"/>
                <a:gd name="T5" fmla="*/ 313 h 313"/>
                <a:gd name="T6" fmla="*/ 0 w 332"/>
                <a:gd name="T7" fmla="*/ 313 h 313"/>
                <a:gd name="T8" fmla="*/ 314 w 332"/>
                <a:gd name="T9" fmla="*/ 4 h 313"/>
                <a:gd name="T10" fmla="*/ 332 w 332"/>
                <a:gd name="T11" fmla="*/ 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2" h="313">
                  <a:moveTo>
                    <a:pt x="332" y="0"/>
                  </a:moveTo>
                  <a:cubicBezTo>
                    <a:pt x="326" y="1"/>
                    <a:pt x="320" y="3"/>
                    <a:pt x="314" y="4"/>
                  </a:cubicBezTo>
                  <a:cubicBezTo>
                    <a:pt x="157" y="46"/>
                    <a:pt x="42" y="167"/>
                    <a:pt x="0" y="313"/>
                  </a:cubicBezTo>
                  <a:cubicBezTo>
                    <a:pt x="0" y="313"/>
                    <a:pt x="0" y="313"/>
                    <a:pt x="0" y="313"/>
                  </a:cubicBezTo>
                  <a:cubicBezTo>
                    <a:pt x="42" y="167"/>
                    <a:pt x="157" y="46"/>
                    <a:pt x="314" y="4"/>
                  </a:cubicBezTo>
                  <a:cubicBezTo>
                    <a:pt x="320" y="3"/>
                    <a:pt x="326" y="1"/>
                    <a:pt x="332" y="0"/>
                  </a:cubicBezTo>
                </a:path>
              </a:pathLst>
            </a:custGeom>
            <a:solidFill>
              <a:srgbClr val="3942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2" name="Freeform 131">
              <a:extLst>
                <a:ext uri="{FF2B5EF4-FFF2-40B4-BE49-F238E27FC236}">
                  <a16:creationId xmlns:a16="http://schemas.microsoft.com/office/drawing/2014/main" id="{CEDEBC73-EEE8-4F44-ADF9-7711ECC60EC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456238" y="5876926"/>
              <a:ext cx="11113" cy="33338"/>
            </a:xfrm>
            <a:custGeom>
              <a:avLst/>
              <a:gdLst>
                <a:gd name="T0" fmla="*/ 6 w 6"/>
                <a:gd name="T1" fmla="*/ 18 h 18"/>
                <a:gd name="T2" fmla="*/ 6 w 6"/>
                <a:gd name="T3" fmla="*/ 18 h 18"/>
                <a:gd name="T4" fmla="*/ 6 w 6"/>
                <a:gd name="T5" fmla="*/ 18 h 18"/>
                <a:gd name="T6" fmla="*/ 5 w 6"/>
                <a:gd name="T7" fmla="*/ 16 h 18"/>
                <a:gd name="T8" fmla="*/ 5 w 6"/>
                <a:gd name="T9" fmla="*/ 16 h 18"/>
                <a:gd name="T10" fmla="*/ 5 w 6"/>
                <a:gd name="T11" fmla="*/ 16 h 18"/>
                <a:gd name="T12" fmla="*/ 4 w 6"/>
                <a:gd name="T13" fmla="*/ 12 h 18"/>
                <a:gd name="T14" fmla="*/ 4 w 6"/>
                <a:gd name="T15" fmla="*/ 12 h 18"/>
                <a:gd name="T16" fmla="*/ 4 w 6"/>
                <a:gd name="T17" fmla="*/ 12 h 18"/>
                <a:gd name="T18" fmla="*/ 4 w 6"/>
                <a:gd name="T19" fmla="*/ 11 h 18"/>
                <a:gd name="T20" fmla="*/ 4 w 6"/>
                <a:gd name="T21" fmla="*/ 11 h 18"/>
                <a:gd name="T22" fmla="*/ 4 w 6"/>
                <a:gd name="T23" fmla="*/ 11 h 18"/>
                <a:gd name="T24" fmla="*/ 3 w 6"/>
                <a:gd name="T25" fmla="*/ 9 h 18"/>
                <a:gd name="T26" fmla="*/ 3 w 6"/>
                <a:gd name="T27" fmla="*/ 10 h 18"/>
                <a:gd name="T28" fmla="*/ 3 w 6"/>
                <a:gd name="T29" fmla="*/ 9 h 18"/>
                <a:gd name="T30" fmla="*/ 3 w 6"/>
                <a:gd name="T31" fmla="*/ 8 h 18"/>
                <a:gd name="T32" fmla="*/ 3 w 6"/>
                <a:gd name="T33" fmla="*/ 9 h 18"/>
                <a:gd name="T34" fmla="*/ 3 w 6"/>
                <a:gd name="T35" fmla="*/ 8 h 18"/>
                <a:gd name="T36" fmla="*/ 2 w 6"/>
                <a:gd name="T37" fmla="*/ 7 h 18"/>
                <a:gd name="T38" fmla="*/ 2 w 6"/>
                <a:gd name="T39" fmla="*/ 7 h 18"/>
                <a:gd name="T40" fmla="*/ 2 w 6"/>
                <a:gd name="T41" fmla="*/ 7 h 18"/>
                <a:gd name="T42" fmla="*/ 2 w 6"/>
                <a:gd name="T43" fmla="*/ 5 h 18"/>
                <a:gd name="T44" fmla="*/ 2 w 6"/>
                <a:gd name="T45" fmla="*/ 6 h 18"/>
                <a:gd name="T46" fmla="*/ 2 w 6"/>
                <a:gd name="T47" fmla="*/ 5 h 18"/>
                <a:gd name="T48" fmla="*/ 2 w 6"/>
                <a:gd name="T49" fmla="*/ 4 h 18"/>
                <a:gd name="T50" fmla="*/ 2 w 6"/>
                <a:gd name="T51" fmla="*/ 4 h 18"/>
                <a:gd name="T52" fmla="*/ 2 w 6"/>
                <a:gd name="T53" fmla="*/ 4 h 18"/>
                <a:gd name="T54" fmla="*/ 1 w 6"/>
                <a:gd name="T55" fmla="*/ 2 h 18"/>
                <a:gd name="T56" fmla="*/ 1 w 6"/>
                <a:gd name="T57" fmla="*/ 3 h 18"/>
                <a:gd name="T58" fmla="*/ 1 w 6"/>
                <a:gd name="T59" fmla="*/ 2 h 18"/>
                <a:gd name="T60" fmla="*/ 1 w 6"/>
                <a:gd name="T61" fmla="*/ 1 h 18"/>
                <a:gd name="T62" fmla="*/ 1 w 6"/>
                <a:gd name="T63" fmla="*/ 2 h 18"/>
                <a:gd name="T64" fmla="*/ 1 w 6"/>
                <a:gd name="T65" fmla="*/ 1 h 18"/>
                <a:gd name="T66" fmla="*/ 0 w 6"/>
                <a:gd name="T67" fmla="*/ 0 h 18"/>
                <a:gd name="T68" fmla="*/ 1 w 6"/>
                <a:gd name="T69" fmla="*/ 0 h 18"/>
                <a:gd name="T70" fmla="*/ 0 w 6"/>
                <a:gd name="T7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" h="18">
                  <a:moveTo>
                    <a:pt x="6" y="18"/>
                  </a:move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moveTo>
                    <a:pt x="5" y="16"/>
                  </a:move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moveTo>
                    <a:pt x="4" y="12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moveTo>
                    <a:pt x="4" y="11"/>
                  </a:move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moveTo>
                    <a:pt x="3" y="9"/>
                  </a:move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9"/>
                  </a:cubicBezTo>
                  <a:moveTo>
                    <a:pt x="3" y="8"/>
                  </a:moveTo>
                  <a:cubicBezTo>
                    <a:pt x="3" y="8"/>
                    <a:pt x="3" y="8"/>
                    <a:pt x="3" y="9"/>
                  </a:cubicBezTo>
                  <a:cubicBezTo>
                    <a:pt x="3" y="8"/>
                    <a:pt x="3" y="8"/>
                    <a:pt x="3" y="8"/>
                  </a:cubicBezTo>
                  <a:moveTo>
                    <a:pt x="2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moveTo>
                    <a:pt x="2" y="5"/>
                  </a:moveTo>
                  <a:cubicBezTo>
                    <a:pt x="2" y="5"/>
                    <a:pt x="2" y="5"/>
                    <a:pt x="2" y="6"/>
                  </a:cubicBezTo>
                  <a:cubicBezTo>
                    <a:pt x="2" y="5"/>
                    <a:pt x="2" y="5"/>
                    <a:pt x="2" y="5"/>
                  </a:cubicBezTo>
                  <a:moveTo>
                    <a:pt x="2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moveTo>
                    <a:pt x="1" y="2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2"/>
                  </a:cubicBezTo>
                  <a:moveTo>
                    <a:pt x="1" y="1"/>
                  </a:moveTo>
                  <a:cubicBezTo>
                    <a:pt x="1" y="1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3" name="Freeform 132">
              <a:extLst>
                <a:ext uri="{FF2B5EF4-FFF2-40B4-BE49-F238E27FC236}">
                  <a16:creationId xmlns:a16="http://schemas.microsoft.com/office/drawing/2014/main" id="{15498C5F-7F71-4D2B-ADC5-A569079970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0513" y="4805363"/>
              <a:ext cx="1371600" cy="1577975"/>
            </a:xfrm>
            <a:custGeom>
              <a:avLst/>
              <a:gdLst>
                <a:gd name="T0" fmla="*/ 477 w 723"/>
                <a:gd name="T1" fmla="*/ 0 h 831"/>
                <a:gd name="T2" fmla="*/ 380 w 723"/>
                <a:gd name="T3" fmla="*/ 11 h 831"/>
                <a:gd name="T4" fmla="*/ 380 w 723"/>
                <a:gd name="T5" fmla="*/ 11 h 831"/>
                <a:gd name="T6" fmla="*/ 379 w 723"/>
                <a:gd name="T7" fmla="*/ 11 h 831"/>
                <a:gd name="T8" fmla="*/ 361 w 723"/>
                <a:gd name="T9" fmla="*/ 15 h 831"/>
                <a:gd name="T10" fmla="*/ 47 w 723"/>
                <a:gd name="T11" fmla="*/ 324 h 831"/>
                <a:gd name="T12" fmla="*/ 30 w 723"/>
                <a:gd name="T13" fmla="*/ 447 h 831"/>
                <a:gd name="T14" fmla="*/ 45 w 723"/>
                <a:gd name="T15" fmla="*/ 563 h 831"/>
                <a:gd name="T16" fmla="*/ 45 w 723"/>
                <a:gd name="T17" fmla="*/ 564 h 831"/>
                <a:gd name="T18" fmla="*/ 46 w 723"/>
                <a:gd name="T19" fmla="*/ 564 h 831"/>
                <a:gd name="T20" fmla="*/ 46 w 723"/>
                <a:gd name="T21" fmla="*/ 565 h 831"/>
                <a:gd name="T22" fmla="*/ 46 w 723"/>
                <a:gd name="T23" fmla="*/ 566 h 831"/>
                <a:gd name="T24" fmla="*/ 46 w 723"/>
                <a:gd name="T25" fmla="*/ 566 h 831"/>
                <a:gd name="T26" fmla="*/ 46 w 723"/>
                <a:gd name="T27" fmla="*/ 567 h 831"/>
                <a:gd name="T28" fmla="*/ 47 w 723"/>
                <a:gd name="T29" fmla="*/ 568 h 831"/>
                <a:gd name="T30" fmla="*/ 47 w 723"/>
                <a:gd name="T31" fmla="*/ 568 h 831"/>
                <a:gd name="T32" fmla="*/ 47 w 723"/>
                <a:gd name="T33" fmla="*/ 569 h 831"/>
                <a:gd name="T34" fmla="*/ 47 w 723"/>
                <a:gd name="T35" fmla="*/ 570 h 831"/>
                <a:gd name="T36" fmla="*/ 47 w 723"/>
                <a:gd name="T37" fmla="*/ 571 h 831"/>
                <a:gd name="T38" fmla="*/ 47 w 723"/>
                <a:gd name="T39" fmla="*/ 571 h 831"/>
                <a:gd name="T40" fmla="*/ 48 w 723"/>
                <a:gd name="T41" fmla="*/ 572 h 831"/>
                <a:gd name="T42" fmla="*/ 48 w 723"/>
                <a:gd name="T43" fmla="*/ 573 h 831"/>
                <a:gd name="T44" fmla="*/ 48 w 723"/>
                <a:gd name="T45" fmla="*/ 573 h 831"/>
                <a:gd name="T46" fmla="*/ 48 w 723"/>
                <a:gd name="T47" fmla="*/ 574 h 831"/>
                <a:gd name="T48" fmla="*/ 49 w 723"/>
                <a:gd name="T49" fmla="*/ 575 h 831"/>
                <a:gd name="T50" fmla="*/ 49 w 723"/>
                <a:gd name="T51" fmla="*/ 575 h 831"/>
                <a:gd name="T52" fmla="*/ 49 w 723"/>
                <a:gd name="T53" fmla="*/ 576 h 831"/>
                <a:gd name="T54" fmla="*/ 49 w 723"/>
                <a:gd name="T55" fmla="*/ 576 h 831"/>
                <a:gd name="T56" fmla="*/ 50 w 723"/>
                <a:gd name="T57" fmla="*/ 580 h 831"/>
                <a:gd name="T58" fmla="*/ 50 w 723"/>
                <a:gd name="T59" fmla="*/ 580 h 831"/>
                <a:gd name="T60" fmla="*/ 51 w 723"/>
                <a:gd name="T61" fmla="*/ 582 h 831"/>
                <a:gd name="T62" fmla="*/ 51 w 723"/>
                <a:gd name="T63" fmla="*/ 582 h 831"/>
                <a:gd name="T64" fmla="*/ 249 w 723"/>
                <a:gd name="T65" fmla="*/ 831 h 831"/>
                <a:gd name="T66" fmla="*/ 63 w 723"/>
                <a:gd name="T67" fmla="*/ 574 h 831"/>
                <a:gd name="T68" fmla="*/ 379 w 723"/>
                <a:gd name="T69" fmla="*/ 27 h 831"/>
                <a:gd name="T70" fmla="*/ 495 w 723"/>
                <a:gd name="T71" fmla="*/ 12 h 831"/>
                <a:gd name="T72" fmla="*/ 723 w 723"/>
                <a:gd name="T73" fmla="*/ 74 h 831"/>
                <a:gd name="T74" fmla="*/ 477 w 723"/>
                <a:gd name="T75" fmla="*/ 0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23" h="831">
                  <a:moveTo>
                    <a:pt x="477" y="0"/>
                  </a:moveTo>
                  <a:cubicBezTo>
                    <a:pt x="445" y="0"/>
                    <a:pt x="413" y="3"/>
                    <a:pt x="380" y="11"/>
                  </a:cubicBezTo>
                  <a:cubicBezTo>
                    <a:pt x="380" y="11"/>
                    <a:pt x="380" y="11"/>
                    <a:pt x="380" y="11"/>
                  </a:cubicBezTo>
                  <a:cubicBezTo>
                    <a:pt x="380" y="11"/>
                    <a:pt x="380" y="11"/>
                    <a:pt x="379" y="11"/>
                  </a:cubicBezTo>
                  <a:cubicBezTo>
                    <a:pt x="373" y="12"/>
                    <a:pt x="367" y="14"/>
                    <a:pt x="361" y="15"/>
                  </a:cubicBezTo>
                  <a:cubicBezTo>
                    <a:pt x="204" y="57"/>
                    <a:pt x="89" y="178"/>
                    <a:pt x="47" y="324"/>
                  </a:cubicBezTo>
                  <a:cubicBezTo>
                    <a:pt x="36" y="363"/>
                    <a:pt x="30" y="405"/>
                    <a:pt x="30" y="447"/>
                  </a:cubicBezTo>
                  <a:cubicBezTo>
                    <a:pt x="30" y="485"/>
                    <a:pt x="35" y="524"/>
                    <a:pt x="45" y="563"/>
                  </a:cubicBezTo>
                  <a:cubicBezTo>
                    <a:pt x="45" y="563"/>
                    <a:pt x="45" y="564"/>
                    <a:pt x="45" y="564"/>
                  </a:cubicBezTo>
                  <a:cubicBezTo>
                    <a:pt x="45" y="564"/>
                    <a:pt x="46" y="564"/>
                    <a:pt x="46" y="564"/>
                  </a:cubicBezTo>
                  <a:cubicBezTo>
                    <a:pt x="46" y="565"/>
                    <a:pt x="46" y="565"/>
                    <a:pt x="46" y="565"/>
                  </a:cubicBezTo>
                  <a:cubicBezTo>
                    <a:pt x="46" y="565"/>
                    <a:pt x="46" y="566"/>
                    <a:pt x="46" y="566"/>
                  </a:cubicBezTo>
                  <a:cubicBezTo>
                    <a:pt x="46" y="566"/>
                    <a:pt x="46" y="566"/>
                    <a:pt x="46" y="566"/>
                  </a:cubicBezTo>
                  <a:cubicBezTo>
                    <a:pt x="46" y="567"/>
                    <a:pt x="46" y="567"/>
                    <a:pt x="46" y="567"/>
                  </a:cubicBezTo>
                  <a:cubicBezTo>
                    <a:pt x="46" y="567"/>
                    <a:pt x="46" y="568"/>
                    <a:pt x="47" y="568"/>
                  </a:cubicBezTo>
                  <a:cubicBezTo>
                    <a:pt x="47" y="568"/>
                    <a:pt x="47" y="568"/>
                    <a:pt x="47" y="568"/>
                  </a:cubicBezTo>
                  <a:cubicBezTo>
                    <a:pt x="47" y="569"/>
                    <a:pt x="47" y="569"/>
                    <a:pt x="47" y="569"/>
                  </a:cubicBezTo>
                  <a:cubicBezTo>
                    <a:pt x="47" y="569"/>
                    <a:pt x="47" y="569"/>
                    <a:pt x="47" y="570"/>
                  </a:cubicBezTo>
                  <a:cubicBezTo>
                    <a:pt x="47" y="570"/>
                    <a:pt x="47" y="570"/>
                    <a:pt x="47" y="571"/>
                  </a:cubicBezTo>
                  <a:cubicBezTo>
                    <a:pt x="47" y="571"/>
                    <a:pt x="47" y="571"/>
                    <a:pt x="47" y="571"/>
                  </a:cubicBezTo>
                  <a:cubicBezTo>
                    <a:pt x="48" y="571"/>
                    <a:pt x="48" y="572"/>
                    <a:pt x="48" y="572"/>
                  </a:cubicBezTo>
                  <a:cubicBezTo>
                    <a:pt x="48" y="572"/>
                    <a:pt x="48" y="572"/>
                    <a:pt x="48" y="573"/>
                  </a:cubicBezTo>
                  <a:cubicBezTo>
                    <a:pt x="48" y="573"/>
                    <a:pt x="48" y="573"/>
                    <a:pt x="48" y="573"/>
                  </a:cubicBezTo>
                  <a:cubicBezTo>
                    <a:pt x="48" y="574"/>
                    <a:pt x="48" y="574"/>
                    <a:pt x="48" y="574"/>
                  </a:cubicBezTo>
                  <a:cubicBezTo>
                    <a:pt x="48" y="574"/>
                    <a:pt x="48" y="574"/>
                    <a:pt x="49" y="575"/>
                  </a:cubicBezTo>
                  <a:cubicBezTo>
                    <a:pt x="49" y="575"/>
                    <a:pt x="49" y="575"/>
                    <a:pt x="49" y="575"/>
                  </a:cubicBezTo>
                  <a:cubicBezTo>
                    <a:pt x="49" y="575"/>
                    <a:pt x="49" y="576"/>
                    <a:pt x="49" y="576"/>
                  </a:cubicBezTo>
                  <a:cubicBezTo>
                    <a:pt x="49" y="576"/>
                    <a:pt x="49" y="576"/>
                    <a:pt x="49" y="576"/>
                  </a:cubicBezTo>
                  <a:cubicBezTo>
                    <a:pt x="49" y="578"/>
                    <a:pt x="50" y="579"/>
                    <a:pt x="50" y="580"/>
                  </a:cubicBezTo>
                  <a:cubicBezTo>
                    <a:pt x="50" y="580"/>
                    <a:pt x="50" y="580"/>
                    <a:pt x="50" y="580"/>
                  </a:cubicBezTo>
                  <a:cubicBezTo>
                    <a:pt x="50" y="581"/>
                    <a:pt x="51" y="581"/>
                    <a:pt x="51" y="582"/>
                  </a:cubicBezTo>
                  <a:cubicBezTo>
                    <a:pt x="51" y="582"/>
                    <a:pt x="51" y="582"/>
                    <a:pt x="51" y="582"/>
                  </a:cubicBezTo>
                  <a:cubicBezTo>
                    <a:pt x="85" y="690"/>
                    <a:pt x="157" y="777"/>
                    <a:pt x="249" y="831"/>
                  </a:cubicBezTo>
                  <a:cubicBezTo>
                    <a:pt x="161" y="773"/>
                    <a:pt x="93" y="684"/>
                    <a:pt x="63" y="574"/>
                  </a:cubicBezTo>
                  <a:cubicBezTo>
                    <a:pt x="0" y="336"/>
                    <a:pt x="141" y="91"/>
                    <a:pt x="379" y="27"/>
                  </a:cubicBezTo>
                  <a:cubicBezTo>
                    <a:pt x="418" y="16"/>
                    <a:pt x="457" y="12"/>
                    <a:pt x="495" y="12"/>
                  </a:cubicBezTo>
                  <a:cubicBezTo>
                    <a:pt x="576" y="12"/>
                    <a:pt x="655" y="34"/>
                    <a:pt x="723" y="74"/>
                  </a:cubicBezTo>
                  <a:cubicBezTo>
                    <a:pt x="651" y="27"/>
                    <a:pt x="566" y="0"/>
                    <a:pt x="477" y="0"/>
                  </a:cubicBez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4" name="Rectangle 133">
              <a:extLst>
                <a:ext uri="{FF2B5EF4-FFF2-40B4-BE49-F238E27FC236}">
                  <a16:creationId xmlns:a16="http://schemas.microsoft.com/office/drawing/2014/main" id="{208A1625-195A-423D-BEF2-0DD1C32AD53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752850" y="3963988"/>
              <a:ext cx="1431925" cy="434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altLang="zh-CN" sz="2200" b="0" i="0" u="none" strike="noStrike" cap="none" normalizeH="0" baseline="0" dirty="0">
                  <a:ln>
                    <a:noFill/>
                  </a:ln>
                  <a:solidFill>
                    <a:srgbClr val="242A50"/>
                  </a:solidFill>
                  <a:effectLst/>
                  <a:latin typeface="微软雅黑 Light" panose="020B0502040204020203" pitchFamily="34" charset="-122"/>
                  <a:ea typeface="微软雅黑 Light" panose="020B0502040204020203" pitchFamily="34" charset="-122"/>
                </a:rPr>
                <a:t>subtitle he</a:t>
              </a:r>
              <a:endParaRPr kumimoji="0" lang="zh-CN" altLang="zh-CN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5" name="Rectangle 134">
              <a:extLst>
                <a:ext uri="{FF2B5EF4-FFF2-40B4-BE49-F238E27FC236}">
                  <a16:creationId xmlns:a16="http://schemas.microsoft.com/office/drawing/2014/main" id="{5685D602-B028-4A4C-A1A1-6D06AB14CD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022850" y="3963988"/>
              <a:ext cx="233363" cy="434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altLang="zh-CN" sz="2200" b="0" i="0" u="none" strike="noStrike" cap="none" normalizeH="0" baseline="0">
                  <a:ln>
                    <a:noFill/>
                  </a:ln>
                  <a:solidFill>
                    <a:srgbClr val="242A50"/>
                  </a:solidFill>
                  <a:effectLst/>
                  <a:latin typeface="微软雅黑 Light" panose="020B0502040204020203" pitchFamily="34" charset="-122"/>
                  <a:ea typeface="微软雅黑 Light" panose="020B0502040204020203" pitchFamily="34" charset="-122"/>
                </a:rPr>
                <a:t>r</a:t>
              </a:r>
              <a:endParaRPr kumimoji="0" lang="zh-CN" altLang="zh-CN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6" name="Rectangle 135">
              <a:extLst>
                <a:ext uri="{FF2B5EF4-FFF2-40B4-BE49-F238E27FC236}">
                  <a16:creationId xmlns:a16="http://schemas.microsoft.com/office/drawing/2014/main" id="{D9214BC2-D13F-4E39-86EA-37EE9FBACDC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16513" y="3963988"/>
              <a:ext cx="285750" cy="434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altLang="zh-CN" sz="2200" b="0" i="0" u="none" strike="noStrike" cap="none" normalizeH="0" baseline="0">
                  <a:ln>
                    <a:noFill/>
                  </a:ln>
                  <a:solidFill>
                    <a:srgbClr val="242A50"/>
                  </a:solidFill>
                  <a:effectLst/>
                  <a:latin typeface="微软雅黑 Light" panose="020B0502040204020203" pitchFamily="34" charset="-122"/>
                  <a:ea typeface="微软雅黑 Light" panose="020B0502040204020203" pitchFamily="34" charset="-122"/>
                </a:rPr>
                <a:t>e</a:t>
              </a:r>
              <a:endParaRPr kumimoji="0" lang="zh-CN" altLang="zh-CN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552212" y="1742744"/>
            <a:ext cx="4069557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BFE33CB7-269A-47A7-A532-51FDCDE9AC25}"/>
              </a:ext>
            </a:extLst>
          </p:cNvPr>
          <p:cNvSpPr/>
          <p:nvPr userDrawn="1"/>
        </p:nvSpPr>
        <p:spPr>
          <a:xfrm>
            <a:off x="3416300" y="3852333"/>
            <a:ext cx="2311400" cy="4871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552212" y="4048980"/>
            <a:ext cx="4069557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200" smtClean="0">
                <a:solidFill>
                  <a:schemeClr val="bg1"/>
                </a:solidFill>
              </a:defRPr>
            </a:lvl1pPr>
            <a:lvl2pPr>
              <a:defRPr lang="zh-CN" altLang="en-US" sz="1500" smtClean="0"/>
            </a:lvl2pPr>
            <a:lvl3pPr>
              <a:defRPr lang="zh-CN" altLang="en-US" sz="1350" smtClean="0"/>
            </a:lvl3pPr>
            <a:lvl4pPr>
              <a:defRPr lang="zh-CN" altLang="en-US" sz="1200" smtClean="0"/>
            </a:lvl4pPr>
            <a:lvl5pPr>
              <a:defRPr lang="zh-CN" altLang="en-US" sz="1200"/>
            </a:lvl5pPr>
          </a:lstStyle>
          <a:p>
            <a:pPr marL="171442" marR="0" lvl="0" indent="-171442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52213" y="3752709"/>
            <a:ext cx="4069557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200" b="0">
                <a:solidFill>
                  <a:schemeClr val="bg1"/>
                </a:solidFill>
              </a:defRPr>
            </a:lvl1pPr>
            <a:lvl2pPr marL="342883" indent="0">
              <a:buNone/>
              <a:defRPr/>
            </a:lvl2pPr>
            <a:lvl3pPr marL="685765" indent="0">
              <a:buNone/>
              <a:defRPr/>
            </a:lvl3pPr>
            <a:lvl4pPr marL="1028648" indent="0">
              <a:buNone/>
              <a:defRPr/>
            </a:lvl4pPr>
            <a:lvl5pPr marL="1371532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2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1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51299" y="6240464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3/9/25</a:t>
            </a:fld>
            <a:endParaRPr lang="zh-CN" altLang="en-US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49" y="6240464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2" indent="-171442" algn="l" defTabSz="6857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2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07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90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74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7" userDrawn="1">
          <p15:clr>
            <a:srgbClr val="F26B43"/>
          </p15:clr>
        </p15:guide>
        <p15:guide id="2" pos="5443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0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00.xml"/><Relationship Id="rId6" Type="http://schemas.openxmlformats.org/officeDocument/2006/relationships/image" Target="../media/image58.png"/><Relationship Id="rId5" Type="http://schemas.openxmlformats.org/officeDocument/2006/relationships/image" Target="../media/image59.png"/><Relationship Id="rId4" Type="http://schemas.openxmlformats.org/officeDocument/2006/relationships/image" Target="../media/image55.png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01.xml"/><Relationship Id="rId6" Type="http://schemas.openxmlformats.org/officeDocument/2006/relationships/image" Target="../media/image58.png"/><Relationship Id="rId5" Type="http://schemas.openxmlformats.org/officeDocument/2006/relationships/image" Target="../media/image59.png"/><Relationship Id="rId4" Type="http://schemas.openxmlformats.org/officeDocument/2006/relationships/image" Target="../media/image55.png"/></Relationships>
</file>

<file path=ppt/slides/_rels/slide1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4.png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02.xml"/><Relationship Id="rId6" Type="http://schemas.openxmlformats.org/officeDocument/2006/relationships/image" Target="../media/image58.png"/><Relationship Id="rId5" Type="http://schemas.openxmlformats.org/officeDocument/2006/relationships/image" Target="../media/image59.png"/><Relationship Id="rId4" Type="http://schemas.openxmlformats.org/officeDocument/2006/relationships/image" Target="../media/image55.png"/><Relationship Id="rId9" Type="http://schemas.openxmlformats.org/officeDocument/2006/relationships/image" Target="../media/image62.png"/></Relationships>
</file>

<file path=ppt/slides/_rels/slide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image" Target="../media/image54.png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03.xml"/><Relationship Id="rId6" Type="http://schemas.openxmlformats.org/officeDocument/2006/relationships/image" Target="../media/image58.png"/><Relationship Id="rId5" Type="http://schemas.openxmlformats.org/officeDocument/2006/relationships/image" Target="../media/image59.png"/><Relationship Id="rId10" Type="http://schemas.openxmlformats.org/officeDocument/2006/relationships/image" Target="../media/image64.png"/><Relationship Id="rId4" Type="http://schemas.openxmlformats.org/officeDocument/2006/relationships/image" Target="../media/image55.png"/><Relationship Id="rId9" Type="http://schemas.openxmlformats.org/officeDocument/2006/relationships/image" Target="../media/image61.png"/></Relationships>
</file>

<file path=ppt/slides/_rels/slide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54.png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04.xml"/><Relationship Id="rId6" Type="http://schemas.openxmlformats.org/officeDocument/2006/relationships/image" Target="../media/image58.png"/><Relationship Id="rId5" Type="http://schemas.openxmlformats.org/officeDocument/2006/relationships/image" Target="../media/image59.png"/><Relationship Id="rId10" Type="http://schemas.openxmlformats.org/officeDocument/2006/relationships/image" Target="../media/image63.png"/><Relationship Id="rId4" Type="http://schemas.openxmlformats.org/officeDocument/2006/relationships/image" Target="../media/image55.png"/><Relationship Id="rId9" Type="http://schemas.openxmlformats.org/officeDocument/2006/relationships/image" Target="../media/image61.png"/></Relationships>
</file>

<file path=ppt/slides/_rels/slide1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54.png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05.xml"/><Relationship Id="rId6" Type="http://schemas.openxmlformats.org/officeDocument/2006/relationships/image" Target="../media/image58.png"/><Relationship Id="rId11" Type="http://schemas.openxmlformats.org/officeDocument/2006/relationships/image" Target="../media/image65.png"/><Relationship Id="rId5" Type="http://schemas.openxmlformats.org/officeDocument/2006/relationships/image" Target="../media/image59.png"/><Relationship Id="rId10" Type="http://schemas.openxmlformats.org/officeDocument/2006/relationships/image" Target="../media/image63.png"/><Relationship Id="rId4" Type="http://schemas.openxmlformats.org/officeDocument/2006/relationships/image" Target="../media/image55.png"/><Relationship Id="rId9" Type="http://schemas.openxmlformats.org/officeDocument/2006/relationships/image" Target="../media/image61.png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06.xml"/><Relationship Id="rId5" Type="http://schemas.openxmlformats.org/officeDocument/2006/relationships/image" Target="file:///L:\Water\Documents\Tencent%20Files\1106367305\Image\C2C\6DC2VTI5DP58104Q%7d0D0KY8.png" TargetMode="External"/><Relationship Id="rId4" Type="http://schemas.openxmlformats.org/officeDocument/2006/relationships/image" Target="../media/image66.png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07.xml"/><Relationship Id="rId5" Type="http://schemas.openxmlformats.org/officeDocument/2006/relationships/image" Target="../media/image67.png"/><Relationship Id="rId4" Type="http://schemas.openxmlformats.org/officeDocument/2006/relationships/image" Target="file:///L:\Water\Documents\Tencent%20Files\1106367305\Image\C2C\6DC2VTI5DP58104Q%7d0D0KY8.png" TargetMode="Externa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08.xml"/><Relationship Id="rId4" Type="http://schemas.openxmlformats.org/officeDocument/2006/relationships/image" Target="file:///L:\Water\Documents\Tencent%20Files\1106367305\Image\C2C\6DC2VTI5DP58104Q%7d0D0KY8.png" TargetMode="External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09.xml"/><Relationship Id="rId6" Type="http://schemas.openxmlformats.org/officeDocument/2006/relationships/image" Target="file:///L:\Water\Documents\Tencent%20Files\1106367305\Image\C2C\6DC2VTI5DP58104Q%7d0D0KY8.png" TargetMode="External"/><Relationship Id="rId5" Type="http://schemas.openxmlformats.org/officeDocument/2006/relationships/image" Target="../media/image66.png"/><Relationship Id="rId4" Type="http://schemas.openxmlformats.org/officeDocument/2006/relationships/image" Target="file:///L:\Water\Documents\Tencent%20Files\1106367305\Image\C2C\QE1~%7b_S2~KTI%5dS(4K0%60R0C3.jpg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1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10.xml"/><Relationship Id="rId6" Type="http://schemas.openxmlformats.org/officeDocument/2006/relationships/image" Target="file:///L:\Water\Documents\Tencent%20Files\1106367305\Image\C2C\QE1~%7b_S2~KTI%5dS(4K0%60R0C3.jpg" TargetMode="External"/><Relationship Id="rId5" Type="http://schemas.openxmlformats.org/officeDocument/2006/relationships/image" Target="../media/image68.jpeg"/><Relationship Id="rId4" Type="http://schemas.openxmlformats.org/officeDocument/2006/relationships/image" Target="file:///L:\Water\Documents\Tencent%20Files\1106367305\Image\C2C\6DC2VTI5DP58104Q%7d0D0KY8.png" TargetMode="External"/></Relationships>
</file>

<file path=ppt/slides/_rels/slide111.xml.rels><?xml version="1.0" encoding="UTF-8" standalone="yes"?>
<Relationships xmlns="http://schemas.openxmlformats.org/package/2006/relationships"><Relationship Id="rId8" Type="http://schemas.openxmlformats.org/officeDocument/2006/relationships/image" Target="file:///L:\Water\Documents\Tencent%20Files\1106367305\Image\C2C\K4MW9PQR8%7bLBF%5b(O$P$O003.png" TargetMode="External"/><Relationship Id="rId3" Type="http://schemas.openxmlformats.org/officeDocument/2006/relationships/image" Target="../media/image68.jpeg"/><Relationship Id="rId7" Type="http://schemas.openxmlformats.org/officeDocument/2006/relationships/image" Target="../media/image69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11.xml"/><Relationship Id="rId6" Type="http://schemas.openxmlformats.org/officeDocument/2006/relationships/image" Target="file:///L:\Water\Documents\Tencent%20Files\1106367305\Image\C2C\6DC2VTI5DP58104Q%7d0D0KY8.png" TargetMode="External"/><Relationship Id="rId5" Type="http://schemas.openxmlformats.org/officeDocument/2006/relationships/image" Target="../media/image66.png"/><Relationship Id="rId4" Type="http://schemas.openxmlformats.org/officeDocument/2006/relationships/image" Target="file:///L:\Water\Documents\Tencent%20Files\1106367305\Image\C2C\QE1~%7b_S2~KTI%5dS(4K0%60R0C3.jpg" TargetMode="Externa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12.xml"/><Relationship Id="rId6" Type="http://schemas.openxmlformats.org/officeDocument/2006/relationships/image" Target="file:///L:\Water\Documents\Tencent%20Files\1106367305\Image\C2C\K4MW9PQR8%7bLBF%5b(O$P$O003.png" TargetMode="External"/><Relationship Id="rId5" Type="http://schemas.openxmlformats.org/officeDocument/2006/relationships/image" Target="../media/image69.png"/><Relationship Id="rId4" Type="http://schemas.openxmlformats.org/officeDocument/2006/relationships/image" Target="file:///L:\Water\Documents\Tencent%20Files\1106367305\Image\C2C\6DC2VTI5DP58104Q%7d0D0KY8.png" TargetMode="External"/></Relationships>
</file>

<file path=ppt/slides/_rels/slide113.xml.rels><?xml version="1.0" encoding="UTF-8" standalone="yes"?>
<Relationships xmlns="http://schemas.openxmlformats.org/package/2006/relationships"><Relationship Id="rId8" Type="http://schemas.openxmlformats.org/officeDocument/2006/relationships/image" Target="file:///L:\Water\Documents\Tencent%20Files\1106367305\Image\C2C\QE1~%7b_S2~KTI%5dS(4K0%60R0C3.jpg" TargetMode="External"/><Relationship Id="rId3" Type="http://schemas.openxmlformats.org/officeDocument/2006/relationships/image" Target="../media/image66.png"/><Relationship Id="rId7" Type="http://schemas.openxmlformats.org/officeDocument/2006/relationships/image" Target="../media/image68.jpe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13.xml"/><Relationship Id="rId6" Type="http://schemas.openxmlformats.org/officeDocument/2006/relationships/image" Target="file:///L:\Water\Documents\Tencent%20Files\1106367305\Image\C2C\K4MW9PQR8%7bLBF%5b(O$P$O003.png" TargetMode="External"/><Relationship Id="rId5" Type="http://schemas.openxmlformats.org/officeDocument/2006/relationships/image" Target="../media/image69.png"/><Relationship Id="rId4" Type="http://schemas.openxmlformats.org/officeDocument/2006/relationships/image" Target="file:///L:\Water\Documents\Tencent%20Files\1106367305\Image\C2C\6DC2VTI5DP58104Q%7d0D0KY8.png" TargetMode="External"/></Relationships>
</file>

<file path=ppt/slides/_rels/slide114.xml.rels><?xml version="1.0" encoding="UTF-8" standalone="yes"?>
<Relationships xmlns="http://schemas.openxmlformats.org/package/2006/relationships"><Relationship Id="rId8" Type="http://schemas.openxmlformats.org/officeDocument/2006/relationships/image" Target="file:///L:\Water\Documents\Tencent%20Files\1106367305\Image\C2C\QE1~%7b_S2~KTI%5dS(4K0%60R0C3.jpg" TargetMode="External"/><Relationship Id="rId3" Type="http://schemas.openxmlformats.org/officeDocument/2006/relationships/image" Target="../media/image66.png"/><Relationship Id="rId7" Type="http://schemas.openxmlformats.org/officeDocument/2006/relationships/image" Target="../media/image68.jpe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14.xml"/><Relationship Id="rId6" Type="http://schemas.openxmlformats.org/officeDocument/2006/relationships/image" Target="file:///L:\Water\Documents\Tencent%20Files\1106367305\Image\C2C\K4MW9PQR8%7bLBF%5b(O$P$O003.png" TargetMode="External"/><Relationship Id="rId5" Type="http://schemas.openxmlformats.org/officeDocument/2006/relationships/image" Target="../media/image69.png"/><Relationship Id="rId4" Type="http://schemas.openxmlformats.org/officeDocument/2006/relationships/image" Target="file:///L:\Water\Documents\Tencent%20Files\1106367305\Image\C2C\6DC2VTI5DP58104Q%7d0D0KY8.png" TargetMode="External"/></Relationships>
</file>

<file path=ppt/slides/_rels/slide115.xml.rels><?xml version="1.0" encoding="UTF-8" standalone="yes"?>
<Relationships xmlns="http://schemas.openxmlformats.org/package/2006/relationships"><Relationship Id="rId8" Type="http://schemas.openxmlformats.org/officeDocument/2006/relationships/image" Target="file:///L:\Water\Documents\Tencent%20Files\1106367305\Image\C2C\QE1~%7b_S2~KTI%5dS(4K0%60R0C3.jpg" TargetMode="External"/><Relationship Id="rId3" Type="http://schemas.openxmlformats.org/officeDocument/2006/relationships/image" Target="../media/image66.png"/><Relationship Id="rId7" Type="http://schemas.openxmlformats.org/officeDocument/2006/relationships/image" Target="../media/image68.jpe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15.xml"/><Relationship Id="rId6" Type="http://schemas.openxmlformats.org/officeDocument/2006/relationships/image" Target="file:///L:\Water\Documents\Tencent%20Files\1106367305\Image\C2C\K4MW9PQR8%7bLBF%5b(O$P$O003.png" TargetMode="External"/><Relationship Id="rId5" Type="http://schemas.openxmlformats.org/officeDocument/2006/relationships/image" Target="../media/image69.png"/><Relationship Id="rId4" Type="http://schemas.openxmlformats.org/officeDocument/2006/relationships/image" Target="file:///L:\Water\Documents\Tencent%20Files\1106367305\Image\C2C\6DC2VTI5DP58104Q%7d0D0KY8.png" TargetMode="External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116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117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themeOverride" Target="../theme/themeOverride118.xml"/></Relationships>
</file>

<file path=ppt/slides/_rels/slide1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19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microsoft.com/office/2007/relationships/diagramDrawing" Target="../diagrams/drawing2.xml"/><Relationship Id="rId18" Type="http://schemas.microsoft.com/office/2007/relationships/diagramDrawing" Target="../diagrams/drawing3.xml"/><Relationship Id="rId3" Type="http://schemas.openxmlformats.org/officeDocument/2006/relationships/notesSlide" Target="../notesSlides/notesSlide8.xml"/><Relationship Id="rId7" Type="http://schemas.openxmlformats.org/officeDocument/2006/relationships/diagramColors" Target="../diagrams/colors1.xml"/><Relationship Id="rId12" Type="http://schemas.openxmlformats.org/officeDocument/2006/relationships/diagramColors" Target="../diagrams/colors2.xml"/><Relationship Id="rId17" Type="http://schemas.openxmlformats.org/officeDocument/2006/relationships/diagramColors" Target="../diagrams/colors3.xml"/><Relationship Id="rId2" Type="http://schemas.openxmlformats.org/officeDocument/2006/relationships/slideLayout" Target="../slideLayouts/slideLayout4.xml"/><Relationship Id="rId16" Type="http://schemas.openxmlformats.org/officeDocument/2006/relationships/diagramQuickStyle" Target="../diagrams/quickStyle3.xml"/><Relationship Id="rId1" Type="http://schemas.openxmlformats.org/officeDocument/2006/relationships/themeOverride" Target="../theme/themeOverride12.xml"/><Relationship Id="rId6" Type="http://schemas.openxmlformats.org/officeDocument/2006/relationships/diagramQuickStyle" Target="../diagrams/quickStyle1.xml"/><Relationship Id="rId11" Type="http://schemas.openxmlformats.org/officeDocument/2006/relationships/diagramQuickStyle" Target="../diagrams/quickStyle2.xml"/><Relationship Id="rId5" Type="http://schemas.openxmlformats.org/officeDocument/2006/relationships/diagramLayout" Target="../diagrams/layout1.xml"/><Relationship Id="rId15" Type="http://schemas.openxmlformats.org/officeDocument/2006/relationships/diagramLayout" Target="../diagrams/layout3.xml"/><Relationship Id="rId10" Type="http://schemas.openxmlformats.org/officeDocument/2006/relationships/diagramLayout" Target="../diagrams/layout2.xml"/><Relationship Id="rId4" Type="http://schemas.openxmlformats.org/officeDocument/2006/relationships/diagramData" Target="../diagrams/data1.xml"/><Relationship Id="rId9" Type="http://schemas.openxmlformats.org/officeDocument/2006/relationships/diagramData" Target="../diagrams/data2.xml"/><Relationship Id="rId14" Type="http://schemas.openxmlformats.org/officeDocument/2006/relationships/diagramData" Target="../diagrams/data3.xml"/></Relationships>
</file>

<file path=ppt/slides/_rels/slide1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20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13" Type="http://schemas.microsoft.com/office/2007/relationships/diagramDrawing" Target="../diagrams/drawing5.xml"/><Relationship Id="rId18" Type="http://schemas.microsoft.com/office/2007/relationships/diagramDrawing" Target="../diagrams/drawing6.xml"/><Relationship Id="rId3" Type="http://schemas.openxmlformats.org/officeDocument/2006/relationships/notesSlide" Target="../notesSlides/notesSlide9.xml"/><Relationship Id="rId7" Type="http://schemas.openxmlformats.org/officeDocument/2006/relationships/diagramColors" Target="../diagrams/colors4.xml"/><Relationship Id="rId12" Type="http://schemas.openxmlformats.org/officeDocument/2006/relationships/diagramColors" Target="../diagrams/colors5.xml"/><Relationship Id="rId17" Type="http://schemas.openxmlformats.org/officeDocument/2006/relationships/diagramColors" Target="../diagrams/colors6.xml"/><Relationship Id="rId2" Type="http://schemas.openxmlformats.org/officeDocument/2006/relationships/slideLayout" Target="../slideLayouts/slideLayout4.xml"/><Relationship Id="rId16" Type="http://schemas.openxmlformats.org/officeDocument/2006/relationships/diagramQuickStyle" Target="../diagrams/quickStyle6.xml"/><Relationship Id="rId1" Type="http://schemas.openxmlformats.org/officeDocument/2006/relationships/themeOverride" Target="../theme/themeOverride13.xml"/><Relationship Id="rId6" Type="http://schemas.openxmlformats.org/officeDocument/2006/relationships/diagramQuickStyle" Target="../diagrams/quickStyle4.xml"/><Relationship Id="rId11" Type="http://schemas.openxmlformats.org/officeDocument/2006/relationships/diagramQuickStyle" Target="../diagrams/quickStyle5.xml"/><Relationship Id="rId5" Type="http://schemas.openxmlformats.org/officeDocument/2006/relationships/diagramLayout" Target="../diagrams/layout4.xml"/><Relationship Id="rId15" Type="http://schemas.openxmlformats.org/officeDocument/2006/relationships/diagramLayout" Target="../diagrams/layout6.xml"/><Relationship Id="rId10" Type="http://schemas.openxmlformats.org/officeDocument/2006/relationships/diagramLayout" Target="../diagrams/layout5.xml"/><Relationship Id="rId4" Type="http://schemas.openxmlformats.org/officeDocument/2006/relationships/diagramData" Target="../diagrams/data4.xml"/><Relationship Id="rId9" Type="http://schemas.openxmlformats.org/officeDocument/2006/relationships/diagramData" Target="../diagrams/data5.xml"/><Relationship Id="rId14" Type="http://schemas.openxmlformats.org/officeDocument/2006/relationships/diagramData" Target="../diagrams/data6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13" Type="http://schemas.microsoft.com/office/2007/relationships/diagramDrawing" Target="../diagrams/drawing8.xml"/><Relationship Id="rId18" Type="http://schemas.microsoft.com/office/2007/relationships/diagramDrawing" Target="../diagrams/drawing9.xml"/><Relationship Id="rId3" Type="http://schemas.openxmlformats.org/officeDocument/2006/relationships/notesSlide" Target="../notesSlides/notesSlide10.xml"/><Relationship Id="rId7" Type="http://schemas.openxmlformats.org/officeDocument/2006/relationships/diagramColors" Target="../diagrams/colors7.xml"/><Relationship Id="rId12" Type="http://schemas.openxmlformats.org/officeDocument/2006/relationships/diagramColors" Target="../diagrams/colors8.xml"/><Relationship Id="rId17" Type="http://schemas.openxmlformats.org/officeDocument/2006/relationships/diagramColors" Target="../diagrams/colors9.xml"/><Relationship Id="rId2" Type="http://schemas.openxmlformats.org/officeDocument/2006/relationships/slideLayout" Target="../slideLayouts/slideLayout4.xml"/><Relationship Id="rId16" Type="http://schemas.openxmlformats.org/officeDocument/2006/relationships/diagramQuickStyle" Target="../diagrams/quickStyle9.xml"/><Relationship Id="rId1" Type="http://schemas.openxmlformats.org/officeDocument/2006/relationships/themeOverride" Target="../theme/themeOverride14.xml"/><Relationship Id="rId6" Type="http://schemas.openxmlformats.org/officeDocument/2006/relationships/diagramQuickStyle" Target="../diagrams/quickStyle7.xml"/><Relationship Id="rId11" Type="http://schemas.openxmlformats.org/officeDocument/2006/relationships/diagramQuickStyle" Target="../diagrams/quickStyle8.xml"/><Relationship Id="rId5" Type="http://schemas.openxmlformats.org/officeDocument/2006/relationships/diagramLayout" Target="../diagrams/layout7.xml"/><Relationship Id="rId15" Type="http://schemas.openxmlformats.org/officeDocument/2006/relationships/diagramLayout" Target="../diagrams/layout9.xml"/><Relationship Id="rId10" Type="http://schemas.openxmlformats.org/officeDocument/2006/relationships/diagramLayout" Target="../diagrams/layout8.xml"/><Relationship Id="rId4" Type="http://schemas.openxmlformats.org/officeDocument/2006/relationships/diagramData" Target="../diagrams/data7.xml"/><Relationship Id="rId9" Type="http://schemas.openxmlformats.org/officeDocument/2006/relationships/diagramData" Target="../diagrams/data8.xml"/><Relationship Id="rId14" Type="http://schemas.openxmlformats.org/officeDocument/2006/relationships/diagramData" Target="../diagrams/data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Relationship Id="rId5" Type="http://schemas.openxmlformats.org/officeDocument/2006/relationships/image" Target="../media/image1.jpeg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2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2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2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27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28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10" Type="http://schemas.openxmlformats.org/officeDocument/2006/relationships/image" Target="../media/image10.svg"/><Relationship Id="rId4" Type="http://schemas.openxmlformats.org/officeDocument/2006/relationships/image" Target="../media/image4.svg"/><Relationship Id="rId9" Type="http://schemas.openxmlformats.org/officeDocument/2006/relationships/image" Target="../media/image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29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30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10" Type="http://schemas.openxmlformats.org/officeDocument/2006/relationships/image" Target="../media/image10.svg"/><Relationship Id="rId4" Type="http://schemas.openxmlformats.org/officeDocument/2006/relationships/image" Target="../media/image4.svg"/><Relationship Id="rId9" Type="http://schemas.openxmlformats.org/officeDocument/2006/relationships/image" Target="../media/image9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3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10" Type="http://schemas.openxmlformats.org/officeDocument/2006/relationships/image" Target="../media/image10.svg"/><Relationship Id="rId4" Type="http://schemas.openxmlformats.org/officeDocument/2006/relationships/image" Target="../media/image4.svg"/><Relationship Id="rId9" Type="http://schemas.openxmlformats.org/officeDocument/2006/relationships/image" Target="../media/image9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3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10" Type="http://schemas.openxmlformats.org/officeDocument/2006/relationships/image" Target="../media/image10.svg"/><Relationship Id="rId4" Type="http://schemas.openxmlformats.org/officeDocument/2006/relationships/image" Target="../media/image4.svg"/><Relationship Id="rId9" Type="http://schemas.openxmlformats.org/officeDocument/2006/relationships/image" Target="../media/image9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3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10" Type="http://schemas.openxmlformats.org/officeDocument/2006/relationships/image" Target="../media/image10.svg"/><Relationship Id="rId4" Type="http://schemas.openxmlformats.org/officeDocument/2006/relationships/image" Target="../media/image4.svg"/><Relationship Id="rId9" Type="http://schemas.openxmlformats.org/officeDocument/2006/relationships/image" Target="../media/image9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3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10" Type="http://schemas.openxmlformats.org/officeDocument/2006/relationships/image" Target="../media/image10.svg"/><Relationship Id="rId4" Type="http://schemas.openxmlformats.org/officeDocument/2006/relationships/image" Target="../media/image4.svg"/><Relationship Id="rId9" Type="http://schemas.openxmlformats.org/officeDocument/2006/relationships/image" Target="../media/image9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3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3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3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3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40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4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4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4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4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45.xml"/><Relationship Id="rId4" Type="http://schemas.openxmlformats.org/officeDocument/2006/relationships/image" Target="file:///L:\Water\Documents\Tencent%20Files\1106367305\Image\C2C\S_~PNJLRA$(%60BM~E~CRVP@6.jpg" TargetMode="Externa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46.xml"/><Relationship Id="rId4" Type="http://schemas.openxmlformats.org/officeDocument/2006/relationships/image" Target="file:///L:\Water\Documents\Tencent%20Files\1106367305\Image\C2C\S_~PNJLRA$(%60BM~E~CRVP@6.jpg" TargetMode="Externa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47.xml"/><Relationship Id="rId4" Type="http://schemas.openxmlformats.org/officeDocument/2006/relationships/image" Target="file:///L:\Water\Documents\Tencent%20Files\1106367305\Image\C2C\S_~PNJLRA$(%60BM~E~CRVP@6.jpg" TargetMode="Externa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48.xml"/><Relationship Id="rId4" Type="http://schemas.openxmlformats.org/officeDocument/2006/relationships/image" Target="file:///L:\Water\Documents\Tencent%20Files\1106367305\Image\C2C\S_~PNJLRA$(%60BM~E~CRVP@6.jpg" TargetMode="Externa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49.xml"/><Relationship Id="rId4" Type="http://schemas.openxmlformats.org/officeDocument/2006/relationships/image" Target="file:///L:\Water\Documents\Tencent%20Files\1106367305\Image\C2C\S_~PNJLRA$(%60BM~E~CRVP@6.jpg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5.xml"/><Relationship Id="rId4" Type="http://schemas.openxmlformats.org/officeDocument/2006/relationships/notesSlide" Target="../notesSlides/notesSlide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50.xml"/><Relationship Id="rId4" Type="http://schemas.openxmlformats.org/officeDocument/2006/relationships/image" Target="file:///L:\Water\Documents\Tencent%20Files\1106367305\Image\C2C\S_~PNJLRA$(%60BM~E~CRVP@6.jpg" TargetMode="Externa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51.xml"/><Relationship Id="rId6" Type="http://schemas.openxmlformats.org/officeDocument/2006/relationships/image" Target="file:///L:\Water\Documents\Tencent%20Files\1106367305\Image\C2C\L)%25$XP1CJBDNU86(E7X)%25O2.jpg" TargetMode="External"/><Relationship Id="rId5" Type="http://schemas.openxmlformats.org/officeDocument/2006/relationships/image" Target="../media/image12.jpeg"/><Relationship Id="rId4" Type="http://schemas.openxmlformats.org/officeDocument/2006/relationships/image" Target="file:///L:\Water\Documents\Tencent%20Files\1106367305\Image\C2C\S_~PNJLRA$(%60BM~E~CRVP@6.jpg" TargetMode="Externa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52.xml"/><Relationship Id="rId4" Type="http://schemas.openxmlformats.org/officeDocument/2006/relationships/image" Target="file:///L:\Water\Documents\Tencent%20Files\1106367305\Image\C2C\S_~PNJLRA$(%60BM~E~CRVP@6.jpg" TargetMode="Externa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53.xml"/><Relationship Id="rId6" Type="http://schemas.openxmlformats.org/officeDocument/2006/relationships/image" Target="file:///L:\Water\Documents\Tencent%20Files\1106367305\Image\C2C\4J4%7dB_S%7d)4%60LN1DH01A%25OK4.jpg" TargetMode="External"/><Relationship Id="rId5" Type="http://schemas.openxmlformats.org/officeDocument/2006/relationships/image" Target="../media/image13.jpeg"/><Relationship Id="rId4" Type="http://schemas.openxmlformats.org/officeDocument/2006/relationships/image" Target="file:///L:\Water\Documents\Tencent%20Files\1106367305\Image\C2C\S_~PNJLRA$(%60BM~E~CRVP@6.jpg" TargetMode="Externa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54.xml"/><Relationship Id="rId4" Type="http://schemas.openxmlformats.org/officeDocument/2006/relationships/image" Target="file:///L:\Water\Documents\Tencent%20Files\1106367305\Image\C2C\S_~PNJLRA$(%60BM~E~CRVP@6.jpg" TargetMode="Externa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55.xml"/><Relationship Id="rId6" Type="http://schemas.openxmlformats.org/officeDocument/2006/relationships/image" Target="file:///L:\Water\Documents\Tencent%20Files\1106367305\Image\C2C\2VQ1%7b9A%7bF$6GDB_%5d%7dI_8Q7F.jpg" TargetMode="External"/><Relationship Id="rId5" Type="http://schemas.openxmlformats.org/officeDocument/2006/relationships/image" Target="../media/image14.jpeg"/><Relationship Id="rId4" Type="http://schemas.openxmlformats.org/officeDocument/2006/relationships/image" Target="file:///L:\Water\Documents\Tencent%20Files\1106367305\Image\C2C\S_~PNJLRA$(%60BM~E~CRVP@6.jpg" TargetMode="Externa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56.xml"/><Relationship Id="rId4" Type="http://schemas.openxmlformats.org/officeDocument/2006/relationships/image" Target="file:///L:\Water\Documents\Tencent%20Files\1106367305\Image\C2C\S_~PNJLRA$(%60BM~E~CRVP@6.jpg" TargetMode="Externa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57.xml"/><Relationship Id="rId6" Type="http://schemas.openxmlformats.org/officeDocument/2006/relationships/image" Target="file:///L:\Water\Documents\Tencent%20Files\1106367305\Image\C2C\KJD@%60IB%5bN55%5d76%5d%25%5dM5EN0U.png" TargetMode="External"/><Relationship Id="rId5" Type="http://schemas.openxmlformats.org/officeDocument/2006/relationships/image" Target="../media/image15.png"/><Relationship Id="rId4" Type="http://schemas.openxmlformats.org/officeDocument/2006/relationships/image" Target="file:///L:\Water\Documents\Tencent%20Files\1106367305\Image\C2C\S_~PNJLRA$(%60BM~E~CRVP@6.jpg" TargetMode="Externa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58.xml"/><Relationship Id="rId6" Type="http://schemas.openxmlformats.org/officeDocument/2006/relationships/image" Target="file:///L:\Water\Documents\Tencent%20Files\1106367305\Image\C2C\KJD@%60IB%5bN55%5d76%5d%25%5dM5EN0U.png" TargetMode="External"/><Relationship Id="rId5" Type="http://schemas.openxmlformats.org/officeDocument/2006/relationships/image" Target="../media/image15.png"/><Relationship Id="rId4" Type="http://schemas.openxmlformats.org/officeDocument/2006/relationships/image" Target="file:///L:\Water\Documents\Tencent%20Files\1106367305\Image\C2C\S_~PNJLRA$(%60BM~E~CRVP@6.jpg" TargetMode="Externa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59.xml"/><Relationship Id="rId4" Type="http://schemas.openxmlformats.org/officeDocument/2006/relationships/image" Target="file:///L:\Water\Documents\Tencent%20Files\1106367305\Image\C2C\9FA7S(%7bPD5ZSW5%25KC_S4$4F.jpg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6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60.xml"/><Relationship Id="rId4" Type="http://schemas.openxmlformats.org/officeDocument/2006/relationships/image" Target="file:///L:\Water\Documents\Tencent%20Files\1106367305\Image\C2C\9FA7S(%7bPD5ZSW5%25KC_S4$4F.jpg" TargetMode="Externa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61.xml"/><Relationship Id="rId6" Type="http://schemas.openxmlformats.org/officeDocument/2006/relationships/image" Target="file:///L:\Water\Documents\Tencent%20Files\1106367305\Image\C2C\%7d%5b1J5K2(K)(PU%25@%5bTDI%7dO%7d7.jpg" TargetMode="External"/><Relationship Id="rId5" Type="http://schemas.openxmlformats.org/officeDocument/2006/relationships/image" Target="../media/image17.jpeg"/><Relationship Id="rId4" Type="http://schemas.openxmlformats.org/officeDocument/2006/relationships/image" Target="file:///L:\Water\Documents\Tencent%20Files\1106367305\Image\C2C\9FA7S(%7bPD5ZSW5%25KC_S4$4F.jpg" TargetMode="Externa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62.xml"/><Relationship Id="rId6" Type="http://schemas.openxmlformats.org/officeDocument/2006/relationships/image" Target="file:///L:\Water\Documents\Tencent%20Files\1106367305\Image\C2C\%7d%5b1J5K2(K)(PU%25@%5bTDI%7dO%7d7.jpg" TargetMode="External"/><Relationship Id="rId5" Type="http://schemas.openxmlformats.org/officeDocument/2006/relationships/image" Target="../media/image17.jpeg"/><Relationship Id="rId4" Type="http://schemas.openxmlformats.org/officeDocument/2006/relationships/image" Target="file:///L:\Water\Documents\Tencent%20Files\1106367305\Image\C2C\9FA7S(%7bPD5ZSW5%25KC_S4$4F.jpg" TargetMode="External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file:///L:\Water\Documents\Tencent%20Files\1106367305\Image\C2C\KJD@%60IB%5bN55%5d76%5d%25%5dM5EN0U.png" TargetMode="External"/><Relationship Id="rId3" Type="http://schemas.openxmlformats.org/officeDocument/2006/relationships/image" Target="../media/image17.jpe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63.xml"/><Relationship Id="rId6" Type="http://schemas.openxmlformats.org/officeDocument/2006/relationships/image" Target="file:///L:\Water\Documents\Tencent%20Files\1106367305\Image\C2C\9FA7S(%7bPD5ZSW5%25KC_S4$4F.jpg" TargetMode="External"/><Relationship Id="rId5" Type="http://schemas.openxmlformats.org/officeDocument/2006/relationships/image" Target="../media/image16.jpeg"/><Relationship Id="rId4" Type="http://schemas.openxmlformats.org/officeDocument/2006/relationships/image" Target="file:///L:\Water\Documents\Tencent%20Files\1106367305\Image\C2C\%7d%5b1J5K2(K)(PU%25@%5bTDI%7dO%7d7.jpg" TargetMode="Externa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file:///L:\Water\Documents\Tencent%20Files\1106367305\Image\C2C\KJD@%60IB%5bN55%5d76%5d%25%5dM5EN0U.png" TargetMode="External"/><Relationship Id="rId3" Type="http://schemas.openxmlformats.org/officeDocument/2006/relationships/image" Target="../media/image17.jpe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64.xml"/><Relationship Id="rId6" Type="http://schemas.openxmlformats.org/officeDocument/2006/relationships/image" Target="file:///L:\Water\Documents\Tencent%20Files\1106367305\Image\C2C\9FA7S(%7bPD5ZSW5%25KC_S4$4F.jpg" TargetMode="External"/><Relationship Id="rId5" Type="http://schemas.openxmlformats.org/officeDocument/2006/relationships/image" Target="../media/image16.jpeg"/><Relationship Id="rId4" Type="http://schemas.openxmlformats.org/officeDocument/2006/relationships/image" Target="file:///L:\Water\Documents\Tencent%20Files\1106367305\Image\C2C\%7d%5b1J5K2(K)(PU%25@%5bTDI%7dO%7d7.jpg" TargetMode="Externa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65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66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67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68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69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7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70.xml"/><Relationship Id="rId5" Type="http://schemas.openxmlformats.org/officeDocument/2006/relationships/image" Target="../media/image23.png"/><Relationship Id="rId4" Type="http://schemas.openxmlformats.org/officeDocument/2006/relationships/image" Target="../media/image18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71.xml"/><Relationship Id="rId5" Type="http://schemas.openxmlformats.org/officeDocument/2006/relationships/image" Target="../media/image22.png"/><Relationship Id="rId4" Type="http://schemas.openxmlformats.org/officeDocument/2006/relationships/image" Target="../media/image24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7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73.xml"/><Relationship Id="rId6" Type="http://schemas.openxmlformats.org/officeDocument/2006/relationships/image" Target="../media/image28.png"/><Relationship Id="rId5" Type="http://schemas.openxmlformats.org/officeDocument/2006/relationships/image" Target="../media/image24.png"/><Relationship Id="rId4" Type="http://schemas.openxmlformats.org/officeDocument/2006/relationships/image" Target="../media/image22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74.xml"/><Relationship Id="rId6" Type="http://schemas.openxmlformats.org/officeDocument/2006/relationships/image" Target="../media/image30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75.xml"/><Relationship Id="rId6" Type="http://schemas.openxmlformats.org/officeDocument/2006/relationships/image" Target="../media/image27.png"/><Relationship Id="rId5" Type="http://schemas.openxmlformats.org/officeDocument/2006/relationships/image" Target="../media/image30.png"/><Relationship Id="rId4" Type="http://schemas.openxmlformats.org/officeDocument/2006/relationships/image" Target="../media/image28.png"/></Relationships>
</file>

<file path=ppt/slides/_rels/slide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2.png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76.xml"/><Relationship Id="rId6" Type="http://schemas.openxmlformats.org/officeDocument/2006/relationships/image" Target="../media/image27.png"/><Relationship Id="rId5" Type="http://schemas.openxmlformats.org/officeDocument/2006/relationships/image" Target="../media/image30.png"/><Relationship Id="rId4" Type="http://schemas.openxmlformats.org/officeDocument/2006/relationships/image" Target="../media/image28.png"/></Relationships>
</file>

<file path=ppt/slides/_rels/slide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2.png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77.xml"/><Relationship Id="rId6" Type="http://schemas.openxmlformats.org/officeDocument/2006/relationships/image" Target="../media/image27.png"/><Relationship Id="rId5" Type="http://schemas.openxmlformats.org/officeDocument/2006/relationships/image" Target="../media/image30.png"/><Relationship Id="rId4" Type="http://schemas.openxmlformats.org/officeDocument/2006/relationships/image" Target="../media/image28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78.xml"/><Relationship Id="rId6" Type="http://schemas.openxmlformats.org/officeDocument/2006/relationships/image" Target="../media/image27.png"/><Relationship Id="rId5" Type="http://schemas.openxmlformats.org/officeDocument/2006/relationships/image" Target="../media/image30.png"/><Relationship Id="rId4" Type="http://schemas.openxmlformats.org/officeDocument/2006/relationships/image" Target="../media/image28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79.xml"/><Relationship Id="rId6" Type="http://schemas.openxmlformats.org/officeDocument/2006/relationships/image" Target="../media/image27.png"/><Relationship Id="rId5" Type="http://schemas.openxmlformats.org/officeDocument/2006/relationships/image" Target="../media/image30.png"/><Relationship Id="rId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8.xml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6.png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80.xml"/><Relationship Id="rId6" Type="http://schemas.openxmlformats.org/officeDocument/2006/relationships/image" Target="../media/image30.png"/><Relationship Id="rId5" Type="http://schemas.openxmlformats.org/officeDocument/2006/relationships/image" Target="../media/image28.png"/><Relationship Id="rId4" Type="http://schemas.openxmlformats.org/officeDocument/2006/relationships/image" Target="../media/image22.pn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81.xml"/><Relationship Id="rId6" Type="http://schemas.openxmlformats.org/officeDocument/2006/relationships/image" Target="../media/image37.png"/><Relationship Id="rId5" Type="http://schemas.openxmlformats.org/officeDocument/2006/relationships/image" Target="../media/image22.png"/><Relationship Id="rId4" Type="http://schemas.openxmlformats.org/officeDocument/2006/relationships/image" Target="../media/image28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82.xml"/><Relationship Id="rId4" Type="http://schemas.openxmlformats.org/officeDocument/2006/relationships/image" Target="../media/image39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83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84.xml"/><Relationship Id="rId5" Type="http://schemas.openxmlformats.org/officeDocument/2006/relationships/image" Target="../media/image43.png"/><Relationship Id="rId4" Type="http://schemas.openxmlformats.org/officeDocument/2006/relationships/image" Target="../media/image39.png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85.xml"/><Relationship Id="rId6" Type="http://schemas.openxmlformats.org/officeDocument/2006/relationships/image" Target="../media/image44.png"/><Relationship Id="rId5" Type="http://schemas.openxmlformats.org/officeDocument/2006/relationships/image" Target="../media/image39.png"/><Relationship Id="rId4" Type="http://schemas.openxmlformats.org/officeDocument/2006/relationships/image" Target="../media/image43.png"/></Relationships>
</file>

<file path=ppt/slides/_rels/slide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22.png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86.xml"/><Relationship Id="rId6" Type="http://schemas.openxmlformats.org/officeDocument/2006/relationships/image" Target="../media/image44.png"/><Relationship Id="rId5" Type="http://schemas.openxmlformats.org/officeDocument/2006/relationships/image" Target="../media/image39.png"/><Relationship Id="rId4" Type="http://schemas.openxmlformats.org/officeDocument/2006/relationships/image" Target="../media/image43.png"/><Relationship Id="rId9" Type="http://schemas.openxmlformats.org/officeDocument/2006/relationships/image" Target="../media/image46.png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87.xml"/><Relationship Id="rId6" Type="http://schemas.openxmlformats.org/officeDocument/2006/relationships/image" Target="../media/image48.png"/><Relationship Id="rId5" Type="http://schemas.openxmlformats.org/officeDocument/2006/relationships/image" Target="../media/image44.png"/><Relationship Id="rId4" Type="http://schemas.openxmlformats.org/officeDocument/2006/relationships/image" Target="../media/image39.png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88.xml"/><Relationship Id="rId4" Type="http://schemas.openxmlformats.org/officeDocument/2006/relationships/image" Target="../media/image47.png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89.xml"/><Relationship Id="rId4" Type="http://schemas.openxmlformats.org/officeDocument/2006/relationships/image" Target="../media/image4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9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90.xml"/><Relationship Id="rId6" Type="http://schemas.openxmlformats.org/officeDocument/2006/relationships/image" Target="../media/image49.png"/><Relationship Id="rId5" Type="http://schemas.openxmlformats.org/officeDocument/2006/relationships/image" Target="../media/image47.png"/><Relationship Id="rId4" Type="http://schemas.openxmlformats.org/officeDocument/2006/relationships/image" Target="../media/image39.png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91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7.png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9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93.xml"/><Relationship Id="rId6" Type="http://schemas.openxmlformats.org/officeDocument/2006/relationships/image" Target="../media/image52.png"/><Relationship Id="rId5" Type="http://schemas.openxmlformats.org/officeDocument/2006/relationships/image" Target="../media/image45.png"/><Relationship Id="rId4" Type="http://schemas.openxmlformats.org/officeDocument/2006/relationships/image" Target="../media/image40.png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94.xml"/><Relationship Id="rId4" Type="http://schemas.openxmlformats.org/officeDocument/2006/relationships/image" Target="../media/image53.png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95.xml"/><Relationship Id="rId4" Type="http://schemas.openxmlformats.org/officeDocument/2006/relationships/image" Target="../media/image54.png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96.xml"/><Relationship Id="rId4" Type="http://schemas.openxmlformats.org/officeDocument/2006/relationships/image" Target="../media/image54.png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97.xml"/><Relationship Id="rId4" Type="http://schemas.openxmlformats.org/officeDocument/2006/relationships/image" Target="../media/image55.png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98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99.xml"/><Relationship Id="rId6" Type="http://schemas.openxmlformats.org/officeDocument/2006/relationships/image" Target="../media/image59.png"/><Relationship Id="rId5" Type="http://schemas.openxmlformats.org/officeDocument/2006/relationships/image" Target="../media/image55.png"/><Relationship Id="rId4" Type="http://schemas.openxmlformats.org/officeDocument/2006/relationships/image" Target="../media/image5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2577504" y="3265423"/>
            <a:ext cx="3919538" cy="558799"/>
          </a:xfrm>
        </p:spPr>
        <p:txBody>
          <a:bodyPr/>
          <a:lstStyle/>
          <a:p>
            <a:r>
              <a:rPr lang="zh-CN" altLang="en-US" dirty="0"/>
              <a:t>从零开始运行自己的第一个实例</a:t>
            </a:r>
            <a:endParaRPr lang="en-US" altLang="zh-CN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MapReduce</a:t>
            </a:r>
            <a:r>
              <a:rPr lang="zh-CN" altLang="en-US" dirty="0"/>
              <a:t>实验</a:t>
            </a:r>
            <a:br>
              <a:rPr lang="en-US" altLang="zh-CN" dirty="0"/>
            </a:br>
            <a:r>
              <a:rPr lang="zh-CN" altLang="en-US" dirty="0"/>
              <a:t>二次排序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2575122" y="4180752"/>
            <a:ext cx="3921920" cy="296271"/>
          </a:xfrm>
        </p:spPr>
        <p:txBody>
          <a:bodyPr/>
          <a:lstStyle/>
          <a:p>
            <a:r>
              <a:rPr lang="en-US" altLang="zh-CN" dirty="0"/>
              <a:t>B</a:t>
            </a:r>
            <a:r>
              <a:rPr lang="zh-CN" altLang="en-US" dirty="0"/>
              <a:t>组</a:t>
            </a:r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 err="1"/>
              <a:t>Xx,xx,xx,xx,xx,xx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E9576B95-676C-429F-A627-D48EE8F6ECE9}"/>
              </a:ext>
            </a:extLst>
          </p:cNvPr>
          <p:cNvSpPr/>
          <p:nvPr/>
        </p:nvSpPr>
        <p:spPr>
          <a:xfrm>
            <a:off x="5468332" y="1130300"/>
            <a:ext cx="2793511" cy="5003800"/>
          </a:xfrm>
          <a:prstGeom prst="round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1941C713-9BC6-41AD-AFC7-BB37386D371F}"/>
              </a:ext>
            </a:extLst>
          </p:cNvPr>
          <p:cNvSpPr txBox="1"/>
          <p:nvPr/>
        </p:nvSpPr>
        <p:spPr>
          <a:xfrm>
            <a:off x="6041876" y="495654"/>
            <a:ext cx="31021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/>
              <a:t>Map()</a:t>
            </a:r>
            <a:endParaRPr lang="zh-CN" altLang="en-US" sz="2800" dirty="0"/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FE0FA9F9-9A98-4055-8604-C87242FCAC7A}"/>
              </a:ext>
            </a:extLst>
          </p:cNvPr>
          <p:cNvGrpSpPr/>
          <p:nvPr/>
        </p:nvGrpSpPr>
        <p:grpSpPr>
          <a:xfrm>
            <a:off x="742996" y="495654"/>
            <a:ext cx="3675668" cy="5638446"/>
            <a:chOff x="4965095" y="495654"/>
            <a:chExt cx="3675668" cy="5638446"/>
          </a:xfrm>
        </p:grpSpPr>
        <p:sp>
          <p:nvSpPr>
            <p:cNvPr id="3" name="矩形: 圆角 2">
              <a:extLst>
                <a:ext uri="{FF2B5EF4-FFF2-40B4-BE49-F238E27FC236}">
                  <a16:creationId xmlns:a16="http://schemas.microsoft.com/office/drawing/2014/main" id="{D87D72EE-CD67-4AF8-898B-E627443EAE95}"/>
                </a:ext>
              </a:extLst>
            </p:cNvPr>
            <p:cNvSpPr/>
            <p:nvPr/>
          </p:nvSpPr>
          <p:spPr>
            <a:xfrm>
              <a:off x="4965095" y="1130300"/>
              <a:ext cx="2793511" cy="5003800"/>
            </a:xfrm>
            <a:prstGeom prst="roundRect">
              <a:avLst/>
            </a:prstGeom>
            <a:solidFill>
              <a:schemeClr val="accent2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" name="文本框 1">
              <a:extLst>
                <a:ext uri="{FF2B5EF4-FFF2-40B4-BE49-F238E27FC236}">
                  <a16:creationId xmlns:a16="http://schemas.microsoft.com/office/drawing/2014/main" id="{37F3BD1C-6103-4E15-966D-248A4B055969}"/>
                </a:ext>
              </a:extLst>
            </p:cNvPr>
            <p:cNvSpPr txBox="1"/>
            <p:nvPr/>
          </p:nvSpPr>
          <p:spPr>
            <a:xfrm>
              <a:off x="5538639" y="495654"/>
              <a:ext cx="310212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800" dirty="0" err="1"/>
                <a:t>InputSplit</a:t>
              </a:r>
              <a:endParaRPr lang="zh-CN" altLang="en-US" sz="2800" dirty="0"/>
            </a:p>
          </p:txBody>
        </p:sp>
      </p:grp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12AB1DF8-9F59-459D-861B-0997412FBF92}"/>
              </a:ext>
            </a:extLst>
          </p:cNvPr>
          <p:cNvSpPr>
            <a:spLocks/>
          </p:cNvSpPr>
          <p:nvPr/>
        </p:nvSpPr>
        <p:spPr>
          <a:xfrm>
            <a:off x="1125340" y="4590442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/>
              <a:t>Hello MapReduce</a:t>
            </a:r>
          </a:p>
          <a:p>
            <a:pPr algn="ctr"/>
            <a:r>
              <a:rPr lang="en-US" altLang="zh-CN" b="1" dirty="0"/>
              <a:t>I like Java</a:t>
            </a:r>
            <a:endParaRPr lang="zh-CN" altLang="en-US" b="1" dirty="0"/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91A342C0-220F-4EE6-8E94-FDE79F5160AA}"/>
              </a:ext>
            </a:extLst>
          </p:cNvPr>
          <p:cNvSpPr>
            <a:spLocks/>
          </p:cNvSpPr>
          <p:nvPr/>
        </p:nvSpPr>
        <p:spPr>
          <a:xfrm>
            <a:off x="1125340" y="2860371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/>
              <a:t>Hello Hadoop</a:t>
            </a:r>
          </a:p>
          <a:p>
            <a:pPr algn="ctr"/>
            <a:r>
              <a:rPr lang="en-US" altLang="zh-CN" b="1" dirty="0"/>
              <a:t>I like MapReduce</a:t>
            </a:r>
            <a:endParaRPr lang="zh-CN" altLang="en-US" b="1" dirty="0"/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2900AFE4-C899-455C-AECA-CE83C79CE577}"/>
              </a:ext>
            </a:extLst>
          </p:cNvPr>
          <p:cNvSpPr>
            <a:spLocks/>
          </p:cNvSpPr>
          <p:nvPr/>
        </p:nvSpPr>
        <p:spPr>
          <a:xfrm>
            <a:off x="1125340" y="1130300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/>
              <a:t>Hello world</a:t>
            </a:r>
          </a:p>
          <a:p>
            <a:pPr algn="ctr"/>
            <a:r>
              <a:rPr lang="en-US" altLang="zh-CN" b="1" dirty="0"/>
              <a:t>I like Hadoop</a:t>
            </a:r>
            <a:endParaRPr lang="zh-CN" altLang="en-US" b="1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3372978F-E17A-40CA-89B5-F22260ABE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-533045"/>
            <a:ext cx="8137922" cy="1028699"/>
          </a:xfrm>
        </p:spPr>
        <p:txBody>
          <a:bodyPr/>
          <a:lstStyle/>
          <a:p>
            <a:r>
              <a:rPr lang="en-US" altLang="zh-CN" dirty="0"/>
              <a:t>MapReduce</a:t>
            </a:r>
            <a:r>
              <a:rPr lang="zh-CN" altLang="en-US" dirty="0"/>
              <a:t>工作流程</a:t>
            </a:r>
          </a:p>
        </p:txBody>
      </p:sp>
    </p:spTree>
    <p:extLst>
      <p:ext uri="{BB962C8B-B14F-4D97-AF65-F5344CB8AC3E}">
        <p14:creationId xmlns:p14="http://schemas.microsoft.com/office/powerpoint/2010/main" val="14174291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9F047D5B-6221-45E9-AB68-A3C7AA66F95A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BBA14D9B-4439-4F5E-B16E-FC5B5EB31BF4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sp>
        <p:nvSpPr>
          <p:cNvPr id="10" name="标题 1">
            <a:extLst>
              <a:ext uri="{FF2B5EF4-FFF2-40B4-BE49-F238E27FC236}">
                <a16:creationId xmlns:a16="http://schemas.microsoft.com/office/drawing/2014/main" id="{2C330E41-D421-4061-88BB-39AFB328FC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0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CAFBA24-B893-4B6E-BA13-66FDC0C99088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0345" y="1621853"/>
            <a:ext cx="3783311" cy="402069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5B8229A2-2F9A-4315-ABB4-40A3C922F8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0345" y="1261601"/>
            <a:ext cx="3783311" cy="4741198"/>
          </a:xfrm>
          <a:prstGeom prst="rect">
            <a:avLst/>
          </a:prstGeom>
        </p:spPr>
      </p:pic>
      <p:sp>
        <p:nvSpPr>
          <p:cNvPr id="11" name="矩形 10">
            <a:extLst>
              <a:ext uri="{FF2B5EF4-FFF2-40B4-BE49-F238E27FC236}">
                <a16:creationId xmlns:a16="http://schemas.microsoft.com/office/drawing/2014/main" id="{F8745535-28FD-4CA0-910B-EBCE8ECE9A22}"/>
              </a:ext>
            </a:extLst>
          </p:cNvPr>
          <p:cNvSpPr/>
          <p:nvPr/>
        </p:nvSpPr>
        <p:spPr>
          <a:xfrm>
            <a:off x="4407568" y="5723022"/>
            <a:ext cx="609600" cy="156410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155593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9F047D5B-6221-45E9-AB68-A3C7AA66F95A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BBA14D9B-4439-4F5E-B16E-FC5B5EB31BF4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sp>
        <p:nvSpPr>
          <p:cNvPr id="10" name="标题 1">
            <a:extLst>
              <a:ext uri="{FF2B5EF4-FFF2-40B4-BE49-F238E27FC236}">
                <a16:creationId xmlns:a16="http://schemas.microsoft.com/office/drawing/2014/main" id="{2C330E41-D421-4061-88BB-39AFB328FC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0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CAFBA24-B893-4B6E-BA13-66FDC0C99088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0345" y="1621853"/>
            <a:ext cx="3783311" cy="402069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5B8229A2-2F9A-4315-ABB4-40A3C922F818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0345" y="1261601"/>
            <a:ext cx="3783311" cy="4741198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B2B54D78-A099-47A0-9DC0-337335E36EE8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0345" y="1261601"/>
            <a:ext cx="3783311" cy="4741198"/>
          </a:xfrm>
          <a:prstGeom prst="rect">
            <a:avLst/>
          </a:prstGeom>
        </p:spPr>
      </p:pic>
      <p:sp>
        <p:nvSpPr>
          <p:cNvPr id="11" name="矩形 10">
            <a:extLst>
              <a:ext uri="{FF2B5EF4-FFF2-40B4-BE49-F238E27FC236}">
                <a16:creationId xmlns:a16="http://schemas.microsoft.com/office/drawing/2014/main" id="{078F6080-245D-45D4-9612-DB380AF10CC6}"/>
              </a:ext>
            </a:extLst>
          </p:cNvPr>
          <p:cNvSpPr/>
          <p:nvPr/>
        </p:nvSpPr>
        <p:spPr>
          <a:xfrm>
            <a:off x="4407568" y="5723022"/>
            <a:ext cx="609600" cy="156410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084358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9F047D5B-6221-45E9-AB68-A3C7AA66F95A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BBA14D9B-4439-4F5E-B16E-FC5B5EB31BF4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sp>
        <p:nvSpPr>
          <p:cNvPr id="10" name="标题 1">
            <a:extLst>
              <a:ext uri="{FF2B5EF4-FFF2-40B4-BE49-F238E27FC236}">
                <a16:creationId xmlns:a16="http://schemas.microsoft.com/office/drawing/2014/main" id="{2C330E41-D421-4061-88BB-39AFB328FC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0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CAFBA24-B893-4B6E-BA13-66FDC0C99088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0345" y="1621853"/>
            <a:ext cx="3783311" cy="402069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5B8229A2-2F9A-4315-ABB4-40A3C922F818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0345" y="1261601"/>
            <a:ext cx="3783311" cy="4741198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B2B54D78-A099-47A0-9DC0-337335E36EE8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0345" y="1261601"/>
            <a:ext cx="3783311" cy="4741198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F2EAA5D9-1607-4E79-9A1F-94BFC372BFDE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0345" y="1261601"/>
            <a:ext cx="3783311" cy="4741198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649214C3-40DC-4536-AF9C-C2788E0E6F5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5244" y="7536265"/>
            <a:ext cx="693513" cy="1097560"/>
          </a:xfrm>
          <a:prstGeom prst="rect">
            <a:avLst/>
          </a:prstGeom>
        </p:spPr>
      </p:pic>
      <p:sp>
        <p:nvSpPr>
          <p:cNvPr id="13" name="矩形 12">
            <a:extLst>
              <a:ext uri="{FF2B5EF4-FFF2-40B4-BE49-F238E27FC236}">
                <a16:creationId xmlns:a16="http://schemas.microsoft.com/office/drawing/2014/main" id="{525FC4BB-5808-4E49-BD65-7F6A5518867D}"/>
              </a:ext>
            </a:extLst>
          </p:cNvPr>
          <p:cNvSpPr/>
          <p:nvPr/>
        </p:nvSpPr>
        <p:spPr>
          <a:xfrm>
            <a:off x="5729440" y="4748331"/>
            <a:ext cx="609600" cy="156410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838933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9F047D5B-6221-45E9-AB68-A3C7AA66F95A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BBA14D9B-4439-4F5E-B16E-FC5B5EB31BF4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sp>
        <p:nvSpPr>
          <p:cNvPr id="10" name="标题 1">
            <a:extLst>
              <a:ext uri="{FF2B5EF4-FFF2-40B4-BE49-F238E27FC236}">
                <a16:creationId xmlns:a16="http://schemas.microsoft.com/office/drawing/2014/main" id="{2C330E41-D421-4061-88BB-39AFB328FC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0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CAFBA24-B893-4B6E-BA13-66FDC0C99088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0345" y="1621853"/>
            <a:ext cx="3783311" cy="402069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5B8229A2-2F9A-4315-ABB4-40A3C922F818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0345" y="1261601"/>
            <a:ext cx="3783311" cy="4741198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B2B54D78-A099-47A0-9DC0-337335E36EE8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0345" y="1261601"/>
            <a:ext cx="3783311" cy="4741198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5BB078D6-2FDD-46AE-8ED2-B8DE452C89CB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8752" y="1409988"/>
            <a:ext cx="3546496" cy="4444425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F2EAA5D9-1607-4E79-9A1F-94BFC372BFDE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0345" y="1261601"/>
            <a:ext cx="3783311" cy="4741198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24EBFBDA-53FB-453C-9DBA-AD834709FB6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7912" y="1710774"/>
            <a:ext cx="2428175" cy="3842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7430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9F047D5B-6221-45E9-AB68-A3C7AA66F95A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BBA14D9B-4439-4F5E-B16E-FC5B5EB31BF4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sp>
        <p:nvSpPr>
          <p:cNvPr id="10" name="标题 1">
            <a:extLst>
              <a:ext uri="{FF2B5EF4-FFF2-40B4-BE49-F238E27FC236}">
                <a16:creationId xmlns:a16="http://schemas.microsoft.com/office/drawing/2014/main" id="{2C330E41-D421-4061-88BB-39AFB328FC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0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CAFBA24-B893-4B6E-BA13-66FDC0C99088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0345" y="1621853"/>
            <a:ext cx="3783311" cy="402069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5B8229A2-2F9A-4315-ABB4-40A3C922F818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0345" y="1261601"/>
            <a:ext cx="3783311" cy="4741198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B2B54D78-A099-47A0-9DC0-337335E36EE8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0345" y="1261601"/>
            <a:ext cx="3783311" cy="4741198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24EBFBDA-53FB-453C-9DBA-AD834709FB6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598" y="1906519"/>
            <a:ext cx="2180804" cy="3451361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F2EAA5D9-1607-4E79-9A1F-94BFC372BFDE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0345" y="1261601"/>
            <a:ext cx="3783311" cy="4741198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C0E3490C-04FF-4A1C-80F6-93F2804A4008}"/>
              </a:ext>
            </a:extLst>
          </p:cNvPr>
          <p:cNvPicPr>
            <a:picLocks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0345" y="1261601"/>
            <a:ext cx="3783311" cy="4741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5120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9F047D5B-6221-45E9-AB68-A3C7AA66F95A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BBA14D9B-4439-4F5E-B16E-FC5B5EB31BF4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sp>
        <p:nvSpPr>
          <p:cNvPr id="10" name="标题 1">
            <a:extLst>
              <a:ext uri="{FF2B5EF4-FFF2-40B4-BE49-F238E27FC236}">
                <a16:creationId xmlns:a16="http://schemas.microsoft.com/office/drawing/2014/main" id="{2C330E41-D421-4061-88BB-39AFB328FC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CAFBA24-B893-4B6E-BA13-66FDC0C99088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0345" y="1621853"/>
            <a:ext cx="3783311" cy="4020695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5B8229A2-2F9A-4315-ABB4-40A3C922F818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0345" y="1261601"/>
            <a:ext cx="3783311" cy="4741198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B2B54D78-A099-47A0-9DC0-337335E36EE8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0345" y="1261601"/>
            <a:ext cx="3783311" cy="4741198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24EBFBDA-53FB-453C-9DBA-AD834709FB6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598" y="1906519"/>
            <a:ext cx="2180804" cy="3451361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F2EAA5D9-1607-4E79-9A1F-94BFC372BFDE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0345" y="1261601"/>
            <a:ext cx="3783311" cy="4741198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C0E3490C-04FF-4A1C-80F6-93F2804A4008}"/>
              </a:ext>
            </a:extLst>
          </p:cNvPr>
          <p:cNvPicPr>
            <a:picLocks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0345" y="1261601"/>
            <a:ext cx="3783311" cy="4741198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A48CCA13-C753-478C-9766-44949927786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7216" y="3145438"/>
            <a:ext cx="3269568" cy="973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2890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BBA14D9B-4439-4F5E-B16E-FC5B5EB31BF4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sp>
        <p:nvSpPr>
          <p:cNvPr id="10" name="标题 1">
            <a:extLst>
              <a:ext uri="{FF2B5EF4-FFF2-40B4-BE49-F238E27FC236}">
                <a16:creationId xmlns:a16="http://schemas.microsoft.com/office/drawing/2014/main" id="{2C330E41-D421-4061-88BB-39AFB328FC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4E8622C1-31F7-4533-97D4-B368031D6B3B}"/>
              </a:ext>
            </a:extLst>
          </p:cNvPr>
          <p:cNvGrpSpPr/>
          <p:nvPr/>
        </p:nvGrpSpPr>
        <p:grpSpPr>
          <a:xfrm>
            <a:off x="1089592" y="1292996"/>
            <a:ext cx="0" cy="0"/>
            <a:chOff x="1089592" y="1292996"/>
            <a:chExt cx="6964816" cy="4687117"/>
          </a:xfrm>
        </p:grpSpPr>
        <p:pic>
          <p:nvPicPr>
            <p:cNvPr id="14" name="Picture 1" descr="L:\Water\Documents\Tencent Files\1106367305\Image\C2C\6DC2VTI5DP58104Q}0D0KY8.png">
              <a:extLst>
                <a:ext uri="{FF2B5EF4-FFF2-40B4-BE49-F238E27FC236}">
                  <a16:creationId xmlns:a16="http://schemas.microsoft.com/office/drawing/2014/main" id="{588A2C59-6845-4A97-B5DF-6D5CBD15BEF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r:link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30" t="371" r="1"/>
            <a:stretch>
              <a:fillRect/>
            </a:stretch>
          </p:blipFill>
          <p:spPr bwMode="auto">
            <a:xfrm>
              <a:off x="1089592" y="1292996"/>
              <a:ext cx="6964816" cy="46784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AB5D9FDF-EE49-460A-B06C-5D2996FE8069}"/>
                </a:ext>
              </a:extLst>
            </p:cNvPr>
            <p:cNvSpPr/>
            <p:nvPr/>
          </p:nvSpPr>
          <p:spPr>
            <a:xfrm>
              <a:off x="1092994" y="2047875"/>
              <a:ext cx="6875349" cy="3932238"/>
            </a:xfrm>
            <a:prstGeom prst="rect">
              <a:avLst/>
            </a:prstGeom>
            <a:solidFill>
              <a:srgbClr val="2D0A2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9895920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1">
            <a:extLst>
              <a:ext uri="{FF2B5EF4-FFF2-40B4-BE49-F238E27FC236}">
                <a16:creationId xmlns:a16="http://schemas.microsoft.com/office/drawing/2014/main" id="{2C330E41-D421-4061-88BB-39AFB328FC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4E8622C1-31F7-4533-97D4-B368031D6B3B}"/>
              </a:ext>
            </a:extLst>
          </p:cNvPr>
          <p:cNvGrpSpPr/>
          <p:nvPr/>
        </p:nvGrpSpPr>
        <p:grpSpPr>
          <a:xfrm>
            <a:off x="1089592" y="1292996"/>
            <a:ext cx="0" cy="0"/>
            <a:chOff x="1089592" y="1292996"/>
            <a:chExt cx="6964816" cy="4687117"/>
          </a:xfrm>
        </p:grpSpPr>
        <p:pic>
          <p:nvPicPr>
            <p:cNvPr id="14" name="Picture 1" descr="L:\Water\Documents\Tencent Files\1106367305\Image\C2C\6DC2VTI5DP58104Q}0D0KY8.png">
              <a:extLst>
                <a:ext uri="{FF2B5EF4-FFF2-40B4-BE49-F238E27FC236}">
                  <a16:creationId xmlns:a16="http://schemas.microsoft.com/office/drawing/2014/main" id="{588A2C59-6845-4A97-B5DF-6D5CBD15BEF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r:link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30" t="371" r="1"/>
            <a:stretch>
              <a:fillRect/>
            </a:stretch>
          </p:blipFill>
          <p:spPr bwMode="auto">
            <a:xfrm>
              <a:off x="1089592" y="1292996"/>
              <a:ext cx="6964816" cy="46784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AB5D9FDF-EE49-460A-B06C-5D2996FE8069}"/>
                </a:ext>
              </a:extLst>
            </p:cNvPr>
            <p:cNvSpPr/>
            <p:nvPr/>
          </p:nvSpPr>
          <p:spPr>
            <a:xfrm>
              <a:off x="1092994" y="2047875"/>
              <a:ext cx="6875349" cy="3932238"/>
            </a:xfrm>
            <a:prstGeom prst="rect">
              <a:avLst/>
            </a:prstGeom>
            <a:solidFill>
              <a:srgbClr val="2D0A2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7" name="图片 6">
            <a:extLst>
              <a:ext uri="{FF2B5EF4-FFF2-40B4-BE49-F238E27FC236}">
                <a16:creationId xmlns:a16="http://schemas.microsoft.com/office/drawing/2014/main" id="{9EC0D505-42B1-490D-A3B3-EBD5EF953CCE}"/>
              </a:ext>
            </a:extLst>
          </p:cNvPr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13" y="6858000"/>
            <a:ext cx="750024" cy="201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2614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1">
            <a:extLst>
              <a:ext uri="{FF2B5EF4-FFF2-40B4-BE49-F238E27FC236}">
                <a16:creationId xmlns:a16="http://schemas.microsoft.com/office/drawing/2014/main" id="{2C330E41-D421-4061-88BB-39AFB328FC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测试二次排序</a:t>
            </a: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0FA98B43-1522-4C81-9A6A-C54812512B5D}"/>
              </a:ext>
            </a:extLst>
          </p:cNvPr>
          <p:cNvGrpSpPr/>
          <p:nvPr/>
        </p:nvGrpSpPr>
        <p:grpSpPr>
          <a:xfrm>
            <a:off x="1089592" y="1292996"/>
            <a:ext cx="6964816" cy="4687117"/>
            <a:chOff x="1089592" y="1292996"/>
            <a:chExt cx="6964816" cy="4687117"/>
          </a:xfrm>
        </p:grpSpPr>
        <p:pic>
          <p:nvPicPr>
            <p:cNvPr id="4097" name="Picture 1" descr="L:\Water\Documents\Tencent Files\1106367305\Image\C2C\6DC2VTI5DP58104Q}0D0KY8.png">
              <a:extLst>
                <a:ext uri="{FF2B5EF4-FFF2-40B4-BE49-F238E27FC236}">
                  <a16:creationId xmlns:a16="http://schemas.microsoft.com/office/drawing/2014/main" id="{B37F973D-A9AE-441E-96A3-498D859ECF2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r:link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30" t="371" r="1"/>
            <a:stretch>
              <a:fillRect/>
            </a:stretch>
          </p:blipFill>
          <p:spPr bwMode="auto">
            <a:xfrm>
              <a:off x="1089592" y="1292996"/>
              <a:ext cx="6964816" cy="46784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4852FA00-D2AB-4E68-813E-1163C5A85523}"/>
                </a:ext>
              </a:extLst>
            </p:cNvPr>
            <p:cNvSpPr/>
            <p:nvPr/>
          </p:nvSpPr>
          <p:spPr>
            <a:xfrm>
              <a:off x="1092994" y="2047875"/>
              <a:ext cx="6875349" cy="3932238"/>
            </a:xfrm>
            <a:prstGeom prst="rect">
              <a:avLst/>
            </a:prstGeom>
            <a:solidFill>
              <a:srgbClr val="2D0A2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7753019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1">
            <a:extLst>
              <a:ext uri="{FF2B5EF4-FFF2-40B4-BE49-F238E27FC236}">
                <a16:creationId xmlns:a16="http://schemas.microsoft.com/office/drawing/2014/main" id="{2C330E41-D421-4061-88BB-39AFB328FC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测试二次排序</a:t>
            </a:r>
          </a:p>
        </p:txBody>
      </p:sp>
      <p:pic>
        <p:nvPicPr>
          <p:cNvPr id="6" name="Picture 1" descr="L:\Water\Documents\Tencent Files\1106367305\Image\C2C\QE1~{_S2~KTI]S(4K0`R0C3.jpg">
            <a:extLst>
              <a:ext uri="{FF2B5EF4-FFF2-40B4-BE49-F238E27FC236}">
                <a16:creationId xmlns:a16="http://schemas.microsoft.com/office/drawing/2014/main" id="{59569DB6-0B6E-43DD-ADA0-5A5D41594A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4"/>
          <a:stretch>
            <a:fillRect/>
          </a:stretch>
        </p:blipFill>
        <p:spPr bwMode="auto">
          <a:xfrm>
            <a:off x="1353140" y="1466044"/>
            <a:ext cx="6437719" cy="4332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7" name="Picture 1" descr="L:\Water\Documents\Tencent Files\1106367305\Image\C2C\6DC2VTI5DP58104Q}0D0KY8.png">
            <a:extLst>
              <a:ext uri="{FF2B5EF4-FFF2-40B4-BE49-F238E27FC236}">
                <a16:creationId xmlns:a16="http://schemas.microsoft.com/office/drawing/2014/main" id="{B37F973D-A9AE-441E-96A3-498D859ECF2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" t="371" r="1"/>
          <a:stretch>
            <a:fillRect/>
          </a:stretch>
        </p:blipFill>
        <p:spPr bwMode="auto">
          <a:xfrm>
            <a:off x="1089592" y="1292996"/>
            <a:ext cx="6964816" cy="4678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矩形 13">
            <a:extLst>
              <a:ext uri="{FF2B5EF4-FFF2-40B4-BE49-F238E27FC236}">
                <a16:creationId xmlns:a16="http://schemas.microsoft.com/office/drawing/2014/main" id="{4852FA00-D2AB-4E68-813E-1163C5A85523}"/>
              </a:ext>
            </a:extLst>
          </p:cNvPr>
          <p:cNvSpPr/>
          <p:nvPr/>
        </p:nvSpPr>
        <p:spPr>
          <a:xfrm>
            <a:off x="1092994" y="2047875"/>
            <a:ext cx="6875349" cy="3932238"/>
          </a:xfrm>
          <a:prstGeom prst="rect">
            <a:avLst/>
          </a:prstGeom>
          <a:solidFill>
            <a:srgbClr val="2D0A2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99311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E9576B95-676C-429F-A627-D48EE8F6ECE9}"/>
              </a:ext>
            </a:extLst>
          </p:cNvPr>
          <p:cNvSpPr/>
          <p:nvPr/>
        </p:nvSpPr>
        <p:spPr>
          <a:xfrm>
            <a:off x="2734166" y="1130300"/>
            <a:ext cx="2793511" cy="5003800"/>
          </a:xfrm>
          <a:prstGeom prst="round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1941C713-9BC6-41AD-AFC7-BB37386D371F}"/>
              </a:ext>
            </a:extLst>
          </p:cNvPr>
          <p:cNvSpPr txBox="1"/>
          <p:nvPr/>
        </p:nvSpPr>
        <p:spPr>
          <a:xfrm>
            <a:off x="3307710" y="495654"/>
            <a:ext cx="31021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/>
              <a:t>Map()</a:t>
            </a:r>
            <a:endParaRPr lang="zh-CN" altLang="en-US" sz="2800" dirty="0"/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FE0FA9F9-9A98-4055-8604-C87242FCAC7A}"/>
              </a:ext>
            </a:extLst>
          </p:cNvPr>
          <p:cNvGrpSpPr/>
          <p:nvPr/>
        </p:nvGrpSpPr>
        <p:grpSpPr>
          <a:xfrm>
            <a:off x="-2814886" y="495654"/>
            <a:ext cx="3675668" cy="5638446"/>
            <a:chOff x="4965095" y="495654"/>
            <a:chExt cx="3675668" cy="5638446"/>
          </a:xfrm>
        </p:grpSpPr>
        <p:sp>
          <p:nvSpPr>
            <p:cNvPr id="3" name="矩形: 圆角 2">
              <a:extLst>
                <a:ext uri="{FF2B5EF4-FFF2-40B4-BE49-F238E27FC236}">
                  <a16:creationId xmlns:a16="http://schemas.microsoft.com/office/drawing/2014/main" id="{D87D72EE-CD67-4AF8-898B-E627443EAE95}"/>
                </a:ext>
              </a:extLst>
            </p:cNvPr>
            <p:cNvSpPr/>
            <p:nvPr/>
          </p:nvSpPr>
          <p:spPr>
            <a:xfrm>
              <a:off x="4965095" y="1130300"/>
              <a:ext cx="2793511" cy="5003800"/>
            </a:xfrm>
            <a:prstGeom prst="roundRect">
              <a:avLst/>
            </a:prstGeom>
            <a:solidFill>
              <a:schemeClr val="accent2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" name="文本框 1">
              <a:extLst>
                <a:ext uri="{FF2B5EF4-FFF2-40B4-BE49-F238E27FC236}">
                  <a16:creationId xmlns:a16="http://schemas.microsoft.com/office/drawing/2014/main" id="{37F3BD1C-6103-4E15-966D-248A4B055969}"/>
                </a:ext>
              </a:extLst>
            </p:cNvPr>
            <p:cNvSpPr txBox="1"/>
            <p:nvPr/>
          </p:nvSpPr>
          <p:spPr>
            <a:xfrm>
              <a:off x="5538639" y="495654"/>
              <a:ext cx="310212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800" dirty="0" err="1"/>
                <a:t>InputSplit</a:t>
              </a:r>
              <a:endParaRPr lang="zh-CN" altLang="en-US" sz="2800" dirty="0"/>
            </a:p>
          </p:txBody>
        </p:sp>
      </p:grp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12AB1DF8-9F59-459D-861B-0997412FBF92}"/>
              </a:ext>
            </a:extLst>
          </p:cNvPr>
          <p:cNvSpPr>
            <a:spLocks/>
          </p:cNvSpPr>
          <p:nvPr/>
        </p:nvSpPr>
        <p:spPr>
          <a:xfrm>
            <a:off x="3119602" y="4590442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/>
              <a:t>Hello MapReduce</a:t>
            </a:r>
          </a:p>
          <a:p>
            <a:pPr algn="ctr"/>
            <a:r>
              <a:rPr lang="en-US" altLang="zh-CN" b="1" dirty="0"/>
              <a:t>I like Java</a:t>
            </a:r>
            <a:endParaRPr lang="zh-CN" altLang="en-US" b="1" dirty="0"/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91A342C0-220F-4EE6-8E94-FDE79F5160AA}"/>
              </a:ext>
            </a:extLst>
          </p:cNvPr>
          <p:cNvSpPr>
            <a:spLocks/>
          </p:cNvSpPr>
          <p:nvPr/>
        </p:nvSpPr>
        <p:spPr>
          <a:xfrm>
            <a:off x="3119602" y="2860371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/>
              <a:t>Hello Hadoop</a:t>
            </a:r>
          </a:p>
          <a:p>
            <a:pPr algn="ctr"/>
            <a:r>
              <a:rPr lang="en-US" altLang="zh-CN" b="1" dirty="0"/>
              <a:t>I like MapReduce</a:t>
            </a:r>
            <a:endParaRPr lang="zh-CN" altLang="en-US" b="1" dirty="0"/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2900AFE4-C899-455C-AECA-CE83C79CE577}"/>
              </a:ext>
            </a:extLst>
          </p:cNvPr>
          <p:cNvSpPr>
            <a:spLocks/>
          </p:cNvSpPr>
          <p:nvPr/>
        </p:nvSpPr>
        <p:spPr>
          <a:xfrm>
            <a:off x="3119602" y="1130300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/>
              <a:t>Hello world</a:t>
            </a:r>
          </a:p>
          <a:p>
            <a:pPr algn="ctr"/>
            <a:r>
              <a:rPr lang="en-US" altLang="zh-CN" b="1" dirty="0"/>
              <a:t>I like Hadoop</a:t>
            </a:r>
            <a:endParaRPr lang="zh-CN" altLang="en-US" b="1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3372978F-E17A-40CA-89B5-F22260ABE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-9825"/>
            <a:ext cx="8137922" cy="1028699"/>
          </a:xfrm>
        </p:spPr>
        <p:txBody>
          <a:bodyPr/>
          <a:lstStyle/>
          <a:p>
            <a:r>
              <a:rPr lang="en-US" altLang="zh-CN" dirty="0"/>
              <a:t>MapReduce</a:t>
            </a:r>
            <a:r>
              <a:rPr lang="zh-CN" altLang="en-US" dirty="0"/>
              <a:t>工作流程</a:t>
            </a:r>
          </a:p>
        </p:txBody>
      </p:sp>
    </p:spTree>
    <p:extLst>
      <p:ext uri="{BB962C8B-B14F-4D97-AF65-F5344CB8AC3E}">
        <p14:creationId xmlns:p14="http://schemas.microsoft.com/office/powerpoint/2010/main" val="19105122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1">
            <a:extLst>
              <a:ext uri="{FF2B5EF4-FFF2-40B4-BE49-F238E27FC236}">
                <a16:creationId xmlns:a16="http://schemas.microsoft.com/office/drawing/2014/main" id="{2C330E41-D421-4061-88BB-39AFB328FC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测试二次排序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4852FA00-D2AB-4E68-813E-1163C5A85523}"/>
              </a:ext>
            </a:extLst>
          </p:cNvPr>
          <p:cNvSpPr/>
          <p:nvPr/>
        </p:nvSpPr>
        <p:spPr>
          <a:xfrm>
            <a:off x="1271320" y="2126946"/>
            <a:ext cx="6515295" cy="3726311"/>
          </a:xfrm>
          <a:prstGeom prst="rect">
            <a:avLst/>
          </a:prstGeom>
          <a:solidFill>
            <a:srgbClr val="2D0A2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097" name="Picture 1" descr="L:\Water\Documents\Tencent Files\1106367305\Image\C2C\6DC2VTI5DP58104Q}0D0KY8.png">
            <a:extLst>
              <a:ext uri="{FF2B5EF4-FFF2-40B4-BE49-F238E27FC236}">
                <a16:creationId xmlns:a16="http://schemas.microsoft.com/office/drawing/2014/main" id="{B37F973D-A9AE-441E-96A3-498D859ECF2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" t="371" r="1"/>
          <a:stretch>
            <a:fillRect/>
          </a:stretch>
        </p:blipFill>
        <p:spPr bwMode="auto">
          <a:xfrm>
            <a:off x="1272603" y="1411143"/>
            <a:ext cx="6600077" cy="4433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">
            <a:extLst>
              <a:ext uri="{FF2B5EF4-FFF2-40B4-BE49-F238E27FC236}">
                <a16:creationId xmlns:a16="http://schemas.microsoft.com/office/drawing/2014/main" id="{08C40133-71C1-4E11-8199-348396C03B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5121" name="Picture 1" descr="L:\Water\Documents\Tencent Files\1106367305\Image\C2C\QE1~{_S2~KTI]S(4K0`R0C3.jpg">
            <a:extLst>
              <a:ext uri="{FF2B5EF4-FFF2-40B4-BE49-F238E27FC236}">
                <a16:creationId xmlns:a16="http://schemas.microsoft.com/office/drawing/2014/main" id="{C6BFC2A2-EB7B-4313-B2E0-1A4262C6A1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4"/>
          <a:stretch>
            <a:fillRect/>
          </a:stretch>
        </p:blipFill>
        <p:spPr bwMode="auto">
          <a:xfrm>
            <a:off x="1085850" y="1286170"/>
            <a:ext cx="6972300" cy="4692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14458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1">
            <a:extLst>
              <a:ext uri="{FF2B5EF4-FFF2-40B4-BE49-F238E27FC236}">
                <a16:creationId xmlns:a16="http://schemas.microsoft.com/office/drawing/2014/main" id="{2C330E41-D421-4061-88BB-39AFB328FC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测试二次排序</a:t>
            </a:r>
          </a:p>
        </p:txBody>
      </p:sp>
      <p:pic>
        <p:nvPicPr>
          <p:cNvPr id="5121" name="Picture 1" descr="L:\Water\Documents\Tencent Files\1106367305\Image\C2C\QE1~{_S2~KTI]S(4K0`R0C3.jpg">
            <a:extLst>
              <a:ext uri="{FF2B5EF4-FFF2-40B4-BE49-F238E27FC236}">
                <a16:creationId xmlns:a16="http://schemas.microsoft.com/office/drawing/2014/main" id="{C6BFC2A2-EB7B-4313-B2E0-1A4262C6A1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4"/>
          <a:stretch>
            <a:fillRect/>
          </a:stretch>
        </p:blipFill>
        <p:spPr bwMode="auto">
          <a:xfrm>
            <a:off x="1178585" y="1348576"/>
            <a:ext cx="6786830" cy="4567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">
            <a:extLst>
              <a:ext uri="{FF2B5EF4-FFF2-40B4-BE49-F238E27FC236}">
                <a16:creationId xmlns:a16="http://schemas.microsoft.com/office/drawing/2014/main" id="{08C40133-71C1-4E11-8199-348396C03B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9" name="Picture 1" descr="L:\Water\Documents\Tencent Files\1106367305\Image\C2C\6DC2VTI5DP58104Q}0D0KY8.png">
            <a:extLst>
              <a:ext uri="{FF2B5EF4-FFF2-40B4-BE49-F238E27FC236}">
                <a16:creationId xmlns:a16="http://schemas.microsoft.com/office/drawing/2014/main" id="{49803F41-0111-4344-8621-910378C5A2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" t="371" r="1"/>
          <a:stretch>
            <a:fillRect/>
          </a:stretch>
        </p:blipFill>
        <p:spPr bwMode="auto">
          <a:xfrm>
            <a:off x="1089592" y="1288641"/>
            <a:ext cx="6964816" cy="4678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" descr="L:\Water\Documents\Tencent Files\1106367305\Image\C2C\K4MW9PQR8{LBF[(O$P$O003.png">
            <a:extLst>
              <a:ext uri="{FF2B5EF4-FFF2-40B4-BE49-F238E27FC236}">
                <a16:creationId xmlns:a16="http://schemas.microsoft.com/office/drawing/2014/main" id="{779A5FA3-34AC-4EA6-89B3-8CE06D947A4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 b="89380"/>
          <a:stretch>
            <a:fillRect/>
          </a:stretch>
        </p:blipFill>
        <p:spPr bwMode="auto">
          <a:xfrm>
            <a:off x="1094558" y="1307013"/>
            <a:ext cx="6954883" cy="495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矩形 10">
            <a:extLst>
              <a:ext uri="{FF2B5EF4-FFF2-40B4-BE49-F238E27FC236}">
                <a16:creationId xmlns:a16="http://schemas.microsoft.com/office/drawing/2014/main" id="{B2B0F354-9B65-4051-8A70-0EE65E483FE6}"/>
              </a:ext>
            </a:extLst>
          </p:cNvPr>
          <p:cNvSpPr/>
          <p:nvPr/>
        </p:nvSpPr>
        <p:spPr>
          <a:xfrm>
            <a:off x="1092994" y="2229393"/>
            <a:ext cx="6875349" cy="3746365"/>
          </a:xfrm>
          <a:prstGeom prst="rect">
            <a:avLst/>
          </a:prstGeom>
          <a:solidFill>
            <a:srgbClr val="2D0A2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77896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1">
            <a:extLst>
              <a:ext uri="{FF2B5EF4-FFF2-40B4-BE49-F238E27FC236}">
                <a16:creationId xmlns:a16="http://schemas.microsoft.com/office/drawing/2014/main" id="{2C330E41-D421-4061-88BB-39AFB328FC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测试二次排序</a:t>
            </a: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08C40133-71C1-4E11-8199-348396C03B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9" name="Picture 1" descr="L:\Water\Documents\Tencent Files\1106367305\Image\C2C\6DC2VTI5DP58104Q}0D0KY8.png">
            <a:extLst>
              <a:ext uri="{FF2B5EF4-FFF2-40B4-BE49-F238E27FC236}">
                <a16:creationId xmlns:a16="http://schemas.microsoft.com/office/drawing/2014/main" id="{49803F41-0111-4344-8621-910378C5A2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" t="371" r="1"/>
          <a:stretch>
            <a:fillRect/>
          </a:stretch>
        </p:blipFill>
        <p:spPr bwMode="auto">
          <a:xfrm>
            <a:off x="1089592" y="1292996"/>
            <a:ext cx="6964816" cy="4678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矩形 10">
            <a:extLst>
              <a:ext uri="{FF2B5EF4-FFF2-40B4-BE49-F238E27FC236}">
                <a16:creationId xmlns:a16="http://schemas.microsoft.com/office/drawing/2014/main" id="{B2B0F354-9B65-4051-8A70-0EE65E483FE6}"/>
              </a:ext>
            </a:extLst>
          </p:cNvPr>
          <p:cNvSpPr/>
          <p:nvPr/>
        </p:nvSpPr>
        <p:spPr>
          <a:xfrm>
            <a:off x="1092994" y="5930039"/>
            <a:ext cx="6875349" cy="45719"/>
          </a:xfrm>
          <a:prstGeom prst="rect">
            <a:avLst/>
          </a:prstGeom>
          <a:solidFill>
            <a:srgbClr val="2D0A2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2" name="Picture 1" descr="L:\Water\Documents\Tencent Files\1106367305\Image\C2C\K4MW9PQR8{LBF[(O$P$O003.png">
            <a:extLst>
              <a:ext uri="{FF2B5EF4-FFF2-40B4-BE49-F238E27FC236}">
                <a16:creationId xmlns:a16="http://schemas.microsoft.com/office/drawing/2014/main" id="{7BD5D8C1-84F0-4C9A-9A42-FBF31C15A3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 b="89380"/>
          <a:stretch>
            <a:fillRect/>
          </a:stretch>
        </p:blipFill>
        <p:spPr bwMode="auto">
          <a:xfrm>
            <a:off x="1094558" y="1307013"/>
            <a:ext cx="6954883" cy="495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2554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1">
            <a:extLst>
              <a:ext uri="{FF2B5EF4-FFF2-40B4-BE49-F238E27FC236}">
                <a16:creationId xmlns:a16="http://schemas.microsoft.com/office/drawing/2014/main" id="{2C330E41-D421-4061-88BB-39AFB328FC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测试二次排序</a:t>
            </a: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08C40133-71C1-4E11-8199-348396C03B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9" name="Picture 1" descr="L:\Water\Documents\Tencent Files\1106367305\Image\C2C\6DC2VTI5DP58104Q}0D0KY8.png">
            <a:extLst>
              <a:ext uri="{FF2B5EF4-FFF2-40B4-BE49-F238E27FC236}">
                <a16:creationId xmlns:a16="http://schemas.microsoft.com/office/drawing/2014/main" id="{49803F41-0111-4344-8621-910378C5A2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" t="371" r="1"/>
          <a:stretch>
            <a:fillRect/>
          </a:stretch>
        </p:blipFill>
        <p:spPr bwMode="auto">
          <a:xfrm>
            <a:off x="1089592" y="1292996"/>
            <a:ext cx="6964816" cy="4678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矩形 10">
            <a:extLst>
              <a:ext uri="{FF2B5EF4-FFF2-40B4-BE49-F238E27FC236}">
                <a16:creationId xmlns:a16="http://schemas.microsoft.com/office/drawing/2014/main" id="{B2B0F354-9B65-4051-8A70-0EE65E483FE6}"/>
              </a:ext>
            </a:extLst>
          </p:cNvPr>
          <p:cNvSpPr/>
          <p:nvPr/>
        </p:nvSpPr>
        <p:spPr>
          <a:xfrm>
            <a:off x="1092994" y="5930039"/>
            <a:ext cx="6875349" cy="45719"/>
          </a:xfrm>
          <a:prstGeom prst="rect">
            <a:avLst/>
          </a:prstGeom>
          <a:solidFill>
            <a:srgbClr val="2D0A2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8193" name="Picture 1" descr="L:\Water\Documents\Tencent Files\1106367305\Image\C2C\K4MW9PQR8{LBF[(O$P$O003.png">
            <a:extLst>
              <a:ext uri="{FF2B5EF4-FFF2-40B4-BE49-F238E27FC236}">
                <a16:creationId xmlns:a16="http://schemas.microsoft.com/office/drawing/2014/main" id="{5F6A9417-000D-43C5-8A48-E0B595DB0C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 t="1" b="361"/>
          <a:stretch>
            <a:fillRect/>
          </a:stretch>
        </p:blipFill>
        <p:spPr bwMode="auto">
          <a:xfrm>
            <a:off x="1094558" y="1307012"/>
            <a:ext cx="6954883" cy="4650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" descr="L:\Water\Documents\Tencent Files\1106367305\Image\C2C\QE1~{_S2~KTI]S(4K0`R0C3.jpg">
            <a:extLst>
              <a:ext uri="{FF2B5EF4-FFF2-40B4-BE49-F238E27FC236}">
                <a16:creationId xmlns:a16="http://schemas.microsoft.com/office/drawing/2014/main" id="{002D0E59-1751-4D45-A57C-69649A1FA18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30" r="80601" b="50144"/>
          <a:stretch>
            <a:fillRect/>
          </a:stretch>
        </p:blipFill>
        <p:spPr bwMode="auto">
          <a:xfrm>
            <a:off x="-2989762" y="4075611"/>
            <a:ext cx="1352550" cy="175042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60402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1">
            <a:extLst>
              <a:ext uri="{FF2B5EF4-FFF2-40B4-BE49-F238E27FC236}">
                <a16:creationId xmlns:a16="http://schemas.microsoft.com/office/drawing/2014/main" id="{2C330E41-D421-4061-88BB-39AFB328FC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测试二次排序</a:t>
            </a: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08C40133-71C1-4E11-8199-348396C03B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9" name="Picture 1" descr="L:\Water\Documents\Tencent Files\1106367305\Image\C2C\6DC2VTI5DP58104Q}0D0KY8.png">
            <a:extLst>
              <a:ext uri="{FF2B5EF4-FFF2-40B4-BE49-F238E27FC236}">
                <a16:creationId xmlns:a16="http://schemas.microsoft.com/office/drawing/2014/main" id="{49803F41-0111-4344-8621-910378C5A2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" t="371" r="1"/>
          <a:stretch>
            <a:fillRect/>
          </a:stretch>
        </p:blipFill>
        <p:spPr bwMode="auto">
          <a:xfrm>
            <a:off x="1089592" y="1292996"/>
            <a:ext cx="6964816" cy="4678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3" name="Picture 1" descr="L:\Water\Documents\Tencent Files\1106367305\Image\C2C\K4MW9PQR8{LBF[(O$P$O003.png">
            <a:extLst>
              <a:ext uri="{FF2B5EF4-FFF2-40B4-BE49-F238E27FC236}">
                <a16:creationId xmlns:a16="http://schemas.microsoft.com/office/drawing/2014/main" id="{5F6A9417-000D-43C5-8A48-E0B595DB0C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 t="1" b="361"/>
          <a:stretch>
            <a:fillRect/>
          </a:stretch>
        </p:blipFill>
        <p:spPr bwMode="auto">
          <a:xfrm>
            <a:off x="1094558" y="1307012"/>
            <a:ext cx="6954883" cy="4650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" descr="L:\Water\Documents\Tencent Files\1106367305\Image\C2C\QE1~{_S2~KTI]S(4K0`R0C3.jpg">
            <a:extLst>
              <a:ext uri="{FF2B5EF4-FFF2-40B4-BE49-F238E27FC236}">
                <a16:creationId xmlns:a16="http://schemas.microsoft.com/office/drawing/2014/main" id="{002D0E59-1751-4D45-A57C-69649A1FA18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r:link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30" r="80601" b="50144"/>
          <a:stretch>
            <a:fillRect/>
          </a:stretch>
        </p:blipFill>
        <p:spPr bwMode="auto">
          <a:xfrm>
            <a:off x="2431732" y="4075611"/>
            <a:ext cx="1352550" cy="175042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5572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1">
            <a:extLst>
              <a:ext uri="{FF2B5EF4-FFF2-40B4-BE49-F238E27FC236}">
                <a16:creationId xmlns:a16="http://schemas.microsoft.com/office/drawing/2014/main" id="{2C330E41-D421-4061-88BB-39AFB328FC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测试二次排序</a:t>
            </a: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08C40133-71C1-4E11-8199-348396C03B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9" name="Picture 1" descr="L:\Water\Documents\Tencent Files\1106367305\Image\C2C\6DC2VTI5DP58104Q}0D0KY8.png">
            <a:extLst>
              <a:ext uri="{FF2B5EF4-FFF2-40B4-BE49-F238E27FC236}">
                <a16:creationId xmlns:a16="http://schemas.microsoft.com/office/drawing/2014/main" id="{49803F41-0111-4344-8621-910378C5A2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" t="371" r="1"/>
          <a:stretch>
            <a:fillRect/>
          </a:stretch>
        </p:blipFill>
        <p:spPr bwMode="auto">
          <a:xfrm>
            <a:off x="503238" y="1130300"/>
            <a:ext cx="0" cy="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3" name="Picture 1" descr="L:\Water\Documents\Tencent Files\1106367305\Image\C2C\K4MW9PQR8{LBF[(O$P$O003.png">
            <a:extLst>
              <a:ext uri="{FF2B5EF4-FFF2-40B4-BE49-F238E27FC236}">
                <a16:creationId xmlns:a16="http://schemas.microsoft.com/office/drawing/2014/main" id="{5F6A9417-000D-43C5-8A48-E0B595DB0C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 t="1" b="361"/>
          <a:stretch>
            <a:fillRect/>
          </a:stretch>
        </p:blipFill>
        <p:spPr bwMode="auto">
          <a:xfrm>
            <a:off x="502444" y="1147514"/>
            <a:ext cx="0" cy="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" descr="L:\Water\Documents\Tencent Files\1106367305\Image\C2C\QE1~{_S2~KTI]S(4K0`R0C3.jpg">
            <a:extLst>
              <a:ext uri="{FF2B5EF4-FFF2-40B4-BE49-F238E27FC236}">
                <a16:creationId xmlns:a16="http://schemas.microsoft.com/office/drawing/2014/main" id="{002D0E59-1751-4D45-A57C-69649A1FA18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r:link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30" r="80601" b="50144"/>
          <a:stretch>
            <a:fillRect/>
          </a:stretch>
        </p:blipFill>
        <p:spPr bwMode="auto">
          <a:xfrm>
            <a:off x="503238" y="1130300"/>
            <a:ext cx="0" cy="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08464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/>
              <a:t>感谢观看和聆听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谢瑞麟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标题 38">
            <a:extLst>
              <a:ext uri="{FF2B5EF4-FFF2-40B4-BE49-F238E27FC236}">
                <a16:creationId xmlns:a16="http://schemas.microsoft.com/office/drawing/2014/main" id="{65C6340F-6688-46F1-8DCF-2A7CC27BD7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D5DB5A8-A76D-4AF1-A1C4-2216CD116A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7</a:t>
            </a:fld>
            <a:endParaRPr lang="zh-CN" altLang="en-US"/>
          </a:p>
        </p:txBody>
      </p:sp>
      <p:grpSp>
        <p:nvGrpSpPr>
          <p:cNvPr id="5" name="237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A996E60-E511-4966-9F6F-49A1886B864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328143" y="1834097"/>
            <a:ext cx="6479427" cy="3621854"/>
            <a:chOff x="1770857" y="1230454"/>
            <a:chExt cx="8639239" cy="4829141"/>
          </a:xfrm>
        </p:grpSpPr>
        <p:sp>
          <p:nvSpPr>
            <p:cNvPr id="6" name="îśļídé">
              <a:extLst>
                <a:ext uri="{FF2B5EF4-FFF2-40B4-BE49-F238E27FC236}">
                  <a16:creationId xmlns:a16="http://schemas.microsoft.com/office/drawing/2014/main" id="{63F28BA7-4F1D-417B-9A1A-7D42D66E5E39}"/>
                </a:ext>
              </a:extLst>
            </p:cNvPr>
            <p:cNvSpPr txBox="1"/>
            <p:nvPr/>
          </p:nvSpPr>
          <p:spPr>
            <a:xfrm>
              <a:off x="1770857" y="1230454"/>
              <a:ext cx="2061938" cy="484748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 fontScale="70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050" b="1" dirty="0"/>
                <a:t>Copy paste fonts. Choose the only option to retain text.</a:t>
              </a:r>
            </a:p>
          </p:txBody>
        </p:sp>
        <p:sp>
          <p:nvSpPr>
            <p:cNvPr id="7" name="îṡḻîḋê">
              <a:extLst>
                <a:ext uri="{FF2B5EF4-FFF2-40B4-BE49-F238E27FC236}">
                  <a16:creationId xmlns:a16="http://schemas.microsoft.com/office/drawing/2014/main" id="{02F8BA73-98EB-46B2-AADD-FF301FE490FD}"/>
                </a:ext>
              </a:extLst>
            </p:cNvPr>
            <p:cNvSpPr txBox="1"/>
            <p:nvPr/>
          </p:nvSpPr>
          <p:spPr>
            <a:xfrm>
              <a:off x="4951701" y="1230454"/>
              <a:ext cx="2061938" cy="484748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 fontScale="70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050" b="1" dirty="0"/>
                <a:t>Copy paste fonts. Choose the only option to retain text.</a:t>
              </a:r>
            </a:p>
          </p:txBody>
        </p:sp>
        <p:sp>
          <p:nvSpPr>
            <p:cNvPr id="8" name="iŝḷîdè">
              <a:extLst>
                <a:ext uri="{FF2B5EF4-FFF2-40B4-BE49-F238E27FC236}">
                  <a16:creationId xmlns:a16="http://schemas.microsoft.com/office/drawing/2014/main" id="{316F7D77-9E62-4650-8F87-ED4BB77E82D1}"/>
                </a:ext>
              </a:extLst>
            </p:cNvPr>
            <p:cNvSpPr txBox="1"/>
            <p:nvPr/>
          </p:nvSpPr>
          <p:spPr>
            <a:xfrm>
              <a:off x="8161237" y="1230454"/>
              <a:ext cx="2061938" cy="484748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 fontScale="70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050" b="1" dirty="0"/>
                <a:t>Copy paste fonts. Choose the only option to retain text.</a:t>
              </a:r>
            </a:p>
          </p:txBody>
        </p:sp>
        <p:sp>
          <p:nvSpPr>
            <p:cNvPr id="9" name="íšlíḓê">
              <a:extLst>
                <a:ext uri="{FF2B5EF4-FFF2-40B4-BE49-F238E27FC236}">
                  <a16:creationId xmlns:a16="http://schemas.microsoft.com/office/drawing/2014/main" id="{92A45E62-CC3F-47D1-B9CE-DDB2D343053F}"/>
                </a:ext>
              </a:extLst>
            </p:cNvPr>
            <p:cNvSpPr txBox="1"/>
            <p:nvPr/>
          </p:nvSpPr>
          <p:spPr>
            <a:xfrm>
              <a:off x="3402055" y="5574847"/>
              <a:ext cx="2061938" cy="484748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 fontScale="70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050" b="1" dirty="0"/>
                <a:t>Copy paste fonts. Choose the only option to retain text.</a:t>
              </a:r>
            </a:p>
          </p:txBody>
        </p:sp>
        <p:sp>
          <p:nvSpPr>
            <p:cNvPr id="10" name="íşḷídé">
              <a:extLst>
                <a:ext uri="{FF2B5EF4-FFF2-40B4-BE49-F238E27FC236}">
                  <a16:creationId xmlns:a16="http://schemas.microsoft.com/office/drawing/2014/main" id="{083CCE45-4E16-4992-B845-6C679D9026D0}"/>
                </a:ext>
              </a:extLst>
            </p:cNvPr>
            <p:cNvSpPr txBox="1"/>
            <p:nvPr/>
          </p:nvSpPr>
          <p:spPr>
            <a:xfrm>
              <a:off x="6553936" y="5574847"/>
              <a:ext cx="2061938" cy="484748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 fontScale="70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050" b="1" dirty="0"/>
                <a:t>Copy paste fonts. Choose the only option to retain text.</a:t>
              </a:r>
            </a:p>
          </p:txBody>
        </p:sp>
        <p:grpSp>
          <p:nvGrpSpPr>
            <p:cNvPr id="11" name="ïṧḻiḓê">
              <a:extLst>
                <a:ext uri="{FF2B5EF4-FFF2-40B4-BE49-F238E27FC236}">
                  <a16:creationId xmlns:a16="http://schemas.microsoft.com/office/drawing/2014/main" id="{E4A094D1-8D23-4DDF-8514-8E6D03CAF9A6}"/>
                </a:ext>
              </a:extLst>
            </p:cNvPr>
            <p:cNvGrpSpPr/>
            <p:nvPr/>
          </p:nvGrpSpPr>
          <p:grpSpPr>
            <a:xfrm>
              <a:off x="1781909" y="1780777"/>
              <a:ext cx="8628187" cy="3694892"/>
              <a:chOff x="1196349" y="1528119"/>
              <a:chExt cx="9799303" cy="4196403"/>
            </a:xfrm>
          </p:grpSpPr>
          <p:sp>
            <p:nvSpPr>
              <p:cNvPr id="12" name="îṩľíďe">
                <a:extLst>
                  <a:ext uri="{FF2B5EF4-FFF2-40B4-BE49-F238E27FC236}">
                    <a16:creationId xmlns:a16="http://schemas.microsoft.com/office/drawing/2014/main" id="{5E9E7810-0A53-4482-ACDA-908E8031FEC6}"/>
                  </a:ext>
                </a:extLst>
              </p:cNvPr>
              <p:cNvSpPr/>
              <p:nvPr/>
            </p:nvSpPr>
            <p:spPr>
              <a:xfrm>
                <a:off x="8455366" y="1570630"/>
                <a:ext cx="2540286" cy="2344857"/>
              </a:xfrm>
              <a:prstGeom prst="uturnArrow">
                <a:avLst>
                  <a:gd name="adj1" fmla="val 20076"/>
                  <a:gd name="adj2" fmla="val 19764"/>
                  <a:gd name="adj3" fmla="val 23347"/>
                  <a:gd name="adj4" fmla="val 49304"/>
                  <a:gd name="adj5" fmla="val 99251"/>
                </a:avLst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13" name="ïṡļïḋè">
                <a:extLst>
                  <a:ext uri="{FF2B5EF4-FFF2-40B4-BE49-F238E27FC236}">
                    <a16:creationId xmlns:a16="http://schemas.microsoft.com/office/drawing/2014/main" id="{03D0C5C6-235C-4E89-A0A9-5D436A0F2FE6}"/>
                  </a:ext>
                </a:extLst>
              </p:cNvPr>
              <p:cNvSpPr/>
              <p:nvPr/>
            </p:nvSpPr>
            <p:spPr>
              <a:xfrm rot="10800000" flipH="1">
                <a:off x="6631118" y="3368961"/>
                <a:ext cx="2540286" cy="2344857"/>
              </a:xfrm>
              <a:prstGeom prst="uturnArrow">
                <a:avLst>
                  <a:gd name="adj1" fmla="val 20076"/>
                  <a:gd name="adj2" fmla="val 19764"/>
                  <a:gd name="adj3" fmla="val 23347"/>
                  <a:gd name="adj4" fmla="val 49304"/>
                  <a:gd name="adj5" fmla="val 99251"/>
                </a:avLst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14" name="ïṩļîḓe">
                <a:extLst>
                  <a:ext uri="{FF2B5EF4-FFF2-40B4-BE49-F238E27FC236}">
                    <a16:creationId xmlns:a16="http://schemas.microsoft.com/office/drawing/2014/main" id="{EEE992AA-BF18-4F18-AD34-1935852160FE}"/>
                  </a:ext>
                </a:extLst>
              </p:cNvPr>
              <p:cNvSpPr/>
              <p:nvPr/>
            </p:nvSpPr>
            <p:spPr>
              <a:xfrm>
                <a:off x="4815390" y="1570630"/>
                <a:ext cx="2540286" cy="2344857"/>
              </a:xfrm>
              <a:prstGeom prst="uturnArrow">
                <a:avLst>
                  <a:gd name="adj1" fmla="val 20076"/>
                  <a:gd name="adj2" fmla="val 19764"/>
                  <a:gd name="adj3" fmla="val 23347"/>
                  <a:gd name="adj4" fmla="val 49304"/>
                  <a:gd name="adj5" fmla="val 99251"/>
                </a:avLst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15" name="ïsḷiḑè">
                <a:extLst>
                  <a:ext uri="{FF2B5EF4-FFF2-40B4-BE49-F238E27FC236}">
                    <a16:creationId xmlns:a16="http://schemas.microsoft.com/office/drawing/2014/main" id="{C25D8C9C-2555-4212-85B3-87B4BED08DAF}"/>
                  </a:ext>
                </a:extLst>
              </p:cNvPr>
              <p:cNvSpPr/>
              <p:nvPr/>
            </p:nvSpPr>
            <p:spPr>
              <a:xfrm rot="10800000" flipH="1">
                <a:off x="2994459" y="3368961"/>
                <a:ext cx="2540286" cy="2344857"/>
              </a:xfrm>
              <a:prstGeom prst="uturnArrow">
                <a:avLst>
                  <a:gd name="adj1" fmla="val 20076"/>
                  <a:gd name="adj2" fmla="val 19764"/>
                  <a:gd name="adj3" fmla="val 23347"/>
                  <a:gd name="adj4" fmla="val 49304"/>
                  <a:gd name="adj5" fmla="val 99251"/>
                </a:avLst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16" name="í$ļîďe">
                <a:extLst>
                  <a:ext uri="{FF2B5EF4-FFF2-40B4-BE49-F238E27FC236}">
                    <a16:creationId xmlns:a16="http://schemas.microsoft.com/office/drawing/2014/main" id="{D23E8B00-1E76-4DAB-8F93-FE0D260E7B81}"/>
                  </a:ext>
                </a:extLst>
              </p:cNvPr>
              <p:cNvSpPr/>
              <p:nvPr/>
            </p:nvSpPr>
            <p:spPr>
              <a:xfrm>
                <a:off x="1196349" y="1570630"/>
                <a:ext cx="2540286" cy="2344857"/>
              </a:xfrm>
              <a:prstGeom prst="uturnArrow">
                <a:avLst>
                  <a:gd name="adj1" fmla="val 20076"/>
                  <a:gd name="adj2" fmla="val 19764"/>
                  <a:gd name="adj3" fmla="val 23347"/>
                  <a:gd name="adj4" fmla="val 49304"/>
                  <a:gd name="adj5" fmla="val 99251"/>
                </a:avLst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17" name="ïSlíďê">
                <a:extLst>
                  <a:ext uri="{FF2B5EF4-FFF2-40B4-BE49-F238E27FC236}">
                    <a16:creationId xmlns:a16="http://schemas.microsoft.com/office/drawing/2014/main" id="{3CFC689C-FB0C-41C3-8A9C-DCE9986CC5BB}"/>
                  </a:ext>
                </a:extLst>
              </p:cNvPr>
              <p:cNvSpPr txBox="1"/>
              <p:nvPr/>
            </p:nvSpPr>
            <p:spPr>
              <a:xfrm>
                <a:off x="1875233" y="1529380"/>
                <a:ext cx="830352" cy="550543"/>
              </a:xfrm>
              <a:prstGeom prst="rect">
                <a:avLst/>
              </a:prstGeom>
              <a:noFill/>
              <a:effectLst/>
            </p:spPr>
            <p:txBody>
              <a:bodyPr wrap="square" lIns="91440" tIns="45720" rIns="91440" bIns="45720" anchor="ctr">
                <a:normAutofit fontScale="85000" lnSpcReduction="10000"/>
              </a:bodyPr>
              <a:lstStyle/>
              <a:p>
                <a:pPr algn="ctr" defTabSz="685800">
                  <a:spcBef>
                    <a:spcPct val="0"/>
                  </a:spcBef>
                  <a:defRPr/>
                </a:pPr>
                <a:r>
                  <a:rPr lang="en-US" sz="1400" dirty="0">
                    <a:solidFill>
                      <a:srgbClr val="FFFFFF"/>
                    </a:solidFill>
                  </a:rPr>
                  <a:t>2014</a:t>
                </a:r>
                <a:endParaRPr lang="en-US" sz="21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" name="íṥḷîḓé">
                <a:extLst>
                  <a:ext uri="{FF2B5EF4-FFF2-40B4-BE49-F238E27FC236}">
                    <a16:creationId xmlns:a16="http://schemas.microsoft.com/office/drawing/2014/main" id="{5C77FD3C-418A-4357-8A91-E4B664C64489}"/>
                  </a:ext>
                </a:extLst>
              </p:cNvPr>
              <p:cNvSpPr txBox="1"/>
              <p:nvPr/>
            </p:nvSpPr>
            <p:spPr>
              <a:xfrm>
                <a:off x="3736634" y="5173979"/>
                <a:ext cx="772048" cy="550543"/>
              </a:xfrm>
              <a:prstGeom prst="rect">
                <a:avLst/>
              </a:prstGeom>
              <a:noFill/>
              <a:effectLst/>
            </p:spPr>
            <p:txBody>
              <a:bodyPr wrap="square" lIns="91440" tIns="45720" rIns="91440" bIns="45720" anchor="ctr">
                <a:normAutofit fontScale="70000" lnSpcReduction="20000"/>
              </a:bodyPr>
              <a:lstStyle/>
              <a:p>
                <a:pPr algn="ctr" defTabSz="685800">
                  <a:spcBef>
                    <a:spcPct val="0"/>
                  </a:spcBef>
                  <a:defRPr/>
                </a:pPr>
                <a:r>
                  <a:rPr lang="en-US" sz="1500" dirty="0">
                    <a:solidFill>
                      <a:srgbClr val="FFFFFF"/>
                    </a:solidFill>
                  </a:rPr>
                  <a:t>2015</a:t>
                </a:r>
                <a:endParaRPr lang="en-US" sz="21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" name="ïṩļïḑè">
                <a:extLst>
                  <a:ext uri="{FF2B5EF4-FFF2-40B4-BE49-F238E27FC236}">
                    <a16:creationId xmlns:a16="http://schemas.microsoft.com/office/drawing/2014/main" id="{595E3234-02F7-404D-B021-73BE55A9A45B}"/>
                  </a:ext>
                </a:extLst>
              </p:cNvPr>
              <p:cNvSpPr txBox="1"/>
              <p:nvPr/>
            </p:nvSpPr>
            <p:spPr>
              <a:xfrm>
                <a:off x="5510357" y="1528119"/>
                <a:ext cx="830352" cy="550543"/>
              </a:xfrm>
              <a:prstGeom prst="rect">
                <a:avLst/>
              </a:prstGeom>
              <a:noFill/>
              <a:effectLst/>
            </p:spPr>
            <p:txBody>
              <a:bodyPr wrap="square" lIns="91440" tIns="45720" rIns="91440" bIns="45720" anchor="ctr">
                <a:normAutofit fontScale="85000" lnSpcReduction="10000"/>
              </a:bodyPr>
              <a:lstStyle/>
              <a:p>
                <a:pPr algn="ctr" defTabSz="685800">
                  <a:spcBef>
                    <a:spcPct val="0"/>
                  </a:spcBef>
                  <a:defRPr/>
                </a:pPr>
                <a:r>
                  <a:rPr lang="en-US" sz="1400" dirty="0">
                    <a:solidFill>
                      <a:srgbClr val="FFFFFF"/>
                    </a:solidFill>
                  </a:rPr>
                  <a:t>2016</a:t>
                </a:r>
                <a:endParaRPr lang="en-US" sz="21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" name="íṣ1íḓê">
                <a:extLst>
                  <a:ext uri="{FF2B5EF4-FFF2-40B4-BE49-F238E27FC236}">
                    <a16:creationId xmlns:a16="http://schemas.microsoft.com/office/drawing/2014/main" id="{959DBB1D-DC67-46A4-BEDA-822342CADF40}"/>
                  </a:ext>
                </a:extLst>
              </p:cNvPr>
              <p:cNvSpPr txBox="1"/>
              <p:nvPr/>
            </p:nvSpPr>
            <p:spPr>
              <a:xfrm>
                <a:off x="7448365" y="5161959"/>
                <a:ext cx="840051" cy="550543"/>
              </a:xfrm>
              <a:prstGeom prst="rect">
                <a:avLst/>
              </a:prstGeom>
              <a:noFill/>
              <a:effectLst/>
            </p:spPr>
            <p:txBody>
              <a:bodyPr wrap="square" lIns="91440" tIns="45720" rIns="91440" bIns="45720" anchor="ctr">
                <a:normAutofit fontScale="85000" lnSpcReduction="10000"/>
              </a:bodyPr>
              <a:lstStyle/>
              <a:p>
                <a:pPr algn="ctr" defTabSz="685800">
                  <a:spcBef>
                    <a:spcPct val="0"/>
                  </a:spcBef>
                  <a:defRPr/>
                </a:pPr>
                <a:r>
                  <a:rPr lang="en-US" sz="1500" dirty="0">
                    <a:solidFill>
                      <a:srgbClr val="FFFFFF"/>
                    </a:solidFill>
                  </a:rPr>
                  <a:t>2017</a:t>
                </a:r>
                <a:endParaRPr lang="en-US" sz="21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" name="îṥḷidê">
                <a:extLst>
                  <a:ext uri="{FF2B5EF4-FFF2-40B4-BE49-F238E27FC236}">
                    <a16:creationId xmlns:a16="http://schemas.microsoft.com/office/drawing/2014/main" id="{926C917C-FAA5-47C5-B857-EEC740A9CBFF}"/>
                  </a:ext>
                </a:extLst>
              </p:cNvPr>
              <p:cNvSpPr txBox="1"/>
              <p:nvPr/>
            </p:nvSpPr>
            <p:spPr>
              <a:xfrm>
                <a:off x="9171403" y="1528119"/>
                <a:ext cx="786718" cy="550543"/>
              </a:xfrm>
              <a:prstGeom prst="rect">
                <a:avLst/>
              </a:prstGeom>
              <a:noFill/>
              <a:effectLst/>
            </p:spPr>
            <p:txBody>
              <a:bodyPr wrap="square" lIns="91440" tIns="45720" rIns="91440" bIns="45720" anchor="ctr">
                <a:normAutofit fontScale="77500" lnSpcReduction="20000"/>
              </a:bodyPr>
              <a:lstStyle/>
              <a:p>
                <a:pPr algn="ctr" defTabSz="685800">
                  <a:spcBef>
                    <a:spcPct val="0"/>
                  </a:spcBef>
                  <a:defRPr/>
                </a:pPr>
                <a:r>
                  <a:rPr lang="en-US" sz="1500" dirty="0">
                    <a:solidFill>
                      <a:srgbClr val="FFFFFF"/>
                    </a:solidFill>
                  </a:rPr>
                  <a:t>2018</a:t>
                </a:r>
                <a:endParaRPr lang="en-US" sz="21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22" name="ïṥḻïḓê">
                <a:extLst>
                  <a:ext uri="{FF2B5EF4-FFF2-40B4-BE49-F238E27FC236}">
                    <a16:creationId xmlns:a16="http://schemas.microsoft.com/office/drawing/2014/main" id="{3B2B7EE8-C3FC-4661-BD57-A48FD5FD16B3}"/>
                  </a:ext>
                </a:extLst>
              </p:cNvPr>
              <p:cNvGrpSpPr/>
              <p:nvPr/>
            </p:nvGrpSpPr>
            <p:grpSpPr>
              <a:xfrm>
                <a:off x="5363838" y="2151137"/>
                <a:ext cx="1206895" cy="1206894"/>
                <a:chOff x="5435627" y="2453216"/>
                <a:chExt cx="1088558" cy="1088557"/>
              </a:xfrm>
              <a:effectLst/>
            </p:grpSpPr>
            <p:sp>
              <p:nvSpPr>
                <p:cNvPr id="35" name="íśľíďe">
                  <a:extLst>
                    <a:ext uri="{FF2B5EF4-FFF2-40B4-BE49-F238E27FC236}">
                      <a16:creationId xmlns:a16="http://schemas.microsoft.com/office/drawing/2014/main" id="{15B9CF53-2530-42F5-9374-573DFFD75F64}"/>
                    </a:ext>
                  </a:extLst>
                </p:cNvPr>
                <p:cNvSpPr/>
                <p:nvPr/>
              </p:nvSpPr>
              <p:spPr>
                <a:xfrm>
                  <a:off x="5435627" y="2453216"/>
                  <a:ext cx="1088558" cy="1088557"/>
                </a:xfrm>
                <a:custGeom>
                  <a:avLst/>
                  <a:gdLst>
                    <a:gd name="connsiteX0" fmla="*/ 0 w 905504"/>
                    <a:gd name="connsiteY0" fmla="*/ 452752 h 905504"/>
                    <a:gd name="connsiteX1" fmla="*/ 132608 w 905504"/>
                    <a:gd name="connsiteY1" fmla="*/ 132608 h 905504"/>
                    <a:gd name="connsiteX2" fmla="*/ 452752 w 905504"/>
                    <a:gd name="connsiteY2" fmla="*/ 0 h 905504"/>
                    <a:gd name="connsiteX3" fmla="*/ 772896 w 905504"/>
                    <a:gd name="connsiteY3" fmla="*/ 132608 h 905504"/>
                    <a:gd name="connsiteX4" fmla="*/ 905504 w 905504"/>
                    <a:gd name="connsiteY4" fmla="*/ 452752 h 905504"/>
                    <a:gd name="connsiteX5" fmla="*/ 772896 w 905504"/>
                    <a:gd name="connsiteY5" fmla="*/ 772896 h 905504"/>
                    <a:gd name="connsiteX6" fmla="*/ 452752 w 905504"/>
                    <a:gd name="connsiteY6" fmla="*/ 905504 h 905504"/>
                    <a:gd name="connsiteX7" fmla="*/ 132608 w 905504"/>
                    <a:gd name="connsiteY7" fmla="*/ 772896 h 905504"/>
                    <a:gd name="connsiteX8" fmla="*/ 0 w 905504"/>
                    <a:gd name="connsiteY8" fmla="*/ 452752 h 9055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05504" h="905504">
                      <a:moveTo>
                        <a:pt x="0" y="452752"/>
                      </a:moveTo>
                      <a:cubicBezTo>
                        <a:pt x="0" y="332675"/>
                        <a:pt x="47701" y="217515"/>
                        <a:pt x="132608" y="132608"/>
                      </a:cubicBezTo>
                      <a:cubicBezTo>
                        <a:pt x="217516" y="47701"/>
                        <a:pt x="332675" y="0"/>
                        <a:pt x="452752" y="0"/>
                      </a:cubicBezTo>
                      <a:cubicBezTo>
                        <a:pt x="572829" y="0"/>
                        <a:pt x="687989" y="47701"/>
                        <a:pt x="772896" y="132608"/>
                      </a:cubicBezTo>
                      <a:cubicBezTo>
                        <a:pt x="857803" y="217516"/>
                        <a:pt x="905504" y="332675"/>
                        <a:pt x="905504" y="452752"/>
                      </a:cubicBezTo>
                      <a:cubicBezTo>
                        <a:pt x="905504" y="572829"/>
                        <a:pt x="857803" y="687989"/>
                        <a:pt x="772896" y="772896"/>
                      </a:cubicBezTo>
                      <a:cubicBezTo>
                        <a:pt x="687988" y="857803"/>
                        <a:pt x="572829" y="905504"/>
                        <a:pt x="452752" y="905504"/>
                      </a:cubicBezTo>
                      <a:cubicBezTo>
                        <a:pt x="332675" y="905504"/>
                        <a:pt x="217515" y="857803"/>
                        <a:pt x="132608" y="772896"/>
                      </a:cubicBezTo>
                      <a:cubicBezTo>
                        <a:pt x="47701" y="687988"/>
                        <a:pt x="0" y="572829"/>
                        <a:pt x="0" y="45275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9050">
                  <a:noFill/>
                  <a:prstDash val="sysDot"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36" name="iṩľîḋè">
                  <a:extLst>
                    <a:ext uri="{FF2B5EF4-FFF2-40B4-BE49-F238E27FC236}">
                      <a16:creationId xmlns:a16="http://schemas.microsoft.com/office/drawing/2014/main" id="{8D50BDF6-C32A-45FE-B09F-7DC7C54DCF01}"/>
                    </a:ext>
                  </a:extLst>
                </p:cNvPr>
                <p:cNvSpPr/>
                <p:nvPr/>
              </p:nvSpPr>
              <p:spPr bwMode="auto">
                <a:xfrm>
                  <a:off x="5694691" y="2765149"/>
                  <a:ext cx="580129" cy="436933"/>
                </a:xfrm>
                <a:custGeom>
                  <a:avLst/>
                  <a:gdLst/>
                  <a:ahLst/>
                  <a:cxnLst>
                    <a:cxn ang="0">
                      <a:pos x="158" y="119"/>
                    </a:cxn>
                    <a:cxn ang="0">
                      <a:pos x="0" y="119"/>
                    </a:cxn>
                    <a:cxn ang="0">
                      <a:pos x="0" y="0"/>
                    </a:cxn>
                    <a:cxn ang="0">
                      <a:pos x="9" y="0"/>
                    </a:cxn>
                    <a:cxn ang="0">
                      <a:pos x="9" y="108"/>
                    </a:cxn>
                    <a:cxn ang="0">
                      <a:pos x="158" y="108"/>
                    </a:cxn>
                    <a:cxn ang="0">
                      <a:pos x="158" y="119"/>
                    </a:cxn>
                    <a:cxn ang="0">
                      <a:pos x="50" y="99"/>
                    </a:cxn>
                    <a:cxn ang="0">
                      <a:pos x="29" y="99"/>
                    </a:cxn>
                    <a:cxn ang="0">
                      <a:pos x="29" y="60"/>
                    </a:cxn>
                    <a:cxn ang="0">
                      <a:pos x="50" y="60"/>
                    </a:cxn>
                    <a:cxn ang="0">
                      <a:pos x="50" y="99"/>
                    </a:cxn>
                    <a:cxn ang="0">
                      <a:pos x="78" y="99"/>
                    </a:cxn>
                    <a:cxn ang="0">
                      <a:pos x="59" y="99"/>
                    </a:cxn>
                    <a:cxn ang="0">
                      <a:pos x="59" y="19"/>
                    </a:cxn>
                    <a:cxn ang="0">
                      <a:pos x="78" y="19"/>
                    </a:cxn>
                    <a:cxn ang="0">
                      <a:pos x="78" y="99"/>
                    </a:cxn>
                    <a:cxn ang="0">
                      <a:pos x="109" y="99"/>
                    </a:cxn>
                    <a:cxn ang="0">
                      <a:pos x="89" y="99"/>
                    </a:cxn>
                    <a:cxn ang="0">
                      <a:pos x="89" y="39"/>
                    </a:cxn>
                    <a:cxn ang="0">
                      <a:pos x="109" y="39"/>
                    </a:cxn>
                    <a:cxn ang="0">
                      <a:pos x="109" y="99"/>
                    </a:cxn>
                    <a:cxn ang="0">
                      <a:pos x="139" y="99"/>
                    </a:cxn>
                    <a:cxn ang="0">
                      <a:pos x="119" y="99"/>
                    </a:cxn>
                    <a:cxn ang="0">
                      <a:pos x="119" y="11"/>
                    </a:cxn>
                    <a:cxn ang="0">
                      <a:pos x="139" y="11"/>
                    </a:cxn>
                    <a:cxn ang="0">
                      <a:pos x="139" y="99"/>
                    </a:cxn>
                  </a:cxnLst>
                  <a:rect l="0" t="0" r="r" b="b"/>
                  <a:pathLst>
                    <a:path w="158" h="119">
                      <a:moveTo>
                        <a:pt x="158" y="119"/>
                      </a:moveTo>
                      <a:lnTo>
                        <a:pt x="0" y="119"/>
                      </a:lnTo>
                      <a:lnTo>
                        <a:pt x="0" y="0"/>
                      </a:lnTo>
                      <a:lnTo>
                        <a:pt x="9" y="0"/>
                      </a:lnTo>
                      <a:lnTo>
                        <a:pt x="9" y="108"/>
                      </a:lnTo>
                      <a:lnTo>
                        <a:pt x="158" y="108"/>
                      </a:lnTo>
                      <a:lnTo>
                        <a:pt x="158" y="119"/>
                      </a:lnTo>
                      <a:close/>
                      <a:moveTo>
                        <a:pt x="50" y="99"/>
                      </a:moveTo>
                      <a:lnTo>
                        <a:pt x="29" y="99"/>
                      </a:lnTo>
                      <a:lnTo>
                        <a:pt x="29" y="60"/>
                      </a:lnTo>
                      <a:lnTo>
                        <a:pt x="50" y="60"/>
                      </a:lnTo>
                      <a:lnTo>
                        <a:pt x="50" y="99"/>
                      </a:lnTo>
                      <a:close/>
                      <a:moveTo>
                        <a:pt x="78" y="99"/>
                      </a:moveTo>
                      <a:lnTo>
                        <a:pt x="59" y="99"/>
                      </a:lnTo>
                      <a:lnTo>
                        <a:pt x="59" y="19"/>
                      </a:lnTo>
                      <a:lnTo>
                        <a:pt x="78" y="19"/>
                      </a:lnTo>
                      <a:lnTo>
                        <a:pt x="78" y="99"/>
                      </a:lnTo>
                      <a:close/>
                      <a:moveTo>
                        <a:pt x="109" y="99"/>
                      </a:moveTo>
                      <a:lnTo>
                        <a:pt x="89" y="99"/>
                      </a:lnTo>
                      <a:lnTo>
                        <a:pt x="89" y="39"/>
                      </a:lnTo>
                      <a:lnTo>
                        <a:pt x="109" y="39"/>
                      </a:lnTo>
                      <a:lnTo>
                        <a:pt x="109" y="99"/>
                      </a:lnTo>
                      <a:close/>
                      <a:moveTo>
                        <a:pt x="139" y="99"/>
                      </a:moveTo>
                      <a:lnTo>
                        <a:pt x="119" y="99"/>
                      </a:lnTo>
                      <a:lnTo>
                        <a:pt x="119" y="11"/>
                      </a:lnTo>
                      <a:lnTo>
                        <a:pt x="139" y="11"/>
                      </a:lnTo>
                      <a:lnTo>
                        <a:pt x="139" y="9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23" name="íṩľîḍé">
                <a:extLst>
                  <a:ext uri="{FF2B5EF4-FFF2-40B4-BE49-F238E27FC236}">
                    <a16:creationId xmlns:a16="http://schemas.microsoft.com/office/drawing/2014/main" id="{FDA06B4B-BEA4-48A2-A03D-B2F5C8A0D9A9}"/>
                  </a:ext>
                </a:extLst>
              </p:cNvPr>
              <p:cNvGrpSpPr/>
              <p:nvPr/>
            </p:nvGrpSpPr>
            <p:grpSpPr>
              <a:xfrm>
                <a:off x="1751254" y="2151137"/>
                <a:ext cx="1206895" cy="1206894"/>
                <a:chOff x="2177259" y="2453216"/>
                <a:chExt cx="1088558" cy="1088557"/>
              </a:xfrm>
              <a:effectLst/>
            </p:grpSpPr>
            <p:sp>
              <p:nvSpPr>
                <p:cNvPr id="33" name="ísľiḍe">
                  <a:extLst>
                    <a:ext uri="{FF2B5EF4-FFF2-40B4-BE49-F238E27FC236}">
                      <a16:creationId xmlns:a16="http://schemas.microsoft.com/office/drawing/2014/main" id="{01227D1E-E134-43D0-BE5C-BEF362504139}"/>
                    </a:ext>
                  </a:extLst>
                </p:cNvPr>
                <p:cNvSpPr/>
                <p:nvPr/>
              </p:nvSpPr>
              <p:spPr>
                <a:xfrm>
                  <a:off x="2177259" y="2453216"/>
                  <a:ext cx="1088558" cy="1088557"/>
                </a:xfrm>
                <a:custGeom>
                  <a:avLst/>
                  <a:gdLst>
                    <a:gd name="connsiteX0" fmla="*/ 0 w 905504"/>
                    <a:gd name="connsiteY0" fmla="*/ 452752 h 905504"/>
                    <a:gd name="connsiteX1" fmla="*/ 132608 w 905504"/>
                    <a:gd name="connsiteY1" fmla="*/ 132608 h 905504"/>
                    <a:gd name="connsiteX2" fmla="*/ 452752 w 905504"/>
                    <a:gd name="connsiteY2" fmla="*/ 0 h 905504"/>
                    <a:gd name="connsiteX3" fmla="*/ 772896 w 905504"/>
                    <a:gd name="connsiteY3" fmla="*/ 132608 h 905504"/>
                    <a:gd name="connsiteX4" fmla="*/ 905504 w 905504"/>
                    <a:gd name="connsiteY4" fmla="*/ 452752 h 905504"/>
                    <a:gd name="connsiteX5" fmla="*/ 772896 w 905504"/>
                    <a:gd name="connsiteY5" fmla="*/ 772896 h 905504"/>
                    <a:gd name="connsiteX6" fmla="*/ 452752 w 905504"/>
                    <a:gd name="connsiteY6" fmla="*/ 905504 h 905504"/>
                    <a:gd name="connsiteX7" fmla="*/ 132608 w 905504"/>
                    <a:gd name="connsiteY7" fmla="*/ 772896 h 905504"/>
                    <a:gd name="connsiteX8" fmla="*/ 0 w 905504"/>
                    <a:gd name="connsiteY8" fmla="*/ 452752 h 9055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05504" h="905504">
                      <a:moveTo>
                        <a:pt x="0" y="452752"/>
                      </a:moveTo>
                      <a:cubicBezTo>
                        <a:pt x="0" y="332675"/>
                        <a:pt x="47701" y="217515"/>
                        <a:pt x="132608" y="132608"/>
                      </a:cubicBezTo>
                      <a:cubicBezTo>
                        <a:pt x="217516" y="47701"/>
                        <a:pt x="332675" y="0"/>
                        <a:pt x="452752" y="0"/>
                      </a:cubicBezTo>
                      <a:cubicBezTo>
                        <a:pt x="572829" y="0"/>
                        <a:pt x="687989" y="47701"/>
                        <a:pt x="772896" y="132608"/>
                      </a:cubicBezTo>
                      <a:cubicBezTo>
                        <a:pt x="857803" y="217516"/>
                        <a:pt x="905504" y="332675"/>
                        <a:pt x="905504" y="452752"/>
                      </a:cubicBezTo>
                      <a:cubicBezTo>
                        <a:pt x="905504" y="572829"/>
                        <a:pt x="857803" y="687989"/>
                        <a:pt x="772896" y="772896"/>
                      </a:cubicBezTo>
                      <a:cubicBezTo>
                        <a:pt x="687988" y="857803"/>
                        <a:pt x="572829" y="905504"/>
                        <a:pt x="452752" y="905504"/>
                      </a:cubicBezTo>
                      <a:cubicBezTo>
                        <a:pt x="332675" y="905504"/>
                        <a:pt x="217515" y="857803"/>
                        <a:pt x="132608" y="772896"/>
                      </a:cubicBezTo>
                      <a:cubicBezTo>
                        <a:pt x="47701" y="687988"/>
                        <a:pt x="0" y="572829"/>
                        <a:pt x="0" y="45275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9050">
                  <a:noFill/>
                  <a:prstDash val="sysDot"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34" name="ïṡļíḋè">
                  <a:extLst>
                    <a:ext uri="{FF2B5EF4-FFF2-40B4-BE49-F238E27FC236}">
                      <a16:creationId xmlns:a16="http://schemas.microsoft.com/office/drawing/2014/main" id="{904B34CF-1964-495A-9433-196D177F5BC0}"/>
                    </a:ext>
                  </a:extLst>
                </p:cNvPr>
                <p:cNvSpPr/>
                <p:nvPr/>
              </p:nvSpPr>
              <p:spPr bwMode="auto">
                <a:xfrm>
                  <a:off x="2497667" y="2816955"/>
                  <a:ext cx="447741" cy="361081"/>
                </a:xfrm>
                <a:custGeom>
                  <a:avLst/>
                  <a:gdLst/>
                  <a:ahLst/>
                  <a:cxnLst>
                    <a:cxn ang="0">
                      <a:pos x="55" y="27"/>
                    </a:cxn>
                    <a:cxn ang="0">
                      <a:pos x="54" y="27"/>
                    </a:cxn>
                    <a:cxn ang="0">
                      <a:pos x="54" y="27"/>
                    </a:cxn>
                    <a:cxn ang="0">
                      <a:pos x="53" y="27"/>
                    </a:cxn>
                    <a:cxn ang="0">
                      <a:pos x="28" y="6"/>
                    </a:cxn>
                    <a:cxn ang="0">
                      <a:pos x="4" y="27"/>
                    </a:cxn>
                    <a:cxn ang="0">
                      <a:pos x="3" y="27"/>
                    </a:cxn>
                    <a:cxn ang="0">
                      <a:pos x="2" y="27"/>
                    </a:cxn>
                    <a:cxn ang="0">
                      <a:pos x="0" y="24"/>
                    </a:cxn>
                    <a:cxn ang="0">
                      <a:pos x="0" y="23"/>
                    </a:cxn>
                    <a:cxn ang="0">
                      <a:pos x="26" y="1"/>
                    </a:cxn>
                    <a:cxn ang="0">
                      <a:pos x="31" y="1"/>
                    </a:cxn>
                    <a:cxn ang="0">
                      <a:pos x="40" y="8"/>
                    </a:cxn>
                    <a:cxn ang="0">
                      <a:pos x="40" y="1"/>
                    </a:cxn>
                    <a:cxn ang="0">
                      <a:pos x="41" y="0"/>
                    </a:cxn>
                    <a:cxn ang="0">
                      <a:pos x="48" y="0"/>
                    </a:cxn>
                    <a:cxn ang="0">
                      <a:pos x="49" y="1"/>
                    </a:cxn>
                    <a:cxn ang="0">
                      <a:pos x="49" y="16"/>
                    </a:cxn>
                    <a:cxn ang="0">
                      <a:pos x="57" y="23"/>
                    </a:cxn>
                    <a:cxn ang="0">
                      <a:pos x="57" y="24"/>
                    </a:cxn>
                    <a:cxn ang="0">
                      <a:pos x="55" y="27"/>
                    </a:cxn>
                    <a:cxn ang="0">
                      <a:pos x="49" y="44"/>
                    </a:cxn>
                    <a:cxn ang="0">
                      <a:pos x="47" y="46"/>
                    </a:cxn>
                    <a:cxn ang="0">
                      <a:pos x="33" y="46"/>
                    </a:cxn>
                    <a:cxn ang="0">
                      <a:pos x="33" y="32"/>
                    </a:cxn>
                    <a:cxn ang="0">
                      <a:pos x="24" y="32"/>
                    </a:cxn>
                    <a:cxn ang="0">
                      <a:pos x="24" y="46"/>
                    </a:cxn>
                    <a:cxn ang="0">
                      <a:pos x="10" y="46"/>
                    </a:cxn>
                    <a:cxn ang="0">
                      <a:pos x="8" y="44"/>
                    </a:cxn>
                    <a:cxn ang="0">
                      <a:pos x="8" y="27"/>
                    </a:cxn>
                    <a:cxn ang="0">
                      <a:pos x="8" y="26"/>
                    </a:cxn>
                    <a:cxn ang="0">
                      <a:pos x="28" y="9"/>
                    </a:cxn>
                    <a:cxn ang="0">
                      <a:pos x="49" y="26"/>
                    </a:cxn>
                    <a:cxn ang="0">
                      <a:pos x="49" y="27"/>
                    </a:cxn>
                    <a:cxn ang="0">
                      <a:pos x="49" y="44"/>
                    </a:cxn>
                  </a:cxnLst>
                  <a:rect l="0" t="0" r="r" b="b"/>
                  <a:pathLst>
                    <a:path w="57" h="46">
                      <a:moveTo>
                        <a:pt x="55" y="27"/>
                      </a:moveTo>
                      <a:cubicBezTo>
                        <a:pt x="55" y="27"/>
                        <a:pt x="54" y="27"/>
                        <a:pt x="54" y="27"/>
                      </a:cubicBezTo>
                      <a:cubicBezTo>
                        <a:pt x="54" y="27"/>
                        <a:pt x="54" y="27"/>
                        <a:pt x="54" y="27"/>
                      </a:cubicBezTo>
                      <a:cubicBezTo>
                        <a:pt x="54" y="27"/>
                        <a:pt x="53" y="27"/>
                        <a:pt x="53" y="27"/>
                      </a:cubicBezTo>
                      <a:cubicBezTo>
                        <a:pt x="28" y="6"/>
                        <a:pt x="28" y="6"/>
                        <a:pt x="28" y="6"/>
                      </a:cubicBezTo>
                      <a:cubicBezTo>
                        <a:pt x="4" y="27"/>
                        <a:pt x="4" y="27"/>
                        <a:pt x="4" y="27"/>
                      </a:cubicBezTo>
                      <a:cubicBezTo>
                        <a:pt x="4" y="27"/>
                        <a:pt x="3" y="27"/>
                        <a:pt x="3" y="27"/>
                      </a:cubicBezTo>
                      <a:cubicBezTo>
                        <a:pt x="3" y="27"/>
                        <a:pt x="2" y="27"/>
                        <a:pt x="2" y="27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4"/>
                        <a:pt x="0" y="23"/>
                        <a:pt x="0" y="23"/>
                      </a:cubicBezTo>
                      <a:cubicBezTo>
                        <a:pt x="26" y="1"/>
                        <a:pt x="26" y="1"/>
                        <a:pt x="26" y="1"/>
                      </a:cubicBezTo>
                      <a:cubicBezTo>
                        <a:pt x="27" y="0"/>
                        <a:pt x="30" y="0"/>
                        <a:pt x="31" y="1"/>
                      </a:cubicBezTo>
                      <a:cubicBezTo>
                        <a:pt x="40" y="8"/>
                        <a:pt x="40" y="8"/>
                        <a:pt x="40" y="8"/>
                      </a:cubicBezTo>
                      <a:cubicBezTo>
                        <a:pt x="40" y="1"/>
                        <a:pt x="40" y="1"/>
                        <a:pt x="40" y="1"/>
                      </a:cubicBezTo>
                      <a:cubicBezTo>
                        <a:pt x="40" y="1"/>
                        <a:pt x="40" y="0"/>
                        <a:pt x="41" y="0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9" y="0"/>
                        <a:pt x="49" y="1"/>
                        <a:pt x="49" y="1"/>
                      </a:cubicBezTo>
                      <a:cubicBezTo>
                        <a:pt x="49" y="16"/>
                        <a:pt x="49" y="16"/>
                        <a:pt x="49" y="16"/>
                      </a:cubicBezTo>
                      <a:cubicBezTo>
                        <a:pt x="57" y="23"/>
                        <a:pt x="57" y="23"/>
                        <a:pt x="57" y="23"/>
                      </a:cubicBezTo>
                      <a:cubicBezTo>
                        <a:pt x="57" y="23"/>
                        <a:pt x="57" y="24"/>
                        <a:pt x="57" y="24"/>
                      </a:cubicBezTo>
                      <a:lnTo>
                        <a:pt x="55" y="27"/>
                      </a:lnTo>
                      <a:close/>
                      <a:moveTo>
                        <a:pt x="49" y="44"/>
                      </a:moveTo>
                      <a:cubicBezTo>
                        <a:pt x="49" y="45"/>
                        <a:pt x="48" y="46"/>
                        <a:pt x="47" y="46"/>
                      </a:cubicBezTo>
                      <a:cubicBezTo>
                        <a:pt x="33" y="46"/>
                        <a:pt x="33" y="46"/>
                        <a:pt x="33" y="46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24" y="32"/>
                        <a:pt x="24" y="32"/>
                        <a:pt x="24" y="32"/>
                      </a:cubicBezTo>
                      <a:cubicBezTo>
                        <a:pt x="24" y="46"/>
                        <a:pt x="24" y="46"/>
                        <a:pt x="24" y="46"/>
                      </a:cubicBezTo>
                      <a:cubicBezTo>
                        <a:pt x="10" y="46"/>
                        <a:pt x="10" y="46"/>
                        <a:pt x="10" y="46"/>
                      </a:cubicBezTo>
                      <a:cubicBezTo>
                        <a:pt x="9" y="46"/>
                        <a:pt x="8" y="45"/>
                        <a:pt x="8" y="44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8" y="27"/>
                        <a:pt x="8" y="26"/>
                        <a:pt x="8" y="26"/>
                      </a:cubicBezTo>
                      <a:cubicBezTo>
                        <a:pt x="28" y="9"/>
                        <a:pt x="28" y="9"/>
                        <a:pt x="28" y="9"/>
                      </a:cubicBezTo>
                      <a:cubicBezTo>
                        <a:pt x="49" y="26"/>
                        <a:pt x="49" y="26"/>
                        <a:pt x="49" y="26"/>
                      </a:cubicBezTo>
                      <a:cubicBezTo>
                        <a:pt x="49" y="26"/>
                        <a:pt x="49" y="27"/>
                        <a:pt x="49" y="27"/>
                      </a:cubicBezTo>
                      <a:lnTo>
                        <a:pt x="49" y="4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 fontScale="77500" lnSpcReduction="20000"/>
                </a:bodyPr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24" name="iśľîḑê">
                <a:extLst>
                  <a:ext uri="{FF2B5EF4-FFF2-40B4-BE49-F238E27FC236}">
                    <a16:creationId xmlns:a16="http://schemas.microsoft.com/office/drawing/2014/main" id="{CC2F596A-7B6A-42D2-BCEE-A9EE9927C7AA}"/>
                  </a:ext>
                </a:extLst>
              </p:cNvPr>
              <p:cNvGrpSpPr/>
              <p:nvPr/>
            </p:nvGrpSpPr>
            <p:grpSpPr>
              <a:xfrm>
                <a:off x="3550413" y="3947572"/>
                <a:ext cx="1206895" cy="1206894"/>
                <a:chOff x="3800010" y="4073509"/>
                <a:chExt cx="1088558" cy="1088557"/>
              </a:xfrm>
              <a:effectLst/>
            </p:grpSpPr>
            <p:sp>
              <p:nvSpPr>
                <p:cNvPr id="31" name="iṩlíḑè">
                  <a:extLst>
                    <a:ext uri="{FF2B5EF4-FFF2-40B4-BE49-F238E27FC236}">
                      <a16:creationId xmlns:a16="http://schemas.microsoft.com/office/drawing/2014/main" id="{43778D3E-47C0-4822-9DD9-B905BA81B15E}"/>
                    </a:ext>
                  </a:extLst>
                </p:cNvPr>
                <p:cNvSpPr/>
                <p:nvPr/>
              </p:nvSpPr>
              <p:spPr>
                <a:xfrm>
                  <a:off x="3800010" y="4073509"/>
                  <a:ext cx="1088558" cy="1088557"/>
                </a:xfrm>
                <a:custGeom>
                  <a:avLst/>
                  <a:gdLst>
                    <a:gd name="connsiteX0" fmla="*/ 0 w 905504"/>
                    <a:gd name="connsiteY0" fmla="*/ 452752 h 905504"/>
                    <a:gd name="connsiteX1" fmla="*/ 132608 w 905504"/>
                    <a:gd name="connsiteY1" fmla="*/ 132608 h 905504"/>
                    <a:gd name="connsiteX2" fmla="*/ 452752 w 905504"/>
                    <a:gd name="connsiteY2" fmla="*/ 0 h 905504"/>
                    <a:gd name="connsiteX3" fmla="*/ 772896 w 905504"/>
                    <a:gd name="connsiteY3" fmla="*/ 132608 h 905504"/>
                    <a:gd name="connsiteX4" fmla="*/ 905504 w 905504"/>
                    <a:gd name="connsiteY4" fmla="*/ 452752 h 905504"/>
                    <a:gd name="connsiteX5" fmla="*/ 772896 w 905504"/>
                    <a:gd name="connsiteY5" fmla="*/ 772896 h 905504"/>
                    <a:gd name="connsiteX6" fmla="*/ 452752 w 905504"/>
                    <a:gd name="connsiteY6" fmla="*/ 905504 h 905504"/>
                    <a:gd name="connsiteX7" fmla="*/ 132608 w 905504"/>
                    <a:gd name="connsiteY7" fmla="*/ 772896 h 905504"/>
                    <a:gd name="connsiteX8" fmla="*/ 0 w 905504"/>
                    <a:gd name="connsiteY8" fmla="*/ 452752 h 9055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05504" h="905504">
                      <a:moveTo>
                        <a:pt x="0" y="452752"/>
                      </a:moveTo>
                      <a:cubicBezTo>
                        <a:pt x="0" y="332675"/>
                        <a:pt x="47701" y="217515"/>
                        <a:pt x="132608" y="132608"/>
                      </a:cubicBezTo>
                      <a:cubicBezTo>
                        <a:pt x="217516" y="47701"/>
                        <a:pt x="332675" y="0"/>
                        <a:pt x="452752" y="0"/>
                      </a:cubicBezTo>
                      <a:cubicBezTo>
                        <a:pt x="572829" y="0"/>
                        <a:pt x="687989" y="47701"/>
                        <a:pt x="772896" y="132608"/>
                      </a:cubicBezTo>
                      <a:cubicBezTo>
                        <a:pt x="857803" y="217516"/>
                        <a:pt x="905504" y="332675"/>
                        <a:pt x="905504" y="452752"/>
                      </a:cubicBezTo>
                      <a:cubicBezTo>
                        <a:pt x="905504" y="572829"/>
                        <a:pt x="857803" y="687989"/>
                        <a:pt x="772896" y="772896"/>
                      </a:cubicBezTo>
                      <a:cubicBezTo>
                        <a:pt x="687988" y="857803"/>
                        <a:pt x="572829" y="905504"/>
                        <a:pt x="452752" y="905504"/>
                      </a:cubicBezTo>
                      <a:cubicBezTo>
                        <a:pt x="332675" y="905504"/>
                        <a:pt x="217515" y="857803"/>
                        <a:pt x="132608" y="772896"/>
                      </a:cubicBezTo>
                      <a:cubicBezTo>
                        <a:pt x="47701" y="687988"/>
                        <a:pt x="0" y="572829"/>
                        <a:pt x="0" y="452752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19050">
                  <a:noFill/>
                  <a:prstDash val="sysDot"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32" name="ïṩľïḋè">
                  <a:extLst>
                    <a:ext uri="{FF2B5EF4-FFF2-40B4-BE49-F238E27FC236}">
                      <a16:creationId xmlns:a16="http://schemas.microsoft.com/office/drawing/2014/main" id="{0204904B-5415-454E-ADAD-070543F0408E}"/>
                    </a:ext>
                  </a:extLst>
                </p:cNvPr>
                <p:cNvSpPr/>
                <p:nvPr/>
              </p:nvSpPr>
              <p:spPr bwMode="auto">
                <a:xfrm>
                  <a:off x="4120472" y="4411882"/>
                  <a:ext cx="487985" cy="480913"/>
                </a:xfrm>
                <a:custGeom>
                  <a:avLst/>
                  <a:gdLst/>
                  <a:ahLst/>
                  <a:cxnLst>
                    <a:cxn ang="0">
                      <a:pos x="59" y="63"/>
                    </a:cxn>
                    <a:cxn ang="0">
                      <a:pos x="55" y="61"/>
                    </a:cxn>
                    <a:cxn ang="0">
                      <a:pos x="42" y="48"/>
                    </a:cxn>
                    <a:cxn ang="0">
                      <a:pos x="27" y="53"/>
                    </a:cxn>
                    <a:cxn ang="0">
                      <a:pos x="0" y="26"/>
                    </a:cxn>
                    <a:cxn ang="0">
                      <a:pos x="27" y="0"/>
                    </a:cxn>
                    <a:cxn ang="0">
                      <a:pos x="54" y="26"/>
                    </a:cxn>
                    <a:cxn ang="0">
                      <a:pos x="49" y="41"/>
                    </a:cxn>
                    <a:cxn ang="0">
                      <a:pos x="62" y="54"/>
                    </a:cxn>
                    <a:cxn ang="0">
                      <a:pos x="64" y="58"/>
                    </a:cxn>
                    <a:cxn ang="0">
                      <a:pos x="59" y="63"/>
                    </a:cxn>
                    <a:cxn ang="0">
                      <a:pos x="27" y="9"/>
                    </a:cxn>
                    <a:cxn ang="0">
                      <a:pos x="10" y="26"/>
                    </a:cxn>
                    <a:cxn ang="0">
                      <a:pos x="27" y="43"/>
                    </a:cxn>
                    <a:cxn ang="0">
                      <a:pos x="44" y="26"/>
                    </a:cxn>
                    <a:cxn ang="0">
                      <a:pos x="27" y="9"/>
                    </a:cxn>
                  </a:cxnLst>
                  <a:rect l="0" t="0" r="r" b="b"/>
                  <a:pathLst>
                    <a:path w="64" h="63">
                      <a:moveTo>
                        <a:pt x="59" y="63"/>
                      </a:moveTo>
                      <a:cubicBezTo>
                        <a:pt x="57" y="63"/>
                        <a:pt x="56" y="62"/>
                        <a:pt x="55" y="61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38" y="51"/>
                        <a:pt x="33" y="53"/>
                        <a:pt x="27" y="53"/>
                      </a:cubicBezTo>
                      <a:cubicBezTo>
                        <a:pt x="12" y="53"/>
                        <a:pt x="0" y="41"/>
                        <a:pt x="0" y="26"/>
                      </a:cubicBezTo>
                      <a:cubicBezTo>
                        <a:pt x="0" y="12"/>
                        <a:pt x="12" y="0"/>
                        <a:pt x="27" y="0"/>
                      </a:cubicBezTo>
                      <a:cubicBezTo>
                        <a:pt x="42" y="0"/>
                        <a:pt x="54" y="12"/>
                        <a:pt x="54" y="26"/>
                      </a:cubicBezTo>
                      <a:cubicBezTo>
                        <a:pt x="54" y="32"/>
                        <a:pt x="52" y="37"/>
                        <a:pt x="49" y="41"/>
                      </a:cubicBezTo>
                      <a:cubicBezTo>
                        <a:pt x="62" y="54"/>
                        <a:pt x="62" y="54"/>
                        <a:pt x="62" y="54"/>
                      </a:cubicBezTo>
                      <a:cubicBezTo>
                        <a:pt x="63" y="55"/>
                        <a:pt x="64" y="57"/>
                        <a:pt x="64" y="58"/>
                      </a:cubicBezTo>
                      <a:cubicBezTo>
                        <a:pt x="64" y="61"/>
                        <a:pt x="61" y="63"/>
                        <a:pt x="59" y="63"/>
                      </a:cubicBezTo>
                      <a:close/>
                      <a:moveTo>
                        <a:pt x="27" y="9"/>
                      </a:moveTo>
                      <a:cubicBezTo>
                        <a:pt x="18" y="9"/>
                        <a:pt x="10" y="17"/>
                        <a:pt x="10" y="26"/>
                      </a:cubicBezTo>
                      <a:cubicBezTo>
                        <a:pt x="10" y="36"/>
                        <a:pt x="18" y="43"/>
                        <a:pt x="27" y="43"/>
                      </a:cubicBezTo>
                      <a:cubicBezTo>
                        <a:pt x="37" y="43"/>
                        <a:pt x="44" y="36"/>
                        <a:pt x="44" y="26"/>
                      </a:cubicBezTo>
                      <a:cubicBezTo>
                        <a:pt x="44" y="17"/>
                        <a:pt x="37" y="9"/>
                        <a:pt x="27" y="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 lnSpcReduction="10000"/>
                </a:bodyPr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25" name="íślîďê">
                <a:extLst>
                  <a:ext uri="{FF2B5EF4-FFF2-40B4-BE49-F238E27FC236}">
                    <a16:creationId xmlns:a16="http://schemas.microsoft.com/office/drawing/2014/main" id="{F22EF8B7-2EDA-4672-975C-223AF51A5B3C}"/>
                  </a:ext>
                </a:extLst>
              </p:cNvPr>
              <p:cNvGrpSpPr/>
              <p:nvPr/>
            </p:nvGrpSpPr>
            <p:grpSpPr>
              <a:xfrm>
                <a:off x="7187829" y="3947572"/>
                <a:ext cx="1206895" cy="1206894"/>
                <a:chOff x="7080775" y="4073509"/>
                <a:chExt cx="1088558" cy="1088557"/>
              </a:xfrm>
              <a:effectLst/>
            </p:grpSpPr>
            <p:sp>
              <p:nvSpPr>
                <p:cNvPr id="29" name="íṩļíďe">
                  <a:extLst>
                    <a:ext uri="{FF2B5EF4-FFF2-40B4-BE49-F238E27FC236}">
                      <a16:creationId xmlns:a16="http://schemas.microsoft.com/office/drawing/2014/main" id="{F3A2133F-C209-41F0-A295-2C16A3601B3F}"/>
                    </a:ext>
                  </a:extLst>
                </p:cNvPr>
                <p:cNvSpPr/>
                <p:nvPr/>
              </p:nvSpPr>
              <p:spPr>
                <a:xfrm>
                  <a:off x="7080775" y="4073509"/>
                  <a:ext cx="1088558" cy="1088557"/>
                </a:xfrm>
                <a:custGeom>
                  <a:avLst/>
                  <a:gdLst>
                    <a:gd name="connsiteX0" fmla="*/ 0 w 905504"/>
                    <a:gd name="connsiteY0" fmla="*/ 452752 h 905504"/>
                    <a:gd name="connsiteX1" fmla="*/ 132608 w 905504"/>
                    <a:gd name="connsiteY1" fmla="*/ 132608 h 905504"/>
                    <a:gd name="connsiteX2" fmla="*/ 452752 w 905504"/>
                    <a:gd name="connsiteY2" fmla="*/ 0 h 905504"/>
                    <a:gd name="connsiteX3" fmla="*/ 772896 w 905504"/>
                    <a:gd name="connsiteY3" fmla="*/ 132608 h 905504"/>
                    <a:gd name="connsiteX4" fmla="*/ 905504 w 905504"/>
                    <a:gd name="connsiteY4" fmla="*/ 452752 h 905504"/>
                    <a:gd name="connsiteX5" fmla="*/ 772896 w 905504"/>
                    <a:gd name="connsiteY5" fmla="*/ 772896 h 905504"/>
                    <a:gd name="connsiteX6" fmla="*/ 452752 w 905504"/>
                    <a:gd name="connsiteY6" fmla="*/ 905504 h 905504"/>
                    <a:gd name="connsiteX7" fmla="*/ 132608 w 905504"/>
                    <a:gd name="connsiteY7" fmla="*/ 772896 h 905504"/>
                    <a:gd name="connsiteX8" fmla="*/ 0 w 905504"/>
                    <a:gd name="connsiteY8" fmla="*/ 452752 h 9055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05504" h="905504">
                      <a:moveTo>
                        <a:pt x="0" y="452752"/>
                      </a:moveTo>
                      <a:cubicBezTo>
                        <a:pt x="0" y="332675"/>
                        <a:pt x="47701" y="217515"/>
                        <a:pt x="132608" y="132608"/>
                      </a:cubicBezTo>
                      <a:cubicBezTo>
                        <a:pt x="217516" y="47701"/>
                        <a:pt x="332675" y="0"/>
                        <a:pt x="452752" y="0"/>
                      </a:cubicBezTo>
                      <a:cubicBezTo>
                        <a:pt x="572829" y="0"/>
                        <a:pt x="687989" y="47701"/>
                        <a:pt x="772896" y="132608"/>
                      </a:cubicBezTo>
                      <a:cubicBezTo>
                        <a:pt x="857803" y="217516"/>
                        <a:pt x="905504" y="332675"/>
                        <a:pt x="905504" y="452752"/>
                      </a:cubicBezTo>
                      <a:cubicBezTo>
                        <a:pt x="905504" y="572829"/>
                        <a:pt x="857803" y="687989"/>
                        <a:pt x="772896" y="772896"/>
                      </a:cubicBezTo>
                      <a:cubicBezTo>
                        <a:pt x="687988" y="857803"/>
                        <a:pt x="572829" y="905504"/>
                        <a:pt x="452752" y="905504"/>
                      </a:cubicBezTo>
                      <a:cubicBezTo>
                        <a:pt x="332675" y="905504"/>
                        <a:pt x="217515" y="857803"/>
                        <a:pt x="132608" y="772896"/>
                      </a:cubicBezTo>
                      <a:cubicBezTo>
                        <a:pt x="47701" y="687988"/>
                        <a:pt x="0" y="572829"/>
                        <a:pt x="0" y="452752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30" name="ïŝlïdé">
                  <a:extLst>
                    <a:ext uri="{FF2B5EF4-FFF2-40B4-BE49-F238E27FC236}">
                      <a16:creationId xmlns:a16="http://schemas.microsoft.com/office/drawing/2014/main" id="{35307FA1-FC31-434B-B9D2-BCD424C07300}"/>
                    </a:ext>
                  </a:extLst>
                </p:cNvPr>
                <p:cNvSpPr/>
                <p:nvPr/>
              </p:nvSpPr>
              <p:spPr bwMode="auto">
                <a:xfrm>
                  <a:off x="7386505" y="4377331"/>
                  <a:ext cx="477099" cy="480913"/>
                </a:xfrm>
                <a:custGeom>
                  <a:avLst/>
                  <a:gdLst/>
                  <a:ahLst/>
                  <a:cxnLst>
                    <a:cxn ang="0">
                      <a:pos x="58" y="33"/>
                    </a:cxn>
                    <a:cxn ang="0">
                      <a:pos x="57" y="34"/>
                    </a:cxn>
                    <a:cxn ang="0">
                      <a:pos x="50" y="35"/>
                    </a:cxn>
                    <a:cxn ang="0">
                      <a:pos x="49" y="39"/>
                    </a:cxn>
                    <a:cxn ang="0">
                      <a:pos x="53" y="44"/>
                    </a:cxn>
                    <a:cxn ang="0">
                      <a:pos x="53" y="45"/>
                    </a:cxn>
                    <a:cxn ang="0">
                      <a:pos x="53" y="46"/>
                    </a:cxn>
                    <a:cxn ang="0">
                      <a:pos x="45" y="53"/>
                    </a:cxn>
                    <a:cxn ang="0">
                      <a:pos x="44" y="52"/>
                    </a:cxn>
                    <a:cxn ang="0">
                      <a:pos x="39" y="48"/>
                    </a:cxn>
                    <a:cxn ang="0">
                      <a:pos x="36" y="50"/>
                    </a:cxn>
                    <a:cxn ang="0">
                      <a:pos x="34" y="57"/>
                    </a:cxn>
                    <a:cxn ang="0">
                      <a:pos x="33" y="58"/>
                    </a:cxn>
                    <a:cxn ang="0">
                      <a:pos x="25" y="58"/>
                    </a:cxn>
                    <a:cxn ang="0">
                      <a:pos x="23" y="57"/>
                    </a:cxn>
                    <a:cxn ang="0">
                      <a:pos x="22" y="50"/>
                    </a:cxn>
                    <a:cxn ang="0">
                      <a:pos x="19" y="48"/>
                    </a:cxn>
                    <a:cxn ang="0">
                      <a:pos x="14" y="52"/>
                    </a:cxn>
                    <a:cxn ang="0">
                      <a:pos x="13" y="53"/>
                    </a:cxn>
                    <a:cxn ang="0">
                      <a:pos x="12" y="52"/>
                    </a:cxn>
                    <a:cxn ang="0">
                      <a:pos x="5" y="46"/>
                    </a:cxn>
                    <a:cxn ang="0">
                      <a:pos x="5" y="45"/>
                    </a:cxn>
                    <a:cxn ang="0">
                      <a:pos x="5" y="44"/>
                    </a:cxn>
                    <a:cxn ang="0">
                      <a:pos x="9" y="39"/>
                    </a:cxn>
                    <a:cxn ang="0">
                      <a:pos x="8" y="35"/>
                    </a:cxn>
                    <a:cxn ang="0">
                      <a:pos x="1" y="34"/>
                    </a:cxn>
                    <a:cxn ang="0">
                      <a:pos x="0" y="33"/>
                    </a:cxn>
                    <a:cxn ang="0">
                      <a:pos x="0" y="24"/>
                    </a:cxn>
                    <a:cxn ang="0">
                      <a:pos x="1" y="23"/>
                    </a:cxn>
                    <a:cxn ang="0">
                      <a:pos x="8" y="22"/>
                    </a:cxn>
                    <a:cxn ang="0">
                      <a:pos x="9" y="18"/>
                    </a:cxn>
                    <a:cxn ang="0">
                      <a:pos x="5" y="13"/>
                    </a:cxn>
                    <a:cxn ang="0">
                      <a:pos x="5" y="12"/>
                    </a:cxn>
                    <a:cxn ang="0">
                      <a:pos x="5" y="11"/>
                    </a:cxn>
                    <a:cxn ang="0">
                      <a:pos x="13" y="5"/>
                    </a:cxn>
                    <a:cxn ang="0">
                      <a:pos x="14" y="5"/>
                    </a:cxn>
                    <a:cxn ang="0">
                      <a:pos x="19" y="9"/>
                    </a:cxn>
                    <a:cxn ang="0">
                      <a:pos x="22" y="8"/>
                    </a:cxn>
                    <a:cxn ang="0">
                      <a:pos x="23" y="1"/>
                    </a:cxn>
                    <a:cxn ang="0">
                      <a:pos x="25" y="0"/>
                    </a:cxn>
                    <a:cxn ang="0">
                      <a:pos x="33" y="0"/>
                    </a:cxn>
                    <a:cxn ang="0">
                      <a:pos x="34" y="1"/>
                    </a:cxn>
                    <a:cxn ang="0">
                      <a:pos x="36" y="8"/>
                    </a:cxn>
                    <a:cxn ang="0">
                      <a:pos x="39" y="9"/>
                    </a:cxn>
                    <a:cxn ang="0">
                      <a:pos x="44" y="5"/>
                    </a:cxn>
                    <a:cxn ang="0">
                      <a:pos x="45" y="5"/>
                    </a:cxn>
                    <a:cxn ang="0">
                      <a:pos x="46" y="5"/>
                    </a:cxn>
                    <a:cxn ang="0">
                      <a:pos x="52" y="12"/>
                    </a:cxn>
                    <a:cxn ang="0">
                      <a:pos x="53" y="12"/>
                    </a:cxn>
                    <a:cxn ang="0">
                      <a:pos x="52" y="13"/>
                    </a:cxn>
                    <a:cxn ang="0">
                      <a:pos x="48" y="18"/>
                    </a:cxn>
                    <a:cxn ang="0">
                      <a:pos x="50" y="22"/>
                    </a:cxn>
                    <a:cxn ang="0">
                      <a:pos x="57" y="23"/>
                    </a:cxn>
                    <a:cxn ang="0">
                      <a:pos x="58" y="25"/>
                    </a:cxn>
                    <a:cxn ang="0">
                      <a:pos x="58" y="33"/>
                    </a:cxn>
                    <a:cxn ang="0">
                      <a:pos x="29" y="19"/>
                    </a:cxn>
                    <a:cxn ang="0">
                      <a:pos x="19" y="29"/>
                    </a:cxn>
                    <a:cxn ang="0">
                      <a:pos x="29" y="38"/>
                    </a:cxn>
                    <a:cxn ang="0">
                      <a:pos x="39" y="29"/>
                    </a:cxn>
                    <a:cxn ang="0">
                      <a:pos x="29" y="19"/>
                    </a:cxn>
                  </a:cxnLst>
                  <a:rect l="0" t="0" r="r" b="b"/>
                  <a:pathLst>
                    <a:path w="58" h="58">
                      <a:moveTo>
                        <a:pt x="58" y="33"/>
                      </a:moveTo>
                      <a:cubicBezTo>
                        <a:pt x="58" y="34"/>
                        <a:pt x="58" y="34"/>
                        <a:pt x="57" y="34"/>
                      </a:cubicBezTo>
                      <a:cubicBezTo>
                        <a:pt x="50" y="35"/>
                        <a:pt x="50" y="35"/>
                        <a:pt x="50" y="35"/>
                      </a:cubicBezTo>
                      <a:cubicBezTo>
                        <a:pt x="50" y="37"/>
                        <a:pt x="49" y="38"/>
                        <a:pt x="49" y="39"/>
                      </a:cubicBezTo>
                      <a:cubicBezTo>
                        <a:pt x="50" y="41"/>
                        <a:pt x="51" y="42"/>
                        <a:pt x="53" y="44"/>
                      </a:cubicBezTo>
                      <a:cubicBezTo>
                        <a:pt x="53" y="44"/>
                        <a:pt x="53" y="45"/>
                        <a:pt x="53" y="45"/>
                      </a:cubicBezTo>
                      <a:cubicBezTo>
                        <a:pt x="53" y="45"/>
                        <a:pt x="53" y="46"/>
                        <a:pt x="53" y="46"/>
                      </a:cubicBezTo>
                      <a:cubicBezTo>
                        <a:pt x="52" y="47"/>
                        <a:pt x="47" y="53"/>
                        <a:pt x="45" y="53"/>
                      </a:cubicBezTo>
                      <a:cubicBezTo>
                        <a:pt x="45" y="53"/>
                        <a:pt x="45" y="53"/>
                        <a:pt x="44" y="52"/>
                      </a:cubicBezTo>
                      <a:cubicBezTo>
                        <a:pt x="39" y="48"/>
                        <a:pt x="39" y="48"/>
                        <a:pt x="39" y="48"/>
                      </a:cubicBezTo>
                      <a:cubicBezTo>
                        <a:pt x="38" y="49"/>
                        <a:pt x="37" y="49"/>
                        <a:pt x="36" y="50"/>
                      </a:cubicBezTo>
                      <a:cubicBezTo>
                        <a:pt x="35" y="52"/>
                        <a:pt x="35" y="55"/>
                        <a:pt x="34" y="57"/>
                      </a:cubicBezTo>
                      <a:cubicBezTo>
                        <a:pt x="34" y="57"/>
                        <a:pt x="34" y="58"/>
                        <a:pt x="33" y="58"/>
                      </a:cubicBezTo>
                      <a:cubicBezTo>
                        <a:pt x="25" y="58"/>
                        <a:pt x="25" y="58"/>
                        <a:pt x="25" y="58"/>
                      </a:cubicBezTo>
                      <a:cubicBezTo>
                        <a:pt x="24" y="58"/>
                        <a:pt x="23" y="57"/>
                        <a:pt x="23" y="57"/>
                      </a:cubicBezTo>
                      <a:cubicBezTo>
                        <a:pt x="22" y="50"/>
                        <a:pt x="22" y="50"/>
                        <a:pt x="22" y="50"/>
                      </a:cubicBezTo>
                      <a:cubicBezTo>
                        <a:pt x="21" y="49"/>
                        <a:pt x="20" y="49"/>
                        <a:pt x="19" y="48"/>
                      </a:cubicBezTo>
                      <a:cubicBezTo>
                        <a:pt x="14" y="52"/>
                        <a:pt x="14" y="52"/>
                        <a:pt x="14" y="52"/>
                      </a:cubicBezTo>
                      <a:cubicBezTo>
                        <a:pt x="13" y="53"/>
                        <a:pt x="13" y="53"/>
                        <a:pt x="13" y="53"/>
                      </a:cubicBezTo>
                      <a:cubicBezTo>
                        <a:pt x="12" y="53"/>
                        <a:pt x="12" y="53"/>
                        <a:pt x="12" y="52"/>
                      </a:cubicBezTo>
                      <a:cubicBezTo>
                        <a:pt x="10" y="50"/>
                        <a:pt x="7" y="48"/>
                        <a:pt x="5" y="46"/>
                      </a:cubicBezTo>
                      <a:cubicBezTo>
                        <a:pt x="5" y="46"/>
                        <a:pt x="5" y="45"/>
                        <a:pt x="5" y="45"/>
                      </a:cubicBezTo>
                      <a:cubicBezTo>
                        <a:pt x="5" y="45"/>
                        <a:pt x="5" y="44"/>
                        <a:pt x="5" y="44"/>
                      </a:cubicBezTo>
                      <a:cubicBezTo>
                        <a:pt x="7" y="42"/>
                        <a:pt x="8" y="41"/>
                        <a:pt x="9" y="39"/>
                      </a:cubicBezTo>
                      <a:cubicBezTo>
                        <a:pt x="9" y="38"/>
                        <a:pt x="8" y="37"/>
                        <a:pt x="8" y="35"/>
                      </a:cubicBezTo>
                      <a:cubicBezTo>
                        <a:pt x="1" y="34"/>
                        <a:pt x="1" y="34"/>
                        <a:pt x="1" y="34"/>
                      </a:cubicBezTo>
                      <a:cubicBezTo>
                        <a:pt x="0" y="34"/>
                        <a:pt x="0" y="33"/>
                        <a:pt x="0" y="33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4"/>
                        <a:pt x="0" y="23"/>
                        <a:pt x="1" y="23"/>
                      </a:cubicBezTo>
                      <a:cubicBezTo>
                        <a:pt x="8" y="22"/>
                        <a:pt x="8" y="22"/>
                        <a:pt x="8" y="22"/>
                      </a:cubicBezTo>
                      <a:cubicBezTo>
                        <a:pt x="8" y="21"/>
                        <a:pt x="9" y="20"/>
                        <a:pt x="9" y="18"/>
                      </a:cubicBezTo>
                      <a:cubicBezTo>
                        <a:pt x="8" y="17"/>
                        <a:pt x="7" y="15"/>
                        <a:pt x="5" y="13"/>
                      </a:cubicBezTo>
                      <a:cubicBezTo>
                        <a:pt x="5" y="13"/>
                        <a:pt x="5" y="13"/>
                        <a:pt x="5" y="12"/>
                      </a:cubicBezTo>
                      <a:cubicBezTo>
                        <a:pt x="5" y="12"/>
                        <a:pt x="5" y="12"/>
                        <a:pt x="5" y="11"/>
                      </a:cubicBezTo>
                      <a:cubicBezTo>
                        <a:pt x="6" y="10"/>
                        <a:pt x="11" y="5"/>
                        <a:pt x="13" y="5"/>
                      </a:cubicBezTo>
                      <a:cubicBezTo>
                        <a:pt x="13" y="5"/>
                        <a:pt x="13" y="5"/>
                        <a:pt x="14" y="5"/>
                      </a:cubicBezTo>
                      <a:cubicBezTo>
                        <a:pt x="19" y="9"/>
                        <a:pt x="19" y="9"/>
                        <a:pt x="19" y="9"/>
                      </a:cubicBezTo>
                      <a:cubicBezTo>
                        <a:pt x="20" y="9"/>
                        <a:pt x="21" y="8"/>
                        <a:pt x="22" y="8"/>
                      </a:cubicBezTo>
                      <a:cubicBezTo>
                        <a:pt x="22" y="5"/>
                        <a:pt x="23" y="3"/>
                        <a:pt x="23" y="1"/>
                      </a:cubicBezTo>
                      <a:cubicBezTo>
                        <a:pt x="23" y="0"/>
                        <a:pt x="24" y="0"/>
                        <a:pt x="25" y="0"/>
                      </a:cubicBez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4" y="0"/>
                        <a:pt x="34" y="0"/>
                        <a:pt x="34" y="1"/>
                      </a:cubicBezTo>
                      <a:cubicBezTo>
                        <a:pt x="36" y="8"/>
                        <a:pt x="36" y="8"/>
                        <a:pt x="36" y="8"/>
                      </a:cubicBezTo>
                      <a:cubicBezTo>
                        <a:pt x="37" y="8"/>
                        <a:pt x="38" y="9"/>
                        <a:pt x="39" y="9"/>
                      </a:cubicBezTo>
                      <a:cubicBezTo>
                        <a:pt x="44" y="5"/>
                        <a:pt x="44" y="5"/>
                        <a:pt x="44" y="5"/>
                      </a:cubicBezTo>
                      <a:cubicBezTo>
                        <a:pt x="45" y="5"/>
                        <a:pt x="45" y="5"/>
                        <a:pt x="45" y="5"/>
                      </a:cubicBezTo>
                      <a:cubicBezTo>
                        <a:pt x="46" y="5"/>
                        <a:pt x="46" y="5"/>
                        <a:pt x="46" y="5"/>
                      </a:cubicBezTo>
                      <a:cubicBezTo>
                        <a:pt x="48" y="7"/>
                        <a:pt x="51" y="9"/>
                        <a:pt x="52" y="12"/>
                      </a:cubicBezTo>
                      <a:cubicBezTo>
                        <a:pt x="53" y="12"/>
                        <a:pt x="53" y="12"/>
                        <a:pt x="53" y="12"/>
                      </a:cubicBezTo>
                      <a:cubicBezTo>
                        <a:pt x="53" y="13"/>
                        <a:pt x="53" y="13"/>
                        <a:pt x="52" y="13"/>
                      </a:cubicBezTo>
                      <a:cubicBezTo>
                        <a:pt x="51" y="15"/>
                        <a:pt x="50" y="17"/>
                        <a:pt x="48" y="18"/>
                      </a:cubicBezTo>
                      <a:cubicBezTo>
                        <a:pt x="49" y="20"/>
                        <a:pt x="50" y="21"/>
                        <a:pt x="50" y="22"/>
                      </a:cubicBezTo>
                      <a:cubicBezTo>
                        <a:pt x="57" y="23"/>
                        <a:pt x="57" y="23"/>
                        <a:pt x="57" y="23"/>
                      </a:cubicBezTo>
                      <a:cubicBezTo>
                        <a:pt x="58" y="23"/>
                        <a:pt x="58" y="24"/>
                        <a:pt x="58" y="25"/>
                      </a:cubicBezTo>
                      <a:lnTo>
                        <a:pt x="58" y="33"/>
                      </a:lnTo>
                      <a:close/>
                      <a:moveTo>
                        <a:pt x="29" y="19"/>
                      </a:moveTo>
                      <a:cubicBezTo>
                        <a:pt x="24" y="19"/>
                        <a:pt x="19" y="23"/>
                        <a:pt x="19" y="29"/>
                      </a:cubicBezTo>
                      <a:cubicBezTo>
                        <a:pt x="19" y="34"/>
                        <a:pt x="24" y="38"/>
                        <a:pt x="29" y="38"/>
                      </a:cubicBezTo>
                      <a:cubicBezTo>
                        <a:pt x="34" y="38"/>
                        <a:pt x="39" y="34"/>
                        <a:pt x="39" y="29"/>
                      </a:cubicBezTo>
                      <a:cubicBezTo>
                        <a:pt x="39" y="23"/>
                        <a:pt x="34" y="19"/>
                        <a:pt x="29" y="1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 lnSpcReduction="10000"/>
                </a:bodyPr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26" name="íṡlíḍe">
                <a:extLst>
                  <a:ext uri="{FF2B5EF4-FFF2-40B4-BE49-F238E27FC236}">
                    <a16:creationId xmlns:a16="http://schemas.microsoft.com/office/drawing/2014/main" id="{16E47621-4B3E-4E3B-890C-62DBB2F42EBF}"/>
                  </a:ext>
                </a:extLst>
              </p:cNvPr>
              <p:cNvGrpSpPr/>
              <p:nvPr/>
            </p:nvGrpSpPr>
            <p:grpSpPr>
              <a:xfrm>
                <a:off x="9009010" y="2151137"/>
                <a:ext cx="1206895" cy="1206894"/>
                <a:chOff x="8723388" y="2453216"/>
                <a:chExt cx="1088558" cy="1088557"/>
              </a:xfrm>
              <a:effectLst/>
            </p:grpSpPr>
            <p:sp>
              <p:nvSpPr>
                <p:cNvPr id="27" name="îṣ1îḋê">
                  <a:extLst>
                    <a:ext uri="{FF2B5EF4-FFF2-40B4-BE49-F238E27FC236}">
                      <a16:creationId xmlns:a16="http://schemas.microsoft.com/office/drawing/2014/main" id="{435C96FE-52CF-4FB3-BBD2-C43455004209}"/>
                    </a:ext>
                  </a:extLst>
                </p:cNvPr>
                <p:cNvSpPr/>
                <p:nvPr/>
              </p:nvSpPr>
              <p:spPr>
                <a:xfrm>
                  <a:off x="8723388" y="2453216"/>
                  <a:ext cx="1088558" cy="1088557"/>
                </a:xfrm>
                <a:custGeom>
                  <a:avLst/>
                  <a:gdLst>
                    <a:gd name="connsiteX0" fmla="*/ 0 w 905504"/>
                    <a:gd name="connsiteY0" fmla="*/ 452752 h 905504"/>
                    <a:gd name="connsiteX1" fmla="*/ 132608 w 905504"/>
                    <a:gd name="connsiteY1" fmla="*/ 132608 h 905504"/>
                    <a:gd name="connsiteX2" fmla="*/ 452752 w 905504"/>
                    <a:gd name="connsiteY2" fmla="*/ 0 h 905504"/>
                    <a:gd name="connsiteX3" fmla="*/ 772896 w 905504"/>
                    <a:gd name="connsiteY3" fmla="*/ 132608 h 905504"/>
                    <a:gd name="connsiteX4" fmla="*/ 905504 w 905504"/>
                    <a:gd name="connsiteY4" fmla="*/ 452752 h 905504"/>
                    <a:gd name="connsiteX5" fmla="*/ 772896 w 905504"/>
                    <a:gd name="connsiteY5" fmla="*/ 772896 h 905504"/>
                    <a:gd name="connsiteX6" fmla="*/ 452752 w 905504"/>
                    <a:gd name="connsiteY6" fmla="*/ 905504 h 905504"/>
                    <a:gd name="connsiteX7" fmla="*/ 132608 w 905504"/>
                    <a:gd name="connsiteY7" fmla="*/ 772896 h 905504"/>
                    <a:gd name="connsiteX8" fmla="*/ 0 w 905504"/>
                    <a:gd name="connsiteY8" fmla="*/ 452752 h 9055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05504" h="905504">
                      <a:moveTo>
                        <a:pt x="0" y="452752"/>
                      </a:moveTo>
                      <a:cubicBezTo>
                        <a:pt x="0" y="332675"/>
                        <a:pt x="47701" y="217515"/>
                        <a:pt x="132608" y="132608"/>
                      </a:cubicBezTo>
                      <a:cubicBezTo>
                        <a:pt x="217516" y="47701"/>
                        <a:pt x="332675" y="0"/>
                        <a:pt x="452752" y="0"/>
                      </a:cubicBezTo>
                      <a:cubicBezTo>
                        <a:pt x="572829" y="0"/>
                        <a:pt x="687989" y="47701"/>
                        <a:pt x="772896" y="132608"/>
                      </a:cubicBezTo>
                      <a:cubicBezTo>
                        <a:pt x="857803" y="217516"/>
                        <a:pt x="905504" y="332675"/>
                        <a:pt x="905504" y="452752"/>
                      </a:cubicBezTo>
                      <a:cubicBezTo>
                        <a:pt x="905504" y="572829"/>
                        <a:pt x="857803" y="687989"/>
                        <a:pt x="772896" y="772896"/>
                      </a:cubicBezTo>
                      <a:cubicBezTo>
                        <a:pt x="687988" y="857803"/>
                        <a:pt x="572829" y="905504"/>
                        <a:pt x="452752" y="905504"/>
                      </a:cubicBezTo>
                      <a:cubicBezTo>
                        <a:pt x="332675" y="905504"/>
                        <a:pt x="217515" y="857803"/>
                        <a:pt x="132608" y="772896"/>
                      </a:cubicBezTo>
                      <a:cubicBezTo>
                        <a:pt x="47701" y="687988"/>
                        <a:pt x="0" y="572829"/>
                        <a:pt x="0" y="45275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9050">
                  <a:noFill/>
                  <a:prstDash val="sysDot"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28" name="i$1ïḋè">
                  <a:extLst>
                    <a:ext uri="{FF2B5EF4-FFF2-40B4-BE49-F238E27FC236}">
                      <a16:creationId xmlns:a16="http://schemas.microsoft.com/office/drawing/2014/main" id="{D855ACA3-E9B7-48B9-9E12-4CFEEAA36D4E}"/>
                    </a:ext>
                  </a:extLst>
                </p:cNvPr>
                <p:cNvSpPr/>
                <p:nvPr/>
              </p:nvSpPr>
              <p:spPr bwMode="auto">
                <a:xfrm>
                  <a:off x="9048468" y="2778295"/>
                  <a:ext cx="438401" cy="438401"/>
                </a:xfrm>
                <a:custGeom>
                  <a:avLst/>
                  <a:gdLst/>
                  <a:ahLst/>
                  <a:cxnLst>
                    <a:cxn ang="0">
                      <a:pos x="27" y="55"/>
                    </a:cxn>
                    <a:cxn ang="0">
                      <a:pos x="0" y="27"/>
                    </a:cxn>
                    <a:cxn ang="0">
                      <a:pos x="27" y="0"/>
                    </a:cxn>
                    <a:cxn ang="0">
                      <a:pos x="55" y="27"/>
                    </a:cxn>
                    <a:cxn ang="0">
                      <a:pos x="27" y="55"/>
                    </a:cxn>
                    <a:cxn ang="0">
                      <a:pos x="45" y="20"/>
                    </a:cxn>
                    <a:cxn ang="0">
                      <a:pos x="42" y="17"/>
                    </a:cxn>
                    <a:cxn ang="0">
                      <a:pos x="40" y="16"/>
                    </a:cxn>
                    <a:cxn ang="0">
                      <a:pos x="38" y="17"/>
                    </a:cxn>
                    <a:cxn ang="0">
                      <a:pos x="24" y="31"/>
                    </a:cxn>
                    <a:cxn ang="0">
                      <a:pos x="16" y="23"/>
                    </a:cxn>
                    <a:cxn ang="0">
                      <a:pos x="14" y="22"/>
                    </a:cxn>
                    <a:cxn ang="0">
                      <a:pos x="13" y="23"/>
                    </a:cxn>
                    <a:cxn ang="0">
                      <a:pos x="9" y="26"/>
                    </a:cxn>
                    <a:cxn ang="0">
                      <a:pos x="9" y="28"/>
                    </a:cxn>
                    <a:cxn ang="0">
                      <a:pos x="9" y="30"/>
                    </a:cxn>
                    <a:cxn ang="0">
                      <a:pos x="22" y="43"/>
                    </a:cxn>
                    <a:cxn ang="0">
                      <a:pos x="24" y="43"/>
                    </a:cxn>
                    <a:cxn ang="0">
                      <a:pos x="26" y="43"/>
                    </a:cxn>
                    <a:cxn ang="0">
                      <a:pos x="45" y="23"/>
                    </a:cxn>
                    <a:cxn ang="0">
                      <a:pos x="46" y="22"/>
                    </a:cxn>
                    <a:cxn ang="0">
                      <a:pos x="45" y="20"/>
                    </a:cxn>
                  </a:cxnLst>
                  <a:rect l="0" t="0" r="r" b="b"/>
                  <a:pathLst>
                    <a:path w="55" h="55">
                      <a:moveTo>
                        <a:pt x="27" y="55"/>
                      </a:moveTo>
                      <a:cubicBezTo>
                        <a:pt x="12" y="55"/>
                        <a:pt x="0" y="42"/>
                        <a:pt x="0" y="27"/>
                      </a:cubicBezTo>
                      <a:cubicBezTo>
                        <a:pt x="0" y="12"/>
                        <a:pt x="12" y="0"/>
                        <a:pt x="27" y="0"/>
                      </a:cubicBezTo>
                      <a:cubicBezTo>
                        <a:pt x="42" y="0"/>
                        <a:pt x="55" y="12"/>
                        <a:pt x="55" y="27"/>
                      </a:cubicBezTo>
                      <a:cubicBezTo>
                        <a:pt x="55" y="42"/>
                        <a:pt x="42" y="55"/>
                        <a:pt x="27" y="55"/>
                      </a:cubicBezTo>
                      <a:close/>
                      <a:moveTo>
                        <a:pt x="45" y="20"/>
                      </a:moveTo>
                      <a:cubicBezTo>
                        <a:pt x="42" y="17"/>
                        <a:pt x="42" y="17"/>
                        <a:pt x="42" y="17"/>
                      </a:cubicBezTo>
                      <a:cubicBezTo>
                        <a:pt x="41" y="16"/>
                        <a:pt x="41" y="16"/>
                        <a:pt x="40" y="16"/>
                      </a:cubicBezTo>
                      <a:cubicBezTo>
                        <a:pt x="39" y="16"/>
                        <a:pt x="39" y="16"/>
                        <a:pt x="38" y="17"/>
                      </a:cubicBezTo>
                      <a:cubicBezTo>
                        <a:pt x="24" y="31"/>
                        <a:pt x="24" y="31"/>
                        <a:pt x="24" y="31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2"/>
                        <a:pt x="14" y="22"/>
                      </a:cubicBezTo>
                      <a:cubicBezTo>
                        <a:pt x="14" y="22"/>
                        <a:pt x="13" y="23"/>
                        <a:pt x="13" y="23"/>
                      </a:cubicBezTo>
                      <a:cubicBezTo>
                        <a:pt x="9" y="26"/>
                        <a:pt x="9" y="26"/>
                        <a:pt x="9" y="26"/>
                      </a:cubicBezTo>
                      <a:cubicBezTo>
                        <a:pt x="9" y="27"/>
                        <a:pt x="9" y="27"/>
                        <a:pt x="9" y="28"/>
                      </a:cubicBezTo>
                      <a:cubicBezTo>
                        <a:pt x="9" y="29"/>
                        <a:pt x="9" y="29"/>
                        <a:pt x="9" y="30"/>
                      </a:cubicBezTo>
                      <a:cubicBezTo>
                        <a:pt x="22" y="43"/>
                        <a:pt x="22" y="43"/>
                        <a:pt x="22" y="43"/>
                      </a:cubicBezTo>
                      <a:cubicBezTo>
                        <a:pt x="23" y="43"/>
                        <a:pt x="23" y="43"/>
                        <a:pt x="24" y="43"/>
                      </a:cubicBezTo>
                      <a:cubicBezTo>
                        <a:pt x="25" y="43"/>
                        <a:pt x="25" y="43"/>
                        <a:pt x="26" y="43"/>
                      </a:cubicBezTo>
                      <a:cubicBezTo>
                        <a:pt x="45" y="23"/>
                        <a:pt x="45" y="23"/>
                        <a:pt x="45" y="23"/>
                      </a:cubicBezTo>
                      <a:cubicBezTo>
                        <a:pt x="45" y="23"/>
                        <a:pt x="46" y="22"/>
                        <a:pt x="46" y="22"/>
                      </a:cubicBezTo>
                      <a:cubicBezTo>
                        <a:pt x="46" y="21"/>
                        <a:pt x="45" y="20"/>
                        <a:pt x="45" y="2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/>
                <a:p>
                  <a:pPr algn="ctr"/>
                  <a:endParaRPr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002161295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AA6F146-B12F-460C-B2C0-F7894D7CAE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A4C76E2-15E2-4C75-93FA-BFEAEA38C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8</a:t>
            </a:fld>
            <a:endParaRPr lang="zh-CN" altLang="en-US"/>
          </a:p>
        </p:txBody>
      </p:sp>
      <p:grpSp>
        <p:nvGrpSpPr>
          <p:cNvPr id="5" name="22435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8E8DB663-9F42-4A74-A151-A748A9C9FFB9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502444" y="1756968"/>
            <a:ext cx="8641556" cy="3759988"/>
            <a:chOff x="669925" y="1130300"/>
            <a:chExt cx="11522075" cy="5013318"/>
          </a:xfrm>
        </p:grpSpPr>
        <p:sp>
          <p:nvSpPr>
            <p:cNvPr id="6" name="íṣ1ídè">
              <a:extLst>
                <a:ext uri="{FF2B5EF4-FFF2-40B4-BE49-F238E27FC236}">
                  <a16:creationId xmlns:a16="http://schemas.microsoft.com/office/drawing/2014/main" id="{A513EDA8-D8EA-4919-B1C6-7D2066923F20}"/>
                </a:ext>
              </a:extLst>
            </p:cNvPr>
            <p:cNvSpPr/>
            <p:nvPr/>
          </p:nvSpPr>
          <p:spPr>
            <a:xfrm>
              <a:off x="4524585" y="1945838"/>
              <a:ext cx="1438201" cy="1438201"/>
            </a:xfrm>
            <a:prstGeom prst="ellipse">
              <a:avLst/>
            </a:prstGeom>
            <a:noFill/>
            <a:ln w="50800" cmpd="dbl"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b" anchorCtr="1">
              <a:normAutofit/>
            </a:bodyPr>
            <a:lstStyle/>
            <a:p>
              <a:pPr algn="ctr"/>
              <a:r>
                <a:rPr lang="en-US" altLang="zh-CN" sz="1200" b="1" dirty="0">
                  <a:solidFill>
                    <a:schemeClr val="tx1"/>
                  </a:solidFill>
                </a:rPr>
                <a:t>Text here</a:t>
              </a:r>
              <a:endParaRPr lang="zh-CN" alt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7" name="íSľîḍe">
              <a:extLst>
                <a:ext uri="{FF2B5EF4-FFF2-40B4-BE49-F238E27FC236}">
                  <a16:creationId xmlns:a16="http://schemas.microsoft.com/office/drawing/2014/main" id="{A7A01BD5-47A4-48B5-99DD-CC263251FA87}"/>
                </a:ext>
              </a:extLst>
            </p:cNvPr>
            <p:cNvSpPr/>
            <p:nvPr/>
          </p:nvSpPr>
          <p:spPr>
            <a:xfrm>
              <a:off x="1958664" y="1945838"/>
              <a:ext cx="1438201" cy="1438201"/>
            </a:xfrm>
            <a:prstGeom prst="ellipse">
              <a:avLst/>
            </a:prstGeom>
            <a:noFill/>
            <a:ln w="50800" cmpd="dbl"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b" anchorCtr="1">
              <a:normAutofit/>
            </a:bodyPr>
            <a:lstStyle/>
            <a:p>
              <a:pPr algn="ctr"/>
              <a:r>
                <a:rPr lang="en-US" altLang="zh-CN" sz="1200" b="1" dirty="0">
                  <a:solidFill>
                    <a:schemeClr val="tx1"/>
                  </a:solidFill>
                </a:rPr>
                <a:t>Text here</a:t>
              </a:r>
              <a:endParaRPr lang="zh-CN" alt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8" name="íṩ1íďê">
              <a:extLst>
                <a:ext uri="{FF2B5EF4-FFF2-40B4-BE49-F238E27FC236}">
                  <a16:creationId xmlns:a16="http://schemas.microsoft.com/office/drawing/2014/main" id="{21E6385F-B9AF-4748-911A-EE31DCF3383D}"/>
                </a:ext>
              </a:extLst>
            </p:cNvPr>
            <p:cNvSpPr/>
            <p:nvPr/>
          </p:nvSpPr>
          <p:spPr>
            <a:xfrm>
              <a:off x="669925" y="3473960"/>
              <a:ext cx="1438201" cy="1438201"/>
            </a:xfrm>
            <a:prstGeom prst="ellipse">
              <a:avLst/>
            </a:prstGeom>
            <a:noFill/>
            <a:ln w="50800" cmpd="dbl"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b" anchorCtr="1">
              <a:normAutofit/>
            </a:bodyPr>
            <a:lstStyle/>
            <a:p>
              <a:pPr algn="ctr"/>
              <a:r>
                <a:rPr lang="en-US" altLang="zh-CN" sz="1200" b="1" dirty="0">
                  <a:solidFill>
                    <a:schemeClr val="tx1"/>
                  </a:solidFill>
                </a:rPr>
                <a:t>Text here</a:t>
              </a:r>
              <a:endParaRPr lang="zh-CN" alt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9" name="išlïḓe">
              <a:extLst>
                <a:ext uri="{FF2B5EF4-FFF2-40B4-BE49-F238E27FC236}">
                  <a16:creationId xmlns:a16="http://schemas.microsoft.com/office/drawing/2014/main" id="{53BF836E-3090-4B86-9ADA-E2967B719215}"/>
                </a:ext>
              </a:extLst>
            </p:cNvPr>
            <p:cNvSpPr/>
            <p:nvPr/>
          </p:nvSpPr>
          <p:spPr>
            <a:xfrm>
              <a:off x="3218525" y="3473960"/>
              <a:ext cx="1438201" cy="1438201"/>
            </a:xfrm>
            <a:prstGeom prst="ellipse">
              <a:avLst/>
            </a:prstGeom>
            <a:noFill/>
            <a:ln w="50800" cmpd="dbl"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b" anchorCtr="1">
              <a:normAutofit/>
            </a:bodyPr>
            <a:lstStyle/>
            <a:p>
              <a:pPr algn="ctr"/>
              <a:r>
                <a:rPr lang="en-US" altLang="zh-CN" sz="1200" b="1" dirty="0">
                  <a:solidFill>
                    <a:schemeClr val="tx1"/>
                  </a:solidFill>
                </a:rPr>
                <a:t>Text here</a:t>
              </a:r>
              <a:endParaRPr lang="zh-CN" alt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0" name="iṥḻîde">
              <a:extLst>
                <a:ext uri="{FF2B5EF4-FFF2-40B4-BE49-F238E27FC236}">
                  <a16:creationId xmlns:a16="http://schemas.microsoft.com/office/drawing/2014/main" id="{2334EB84-AB83-4BFA-A0BF-603CED0233F2}"/>
                </a:ext>
              </a:extLst>
            </p:cNvPr>
            <p:cNvSpPr/>
            <p:nvPr/>
          </p:nvSpPr>
          <p:spPr>
            <a:xfrm>
              <a:off x="9730780" y="1945838"/>
              <a:ext cx="1438201" cy="1438201"/>
            </a:xfrm>
            <a:prstGeom prst="ellipse">
              <a:avLst/>
            </a:prstGeom>
            <a:noFill/>
            <a:ln w="50800" cmpd="dbl"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b" anchorCtr="1">
              <a:normAutofit/>
            </a:bodyPr>
            <a:lstStyle/>
            <a:p>
              <a:pPr algn="ctr"/>
              <a:r>
                <a:rPr lang="en-US" altLang="zh-CN" sz="1200" b="1" dirty="0">
                  <a:solidFill>
                    <a:schemeClr val="tx1"/>
                  </a:solidFill>
                </a:rPr>
                <a:t>Text here</a:t>
              </a:r>
              <a:endParaRPr lang="zh-CN" alt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1" name="íṥľíďê">
              <a:extLst>
                <a:ext uri="{FF2B5EF4-FFF2-40B4-BE49-F238E27FC236}">
                  <a16:creationId xmlns:a16="http://schemas.microsoft.com/office/drawing/2014/main" id="{FF1F8C0F-481D-441B-99A3-853DC6188727}"/>
                </a:ext>
              </a:extLst>
            </p:cNvPr>
            <p:cNvSpPr/>
            <p:nvPr/>
          </p:nvSpPr>
          <p:spPr>
            <a:xfrm>
              <a:off x="5808765" y="3473960"/>
              <a:ext cx="1438201" cy="1438201"/>
            </a:xfrm>
            <a:prstGeom prst="ellipse">
              <a:avLst/>
            </a:prstGeom>
            <a:noFill/>
            <a:ln w="50800" cmpd="dbl"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b" anchorCtr="1">
              <a:normAutofit/>
            </a:bodyPr>
            <a:lstStyle/>
            <a:p>
              <a:pPr algn="ctr"/>
              <a:r>
                <a:rPr lang="en-US" altLang="zh-CN" sz="1200" b="1" dirty="0">
                  <a:solidFill>
                    <a:schemeClr val="tx1"/>
                  </a:solidFill>
                </a:rPr>
                <a:t>Text here</a:t>
              </a:r>
              <a:endParaRPr lang="zh-CN" alt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2" name="iṧľïḋè">
              <a:extLst>
                <a:ext uri="{FF2B5EF4-FFF2-40B4-BE49-F238E27FC236}">
                  <a16:creationId xmlns:a16="http://schemas.microsoft.com/office/drawing/2014/main" id="{D0EC5316-01EA-4396-A714-8D09620E0D84}"/>
                </a:ext>
              </a:extLst>
            </p:cNvPr>
            <p:cNvSpPr/>
            <p:nvPr/>
          </p:nvSpPr>
          <p:spPr>
            <a:xfrm>
              <a:off x="8442655" y="3464525"/>
              <a:ext cx="1438201" cy="1438201"/>
            </a:xfrm>
            <a:prstGeom prst="ellipse">
              <a:avLst/>
            </a:prstGeom>
            <a:noFill/>
            <a:ln w="50800" cmpd="dbl"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b" anchorCtr="1">
              <a:normAutofit/>
            </a:bodyPr>
            <a:lstStyle/>
            <a:p>
              <a:pPr algn="ctr"/>
              <a:r>
                <a:rPr lang="en-US" altLang="zh-CN" sz="1200" b="1" dirty="0">
                  <a:solidFill>
                    <a:schemeClr val="tx1"/>
                  </a:solidFill>
                </a:rPr>
                <a:t>Text here</a:t>
              </a:r>
              <a:endParaRPr lang="zh-CN" alt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3" name="islíďê">
              <a:extLst>
                <a:ext uri="{FF2B5EF4-FFF2-40B4-BE49-F238E27FC236}">
                  <a16:creationId xmlns:a16="http://schemas.microsoft.com/office/drawing/2014/main" id="{4F19A6D3-DC2C-45A3-859B-C0E0B1634EE6}"/>
                </a:ext>
              </a:extLst>
            </p:cNvPr>
            <p:cNvSpPr/>
            <p:nvPr/>
          </p:nvSpPr>
          <p:spPr>
            <a:xfrm>
              <a:off x="7131859" y="1945838"/>
              <a:ext cx="1438201" cy="1438201"/>
            </a:xfrm>
            <a:prstGeom prst="ellipse">
              <a:avLst/>
            </a:prstGeom>
            <a:noFill/>
            <a:ln w="50800" cmpd="dbl"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b" anchorCtr="1">
              <a:normAutofit/>
            </a:bodyPr>
            <a:lstStyle/>
            <a:p>
              <a:pPr algn="ctr"/>
              <a:r>
                <a:rPr lang="en-US" altLang="zh-CN" sz="1200" b="1" dirty="0">
                  <a:solidFill>
                    <a:schemeClr val="tx1"/>
                  </a:solidFill>
                </a:rPr>
                <a:t>Text here</a:t>
              </a:r>
              <a:endParaRPr lang="zh-CN" alt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4" name="iṧlïďê">
              <a:extLst>
                <a:ext uri="{FF2B5EF4-FFF2-40B4-BE49-F238E27FC236}">
                  <a16:creationId xmlns:a16="http://schemas.microsoft.com/office/drawing/2014/main" id="{4FCA6F98-9691-42E7-BF3D-8B71ABA800F4}"/>
                </a:ext>
              </a:extLst>
            </p:cNvPr>
            <p:cNvSpPr/>
            <p:nvPr/>
          </p:nvSpPr>
          <p:spPr bwMode="auto">
            <a:xfrm>
              <a:off x="4919165" y="2295374"/>
              <a:ext cx="649039" cy="458291"/>
            </a:xfrm>
            <a:custGeom>
              <a:avLst/>
              <a:gdLst>
                <a:gd name="T0" fmla="*/ 218 w 219"/>
                <a:gd name="T1" fmla="*/ 117 h 154"/>
                <a:gd name="T2" fmla="*/ 219 w 219"/>
                <a:gd name="T3" fmla="*/ 118 h 154"/>
                <a:gd name="T4" fmla="*/ 218 w 219"/>
                <a:gd name="T5" fmla="*/ 119 h 154"/>
                <a:gd name="T6" fmla="*/ 174 w 219"/>
                <a:gd name="T7" fmla="*/ 153 h 154"/>
                <a:gd name="T8" fmla="*/ 172 w 219"/>
                <a:gd name="T9" fmla="*/ 153 h 154"/>
                <a:gd name="T10" fmla="*/ 171 w 219"/>
                <a:gd name="T11" fmla="*/ 151 h 154"/>
                <a:gd name="T12" fmla="*/ 179 w 219"/>
                <a:gd name="T13" fmla="*/ 133 h 154"/>
                <a:gd name="T14" fmla="*/ 113 w 219"/>
                <a:gd name="T15" fmla="*/ 106 h 154"/>
                <a:gd name="T16" fmla="*/ 126 w 219"/>
                <a:gd name="T17" fmla="*/ 89 h 154"/>
                <a:gd name="T18" fmla="*/ 131 w 219"/>
                <a:gd name="T19" fmla="*/ 82 h 154"/>
                <a:gd name="T20" fmla="*/ 179 w 219"/>
                <a:gd name="T21" fmla="*/ 103 h 154"/>
                <a:gd name="T22" fmla="*/ 171 w 219"/>
                <a:gd name="T23" fmla="*/ 85 h 154"/>
                <a:gd name="T24" fmla="*/ 172 w 219"/>
                <a:gd name="T25" fmla="*/ 83 h 154"/>
                <a:gd name="T26" fmla="*/ 173 w 219"/>
                <a:gd name="T27" fmla="*/ 82 h 154"/>
                <a:gd name="T28" fmla="*/ 174 w 219"/>
                <a:gd name="T29" fmla="*/ 83 h 154"/>
                <a:gd name="T30" fmla="*/ 218 w 219"/>
                <a:gd name="T31" fmla="*/ 117 h 154"/>
                <a:gd name="T32" fmla="*/ 45 w 219"/>
                <a:gd name="T33" fmla="*/ 71 h 154"/>
                <a:gd name="T34" fmla="*/ 46 w 219"/>
                <a:gd name="T35" fmla="*/ 71 h 154"/>
                <a:gd name="T36" fmla="*/ 47 w 219"/>
                <a:gd name="T37" fmla="*/ 71 h 154"/>
                <a:gd name="T38" fmla="*/ 47 w 219"/>
                <a:gd name="T39" fmla="*/ 69 h 154"/>
                <a:gd name="T40" fmla="*/ 40 w 219"/>
                <a:gd name="T41" fmla="*/ 50 h 154"/>
                <a:gd name="T42" fmla="*/ 87 w 219"/>
                <a:gd name="T43" fmla="*/ 72 h 154"/>
                <a:gd name="T44" fmla="*/ 93 w 219"/>
                <a:gd name="T45" fmla="*/ 65 h 154"/>
                <a:gd name="T46" fmla="*/ 106 w 219"/>
                <a:gd name="T47" fmla="*/ 49 h 154"/>
                <a:gd name="T48" fmla="*/ 40 w 219"/>
                <a:gd name="T49" fmla="*/ 21 h 154"/>
                <a:gd name="T50" fmla="*/ 47 w 219"/>
                <a:gd name="T51" fmla="*/ 2 h 154"/>
                <a:gd name="T52" fmla="*/ 47 w 219"/>
                <a:gd name="T53" fmla="*/ 0 h 154"/>
                <a:gd name="T54" fmla="*/ 45 w 219"/>
                <a:gd name="T55" fmla="*/ 0 h 154"/>
                <a:gd name="T56" fmla="*/ 0 w 219"/>
                <a:gd name="T57" fmla="*/ 34 h 154"/>
                <a:gd name="T58" fmla="*/ 0 w 219"/>
                <a:gd name="T59" fmla="*/ 35 h 154"/>
                <a:gd name="T60" fmla="*/ 0 w 219"/>
                <a:gd name="T61" fmla="*/ 37 h 154"/>
                <a:gd name="T62" fmla="*/ 45 w 219"/>
                <a:gd name="T63" fmla="*/ 71 h 154"/>
                <a:gd name="T64" fmla="*/ 121 w 219"/>
                <a:gd name="T65" fmla="*/ 86 h 154"/>
                <a:gd name="T66" fmla="*/ 179 w 219"/>
                <a:gd name="T67" fmla="*/ 50 h 154"/>
                <a:gd name="T68" fmla="*/ 171 w 219"/>
                <a:gd name="T69" fmla="*/ 69 h 154"/>
                <a:gd name="T70" fmla="*/ 172 w 219"/>
                <a:gd name="T71" fmla="*/ 71 h 154"/>
                <a:gd name="T72" fmla="*/ 173 w 219"/>
                <a:gd name="T73" fmla="*/ 71 h 154"/>
                <a:gd name="T74" fmla="*/ 174 w 219"/>
                <a:gd name="T75" fmla="*/ 71 h 154"/>
                <a:gd name="T76" fmla="*/ 218 w 219"/>
                <a:gd name="T77" fmla="*/ 37 h 154"/>
                <a:gd name="T78" fmla="*/ 219 w 219"/>
                <a:gd name="T79" fmla="*/ 35 h 154"/>
                <a:gd name="T80" fmla="*/ 218 w 219"/>
                <a:gd name="T81" fmla="*/ 34 h 154"/>
                <a:gd name="T82" fmla="*/ 174 w 219"/>
                <a:gd name="T83" fmla="*/ 0 h 154"/>
                <a:gd name="T84" fmla="*/ 172 w 219"/>
                <a:gd name="T85" fmla="*/ 0 h 154"/>
                <a:gd name="T86" fmla="*/ 171 w 219"/>
                <a:gd name="T87" fmla="*/ 2 h 154"/>
                <a:gd name="T88" fmla="*/ 179 w 219"/>
                <a:gd name="T89" fmla="*/ 21 h 154"/>
                <a:gd name="T90" fmla="*/ 97 w 219"/>
                <a:gd name="T91" fmla="*/ 69 h 154"/>
                <a:gd name="T92" fmla="*/ 40 w 219"/>
                <a:gd name="T93" fmla="*/ 103 h 154"/>
                <a:gd name="T94" fmla="*/ 47 w 219"/>
                <a:gd name="T95" fmla="*/ 85 h 154"/>
                <a:gd name="T96" fmla="*/ 47 w 219"/>
                <a:gd name="T97" fmla="*/ 83 h 154"/>
                <a:gd name="T98" fmla="*/ 46 w 219"/>
                <a:gd name="T99" fmla="*/ 82 h 154"/>
                <a:gd name="T100" fmla="*/ 45 w 219"/>
                <a:gd name="T101" fmla="*/ 83 h 154"/>
                <a:gd name="T102" fmla="*/ 0 w 219"/>
                <a:gd name="T103" fmla="*/ 117 h 154"/>
                <a:gd name="T104" fmla="*/ 0 w 219"/>
                <a:gd name="T105" fmla="*/ 118 h 154"/>
                <a:gd name="T106" fmla="*/ 0 w 219"/>
                <a:gd name="T107" fmla="*/ 119 h 154"/>
                <a:gd name="T108" fmla="*/ 45 w 219"/>
                <a:gd name="T109" fmla="*/ 153 h 154"/>
                <a:gd name="T110" fmla="*/ 47 w 219"/>
                <a:gd name="T111" fmla="*/ 153 h 154"/>
                <a:gd name="T112" fmla="*/ 47 w 219"/>
                <a:gd name="T113" fmla="*/ 151 h 154"/>
                <a:gd name="T114" fmla="*/ 40 w 219"/>
                <a:gd name="T115" fmla="*/ 133 h 154"/>
                <a:gd name="T116" fmla="*/ 121 w 219"/>
                <a:gd name="T117" fmla="*/ 8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9" h="154">
                  <a:moveTo>
                    <a:pt x="218" y="117"/>
                  </a:moveTo>
                  <a:cubicBezTo>
                    <a:pt x="219" y="117"/>
                    <a:pt x="219" y="117"/>
                    <a:pt x="219" y="118"/>
                  </a:cubicBezTo>
                  <a:cubicBezTo>
                    <a:pt x="219" y="119"/>
                    <a:pt x="219" y="119"/>
                    <a:pt x="218" y="119"/>
                  </a:cubicBezTo>
                  <a:cubicBezTo>
                    <a:pt x="174" y="153"/>
                    <a:pt x="174" y="153"/>
                    <a:pt x="174" y="153"/>
                  </a:cubicBezTo>
                  <a:cubicBezTo>
                    <a:pt x="174" y="154"/>
                    <a:pt x="173" y="154"/>
                    <a:pt x="172" y="153"/>
                  </a:cubicBezTo>
                  <a:cubicBezTo>
                    <a:pt x="171" y="153"/>
                    <a:pt x="171" y="152"/>
                    <a:pt x="171" y="151"/>
                  </a:cubicBezTo>
                  <a:cubicBezTo>
                    <a:pt x="179" y="133"/>
                    <a:pt x="179" y="133"/>
                    <a:pt x="179" y="133"/>
                  </a:cubicBezTo>
                  <a:cubicBezTo>
                    <a:pt x="145" y="131"/>
                    <a:pt x="126" y="119"/>
                    <a:pt x="113" y="106"/>
                  </a:cubicBezTo>
                  <a:cubicBezTo>
                    <a:pt x="118" y="100"/>
                    <a:pt x="122" y="94"/>
                    <a:pt x="126" y="89"/>
                  </a:cubicBezTo>
                  <a:cubicBezTo>
                    <a:pt x="128" y="86"/>
                    <a:pt x="130" y="84"/>
                    <a:pt x="131" y="82"/>
                  </a:cubicBezTo>
                  <a:cubicBezTo>
                    <a:pt x="141" y="93"/>
                    <a:pt x="154" y="102"/>
                    <a:pt x="179" y="103"/>
                  </a:cubicBezTo>
                  <a:cubicBezTo>
                    <a:pt x="171" y="85"/>
                    <a:pt x="171" y="85"/>
                    <a:pt x="171" y="85"/>
                  </a:cubicBezTo>
                  <a:cubicBezTo>
                    <a:pt x="171" y="84"/>
                    <a:pt x="171" y="83"/>
                    <a:pt x="172" y="83"/>
                  </a:cubicBezTo>
                  <a:cubicBezTo>
                    <a:pt x="172" y="82"/>
                    <a:pt x="173" y="82"/>
                    <a:pt x="173" y="82"/>
                  </a:cubicBezTo>
                  <a:cubicBezTo>
                    <a:pt x="173" y="82"/>
                    <a:pt x="174" y="82"/>
                    <a:pt x="174" y="83"/>
                  </a:cubicBezTo>
                  <a:lnTo>
                    <a:pt x="218" y="117"/>
                  </a:lnTo>
                  <a:close/>
                  <a:moveTo>
                    <a:pt x="45" y="71"/>
                  </a:moveTo>
                  <a:cubicBezTo>
                    <a:pt x="45" y="71"/>
                    <a:pt x="45" y="71"/>
                    <a:pt x="46" y="71"/>
                  </a:cubicBezTo>
                  <a:cubicBezTo>
                    <a:pt x="46" y="71"/>
                    <a:pt x="46" y="71"/>
                    <a:pt x="47" y="71"/>
                  </a:cubicBezTo>
                  <a:cubicBezTo>
                    <a:pt x="47" y="70"/>
                    <a:pt x="48" y="69"/>
                    <a:pt x="47" y="69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65" y="52"/>
                    <a:pt x="77" y="61"/>
                    <a:pt x="87" y="72"/>
                  </a:cubicBezTo>
                  <a:cubicBezTo>
                    <a:pt x="89" y="70"/>
                    <a:pt x="91" y="68"/>
                    <a:pt x="93" y="65"/>
                  </a:cubicBezTo>
                  <a:cubicBezTo>
                    <a:pt x="96" y="60"/>
                    <a:pt x="101" y="54"/>
                    <a:pt x="106" y="49"/>
                  </a:cubicBezTo>
                  <a:cubicBezTo>
                    <a:pt x="92" y="35"/>
                    <a:pt x="73" y="23"/>
                    <a:pt x="40" y="21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8" y="1"/>
                    <a:pt x="47" y="1"/>
                    <a:pt x="47" y="0"/>
                  </a:cubicBezTo>
                  <a:cubicBezTo>
                    <a:pt x="46" y="0"/>
                    <a:pt x="45" y="0"/>
                    <a:pt x="45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4"/>
                    <a:pt x="0" y="35"/>
                    <a:pt x="0" y="35"/>
                  </a:cubicBezTo>
                  <a:cubicBezTo>
                    <a:pt x="0" y="36"/>
                    <a:pt x="0" y="36"/>
                    <a:pt x="0" y="37"/>
                  </a:cubicBezTo>
                  <a:lnTo>
                    <a:pt x="45" y="71"/>
                  </a:lnTo>
                  <a:close/>
                  <a:moveTo>
                    <a:pt x="121" y="86"/>
                  </a:moveTo>
                  <a:cubicBezTo>
                    <a:pt x="134" y="67"/>
                    <a:pt x="145" y="53"/>
                    <a:pt x="179" y="50"/>
                  </a:cubicBezTo>
                  <a:cubicBezTo>
                    <a:pt x="171" y="69"/>
                    <a:pt x="171" y="69"/>
                    <a:pt x="171" y="69"/>
                  </a:cubicBezTo>
                  <a:cubicBezTo>
                    <a:pt x="171" y="69"/>
                    <a:pt x="171" y="70"/>
                    <a:pt x="172" y="71"/>
                  </a:cubicBezTo>
                  <a:cubicBezTo>
                    <a:pt x="172" y="71"/>
                    <a:pt x="173" y="71"/>
                    <a:pt x="173" y="71"/>
                  </a:cubicBezTo>
                  <a:cubicBezTo>
                    <a:pt x="173" y="71"/>
                    <a:pt x="174" y="71"/>
                    <a:pt x="174" y="71"/>
                  </a:cubicBezTo>
                  <a:cubicBezTo>
                    <a:pt x="218" y="37"/>
                    <a:pt x="218" y="37"/>
                    <a:pt x="218" y="37"/>
                  </a:cubicBezTo>
                  <a:cubicBezTo>
                    <a:pt x="219" y="36"/>
                    <a:pt x="219" y="36"/>
                    <a:pt x="219" y="35"/>
                  </a:cubicBezTo>
                  <a:cubicBezTo>
                    <a:pt x="219" y="35"/>
                    <a:pt x="219" y="34"/>
                    <a:pt x="218" y="34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74" y="0"/>
                    <a:pt x="173" y="0"/>
                    <a:pt x="172" y="0"/>
                  </a:cubicBezTo>
                  <a:cubicBezTo>
                    <a:pt x="171" y="1"/>
                    <a:pt x="171" y="1"/>
                    <a:pt x="171" y="2"/>
                  </a:cubicBezTo>
                  <a:cubicBezTo>
                    <a:pt x="179" y="21"/>
                    <a:pt x="179" y="21"/>
                    <a:pt x="179" y="21"/>
                  </a:cubicBezTo>
                  <a:cubicBezTo>
                    <a:pt x="130" y="23"/>
                    <a:pt x="112" y="48"/>
                    <a:pt x="97" y="69"/>
                  </a:cubicBezTo>
                  <a:cubicBezTo>
                    <a:pt x="84" y="87"/>
                    <a:pt x="74" y="101"/>
                    <a:pt x="40" y="103"/>
                  </a:cubicBezTo>
                  <a:cubicBezTo>
                    <a:pt x="47" y="85"/>
                    <a:pt x="47" y="85"/>
                    <a:pt x="47" y="85"/>
                  </a:cubicBezTo>
                  <a:cubicBezTo>
                    <a:pt x="48" y="84"/>
                    <a:pt x="47" y="83"/>
                    <a:pt x="47" y="83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5" y="82"/>
                    <a:pt x="45" y="82"/>
                    <a:pt x="45" y="83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7"/>
                    <a:pt x="0" y="117"/>
                    <a:pt x="0" y="118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45" y="153"/>
                    <a:pt x="45" y="153"/>
                    <a:pt x="45" y="153"/>
                  </a:cubicBezTo>
                  <a:cubicBezTo>
                    <a:pt x="45" y="154"/>
                    <a:pt x="46" y="154"/>
                    <a:pt x="47" y="153"/>
                  </a:cubicBezTo>
                  <a:cubicBezTo>
                    <a:pt x="47" y="153"/>
                    <a:pt x="48" y="152"/>
                    <a:pt x="47" y="151"/>
                  </a:cubicBezTo>
                  <a:cubicBezTo>
                    <a:pt x="40" y="133"/>
                    <a:pt x="40" y="133"/>
                    <a:pt x="40" y="133"/>
                  </a:cubicBezTo>
                  <a:cubicBezTo>
                    <a:pt x="89" y="131"/>
                    <a:pt x="107" y="106"/>
                    <a:pt x="121" y="86"/>
                  </a:cubicBez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 fontScale="85000" lnSpcReduction="20000"/>
            </a:bodyPr>
            <a:lstStyle/>
            <a:p>
              <a:pPr algn="ctr"/>
              <a:endParaRPr sz="2400" b="1"/>
            </a:p>
          </p:txBody>
        </p:sp>
        <p:sp>
          <p:nvSpPr>
            <p:cNvPr id="15" name="îṩḷïḍé">
              <a:extLst>
                <a:ext uri="{FF2B5EF4-FFF2-40B4-BE49-F238E27FC236}">
                  <a16:creationId xmlns:a16="http://schemas.microsoft.com/office/drawing/2014/main" id="{852F5E76-BC14-4066-B0BF-CF7B0022F7C9}"/>
                </a:ext>
              </a:extLst>
            </p:cNvPr>
            <p:cNvSpPr/>
            <p:nvPr/>
          </p:nvSpPr>
          <p:spPr bwMode="auto">
            <a:xfrm>
              <a:off x="2383973" y="2197866"/>
              <a:ext cx="708177" cy="583739"/>
            </a:xfrm>
            <a:custGeom>
              <a:avLst/>
              <a:gdLst>
                <a:gd name="connsiteX0" fmla="*/ 121375 w 708177"/>
                <a:gd name="connsiteY0" fmla="*/ 298764 h 583739"/>
                <a:gd name="connsiteX1" fmla="*/ 418606 w 708177"/>
                <a:gd name="connsiteY1" fmla="*/ 298764 h 583739"/>
                <a:gd name="connsiteX2" fmla="*/ 418606 w 708177"/>
                <a:gd name="connsiteY2" fmla="*/ 346260 h 583739"/>
                <a:gd name="connsiteX3" fmla="*/ 368046 w 708177"/>
                <a:gd name="connsiteY3" fmla="*/ 346260 h 583739"/>
                <a:gd name="connsiteX4" fmla="*/ 368046 w 708177"/>
                <a:gd name="connsiteY4" fmla="*/ 579143 h 583739"/>
                <a:gd name="connsiteX5" fmla="*/ 150485 w 708177"/>
                <a:gd name="connsiteY5" fmla="*/ 579143 h 583739"/>
                <a:gd name="connsiteX6" fmla="*/ 150485 w 708177"/>
                <a:gd name="connsiteY6" fmla="*/ 346260 h 583739"/>
                <a:gd name="connsiteX7" fmla="*/ 121375 w 708177"/>
                <a:gd name="connsiteY7" fmla="*/ 346260 h 583739"/>
                <a:gd name="connsiteX8" fmla="*/ 693537 w 708177"/>
                <a:gd name="connsiteY8" fmla="*/ 243608 h 583739"/>
                <a:gd name="connsiteX9" fmla="*/ 708177 w 708177"/>
                <a:gd name="connsiteY9" fmla="*/ 262093 h 583739"/>
                <a:gd name="connsiteX10" fmla="*/ 704517 w 708177"/>
                <a:gd name="connsiteY10" fmla="*/ 262093 h 583739"/>
                <a:gd name="connsiteX11" fmla="*/ 631316 w 708177"/>
                <a:gd name="connsiteY11" fmla="*/ 432159 h 583739"/>
                <a:gd name="connsiteX12" fmla="*/ 627655 w 708177"/>
                <a:gd name="connsiteY12" fmla="*/ 443250 h 583739"/>
                <a:gd name="connsiteX13" fmla="*/ 620335 w 708177"/>
                <a:gd name="connsiteY13" fmla="*/ 439553 h 583739"/>
                <a:gd name="connsiteX14" fmla="*/ 602035 w 708177"/>
                <a:gd name="connsiteY14" fmla="*/ 435856 h 583739"/>
                <a:gd name="connsiteX15" fmla="*/ 591055 w 708177"/>
                <a:gd name="connsiteY15" fmla="*/ 439553 h 583739"/>
                <a:gd name="connsiteX16" fmla="*/ 591055 w 708177"/>
                <a:gd name="connsiteY16" fmla="*/ 543071 h 583739"/>
                <a:gd name="connsiteX17" fmla="*/ 620335 w 708177"/>
                <a:gd name="connsiteY17" fmla="*/ 565254 h 583739"/>
                <a:gd name="connsiteX18" fmla="*/ 609355 w 708177"/>
                <a:gd name="connsiteY18" fmla="*/ 583739 h 583739"/>
                <a:gd name="connsiteX19" fmla="*/ 580075 w 708177"/>
                <a:gd name="connsiteY19" fmla="*/ 561557 h 583739"/>
                <a:gd name="connsiteX20" fmla="*/ 550794 w 708177"/>
                <a:gd name="connsiteY20" fmla="*/ 576345 h 583739"/>
                <a:gd name="connsiteX21" fmla="*/ 543474 w 708177"/>
                <a:gd name="connsiteY21" fmla="*/ 557860 h 583739"/>
                <a:gd name="connsiteX22" fmla="*/ 572754 w 708177"/>
                <a:gd name="connsiteY22" fmla="*/ 543071 h 583739"/>
                <a:gd name="connsiteX23" fmla="*/ 572754 w 708177"/>
                <a:gd name="connsiteY23" fmla="*/ 443250 h 583739"/>
                <a:gd name="connsiteX24" fmla="*/ 525173 w 708177"/>
                <a:gd name="connsiteY24" fmla="*/ 469130 h 583739"/>
                <a:gd name="connsiteX25" fmla="*/ 521513 w 708177"/>
                <a:gd name="connsiteY25" fmla="*/ 469130 h 583739"/>
                <a:gd name="connsiteX26" fmla="*/ 510533 w 708177"/>
                <a:gd name="connsiteY26" fmla="*/ 454341 h 583739"/>
                <a:gd name="connsiteX27" fmla="*/ 514193 w 708177"/>
                <a:gd name="connsiteY27" fmla="*/ 450644 h 583739"/>
                <a:gd name="connsiteX28" fmla="*/ 602035 w 708177"/>
                <a:gd name="connsiteY28" fmla="*/ 417371 h 583739"/>
                <a:gd name="connsiteX29" fmla="*/ 616675 w 708177"/>
                <a:gd name="connsiteY29" fmla="*/ 417371 h 583739"/>
                <a:gd name="connsiteX30" fmla="*/ 689877 w 708177"/>
                <a:gd name="connsiteY30" fmla="*/ 247305 h 583739"/>
                <a:gd name="connsiteX31" fmla="*/ 693537 w 708177"/>
                <a:gd name="connsiteY31" fmla="*/ 243608 h 583739"/>
                <a:gd name="connsiteX32" fmla="*/ 70046 w 708177"/>
                <a:gd name="connsiteY32" fmla="*/ 114004 h 583739"/>
                <a:gd name="connsiteX33" fmla="*/ 110600 w 708177"/>
                <a:gd name="connsiteY33" fmla="*/ 176761 h 583739"/>
                <a:gd name="connsiteX34" fmla="*/ 103226 w 708177"/>
                <a:gd name="connsiteY34" fmla="*/ 213677 h 583739"/>
                <a:gd name="connsiteX35" fmla="*/ 176960 w 708177"/>
                <a:gd name="connsiteY35" fmla="*/ 209985 h 583739"/>
                <a:gd name="connsiteX36" fmla="*/ 206453 w 708177"/>
                <a:gd name="connsiteY36" fmla="*/ 257976 h 583739"/>
                <a:gd name="connsiteX37" fmla="*/ 92166 w 708177"/>
                <a:gd name="connsiteY37" fmla="*/ 272742 h 583739"/>
                <a:gd name="connsiteX38" fmla="*/ 88480 w 708177"/>
                <a:gd name="connsiteY38" fmla="*/ 353957 h 583739"/>
                <a:gd name="connsiteX39" fmla="*/ 84793 w 708177"/>
                <a:gd name="connsiteY39" fmla="*/ 376106 h 583739"/>
                <a:gd name="connsiteX40" fmla="*/ 73733 w 708177"/>
                <a:gd name="connsiteY40" fmla="*/ 376106 h 583739"/>
                <a:gd name="connsiteX41" fmla="*/ 73733 w 708177"/>
                <a:gd name="connsiteY41" fmla="*/ 545918 h 583739"/>
                <a:gd name="connsiteX42" fmla="*/ 22120 w 708177"/>
                <a:gd name="connsiteY42" fmla="*/ 545918 h 583739"/>
                <a:gd name="connsiteX43" fmla="*/ 22120 w 708177"/>
                <a:gd name="connsiteY43" fmla="*/ 383489 h 583739"/>
                <a:gd name="connsiteX44" fmla="*/ 0 w 708177"/>
                <a:gd name="connsiteY44" fmla="*/ 239518 h 583739"/>
                <a:gd name="connsiteX45" fmla="*/ 18433 w 708177"/>
                <a:gd name="connsiteY45" fmla="*/ 128771 h 583739"/>
                <a:gd name="connsiteX46" fmla="*/ 25806 w 708177"/>
                <a:gd name="connsiteY46" fmla="*/ 125079 h 583739"/>
                <a:gd name="connsiteX47" fmla="*/ 70046 w 708177"/>
                <a:gd name="connsiteY47" fmla="*/ 114004 h 583739"/>
                <a:gd name="connsiteX48" fmla="*/ 320220 w 708177"/>
                <a:gd name="connsiteY48" fmla="*/ 78139 h 583739"/>
                <a:gd name="connsiteX49" fmla="*/ 430189 w 708177"/>
                <a:gd name="connsiteY49" fmla="*/ 181346 h 583739"/>
                <a:gd name="connsiteX50" fmla="*/ 452183 w 708177"/>
                <a:gd name="connsiteY50" fmla="*/ 177660 h 583739"/>
                <a:gd name="connsiteX51" fmla="*/ 569484 w 708177"/>
                <a:gd name="connsiteY51" fmla="*/ 199776 h 583739"/>
                <a:gd name="connsiteX52" fmla="*/ 584146 w 708177"/>
                <a:gd name="connsiteY52" fmla="*/ 181346 h 583739"/>
                <a:gd name="connsiteX53" fmla="*/ 661125 w 708177"/>
                <a:gd name="connsiteY53" fmla="*/ 255065 h 583739"/>
                <a:gd name="connsiteX54" fmla="*/ 620803 w 708177"/>
                <a:gd name="connsiteY54" fmla="*/ 358273 h 583739"/>
                <a:gd name="connsiteX55" fmla="*/ 569484 w 708177"/>
                <a:gd name="connsiteY55" fmla="*/ 409877 h 583739"/>
                <a:gd name="connsiteX56" fmla="*/ 452183 w 708177"/>
                <a:gd name="connsiteY56" fmla="*/ 542571 h 583739"/>
                <a:gd name="connsiteX57" fmla="*/ 386202 w 708177"/>
                <a:gd name="connsiteY57" fmla="*/ 542571 h 583739"/>
                <a:gd name="connsiteX58" fmla="*/ 514499 w 708177"/>
                <a:gd name="connsiteY58" fmla="*/ 354587 h 583739"/>
                <a:gd name="connsiteX59" fmla="*/ 540159 w 708177"/>
                <a:gd name="connsiteY59" fmla="*/ 255065 h 583739"/>
                <a:gd name="connsiteX60" fmla="*/ 437521 w 708177"/>
                <a:gd name="connsiteY60" fmla="*/ 232950 h 583739"/>
                <a:gd name="connsiteX61" fmla="*/ 419193 w 708177"/>
                <a:gd name="connsiteY61" fmla="*/ 192404 h 583739"/>
                <a:gd name="connsiteX62" fmla="*/ 312889 w 708177"/>
                <a:gd name="connsiteY62" fmla="*/ 89197 h 583739"/>
                <a:gd name="connsiteX63" fmla="*/ 320220 w 708177"/>
                <a:gd name="connsiteY63" fmla="*/ 78139 h 583739"/>
                <a:gd name="connsiteX64" fmla="*/ 622378 w 708177"/>
                <a:gd name="connsiteY64" fmla="*/ 52092 h 583739"/>
                <a:gd name="connsiteX65" fmla="*/ 676002 w 708177"/>
                <a:gd name="connsiteY65" fmla="*/ 105717 h 583739"/>
                <a:gd name="connsiteX66" fmla="*/ 622378 w 708177"/>
                <a:gd name="connsiteY66" fmla="*/ 159342 h 583739"/>
                <a:gd name="connsiteX67" fmla="*/ 568754 w 708177"/>
                <a:gd name="connsiteY67" fmla="*/ 105717 h 583739"/>
                <a:gd name="connsiteX68" fmla="*/ 622378 w 708177"/>
                <a:gd name="connsiteY68" fmla="*/ 52092 h 583739"/>
                <a:gd name="connsiteX69" fmla="*/ 90395 w 708177"/>
                <a:gd name="connsiteY69" fmla="*/ 0 h 583739"/>
                <a:gd name="connsiteX70" fmla="*/ 144019 w 708177"/>
                <a:gd name="connsiteY70" fmla="*/ 52092 h 583739"/>
                <a:gd name="connsiteX71" fmla="*/ 90395 w 708177"/>
                <a:gd name="connsiteY71" fmla="*/ 104184 h 583739"/>
                <a:gd name="connsiteX72" fmla="*/ 36771 w 708177"/>
                <a:gd name="connsiteY72" fmla="*/ 52092 h 583739"/>
                <a:gd name="connsiteX73" fmla="*/ 90395 w 708177"/>
                <a:gd name="connsiteY73" fmla="*/ 0 h 583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708177" h="583739">
                  <a:moveTo>
                    <a:pt x="121375" y="298764"/>
                  </a:moveTo>
                  <a:lnTo>
                    <a:pt x="418606" y="298764"/>
                  </a:lnTo>
                  <a:lnTo>
                    <a:pt x="418606" y="346260"/>
                  </a:lnTo>
                  <a:lnTo>
                    <a:pt x="368046" y="346260"/>
                  </a:lnTo>
                  <a:lnTo>
                    <a:pt x="368046" y="579143"/>
                  </a:lnTo>
                  <a:lnTo>
                    <a:pt x="150485" y="579143"/>
                  </a:lnTo>
                  <a:lnTo>
                    <a:pt x="150485" y="346260"/>
                  </a:lnTo>
                  <a:lnTo>
                    <a:pt x="121375" y="346260"/>
                  </a:lnTo>
                  <a:close/>
                  <a:moveTo>
                    <a:pt x="693537" y="243608"/>
                  </a:moveTo>
                  <a:lnTo>
                    <a:pt x="708177" y="262093"/>
                  </a:lnTo>
                  <a:cubicBezTo>
                    <a:pt x="708177" y="262093"/>
                    <a:pt x="708177" y="262093"/>
                    <a:pt x="704517" y="262093"/>
                  </a:cubicBezTo>
                  <a:cubicBezTo>
                    <a:pt x="682557" y="284276"/>
                    <a:pt x="645956" y="376703"/>
                    <a:pt x="631316" y="432159"/>
                  </a:cubicBezTo>
                  <a:cubicBezTo>
                    <a:pt x="631316" y="432159"/>
                    <a:pt x="631316" y="432159"/>
                    <a:pt x="627655" y="443250"/>
                  </a:cubicBezTo>
                  <a:cubicBezTo>
                    <a:pt x="627655" y="443250"/>
                    <a:pt x="627655" y="443250"/>
                    <a:pt x="620335" y="439553"/>
                  </a:cubicBezTo>
                  <a:cubicBezTo>
                    <a:pt x="613015" y="439553"/>
                    <a:pt x="609355" y="435856"/>
                    <a:pt x="602035" y="435856"/>
                  </a:cubicBezTo>
                  <a:cubicBezTo>
                    <a:pt x="598375" y="435856"/>
                    <a:pt x="594715" y="439553"/>
                    <a:pt x="591055" y="439553"/>
                  </a:cubicBezTo>
                  <a:cubicBezTo>
                    <a:pt x="591055" y="439553"/>
                    <a:pt x="591055" y="439553"/>
                    <a:pt x="591055" y="543071"/>
                  </a:cubicBezTo>
                  <a:cubicBezTo>
                    <a:pt x="591055" y="543071"/>
                    <a:pt x="591055" y="543071"/>
                    <a:pt x="620335" y="565254"/>
                  </a:cubicBezTo>
                  <a:cubicBezTo>
                    <a:pt x="620335" y="565254"/>
                    <a:pt x="620335" y="565254"/>
                    <a:pt x="609355" y="583739"/>
                  </a:cubicBezTo>
                  <a:cubicBezTo>
                    <a:pt x="609355" y="583739"/>
                    <a:pt x="609355" y="583739"/>
                    <a:pt x="580075" y="561557"/>
                  </a:cubicBezTo>
                  <a:cubicBezTo>
                    <a:pt x="580075" y="561557"/>
                    <a:pt x="580075" y="561557"/>
                    <a:pt x="550794" y="576345"/>
                  </a:cubicBezTo>
                  <a:cubicBezTo>
                    <a:pt x="550794" y="576345"/>
                    <a:pt x="550794" y="576345"/>
                    <a:pt x="543474" y="557860"/>
                  </a:cubicBezTo>
                  <a:cubicBezTo>
                    <a:pt x="543474" y="557860"/>
                    <a:pt x="543474" y="557860"/>
                    <a:pt x="572754" y="543071"/>
                  </a:cubicBezTo>
                  <a:cubicBezTo>
                    <a:pt x="572754" y="543071"/>
                    <a:pt x="572754" y="543071"/>
                    <a:pt x="572754" y="443250"/>
                  </a:cubicBezTo>
                  <a:cubicBezTo>
                    <a:pt x="547134" y="450644"/>
                    <a:pt x="525173" y="469130"/>
                    <a:pt x="525173" y="469130"/>
                  </a:cubicBezTo>
                  <a:cubicBezTo>
                    <a:pt x="525173" y="469130"/>
                    <a:pt x="525173" y="469130"/>
                    <a:pt x="521513" y="469130"/>
                  </a:cubicBezTo>
                  <a:cubicBezTo>
                    <a:pt x="521513" y="469130"/>
                    <a:pt x="521513" y="469130"/>
                    <a:pt x="510533" y="454341"/>
                  </a:cubicBezTo>
                  <a:cubicBezTo>
                    <a:pt x="510533" y="454341"/>
                    <a:pt x="510533" y="454341"/>
                    <a:pt x="514193" y="450644"/>
                  </a:cubicBezTo>
                  <a:cubicBezTo>
                    <a:pt x="514193" y="450644"/>
                    <a:pt x="558114" y="417371"/>
                    <a:pt x="602035" y="417371"/>
                  </a:cubicBezTo>
                  <a:cubicBezTo>
                    <a:pt x="605695" y="417371"/>
                    <a:pt x="609355" y="417371"/>
                    <a:pt x="616675" y="417371"/>
                  </a:cubicBezTo>
                  <a:cubicBezTo>
                    <a:pt x="627655" y="380400"/>
                    <a:pt x="660596" y="273184"/>
                    <a:pt x="689877" y="247305"/>
                  </a:cubicBezTo>
                  <a:cubicBezTo>
                    <a:pt x="689877" y="247305"/>
                    <a:pt x="689877" y="247305"/>
                    <a:pt x="693537" y="243608"/>
                  </a:cubicBezTo>
                  <a:close/>
                  <a:moveTo>
                    <a:pt x="70046" y="114004"/>
                  </a:moveTo>
                  <a:cubicBezTo>
                    <a:pt x="95853" y="117696"/>
                    <a:pt x="121660" y="147229"/>
                    <a:pt x="110600" y="176761"/>
                  </a:cubicBezTo>
                  <a:cubicBezTo>
                    <a:pt x="106913" y="187836"/>
                    <a:pt x="106913" y="202602"/>
                    <a:pt x="103226" y="213677"/>
                  </a:cubicBezTo>
                  <a:cubicBezTo>
                    <a:pt x="125346" y="224751"/>
                    <a:pt x="147466" y="224751"/>
                    <a:pt x="176960" y="209985"/>
                  </a:cubicBezTo>
                  <a:cubicBezTo>
                    <a:pt x="210140" y="195219"/>
                    <a:pt x="235946" y="243209"/>
                    <a:pt x="206453" y="257976"/>
                  </a:cubicBezTo>
                  <a:cubicBezTo>
                    <a:pt x="165900" y="280125"/>
                    <a:pt x="129033" y="283817"/>
                    <a:pt x="92166" y="272742"/>
                  </a:cubicBezTo>
                  <a:cubicBezTo>
                    <a:pt x="92166" y="298583"/>
                    <a:pt x="88480" y="324424"/>
                    <a:pt x="88480" y="353957"/>
                  </a:cubicBezTo>
                  <a:cubicBezTo>
                    <a:pt x="88480" y="361340"/>
                    <a:pt x="84793" y="368723"/>
                    <a:pt x="84793" y="376106"/>
                  </a:cubicBezTo>
                  <a:cubicBezTo>
                    <a:pt x="84793" y="376106"/>
                    <a:pt x="84793" y="376106"/>
                    <a:pt x="73733" y="376106"/>
                  </a:cubicBezTo>
                  <a:cubicBezTo>
                    <a:pt x="73733" y="376106"/>
                    <a:pt x="73733" y="376106"/>
                    <a:pt x="73733" y="545918"/>
                  </a:cubicBezTo>
                  <a:cubicBezTo>
                    <a:pt x="73733" y="579142"/>
                    <a:pt x="22120" y="579142"/>
                    <a:pt x="22120" y="545918"/>
                  </a:cubicBezTo>
                  <a:cubicBezTo>
                    <a:pt x="22120" y="545918"/>
                    <a:pt x="22120" y="545918"/>
                    <a:pt x="22120" y="383489"/>
                  </a:cubicBezTo>
                  <a:cubicBezTo>
                    <a:pt x="11060" y="379798"/>
                    <a:pt x="0" y="350265"/>
                    <a:pt x="0" y="239518"/>
                  </a:cubicBezTo>
                  <a:cubicBezTo>
                    <a:pt x="0" y="239518"/>
                    <a:pt x="7373" y="169378"/>
                    <a:pt x="18433" y="128771"/>
                  </a:cubicBezTo>
                  <a:cubicBezTo>
                    <a:pt x="18433" y="128771"/>
                    <a:pt x="22120" y="125079"/>
                    <a:pt x="25806" y="125079"/>
                  </a:cubicBezTo>
                  <a:cubicBezTo>
                    <a:pt x="36866" y="114004"/>
                    <a:pt x="51613" y="110313"/>
                    <a:pt x="70046" y="114004"/>
                  </a:cubicBezTo>
                  <a:close/>
                  <a:moveTo>
                    <a:pt x="320220" y="78139"/>
                  </a:moveTo>
                  <a:cubicBezTo>
                    <a:pt x="320220" y="78139"/>
                    <a:pt x="320220" y="78139"/>
                    <a:pt x="430189" y="181346"/>
                  </a:cubicBezTo>
                  <a:cubicBezTo>
                    <a:pt x="433855" y="177660"/>
                    <a:pt x="441186" y="173974"/>
                    <a:pt x="452183" y="177660"/>
                  </a:cubicBezTo>
                  <a:cubicBezTo>
                    <a:pt x="488840" y="192404"/>
                    <a:pt x="529162" y="196090"/>
                    <a:pt x="569484" y="199776"/>
                  </a:cubicBezTo>
                  <a:cubicBezTo>
                    <a:pt x="573149" y="196090"/>
                    <a:pt x="580481" y="188718"/>
                    <a:pt x="584146" y="181346"/>
                  </a:cubicBezTo>
                  <a:cubicBezTo>
                    <a:pt x="631799" y="133428"/>
                    <a:pt x="705112" y="207148"/>
                    <a:pt x="661125" y="255065"/>
                  </a:cubicBezTo>
                  <a:cubicBezTo>
                    <a:pt x="631799" y="284553"/>
                    <a:pt x="620803" y="321413"/>
                    <a:pt x="620803" y="358273"/>
                  </a:cubicBezTo>
                  <a:cubicBezTo>
                    <a:pt x="617137" y="387761"/>
                    <a:pt x="598809" y="409877"/>
                    <a:pt x="569484" y="409877"/>
                  </a:cubicBezTo>
                  <a:cubicBezTo>
                    <a:pt x="503502" y="424620"/>
                    <a:pt x="463180" y="472538"/>
                    <a:pt x="452183" y="542571"/>
                  </a:cubicBezTo>
                  <a:cubicBezTo>
                    <a:pt x="448518" y="586803"/>
                    <a:pt x="378871" y="586803"/>
                    <a:pt x="386202" y="542571"/>
                  </a:cubicBezTo>
                  <a:cubicBezTo>
                    <a:pt x="397199" y="454108"/>
                    <a:pt x="437521" y="384075"/>
                    <a:pt x="514499" y="354587"/>
                  </a:cubicBezTo>
                  <a:cubicBezTo>
                    <a:pt x="518165" y="317727"/>
                    <a:pt x="525496" y="284553"/>
                    <a:pt x="540159" y="255065"/>
                  </a:cubicBezTo>
                  <a:cubicBezTo>
                    <a:pt x="503502" y="251380"/>
                    <a:pt x="470511" y="244008"/>
                    <a:pt x="437521" y="232950"/>
                  </a:cubicBezTo>
                  <a:cubicBezTo>
                    <a:pt x="415527" y="225578"/>
                    <a:pt x="411861" y="207148"/>
                    <a:pt x="419193" y="192404"/>
                  </a:cubicBezTo>
                  <a:cubicBezTo>
                    <a:pt x="419193" y="192404"/>
                    <a:pt x="419193" y="192404"/>
                    <a:pt x="312889" y="89197"/>
                  </a:cubicBezTo>
                  <a:cubicBezTo>
                    <a:pt x="312889" y="89197"/>
                    <a:pt x="312889" y="89197"/>
                    <a:pt x="320220" y="78139"/>
                  </a:cubicBezTo>
                  <a:close/>
                  <a:moveTo>
                    <a:pt x="622378" y="52092"/>
                  </a:moveTo>
                  <a:cubicBezTo>
                    <a:pt x="651994" y="52092"/>
                    <a:pt x="676002" y="76101"/>
                    <a:pt x="676002" y="105717"/>
                  </a:cubicBezTo>
                  <a:cubicBezTo>
                    <a:pt x="676002" y="135333"/>
                    <a:pt x="651994" y="159342"/>
                    <a:pt x="622378" y="159342"/>
                  </a:cubicBezTo>
                  <a:cubicBezTo>
                    <a:pt x="592762" y="159342"/>
                    <a:pt x="568754" y="135333"/>
                    <a:pt x="568754" y="105717"/>
                  </a:cubicBezTo>
                  <a:cubicBezTo>
                    <a:pt x="568754" y="76101"/>
                    <a:pt x="592762" y="52092"/>
                    <a:pt x="622378" y="52092"/>
                  </a:cubicBezTo>
                  <a:close/>
                  <a:moveTo>
                    <a:pt x="90395" y="0"/>
                  </a:moveTo>
                  <a:cubicBezTo>
                    <a:pt x="120011" y="0"/>
                    <a:pt x="144019" y="23322"/>
                    <a:pt x="144019" y="52092"/>
                  </a:cubicBezTo>
                  <a:cubicBezTo>
                    <a:pt x="144019" y="80862"/>
                    <a:pt x="120011" y="104184"/>
                    <a:pt x="90395" y="104184"/>
                  </a:cubicBezTo>
                  <a:cubicBezTo>
                    <a:pt x="60779" y="104184"/>
                    <a:pt x="36771" y="80862"/>
                    <a:pt x="36771" y="52092"/>
                  </a:cubicBezTo>
                  <a:cubicBezTo>
                    <a:pt x="36771" y="23322"/>
                    <a:pt x="60779" y="0"/>
                    <a:pt x="9039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 sz="2400" b="1"/>
            </a:p>
          </p:txBody>
        </p:sp>
        <p:sp>
          <p:nvSpPr>
            <p:cNvPr id="16" name="íŝḻíḍê">
              <a:extLst>
                <a:ext uri="{FF2B5EF4-FFF2-40B4-BE49-F238E27FC236}">
                  <a16:creationId xmlns:a16="http://schemas.microsoft.com/office/drawing/2014/main" id="{796B159A-B119-42E2-8074-D204056BBC77}"/>
                </a:ext>
              </a:extLst>
            </p:cNvPr>
            <p:cNvSpPr/>
            <p:nvPr/>
          </p:nvSpPr>
          <p:spPr bwMode="auto">
            <a:xfrm>
              <a:off x="1083488" y="3710034"/>
              <a:ext cx="613046" cy="610326"/>
            </a:xfrm>
            <a:custGeom>
              <a:avLst/>
              <a:gdLst>
                <a:gd name="connsiteX0" fmla="*/ 454514 w 613046"/>
                <a:gd name="connsiteY0" fmla="*/ 373741 h 610326"/>
                <a:gd name="connsiteX1" fmla="*/ 595797 w 613046"/>
                <a:gd name="connsiteY1" fmla="*/ 511272 h 610326"/>
                <a:gd name="connsiteX2" fmla="*/ 595797 w 613046"/>
                <a:gd name="connsiteY2" fmla="*/ 593135 h 610326"/>
                <a:gd name="connsiteX3" fmla="*/ 513656 w 613046"/>
                <a:gd name="connsiteY3" fmla="*/ 593135 h 610326"/>
                <a:gd name="connsiteX4" fmla="*/ 372373 w 613046"/>
                <a:gd name="connsiteY4" fmla="*/ 452330 h 610326"/>
                <a:gd name="connsiteX5" fmla="*/ 454514 w 613046"/>
                <a:gd name="connsiteY5" fmla="*/ 373741 h 610326"/>
                <a:gd name="connsiteX6" fmla="*/ 231364 w 613046"/>
                <a:gd name="connsiteY6" fmla="*/ 94462 h 610326"/>
                <a:gd name="connsiteX7" fmla="*/ 231364 w 613046"/>
                <a:gd name="connsiteY7" fmla="*/ 133729 h 610326"/>
                <a:gd name="connsiteX8" fmla="*/ 135499 w 613046"/>
                <a:gd name="connsiteY8" fmla="*/ 228625 h 610326"/>
                <a:gd name="connsiteX9" fmla="*/ 95831 w 613046"/>
                <a:gd name="connsiteY9" fmla="*/ 228625 h 610326"/>
                <a:gd name="connsiteX10" fmla="*/ 231364 w 613046"/>
                <a:gd name="connsiteY10" fmla="*/ 94462 h 610326"/>
                <a:gd name="connsiteX11" fmla="*/ 230271 w 613046"/>
                <a:gd name="connsiteY11" fmla="*/ 55689 h 610326"/>
                <a:gd name="connsiteX12" fmla="*/ 55923 w 613046"/>
                <a:gd name="connsiteY12" fmla="*/ 229310 h 610326"/>
                <a:gd name="connsiteX13" fmla="*/ 230271 w 613046"/>
                <a:gd name="connsiteY13" fmla="*/ 399655 h 610326"/>
                <a:gd name="connsiteX14" fmla="*/ 401329 w 613046"/>
                <a:gd name="connsiteY14" fmla="*/ 229310 h 610326"/>
                <a:gd name="connsiteX15" fmla="*/ 230271 w 613046"/>
                <a:gd name="connsiteY15" fmla="*/ 55689 h 610326"/>
                <a:gd name="connsiteX16" fmla="*/ 230271 w 613046"/>
                <a:gd name="connsiteY16" fmla="*/ 0 h 610326"/>
                <a:gd name="connsiteX17" fmla="*/ 457252 w 613046"/>
                <a:gd name="connsiteY17" fmla="*/ 229310 h 610326"/>
                <a:gd name="connsiteX18" fmla="*/ 230271 w 613046"/>
                <a:gd name="connsiteY18" fmla="*/ 458620 h 610326"/>
                <a:gd name="connsiteX19" fmla="*/ 0 w 613046"/>
                <a:gd name="connsiteY19" fmla="*/ 229310 h 610326"/>
                <a:gd name="connsiteX20" fmla="*/ 230271 w 613046"/>
                <a:gd name="connsiteY20" fmla="*/ 0 h 61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13046" h="610326">
                  <a:moveTo>
                    <a:pt x="454514" y="373741"/>
                  </a:moveTo>
                  <a:cubicBezTo>
                    <a:pt x="454514" y="373741"/>
                    <a:pt x="454514" y="373741"/>
                    <a:pt x="595797" y="511272"/>
                  </a:cubicBezTo>
                  <a:cubicBezTo>
                    <a:pt x="618796" y="534194"/>
                    <a:pt x="618796" y="570214"/>
                    <a:pt x="595797" y="593135"/>
                  </a:cubicBezTo>
                  <a:cubicBezTo>
                    <a:pt x="572797" y="616057"/>
                    <a:pt x="536655" y="616057"/>
                    <a:pt x="513656" y="593135"/>
                  </a:cubicBezTo>
                  <a:cubicBezTo>
                    <a:pt x="513656" y="593135"/>
                    <a:pt x="513656" y="593135"/>
                    <a:pt x="372373" y="452330"/>
                  </a:cubicBezTo>
                  <a:cubicBezTo>
                    <a:pt x="405229" y="432683"/>
                    <a:pt x="434800" y="406487"/>
                    <a:pt x="454514" y="373741"/>
                  </a:cubicBezTo>
                  <a:close/>
                  <a:moveTo>
                    <a:pt x="231364" y="94462"/>
                  </a:moveTo>
                  <a:cubicBezTo>
                    <a:pt x="231364" y="94462"/>
                    <a:pt x="231364" y="94462"/>
                    <a:pt x="231364" y="133729"/>
                  </a:cubicBezTo>
                  <a:cubicBezTo>
                    <a:pt x="178473" y="133729"/>
                    <a:pt x="135499" y="176269"/>
                    <a:pt x="135499" y="228625"/>
                  </a:cubicBezTo>
                  <a:cubicBezTo>
                    <a:pt x="135499" y="228625"/>
                    <a:pt x="135499" y="228625"/>
                    <a:pt x="95831" y="228625"/>
                  </a:cubicBezTo>
                  <a:cubicBezTo>
                    <a:pt x="95831" y="153363"/>
                    <a:pt x="155333" y="94462"/>
                    <a:pt x="231364" y="94462"/>
                  </a:cubicBezTo>
                  <a:close/>
                  <a:moveTo>
                    <a:pt x="230271" y="55689"/>
                  </a:moveTo>
                  <a:cubicBezTo>
                    <a:pt x="134873" y="55689"/>
                    <a:pt x="55923" y="134310"/>
                    <a:pt x="55923" y="229310"/>
                  </a:cubicBezTo>
                  <a:cubicBezTo>
                    <a:pt x="55923" y="324310"/>
                    <a:pt x="134873" y="399655"/>
                    <a:pt x="230271" y="399655"/>
                  </a:cubicBezTo>
                  <a:cubicBezTo>
                    <a:pt x="322379" y="399655"/>
                    <a:pt x="401329" y="324310"/>
                    <a:pt x="401329" y="229310"/>
                  </a:cubicBezTo>
                  <a:cubicBezTo>
                    <a:pt x="401329" y="134310"/>
                    <a:pt x="322379" y="55689"/>
                    <a:pt x="230271" y="55689"/>
                  </a:cubicBezTo>
                  <a:close/>
                  <a:moveTo>
                    <a:pt x="230271" y="0"/>
                  </a:moveTo>
                  <a:cubicBezTo>
                    <a:pt x="355275" y="0"/>
                    <a:pt x="457252" y="101551"/>
                    <a:pt x="457252" y="229310"/>
                  </a:cubicBezTo>
                  <a:cubicBezTo>
                    <a:pt x="457252" y="353792"/>
                    <a:pt x="355275" y="458620"/>
                    <a:pt x="230271" y="458620"/>
                  </a:cubicBezTo>
                  <a:cubicBezTo>
                    <a:pt x="101977" y="458620"/>
                    <a:pt x="0" y="353792"/>
                    <a:pt x="0" y="229310"/>
                  </a:cubicBezTo>
                  <a:cubicBezTo>
                    <a:pt x="0" y="101551"/>
                    <a:pt x="101977" y="0"/>
                    <a:pt x="23027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sz="2400" b="1"/>
            </a:p>
          </p:txBody>
        </p:sp>
        <p:sp>
          <p:nvSpPr>
            <p:cNvPr id="17" name="ïSļíḍe">
              <a:extLst>
                <a:ext uri="{FF2B5EF4-FFF2-40B4-BE49-F238E27FC236}">
                  <a16:creationId xmlns:a16="http://schemas.microsoft.com/office/drawing/2014/main" id="{8750AB2E-BAD3-4599-819B-A931A82C8006}"/>
                </a:ext>
              </a:extLst>
            </p:cNvPr>
            <p:cNvSpPr/>
            <p:nvPr/>
          </p:nvSpPr>
          <p:spPr bwMode="auto">
            <a:xfrm>
              <a:off x="3671202" y="3749178"/>
              <a:ext cx="549095" cy="549096"/>
            </a:xfrm>
            <a:custGeom>
              <a:avLst/>
              <a:gdLst>
                <a:gd name="T0" fmla="*/ 178 w 190"/>
                <a:gd name="T1" fmla="*/ 0 h 190"/>
                <a:gd name="T2" fmla="*/ 12 w 190"/>
                <a:gd name="T3" fmla="*/ 0 h 190"/>
                <a:gd name="T4" fmla="*/ 0 w 190"/>
                <a:gd name="T5" fmla="*/ 11 h 190"/>
                <a:gd name="T6" fmla="*/ 0 w 190"/>
                <a:gd name="T7" fmla="*/ 178 h 190"/>
                <a:gd name="T8" fmla="*/ 12 w 190"/>
                <a:gd name="T9" fmla="*/ 190 h 190"/>
                <a:gd name="T10" fmla="*/ 178 w 190"/>
                <a:gd name="T11" fmla="*/ 190 h 190"/>
                <a:gd name="T12" fmla="*/ 190 w 190"/>
                <a:gd name="T13" fmla="*/ 178 h 190"/>
                <a:gd name="T14" fmla="*/ 190 w 190"/>
                <a:gd name="T15" fmla="*/ 11 h 190"/>
                <a:gd name="T16" fmla="*/ 178 w 190"/>
                <a:gd name="T17" fmla="*/ 0 h 190"/>
                <a:gd name="T18" fmla="*/ 36 w 190"/>
                <a:gd name="T19" fmla="*/ 178 h 190"/>
                <a:gd name="T20" fmla="*/ 12 w 190"/>
                <a:gd name="T21" fmla="*/ 178 h 190"/>
                <a:gd name="T22" fmla="*/ 12 w 190"/>
                <a:gd name="T23" fmla="*/ 154 h 190"/>
                <a:gd name="T24" fmla="*/ 36 w 190"/>
                <a:gd name="T25" fmla="*/ 154 h 190"/>
                <a:gd name="T26" fmla="*/ 36 w 190"/>
                <a:gd name="T27" fmla="*/ 178 h 190"/>
                <a:gd name="T28" fmla="*/ 36 w 190"/>
                <a:gd name="T29" fmla="*/ 130 h 190"/>
                <a:gd name="T30" fmla="*/ 12 w 190"/>
                <a:gd name="T31" fmla="*/ 130 h 190"/>
                <a:gd name="T32" fmla="*/ 12 w 190"/>
                <a:gd name="T33" fmla="*/ 106 h 190"/>
                <a:gd name="T34" fmla="*/ 36 w 190"/>
                <a:gd name="T35" fmla="*/ 106 h 190"/>
                <a:gd name="T36" fmla="*/ 36 w 190"/>
                <a:gd name="T37" fmla="*/ 130 h 190"/>
                <a:gd name="T38" fmla="*/ 36 w 190"/>
                <a:gd name="T39" fmla="*/ 83 h 190"/>
                <a:gd name="T40" fmla="*/ 12 w 190"/>
                <a:gd name="T41" fmla="*/ 83 h 190"/>
                <a:gd name="T42" fmla="*/ 12 w 190"/>
                <a:gd name="T43" fmla="*/ 59 h 190"/>
                <a:gd name="T44" fmla="*/ 36 w 190"/>
                <a:gd name="T45" fmla="*/ 59 h 190"/>
                <a:gd name="T46" fmla="*/ 36 w 190"/>
                <a:gd name="T47" fmla="*/ 83 h 190"/>
                <a:gd name="T48" fmla="*/ 36 w 190"/>
                <a:gd name="T49" fmla="*/ 35 h 190"/>
                <a:gd name="T50" fmla="*/ 12 w 190"/>
                <a:gd name="T51" fmla="*/ 35 h 190"/>
                <a:gd name="T52" fmla="*/ 12 w 190"/>
                <a:gd name="T53" fmla="*/ 11 h 190"/>
                <a:gd name="T54" fmla="*/ 36 w 190"/>
                <a:gd name="T55" fmla="*/ 11 h 190"/>
                <a:gd name="T56" fmla="*/ 36 w 190"/>
                <a:gd name="T57" fmla="*/ 35 h 190"/>
                <a:gd name="T58" fmla="*/ 143 w 190"/>
                <a:gd name="T59" fmla="*/ 178 h 190"/>
                <a:gd name="T60" fmla="*/ 48 w 190"/>
                <a:gd name="T61" fmla="*/ 178 h 190"/>
                <a:gd name="T62" fmla="*/ 48 w 190"/>
                <a:gd name="T63" fmla="*/ 118 h 190"/>
                <a:gd name="T64" fmla="*/ 143 w 190"/>
                <a:gd name="T65" fmla="*/ 118 h 190"/>
                <a:gd name="T66" fmla="*/ 143 w 190"/>
                <a:gd name="T67" fmla="*/ 178 h 190"/>
                <a:gd name="T68" fmla="*/ 143 w 190"/>
                <a:gd name="T69" fmla="*/ 106 h 190"/>
                <a:gd name="T70" fmla="*/ 48 w 190"/>
                <a:gd name="T71" fmla="*/ 106 h 190"/>
                <a:gd name="T72" fmla="*/ 48 w 190"/>
                <a:gd name="T73" fmla="*/ 11 h 190"/>
                <a:gd name="T74" fmla="*/ 143 w 190"/>
                <a:gd name="T75" fmla="*/ 11 h 190"/>
                <a:gd name="T76" fmla="*/ 143 w 190"/>
                <a:gd name="T77" fmla="*/ 106 h 190"/>
                <a:gd name="T78" fmla="*/ 178 w 190"/>
                <a:gd name="T79" fmla="*/ 178 h 190"/>
                <a:gd name="T80" fmla="*/ 154 w 190"/>
                <a:gd name="T81" fmla="*/ 178 h 190"/>
                <a:gd name="T82" fmla="*/ 154 w 190"/>
                <a:gd name="T83" fmla="*/ 154 h 190"/>
                <a:gd name="T84" fmla="*/ 178 w 190"/>
                <a:gd name="T85" fmla="*/ 154 h 190"/>
                <a:gd name="T86" fmla="*/ 178 w 190"/>
                <a:gd name="T87" fmla="*/ 178 h 190"/>
                <a:gd name="T88" fmla="*/ 178 w 190"/>
                <a:gd name="T89" fmla="*/ 130 h 190"/>
                <a:gd name="T90" fmla="*/ 154 w 190"/>
                <a:gd name="T91" fmla="*/ 130 h 190"/>
                <a:gd name="T92" fmla="*/ 154 w 190"/>
                <a:gd name="T93" fmla="*/ 106 h 190"/>
                <a:gd name="T94" fmla="*/ 178 w 190"/>
                <a:gd name="T95" fmla="*/ 106 h 190"/>
                <a:gd name="T96" fmla="*/ 178 w 190"/>
                <a:gd name="T97" fmla="*/ 130 h 190"/>
                <a:gd name="T98" fmla="*/ 178 w 190"/>
                <a:gd name="T99" fmla="*/ 83 h 190"/>
                <a:gd name="T100" fmla="*/ 154 w 190"/>
                <a:gd name="T101" fmla="*/ 83 h 190"/>
                <a:gd name="T102" fmla="*/ 154 w 190"/>
                <a:gd name="T103" fmla="*/ 59 h 190"/>
                <a:gd name="T104" fmla="*/ 178 w 190"/>
                <a:gd name="T105" fmla="*/ 59 h 190"/>
                <a:gd name="T106" fmla="*/ 178 w 190"/>
                <a:gd name="T107" fmla="*/ 83 h 190"/>
                <a:gd name="T108" fmla="*/ 178 w 190"/>
                <a:gd name="T109" fmla="*/ 35 h 190"/>
                <a:gd name="T110" fmla="*/ 154 w 190"/>
                <a:gd name="T111" fmla="*/ 35 h 190"/>
                <a:gd name="T112" fmla="*/ 154 w 190"/>
                <a:gd name="T113" fmla="*/ 11 h 190"/>
                <a:gd name="T114" fmla="*/ 178 w 190"/>
                <a:gd name="T115" fmla="*/ 11 h 190"/>
                <a:gd name="T116" fmla="*/ 178 w 190"/>
                <a:gd name="T117" fmla="*/ 35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0" h="190">
                  <a:moveTo>
                    <a:pt x="178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8"/>
                    <a:pt x="0" y="178"/>
                    <a:pt x="0" y="178"/>
                  </a:cubicBezTo>
                  <a:cubicBezTo>
                    <a:pt x="0" y="184"/>
                    <a:pt x="5" y="190"/>
                    <a:pt x="12" y="190"/>
                  </a:cubicBezTo>
                  <a:cubicBezTo>
                    <a:pt x="178" y="190"/>
                    <a:pt x="178" y="190"/>
                    <a:pt x="178" y="190"/>
                  </a:cubicBezTo>
                  <a:cubicBezTo>
                    <a:pt x="185" y="190"/>
                    <a:pt x="190" y="184"/>
                    <a:pt x="190" y="178"/>
                  </a:cubicBezTo>
                  <a:cubicBezTo>
                    <a:pt x="190" y="11"/>
                    <a:pt x="190" y="11"/>
                    <a:pt x="190" y="11"/>
                  </a:cubicBezTo>
                  <a:cubicBezTo>
                    <a:pt x="190" y="5"/>
                    <a:pt x="185" y="0"/>
                    <a:pt x="178" y="0"/>
                  </a:cubicBezTo>
                  <a:moveTo>
                    <a:pt x="36" y="178"/>
                  </a:moveTo>
                  <a:cubicBezTo>
                    <a:pt x="12" y="178"/>
                    <a:pt x="12" y="178"/>
                    <a:pt x="12" y="178"/>
                  </a:cubicBezTo>
                  <a:cubicBezTo>
                    <a:pt x="12" y="154"/>
                    <a:pt x="12" y="154"/>
                    <a:pt x="12" y="154"/>
                  </a:cubicBezTo>
                  <a:cubicBezTo>
                    <a:pt x="36" y="154"/>
                    <a:pt x="36" y="154"/>
                    <a:pt x="36" y="154"/>
                  </a:cubicBezTo>
                  <a:lnTo>
                    <a:pt x="36" y="178"/>
                  </a:lnTo>
                  <a:close/>
                  <a:moveTo>
                    <a:pt x="36" y="130"/>
                  </a:moveTo>
                  <a:cubicBezTo>
                    <a:pt x="12" y="130"/>
                    <a:pt x="12" y="130"/>
                    <a:pt x="12" y="130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36" y="106"/>
                    <a:pt x="36" y="106"/>
                    <a:pt x="36" y="106"/>
                  </a:cubicBezTo>
                  <a:lnTo>
                    <a:pt x="36" y="130"/>
                  </a:lnTo>
                  <a:close/>
                  <a:moveTo>
                    <a:pt x="36" y="83"/>
                  </a:moveTo>
                  <a:cubicBezTo>
                    <a:pt x="12" y="83"/>
                    <a:pt x="12" y="83"/>
                    <a:pt x="12" y="83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36" y="59"/>
                    <a:pt x="36" y="59"/>
                    <a:pt x="36" y="59"/>
                  </a:cubicBezTo>
                  <a:lnTo>
                    <a:pt x="36" y="83"/>
                  </a:lnTo>
                  <a:close/>
                  <a:moveTo>
                    <a:pt x="36" y="35"/>
                  </a:moveTo>
                  <a:cubicBezTo>
                    <a:pt x="12" y="35"/>
                    <a:pt x="12" y="35"/>
                    <a:pt x="12" y="35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36" y="11"/>
                    <a:pt x="36" y="11"/>
                    <a:pt x="36" y="11"/>
                  </a:cubicBezTo>
                  <a:lnTo>
                    <a:pt x="36" y="35"/>
                  </a:lnTo>
                  <a:close/>
                  <a:moveTo>
                    <a:pt x="143" y="178"/>
                  </a:moveTo>
                  <a:cubicBezTo>
                    <a:pt x="48" y="178"/>
                    <a:pt x="48" y="178"/>
                    <a:pt x="48" y="178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143" y="118"/>
                    <a:pt x="143" y="118"/>
                    <a:pt x="143" y="118"/>
                  </a:cubicBezTo>
                  <a:lnTo>
                    <a:pt x="143" y="178"/>
                  </a:lnTo>
                  <a:close/>
                  <a:moveTo>
                    <a:pt x="143" y="106"/>
                  </a:moveTo>
                  <a:cubicBezTo>
                    <a:pt x="48" y="106"/>
                    <a:pt x="48" y="106"/>
                    <a:pt x="48" y="106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143" y="11"/>
                    <a:pt x="143" y="11"/>
                    <a:pt x="143" y="11"/>
                  </a:cubicBezTo>
                  <a:lnTo>
                    <a:pt x="143" y="106"/>
                  </a:lnTo>
                  <a:close/>
                  <a:moveTo>
                    <a:pt x="178" y="178"/>
                  </a:moveTo>
                  <a:cubicBezTo>
                    <a:pt x="154" y="178"/>
                    <a:pt x="154" y="178"/>
                    <a:pt x="154" y="178"/>
                  </a:cubicBezTo>
                  <a:cubicBezTo>
                    <a:pt x="154" y="154"/>
                    <a:pt x="154" y="154"/>
                    <a:pt x="154" y="154"/>
                  </a:cubicBezTo>
                  <a:cubicBezTo>
                    <a:pt x="178" y="154"/>
                    <a:pt x="178" y="154"/>
                    <a:pt x="178" y="154"/>
                  </a:cubicBezTo>
                  <a:lnTo>
                    <a:pt x="178" y="178"/>
                  </a:lnTo>
                  <a:close/>
                  <a:moveTo>
                    <a:pt x="178" y="130"/>
                  </a:moveTo>
                  <a:cubicBezTo>
                    <a:pt x="154" y="130"/>
                    <a:pt x="154" y="130"/>
                    <a:pt x="154" y="130"/>
                  </a:cubicBezTo>
                  <a:cubicBezTo>
                    <a:pt x="154" y="106"/>
                    <a:pt x="154" y="106"/>
                    <a:pt x="154" y="106"/>
                  </a:cubicBezTo>
                  <a:cubicBezTo>
                    <a:pt x="178" y="106"/>
                    <a:pt x="178" y="106"/>
                    <a:pt x="178" y="106"/>
                  </a:cubicBezTo>
                  <a:lnTo>
                    <a:pt x="178" y="130"/>
                  </a:lnTo>
                  <a:close/>
                  <a:moveTo>
                    <a:pt x="178" y="83"/>
                  </a:moveTo>
                  <a:cubicBezTo>
                    <a:pt x="154" y="83"/>
                    <a:pt x="154" y="83"/>
                    <a:pt x="154" y="83"/>
                  </a:cubicBezTo>
                  <a:cubicBezTo>
                    <a:pt x="154" y="59"/>
                    <a:pt x="154" y="59"/>
                    <a:pt x="154" y="59"/>
                  </a:cubicBezTo>
                  <a:cubicBezTo>
                    <a:pt x="178" y="59"/>
                    <a:pt x="178" y="59"/>
                    <a:pt x="178" y="59"/>
                  </a:cubicBezTo>
                  <a:lnTo>
                    <a:pt x="178" y="83"/>
                  </a:lnTo>
                  <a:close/>
                  <a:moveTo>
                    <a:pt x="178" y="35"/>
                  </a:moveTo>
                  <a:cubicBezTo>
                    <a:pt x="154" y="35"/>
                    <a:pt x="154" y="35"/>
                    <a:pt x="154" y="35"/>
                  </a:cubicBezTo>
                  <a:cubicBezTo>
                    <a:pt x="154" y="11"/>
                    <a:pt x="154" y="11"/>
                    <a:pt x="154" y="11"/>
                  </a:cubicBezTo>
                  <a:cubicBezTo>
                    <a:pt x="178" y="11"/>
                    <a:pt x="178" y="11"/>
                    <a:pt x="178" y="11"/>
                  </a:cubicBezTo>
                  <a:lnTo>
                    <a:pt x="178" y="3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10000"/>
            </a:bodyPr>
            <a:lstStyle/>
            <a:p>
              <a:pPr algn="ctr"/>
              <a:endParaRPr sz="2400" b="1"/>
            </a:p>
          </p:txBody>
        </p:sp>
        <p:sp>
          <p:nvSpPr>
            <p:cNvPr id="18" name="î$ļïḓé">
              <a:extLst>
                <a:ext uri="{FF2B5EF4-FFF2-40B4-BE49-F238E27FC236}">
                  <a16:creationId xmlns:a16="http://schemas.microsoft.com/office/drawing/2014/main" id="{3EE21493-5FBE-41CE-B3CD-993A2E788450}"/>
                </a:ext>
              </a:extLst>
            </p:cNvPr>
            <p:cNvSpPr/>
            <p:nvPr/>
          </p:nvSpPr>
          <p:spPr bwMode="auto">
            <a:xfrm>
              <a:off x="7575984" y="2230479"/>
              <a:ext cx="594287" cy="578988"/>
            </a:xfrm>
            <a:custGeom>
              <a:avLst/>
              <a:gdLst>
                <a:gd name="connsiteX0" fmla="*/ 265136 w 594287"/>
                <a:gd name="connsiteY0" fmla="*/ 45896 h 578988"/>
                <a:gd name="connsiteX1" fmla="*/ 265136 w 594287"/>
                <a:gd name="connsiteY1" fmla="*/ 313852 h 578988"/>
                <a:gd name="connsiteX2" fmla="*/ 533093 w 594287"/>
                <a:gd name="connsiteY2" fmla="*/ 313852 h 578988"/>
                <a:gd name="connsiteX3" fmla="*/ 265136 w 594287"/>
                <a:gd name="connsiteY3" fmla="*/ 578988 h 578988"/>
                <a:gd name="connsiteX4" fmla="*/ 0 w 594287"/>
                <a:gd name="connsiteY4" fmla="*/ 313852 h 578988"/>
                <a:gd name="connsiteX5" fmla="*/ 265136 w 594287"/>
                <a:gd name="connsiteY5" fmla="*/ 45896 h 578988"/>
                <a:gd name="connsiteX6" fmla="*/ 327152 w 594287"/>
                <a:gd name="connsiteY6" fmla="*/ 0 h 578988"/>
                <a:gd name="connsiteX7" fmla="*/ 594287 w 594287"/>
                <a:gd name="connsiteY7" fmla="*/ 268311 h 578988"/>
                <a:gd name="connsiteX8" fmla="*/ 327152 w 594287"/>
                <a:gd name="connsiteY8" fmla="*/ 268311 h 578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4287" h="578988">
                  <a:moveTo>
                    <a:pt x="265136" y="45896"/>
                  </a:moveTo>
                  <a:lnTo>
                    <a:pt x="265136" y="313852"/>
                  </a:lnTo>
                  <a:cubicBezTo>
                    <a:pt x="533093" y="313852"/>
                    <a:pt x="533093" y="313852"/>
                    <a:pt x="533093" y="313852"/>
                  </a:cubicBezTo>
                  <a:cubicBezTo>
                    <a:pt x="533093" y="460523"/>
                    <a:pt x="414628" y="578988"/>
                    <a:pt x="265136" y="578988"/>
                  </a:cubicBezTo>
                  <a:cubicBezTo>
                    <a:pt x="118465" y="578988"/>
                    <a:pt x="0" y="460523"/>
                    <a:pt x="0" y="313852"/>
                  </a:cubicBezTo>
                  <a:cubicBezTo>
                    <a:pt x="0" y="164361"/>
                    <a:pt x="118465" y="45896"/>
                    <a:pt x="265136" y="45896"/>
                  </a:cubicBezTo>
                  <a:close/>
                  <a:moveTo>
                    <a:pt x="327152" y="0"/>
                  </a:moveTo>
                  <a:cubicBezTo>
                    <a:pt x="473374" y="0"/>
                    <a:pt x="594287" y="118622"/>
                    <a:pt x="594287" y="268311"/>
                  </a:cubicBezTo>
                  <a:cubicBezTo>
                    <a:pt x="594287" y="268311"/>
                    <a:pt x="594287" y="268311"/>
                    <a:pt x="327152" y="268311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 sz="2400" b="1"/>
            </a:p>
          </p:txBody>
        </p:sp>
        <p:sp>
          <p:nvSpPr>
            <p:cNvPr id="19" name="ïṧļïḑè">
              <a:extLst>
                <a:ext uri="{FF2B5EF4-FFF2-40B4-BE49-F238E27FC236}">
                  <a16:creationId xmlns:a16="http://schemas.microsoft.com/office/drawing/2014/main" id="{7725120C-2F4B-450B-A3FA-0601B1230C72}"/>
                </a:ext>
              </a:extLst>
            </p:cNvPr>
            <p:cNvSpPr/>
            <p:nvPr/>
          </p:nvSpPr>
          <p:spPr bwMode="auto">
            <a:xfrm>
              <a:off x="8824675" y="3727027"/>
              <a:ext cx="711451" cy="631013"/>
            </a:xfrm>
            <a:custGeom>
              <a:avLst/>
              <a:gdLst>
                <a:gd name="T0" fmla="*/ 211 w 214"/>
                <a:gd name="T1" fmla="*/ 26 h 189"/>
                <a:gd name="T2" fmla="*/ 193 w 214"/>
                <a:gd name="T3" fmla="*/ 7 h 189"/>
                <a:gd name="T4" fmla="*/ 183 w 214"/>
                <a:gd name="T5" fmla="*/ 7 h 189"/>
                <a:gd name="T6" fmla="*/ 181 w 214"/>
                <a:gd name="T7" fmla="*/ 13 h 189"/>
                <a:gd name="T8" fmla="*/ 177 w 214"/>
                <a:gd name="T9" fmla="*/ 14 h 189"/>
                <a:gd name="T10" fmla="*/ 177 w 214"/>
                <a:gd name="T11" fmla="*/ 14 h 189"/>
                <a:gd name="T12" fmla="*/ 129 w 214"/>
                <a:gd name="T13" fmla="*/ 63 h 189"/>
                <a:gd name="T14" fmla="*/ 126 w 214"/>
                <a:gd name="T15" fmla="*/ 75 h 189"/>
                <a:gd name="T16" fmla="*/ 131 w 214"/>
                <a:gd name="T17" fmla="*/ 80 h 189"/>
                <a:gd name="T18" fmla="*/ 131 w 214"/>
                <a:gd name="T19" fmla="*/ 80 h 189"/>
                <a:gd name="T20" fmla="*/ 131 w 214"/>
                <a:gd name="T21" fmla="*/ 81 h 189"/>
                <a:gd name="T22" fmla="*/ 121 w 214"/>
                <a:gd name="T23" fmla="*/ 92 h 189"/>
                <a:gd name="T24" fmla="*/ 85 w 214"/>
                <a:gd name="T25" fmla="*/ 56 h 189"/>
                <a:gd name="T26" fmla="*/ 74 w 214"/>
                <a:gd name="T27" fmla="*/ 15 h 189"/>
                <a:gd name="T28" fmla="*/ 34 w 214"/>
                <a:gd name="T29" fmla="*/ 4 h 189"/>
                <a:gd name="T30" fmla="*/ 57 w 214"/>
                <a:gd name="T31" fmla="*/ 28 h 189"/>
                <a:gd name="T32" fmla="*/ 51 w 214"/>
                <a:gd name="T33" fmla="*/ 52 h 189"/>
                <a:gd name="T34" fmla="*/ 28 w 214"/>
                <a:gd name="T35" fmla="*/ 58 h 189"/>
                <a:gd name="T36" fmla="*/ 4 w 214"/>
                <a:gd name="T37" fmla="*/ 34 h 189"/>
                <a:gd name="T38" fmla="*/ 15 w 214"/>
                <a:gd name="T39" fmla="*/ 75 h 189"/>
                <a:gd name="T40" fmla="*/ 58 w 214"/>
                <a:gd name="T41" fmla="*/ 85 h 189"/>
                <a:gd name="T42" fmla="*/ 58 w 214"/>
                <a:gd name="T43" fmla="*/ 85 h 189"/>
                <a:gd name="T44" fmla="*/ 92 w 214"/>
                <a:gd name="T45" fmla="*/ 120 h 189"/>
                <a:gd name="T46" fmla="*/ 60 w 214"/>
                <a:gd name="T47" fmla="*/ 153 h 189"/>
                <a:gd name="T48" fmla="*/ 58 w 214"/>
                <a:gd name="T49" fmla="*/ 151 h 189"/>
                <a:gd name="T50" fmla="*/ 49 w 214"/>
                <a:gd name="T51" fmla="*/ 158 h 189"/>
                <a:gd name="T52" fmla="*/ 33 w 214"/>
                <a:gd name="T53" fmla="*/ 183 h 189"/>
                <a:gd name="T54" fmla="*/ 37 w 214"/>
                <a:gd name="T55" fmla="*/ 187 h 189"/>
                <a:gd name="T56" fmla="*/ 61 w 214"/>
                <a:gd name="T57" fmla="*/ 171 h 189"/>
                <a:gd name="T58" fmla="*/ 69 w 214"/>
                <a:gd name="T59" fmla="*/ 162 h 189"/>
                <a:gd name="T60" fmla="*/ 67 w 214"/>
                <a:gd name="T61" fmla="*/ 160 h 189"/>
                <a:gd name="T62" fmla="*/ 100 w 214"/>
                <a:gd name="T63" fmla="*/ 127 h 189"/>
                <a:gd name="T64" fmla="*/ 156 w 214"/>
                <a:gd name="T65" fmla="*/ 184 h 189"/>
                <a:gd name="T66" fmla="*/ 170 w 214"/>
                <a:gd name="T67" fmla="*/ 189 h 189"/>
                <a:gd name="T68" fmla="*/ 184 w 214"/>
                <a:gd name="T69" fmla="*/ 184 h 189"/>
                <a:gd name="T70" fmla="*/ 184 w 214"/>
                <a:gd name="T71" fmla="*/ 155 h 189"/>
                <a:gd name="T72" fmla="*/ 128 w 214"/>
                <a:gd name="T73" fmla="*/ 99 h 189"/>
                <a:gd name="T74" fmla="*/ 139 w 214"/>
                <a:gd name="T75" fmla="*/ 89 h 189"/>
                <a:gd name="T76" fmla="*/ 143 w 214"/>
                <a:gd name="T77" fmla="*/ 93 h 189"/>
                <a:gd name="T78" fmla="*/ 156 w 214"/>
                <a:gd name="T79" fmla="*/ 90 h 189"/>
                <a:gd name="T80" fmla="*/ 204 w 214"/>
                <a:gd name="T81" fmla="*/ 42 h 189"/>
                <a:gd name="T82" fmla="*/ 205 w 214"/>
                <a:gd name="T83" fmla="*/ 41 h 189"/>
                <a:gd name="T84" fmla="*/ 204 w 214"/>
                <a:gd name="T85" fmla="*/ 41 h 189"/>
                <a:gd name="T86" fmla="*/ 206 w 214"/>
                <a:gd name="T87" fmla="*/ 37 h 189"/>
                <a:gd name="T88" fmla="*/ 211 w 214"/>
                <a:gd name="T89" fmla="*/ 36 h 189"/>
                <a:gd name="T90" fmla="*/ 211 w 214"/>
                <a:gd name="T91" fmla="*/ 26 h 189"/>
                <a:gd name="T92" fmla="*/ 172 w 214"/>
                <a:gd name="T93" fmla="*/ 165 h 189"/>
                <a:gd name="T94" fmla="*/ 180 w 214"/>
                <a:gd name="T95" fmla="*/ 173 h 189"/>
                <a:gd name="T96" fmla="*/ 172 w 214"/>
                <a:gd name="T97" fmla="*/ 180 h 189"/>
                <a:gd name="T98" fmla="*/ 164 w 214"/>
                <a:gd name="T99" fmla="*/ 173 h 189"/>
                <a:gd name="T100" fmla="*/ 172 w 214"/>
                <a:gd name="T101" fmla="*/ 165 h 189"/>
                <a:gd name="T102" fmla="*/ 145 w 214"/>
                <a:gd name="T103" fmla="*/ 66 h 189"/>
                <a:gd name="T104" fmla="*/ 142 w 214"/>
                <a:gd name="T105" fmla="*/ 62 h 189"/>
                <a:gd name="T106" fmla="*/ 178 w 214"/>
                <a:gd name="T107" fmla="*/ 26 h 189"/>
                <a:gd name="T108" fmla="*/ 181 w 214"/>
                <a:gd name="T109" fmla="*/ 29 h 189"/>
                <a:gd name="T110" fmla="*/ 145 w 214"/>
                <a:gd name="T111" fmla="*/ 66 h 189"/>
                <a:gd name="T112" fmla="*/ 156 w 214"/>
                <a:gd name="T113" fmla="*/ 77 h 189"/>
                <a:gd name="T114" fmla="*/ 153 w 214"/>
                <a:gd name="T115" fmla="*/ 74 h 189"/>
                <a:gd name="T116" fmla="*/ 189 w 214"/>
                <a:gd name="T117" fmla="*/ 38 h 189"/>
                <a:gd name="T118" fmla="*/ 193 w 214"/>
                <a:gd name="T119" fmla="*/ 41 h 189"/>
                <a:gd name="T120" fmla="*/ 156 w 214"/>
                <a:gd name="T121" fmla="*/ 77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4" h="189">
                  <a:moveTo>
                    <a:pt x="211" y="26"/>
                  </a:moveTo>
                  <a:cubicBezTo>
                    <a:pt x="193" y="7"/>
                    <a:pt x="193" y="7"/>
                    <a:pt x="193" y="7"/>
                  </a:cubicBezTo>
                  <a:cubicBezTo>
                    <a:pt x="190" y="5"/>
                    <a:pt x="186" y="5"/>
                    <a:pt x="183" y="7"/>
                  </a:cubicBezTo>
                  <a:cubicBezTo>
                    <a:pt x="182" y="9"/>
                    <a:pt x="181" y="11"/>
                    <a:pt x="181" y="13"/>
                  </a:cubicBezTo>
                  <a:cubicBezTo>
                    <a:pt x="180" y="13"/>
                    <a:pt x="179" y="13"/>
                    <a:pt x="177" y="14"/>
                  </a:cubicBezTo>
                  <a:cubicBezTo>
                    <a:pt x="177" y="14"/>
                    <a:pt x="177" y="14"/>
                    <a:pt x="177" y="14"/>
                  </a:cubicBezTo>
                  <a:cubicBezTo>
                    <a:pt x="129" y="63"/>
                    <a:pt x="129" y="63"/>
                    <a:pt x="129" y="63"/>
                  </a:cubicBezTo>
                  <a:cubicBezTo>
                    <a:pt x="129" y="67"/>
                    <a:pt x="128" y="72"/>
                    <a:pt x="126" y="75"/>
                  </a:cubicBezTo>
                  <a:cubicBezTo>
                    <a:pt x="131" y="80"/>
                    <a:pt x="131" y="80"/>
                    <a:pt x="131" y="80"/>
                  </a:cubicBezTo>
                  <a:cubicBezTo>
                    <a:pt x="131" y="80"/>
                    <a:pt x="131" y="80"/>
                    <a:pt x="131" y="80"/>
                  </a:cubicBezTo>
                  <a:cubicBezTo>
                    <a:pt x="131" y="81"/>
                    <a:pt x="131" y="81"/>
                    <a:pt x="131" y="81"/>
                  </a:cubicBezTo>
                  <a:cubicBezTo>
                    <a:pt x="121" y="92"/>
                    <a:pt x="121" y="92"/>
                    <a:pt x="121" y="92"/>
                  </a:cubicBezTo>
                  <a:cubicBezTo>
                    <a:pt x="85" y="56"/>
                    <a:pt x="85" y="56"/>
                    <a:pt x="85" y="56"/>
                  </a:cubicBezTo>
                  <a:cubicBezTo>
                    <a:pt x="89" y="42"/>
                    <a:pt x="86" y="26"/>
                    <a:pt x="74" y="15"/>
                  </a:cubicBezTo>
                  <a:cubicBezTo>
                    <a:pt x="63" y="4"/>
                    <a:pt x="48" y="0"/>
                    <a:pt x="34" y="4"/>
                  </a:cubicBezTo>
                  <a:cubicBezTo>
                    <a:pt x="57" y="28"/>
                    <a:pt x="57" y="28"/>
                    <a:pt x="57" y="28"/>
                  </a:cubicBezTo>
                  <a:cubicBezTo>
                    <a:pt x="51" y="52"/>
                    <a:pt x="51" y="52"/>
                    <a:pt x="51" y="52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0" y="48"/>
                    <a:pt x="4" y="64"/>
                    <a:pt x="15" y="75"/>
                  </a:cubicBezTo>
                  <a:cubicBezTo>
                    <a:pt x="26" y="86"/>
                    <a:pt x="43" y="90"/>
                    <a:pt x="58" y="85"/>
                  </a:cubicBezTo>
                  <a:cubicBezTo>
                    <a:pt x="58" y="85"/>
                    <a:pt x="58" y="85"/>
                    <a:pt x="58" y="85"/>
                  </a:cubicBezTo>
                  <a:cubicBezTo>
                    <a:pt x="92" y="120"/>
                    <a:pt x="92" y="120"/>
                    <a:pt x="92" y="120"/>
                  </a:cubicBezTo>
                  <a:cubicBezTo>
                    <a:pt x="60" y="153"/>
                    <a:pt x="60" y="153"/>
                    <a:pt x="60" y="153"/>
                  </a:cubicBezTo>
                  <a:cubicBezTo>
                    <a:pt x="58" y="151"/>
                    <a:pt x="58" y="151"/>
                    <a:pt x="58" y="151"/>
                  </a:cubicBezTo>
                  <a:cubicBezTo>
                    <a:pt x="49" y="158"/>
                    <a:pt x="49" y="158"/>
                    <a:pt x="49" y="158"/>
                  </a:cubicBezTo>
                  <a:cubicBezTo>
                    <a:pt x="33" y="183"/>
                    <a:pt x="33" y="183"/>
                    <a:pt x="33" y="183"/>
                  </a:cubicBezTo>
                  <a:cubicBezTo>
                    <a:pt x="37" y="187"/>
                    <a:pt x="37" y="187"/>
                    <a:pt x="37" y="187"/>
                  </a:cubicBezTo>
                  <a:cubicBezTo>
                    <a:pt x="61" y="171"/>
                    <a:pt x="61" y="171"/>
                    <a:pt x="61" y="171"/>
                  </a:cubicBezTo>
                  <a:cubicBezTo>
                    <a:pt x="69" y="162"/>
                    <a:pt x="69" y="162"/>
                    <a:pt x="69" y="162"/>
                  </a:cubicBezTo>
                  <a:cubicBezTo>
                    <a:pt x="67" y="160"/>
                    <a:pt x="67" y="160"/>
                    <a:pt x="67" y="160"/>
                  </a:cubicBezTo>
                  <a:cubicBezTo>
                    <a:pt x="100" y="127"/>
                    <a:pt x="100" y="127"/>
                    <a:pt x="100" y="127"/>
                  </a:cubicBezTo>
                  <a:cubicBezTo>
                    <a:pt x="156" y="184"/>
                    <a:pt x="156" y="184"/>
                    <a:pt x="156" y="184"/>
                  </a:cubicBezTo>
                  <a:cubicBezTo>
                    <a:pt x="160" y="188"/>
                    <a:pt x="165" y="189"/>
                    <a:pt x="170" y="189"/>
                  </a:cubicBezTo>
                  <a:cubicBezTo>
                    <a:pt x="175" y="189"/>
                    <a:pt x="180" y="188"/>
                    <a:pt x="184" y="184"/>
                  </a:cubicBezTo>
                  <a:cubicBezTo>
                    <a:pt x="192" y="176"/>
                    <a:pt x="192" y="163"/>
                    <a:pt x="184" y="155"/>
                  </a:cubicBezTo>
                  <a:cubicBezTo>
                    <a:pt x="128" y="99"/>
                    <a:pt x="128" y="99"/>
                    <a:pt x="128" y="99"/>
                  </a:cubicBezTo>
                  <a:cubicBezTo>
                    <a:pt x="139" y="89"/>
                    <a:pt x="139" y="89"/>
                    <a:pt x="139" y="89"/>
                  </a:cubicBezTo>
                  <a:cubicBezTo>
                    <a:pt x="143" y="93"/>
                    <a:pt x="143" y="93"/>
                    <a:pt x="143" y="93"/>
                  </a:cubicBezTo>
                  <a:cubicBezTo>
                    <a:pt x="147" y="91"/>
                    <a:pt x="151" y="90"/>
                    <a:pt x="156" y="90"/>
                  </a:cubicBezTo>
                  <a:cubicBezTo>
                    <a:pt x="204" y="42"/>
                    <a:pt x="204" y="42"/>
                    <a:pt x="204" y="42"/>
                  </a:cubicBezTo>
                  <a:cubicBezTo>
                    <a:pt x="205" y="41"/>
                    <a:pt x="205" y="41"/>
                    <a:pt x="205" y="41"/>
                  </a:cubicBezTo>
                  <a:cubicBezTo>
                    <a:pt x="204" y="41"/>
                    <a:pt x="204" y="41"/>
                    <a:pt x="204" y="41"/>
                  </a:cubicBezTo>
                  <a:cubicBezTo>
                    <a:pt x="205" y="40"/>
                    <a:pt x="206" y="39"/>
                    <a:pt x="206" y="37"/>
                  </a:cubicBezTo>
                  <a:cubicBezTo>
                    <a:pt x="208" y="38"/>
                    <a:pt x="210" y="37"/>
                    <a:pt x="211" y="36"/>
                  </a:cubicBezTo>
                  <a:cubicBezTo>
                    <a:pt x="214" y="33"/>
                    <a:pt x="214" y="29"/>
                    <a:pt x="211" y="26"/>
                  </a:cubicBezTo>
                  <a:moveTo>
                    <a:pt x="172" y="165"/>
                  </a:moveTo>
                  <a:cubicBezTo>
                    <a:pt x="176" y="165"/>
                    <a:pt x="180" y="168"/>
                    <a:pt x="180" y="173"/>
                  </a:cubicBezTo>
                  <a:cubicBezTo>
                    <a:pt x="180" y="177"/>
                    <a:pt x="176" y="180"/>
                    <a:pt x="172" y="180"/>
                  </a:cubicBezTo>
                  <a:cubicBezTo>
                    <a:pt x="168" y="180"/>
                    <a:pt x="164" y="177"/>
                    <a:pt x="164" y="173"/>
                  </a:cubicBezTo>
                  <a:cubicBezTo>
                    <a:pt x="164" y="168"/>
                    <a:pt x="168" y="165"/>
                    <a:pt x="172" y="165"/>
                  </a:cubicBezTo>
                  <a:moveTo>
                    <a:pt x="145" y="66"/>
                  </a:moveTo>
                  <a:cubicBezTo>
                    <a:pt x="142" y="62"/>
                    <a:pt x="142" y="62"/>
                    <a:pt x="142" y="62"/>
                  </a:cubicBezTo>
                  <a:cubicBezTo>
                    <a:pt x="178" y="26"/>
                    <a:pt x="178" y="26"/>
                    <a:pt x="178" y="26"/>
                  </a:cubicBezTo>
                  <a:cubicBezTo>
                    <a:pt x="181" y="29"/>
                    <a:pt x="181" y="29"/>
                    <a:pt x="181" y="29"/>
                  </a:cubicBezTo>
                  <a:lnTo>
                    <a:pt x="145" y="66"/>
                  </a:lnTo>
                  <a:close/>
                  <a:moveTo>
                    <a:pt x="156" y="77"/>
                  </a:moveTo>
                  <a:cubicBezTo>
                    <a:pt x="153" y="74"/>
                    <a:pt x="153" y="74"/>
                    <a:pt x="153" y="74"/>
                  </a:cubicBezTo>
                  <a:cubicBezTo>
                    <a:pt x="189" y="38"/>
                    <a:pt x="189" y="38"/>
                    <a:pt x="189" y="38"/>
                  </a:cubicBezTo>
                  <a:cubicBezTo>
                    <a:pt x="193" y="41"/>
                    <a:pt x="193" y="41"/>
                    <a:pt x="193" y="41"/>
                  </a:cubicBezTo>
                  <a:lnTo>
                    <a:pt x="156" y="7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sz="2400" b="1"/>
            </a:p>
          </p:txBody>
        </p:sp>
        <p:sp>
          <p:nvSpPr>
            <p:cNvPr id="20" name="ïṩḷíḓè">
              <a:extLst>
                <a:ext uri="{FF2B5EF4-FFF2-40B4-BE49-F238E27FC236}">
                  <a16:creationId xmlns:a16="http://schemas.microsoft.com/office/drawing/2014/main" id="{DB8B720C-50C4-420A-9325-1B8730468600}"/>
                </a:ext>
              </a:extLst>
            </p:cNvPr>
            <p:cNvSpPr/>
            <p:nvPr/>
          </p:nvSpPr>
          <p:spPr bwMode="auto">
            <a:xfrm>
              <a:off x="6220489" y="3742642"/>
              <a:ext cx="652943" cy="611796"/>
            </a:xfrm>
            <a:custGeom>
              <a:avLst/>
              <a:gdLst>
                <a:gd name="connsiteX0" fmla="*/ 204654 w 652943"/>
                <a:gd name="connsiteY0" fmla="*/ 530584 h 611796"/>
                <a:gd name="connsiteX1" fmla="*/ 204654 w 652943"/>
                <a:gd name="connsiteY1" fmla="*/ 569566 h 611796"/>
                <a:gd name="connsiteX2" fmla="*/ 448289 w 652943"/>
                <a:gd name="connsiteY2" fmla="*/ 569566 h 611796"/>
                <a:gd name="connsiteX3" fmla="*/ 448289 w 652943"/>
                <a:gd name="connsiteY3" fmla="*/ 530584 h 611796"/>
                <a:gd name="connsiteX4" fmla="*/ 204654 w 652943"/>
                <a:gd name="connsiteY4" fmla="*/ 448289 h 611796"/>
                <a:gd name="connsiteX5" fmla="*/ 204654 w 652943"/>
                <a:gd name="connsiteY5" fmla="*/ 489437 h 611796"/>
                <a:gd name="connsiteX6" fmla="*/ 448289 w 652943"/>
                <a:gd name="connsiteY6" fmla="*/ 489437 h 611796"/>
                <a:gd name="connsiteX7" fmla="*/ 448289 w 652943"/>
                <a:gd name="connsiteY7" fmla="*/ 448289 h 611796"/>
                <a:gd name="connsiteX8" fmla="*/ 163506 w 652943"/>
                <a:gd name="connsiteY8" fmla="*/ 407142 h 611796"/>
                <a:gd name="connsiteX9" fmla="*/ 489436 w 652943"/>
                <a:gd name="connsiteY9" fmla="*/ 407142 h 611796"/>
                <a:gd name="connsiteX10" fmla="*/ 489436 w 652943"/>
                <a:gd name="connsiteY10" fmla="*/ 489437 h 611796"/>
                <a:gd name="connsiteX11" fmla="*/ 489436 w 652943"/>
                <a:gd name="connsiteY11" fmla="*/ 611796 h 611796"/>
                <a:gd name="connsiteX12" fmla="*/ 163506 w 652943"/>
                <a:gd name="connsiteY12" fmla="*/ 611796 h 611796"/>
                <a:gd name="connsiteX13" fmla="*/ 163506 w 652943"/>
                <a:gd name="connsiteY13" fmla="*/ 489437 h 611796"/>
                <a:gd name="connsiteX14" fmla="*/ 82913 w 652943"/>
                <a:gd name="connsiteY14" fmla="*/ 121276 h 611796"/>
                <a:gd name="connsiteX15" fmla="*/ 121779 w 652943"/>
                <a:gd name="connsiteY15" fmla="*/ 121276 h 611796"/>
                <a:gd name="connsiteX16" fmla="*/ 121779 w 652943"/>
                <a:gd name="connsiteY16" fmla="*/ 204242 h 611796"/>
                <a:gd name="connsiteX17" fmla="*/ 121779 w 652943"/>
                <a:gd name="connsiteY17" fmla="*/ 245724 h 611796"/>
                <a:gd name="connsiteX18" fmla="*/ 531164 w 652943"/>
                <a:gd name="connsiteY18" fmla="*/ 245724 h 611796"/>
                <a:gd name="connsiteX19" fmla="*/ 531164 w 652943"/>
                <a:gd name="connsiteY19" fmla="*/ 204242 h 611796"/>
                <a:gd name="connsiteX20" fmla="*/ 531164 w 652943"/>
                <a:gd name="connsiteY20" fmla="*/ 121276 h 611796"/>
                <a:gd name="connsiteX21" fmla="*/ 570030 w 652943"/>
                <a:gd name="connsiteY21" fmla="*/ 121276 h 611796"/>
                <a:gd name="connsiteX22" fmla="*/ 652943 w 652943"/>
                <a:gd name="connsiteY22" fmla="*/ 204242 h 611796"/>
                <a:gd name="connsiteX23" fmla="*/ 652943 w 652943"/>
                <a:gd name="connsiteY23" fmla="*/ 406470 h 611796"/>
                <a:gd name="connsiteX24" fmla="*/ 570030 w 652943"/>
                <a:gd name="connsiteY24" fmla="*/ 489436 h 611796"/>
                <a:gd name="connsiteX25" fmla="*/ 531164 w 652943"/>
                <a:gd name="connsiteY25" fmla="*/ 489436 h 611796"/>
                <a:gd name="connsiteX26" fmla="*/ 531164 w 652943"/>
                <a:gd name="connsiteY26" fmla="*/ 406470 h 611796"/>
                <a:gd name="connsiteX27" fmla="*/ 531164 w 652943"/>
                <a:gd name="connsiteY27" fmla="*/ 367580 h 611796"/>
                <a:gd name="connsiteX28" fmla="*/ 121779 w 652943"/>
                <a:gd name="connsiteY28" fmla="*/ 367580 h 611796"/>
                <a:gd name="connsiteX29" fmla="*/ 121779 w 652943"/>
                <a:gd name="connsiteY29" fmla="*/ 406470 h 611796"/>
                <a:gd name="connsiteX30" fmla="*/ 121779 w 652943"/>
                <a:gd name="connsiteY30" fmla="*/ 489436 h 611796"/>
                <a:gd name="connsiteX31" fmla="*/ 82913 w 652943"/>
                <a:gd name="connsiteY31" fmla="*/ 489436 h 611796"/>
                <a:gd name="connsiteX32" fmla="*/ 0 w 652943"/>
                <a:gd name="connsiteY32" fmla="*/ 406470 h 611796"/>
                <a:gd name="connsiteX33" fmla="*/ 0 w 652943"/>
                <a:gd name="connsiteY33" fmla="*/ 204242 h 611796"/>
                <a:gd name="connsiteX34" fmla="*/ 82913 w 652943"/>
                <a:gd name="connsiteY34" fmla="*/ 121276 h 611796"/>
                <a:gd name="connsiteX35" fmla="*/ 163506 w 652943"/>
                <a:gd name="connsiteY35" fmla="*/ 0 h 611796"/>
                <a:gd name="connsiteX36" fmla="*/ 489436 w 652943"/>
                <a:gd name="connsiteY36" fmla="*/ 0 h 611796"/>
                <a:gd name="connsiteX37" fmla="*/ 489436 w 652943"/>
                <a:gd name="connsiteY37" fmla="*/ 121276 h 611796"/>
                <a:gd name="connsiteX38" fmla="*/ 489436 w 652943"/>
                <a:gd name="connsiteY38" fmla="*/ 204654 h 611796"/>
                <a:gd name="connsiteX39" fmla="*/ 163506 w 652943"/>
                <a:gd name="connsiteY39" fmla="*/ 204654 h 611796"/>
                <a:gd name="connsiteX40" fmla="*/ 163506 w 652943"/>
                <a:gd name="connsiteY40" fmla="*/ 121276 h 611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652943" h="611796">
                  <a:moveTo>
                    <a:pt x="204654" y="530584"/>
                  </a:moveTo>
                  <a:lnTo>
                    <a:pt x="204654" y="569566"/>
                  </a:lnTo>
                  <a:lnTo>
                    <a:pt x="448289" y="569566"/>
                  </a:lnTo>
                  <a:lnTo>
                    <a:pt x="448289" y="530584"/>
                  </a:lnTo>
                  <a:close/>
                  <a:moveTo>
                    <a:pt x="204654" y="448289"/>
                  </a:moveTo>
                  <a:lnTo>
                    <a:pt x="204654" y="489437"/>
                  </a:lnTo>
                  <a:lnTo>
                    <a:pt x="448289" y="489437"/>
                  </a:lnTo>
                  <a:lnTo>
                    <a:pt x="448289" y="448289"/>
                  </a:lnTo>
                  <a:close/>
                  <a:moveTo>
                    <a:pt x="163506" y="407142"/>
                  </a:moveTo>
                  <a:lnTo>
                    <a:pt x="489436" y="407142"/>
                  </a:lnTo>
                  <a:lnTo>
                    <a:pt x="489436" y="489437"/>
                  </a:lnTo>
                  <a:lnTo>
                    <a:pt x="489436" y="611796"/>
                  </a:lnTo>
                  <a:lnTo>
                    <a:pt x="163506" y="611796"/>
                  </a:lnTo>
                  <a:lnTo>
                    <a:pt x="163506" y="489437"/>
                  </a:lnTo>
                  <a:close/>
                  <a:moveTo>
                    <a:pt x="82913" y="121276"/>
                  </a:moveTo>
                  <a:cubicBezTo>
                    <a:pt x="82913" y="121276"/>
                    <a:pt x="82913" y="121276"/>
                    <a:pt x="121779" y="121276"/>
                  </a:cubicBezTo>
                  <a:cubicBezTo>
                    <a:pt x="121779" y="121276"/>
                    <a:pt x="121779" y="121276"/>
                    <a:pt x="121779" y="204242"/>
                  </a:cubicBezTo>
                  <a:cubicBezTo>
                    <a:pt x="121779" y="204242"/>
                    <a:pt x="121779" y="204242"/>
                    <a:pt x="121779" y="245724"/>
                  </a:cubicBezTo>
                  <a:cubicBezTo>
                    <a:pt x="121779" y="245724"/>
                    <a:pt x="121779" y="245724"/>
                    <a:pt x="531164" y="245724"/>
                  </a:cubicBezTo>
                  <a:cubicBezTo>
                    <a:pt x="531164" y="245724"/>
                    <a:pt x="531164" y="245724"/>
                    <a:pt x="531164" y="204242"/>
                  </a:cubicBezTo>
                  <a:cubicBezTo>
                    <a:pt x="531164" y="204242"/>
                    <a:pt x="531164" y="204242"/>
                    <a:pt x="531164" y="121276"/>
                  </a:cubicBezTo>
                  <a:cubicBezTo>
                    <a:pt x="531164" y="121276"/>
                    <a:pt x="531164" y="121276"/>
                    <a:pt x="570030" y="121276"/>
                  </a:cubicBezTo>
                  <a:cubicBezTo>
                    <a:pt x="611487" y="121276"/>
                    <a:pt x="652943" y="162759"/>
                    <a:pt x="652943" y="204242"/>
                  </a:cubicBezTo>
                  <a:cubicBezTo>
                    <a:pt x="652943" y="204242"/>
                    <a:pt x="652943" y="204242"/>
                    <a:pt x="652943" y="406470"/>
                  </a:cubicBezTo>
                  <a:cubicBezTo>
                    <a:pt x="652943" y="447953"/>
                    <a:pt x="611487" y="489436"/>
                    <a:pt x="570030" y="489436"/>
                  </a:cubicBezTo>
                  <a:cubicBezTo>
                    <a:pt x="570030" y="489436"/>
                    <a:pt x="570030" y="489436"/>
                    <a:pt x="531164" y="489436"/>
                  </a:cubicBezTo>
                  <a:cubicBezTo>
                    <a:pt x="531164" y="489436"/>
                    <a:pt x="531164" y="489436"/>
                    <a:pt x="531164" y="406470"/>
                  </a:cubicBezTo>
                  <a:cubicBezTo>
                    <a:pt x="531164" y="406470"/>
                    <a:pt x="531164" y="406470"/>
                    <a:pt x="531164" y="367580"/>
                  </a:cubicBezTo>
                  <a:cubicBezTo>
                    <a:pt x="531164" y="367580"/>
                    <a:pt x="531164" y="367580"/>
                    <a:pt x="121779" y="367580"/>
                  </a:cubicBezTo>
                  <a:cubicBezTo>
                    <a:pt x="121779" y="367580"/>
                    <a:pt x="121779" y="367580"/>
                    <a:pt x="121779" y="406470"/>
                  </a:cubicBezTo>
                  <a:cubicBezTo>
                    <a:pt x="121779" y="406470"/>
                    <a:pt x="121779" y="406470"/>
                    <a:pt x="121779" y="489436"/>
                  </a:cubicBezTo>
                  <a:cubicBezTo>
                    <a:pt x="121779" y="489436"/>
                    <a:pt x="121779" y="489436"/>
                    <a:pt x="82913" y="489436"/>
                  </a:cubicBezTo>
                  <a:cubicBezTo>
                    <a:pt x="41456" y="489436"/>
                    <a:pt x="0" y="447953"/>
                    <a:pt x="0" y="406470"/>
                  </a:cubicBezTo>
                  <a:cubicBezTo>
                    <a:pt x="0" y="406470"/>
                    <a:pt x="0" y="406470"/>
                    <a:pt x="0" y="204242"/>
                  </a:cubicBezTo>
                  <a:cubicBezTo>
                    <a:pt x="0" y="162759"/>
                    <a:pt x="41456" y="121276"/>
                    <a:pt x="82913" y="121276"/>
                  </a:cubicBezTo>
                  <a:close/>
                  <a:moveTo>
                    <a:pt x="163506" y="0"/>
                  </a:moveTo>
                  <a:lnTo>
                    <a:pt x="489436" y="0"/>
                  </a:lnTo>
                  <a:lnTo>
                    <a:pt x="489436" y="121276"/>
                  </a:lnTo>
                  <a:lnTo>
                    <a:pt x="489436" y="204654"/>
                  </a:lnTo>
                  <a:lnTo>
                    <a:pt x="163506" y="204654"/>
                  </a:lnTo>
                  <a:lnTo>
                    <a:pt x="163506" y="12127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sz="2400" b="1"/>
            </a:p>
          </p:txBody>
        </p:sp>
        <p:sp>
          <p:nvSpPr>
            <p:cNvPr id="21" name="isľïḑé">
              <a:extLst>
                <a:ext uri="{FF2B5EF4-FFF2-40B4-BE49-F238E27FC236}">
                  <a16:creationId xmlns:a16="http://schemas.microsoft.com/office/drawing/2014/main" id="{1DDB178A-177F-4053-AAD1-9DF873E03F1C}"/>
                </a:ext>
              </a:extLst>
            </p:cNvPr>
            <p:cNvSpPr/>
            <p:nvPr/>
          </p:nvSpPr>
          <p:spPr bwMode="auto">
            <a:xfrm>
              <a:off x="10077584" y="2312951"/>
              <a:ext cx="721273" cy="453704"/>
            </a:xfrm>
            <a:custGeom>
              <a:avLst/>
              <a:gdLst>
                <a:gd name="T0" fmla="*/ 211 w 260"/>
                <a:gd name="T1" fmla="*/ 65 h 162"/>
                <a:gd name="T2" fmla="*/ 146 w 260"/>
                <a:gd name="T3" fmla="*/ 0 h 162"/>
                <a:gd name="T4" fmla="*/ 90 w 260"/>
                <a:gd name="T5" fmla="*/ 33 h 162"/>
                <a:gd name="T6" fmla="*/ 81 w 260"/>
                <a:gd name="T7" fmla="*/ 32 h 162"/>
                <a:gd name="T8" fmla="*/ 35 w 260"/>
                <a:gd name="T9" fmla="*/ 67 h 162"/>
                <a:gd name="T10" fmla="*/ 0 w 260"/>
                <a:gd name="T11" fmla="*/ 114 h 162"/>
                <a:gd name="T12" fmla="*/ 49 w 260"/>
                <a:gd name="T13" fmla="*/ 162 h 162"/>
                <a:gd name="T14" fmla="*/ 211 w 260"/>
                <a:gd name="T15" fmla="*/ 162 h 162"/>
                <a:gd name="T16" fmla="*/ 260 w 260"/>
                <a:gd name="T17" fmla="*/ 114 h 162"/>
                <a:gd name="T18" fmla="*/ 211 w 260"/>
                <a:gd name="T19" fmla="*/ 65 h 162"/>
                <a:gd name="T20" fmla="*/ 130 w 260"/>
                <a:gd name="T21" fmla="*/ 146 h 162"/>
                <a:gd name="T22" fmla="*/ 81 w 260"/>
                <a:gd name="T23" fmla="*/ 81 h 162"/>
                <a:gd name="T24" fmla="*/ 114 w 260"/>
                <a:gd name="T25" fmla="*/ 81 h 162"/>
                <a:gd name="T26" fmla="*/ 114 w 260"/>
                <a:gd name="T27" fmla="*/ 32 h 162"/>
                <a:gd name="T28" fmla="*/ 146 w 260"/>
                <a:gd name="T29" fmla="*/ 32 h 162"/>
                <a:gd name="T30" fmla="*/ 146 w 260"/>
                <a:gd name="T31" fmla="*/ 81 h 162"/>
                <a:gd name="T32" fmla="*/ 179 w 260"/>
                <a:gd name="T33" fmla="*/ 81 h 162"/>
                <a:gd name="T34" fmla="*/ 130 w 260"/>
                <a:gd name="T35" fmla="*/ 146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0" h="162">
                  <a:moveTo>
                    <a:pt x="211" y="65"/>
                  </a:moveTo>
                  <a:cubicBezTo>
                    <a:pt x="211" y="29"/>
                    <a:pt x="182" y="0"/>
                    <a:pt x="146" y="0"/>
                  </a:cubicBezTo>
                  <a:cubicBezTo>
                    <a:pt x="122" y="0"/>
                    <a:pt x="101" y="13"/>
                    <a:pt x="90" y="33"/>
                  </a:cubicBezTo>
                  <a:cubicBezTo>
                    <a:pt x="87" y="33"/>
                    <a:pt x="84" y="32"/>
                    <a:pt x="81" y="32"/>
                  </a:cubicBezTo>
                  <a:cubicBezTo>
                    <a:pt x="59" y="32"/>
                    <a:pt x="41" y="47"/>
                    <a:pt x="35" y="67"/>
                  </a:cubicBezTo>
                  <a:cubicBezTo>
                    <a:pt x="15" y="73"/>
                    <a:pt x="0" y="92"/>
                    <a:pt x="0" y="114"/>
                  </a:cubicBezTo>
                  <a:cubicBezTo>
                    <a:pt x="0" y="140"/>
                    <a:pt x="22" y="162"/>
                    <a:pt x="49" y="162"/>
                  </a:cubicBezTo>
                  <a:cubicBezTo>
                    <a:pt x="211" y="162"/>
                    <a:pt x="211" y="162"/>
                    <a:pt x="211" y="162"/>
                  </a:cubicBezTo>
                  <a:cubicBezTo>
                    <a:pt x="238" y="162"/>
                    <a:pt x="260" y="140"/>
                    <a:pt x="260" y="114"/>
                  </a:cubicBezTo>
                  <a:cubicBezTo>
                    <a:pt x="260" y="87"/>
                    <a:pt x="238" y="65"/>
                    <a:pt x="211" y="65"/>
                  </a:cubicBezTo>
                  <a:moveTo>
                    <a:pt x="130" y="146"/>
                  </a:moveTo>
                  <a:cubicBezTo>
                    <a:pt x="81" y="81"/>
                    <a:pt x="81" y="81"/>
                    <a:pt x="81" y="81"/>
                  </a:cubicBezTo>
                  <a:cubicBezTo>
                    <a:pt x="114" y="81"/>
                    <a:pt x="114" y="81"/>
                    <a:pt x="114" y="81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6" y="81"/>
                    <a:pt x="146" y="81"/>
                    <a:pt x="146" y="81"/>
                  </a:cubicBezTo>
                  <a:cubicBezTo>
                    <a:pt x="179" y="81"/>
                    <a:pt x="179" y="81"/>
                    <a:pt x="179" y="81"/>
                  </a:cubicBezTo>
                  <a:lnTo>
                    <a:pt x="130" y="146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 fontScale="85000" lnSpcReduction="20000"/>
            </a:bodyPr>
            <a:lstStyle/>
            <a:p>
              <a:pPr algn="ctr"/>
              <a:endParaRPr sz="2400" b="1"/>
            </a:p>
          </p:txBody>
        </p:sp>
        <p:cxnSp>
          <p:nvCxnSpPr>
            <p:cNvPr id="22" name="肘形连接符 18">
              <a:extLst>
                <a:ext uri="{FF2B5EF4-FFF2-40B4-BE49-F238E27FC236}">
                  <a16:creationId xmlns:a16="http://schemas.microsoft.com/office/drawing/2014/main" id="{5E2C0F77-0560-4C52-8607-B432204560BF}"/>
                </a:ext>
              </a:extLst>
            </p:cNvPr>
            <p:cNvCxnSpPr>
              <a:stCxn id="7" idx="2"/>
            </p:cNvCxnSpPr>
            <p:nvPr/>
          </p:nvCxnSpPr>
          <p:spPr>
            <a:xfrm rot="10800000" flipV="1">
              <a:off x="1413224" y="2664938"/>
              <a:ext cx="545441" cy="823661"/>
            </a:xfrm>
            <a:prstGeom prst="bentConnector2">
              <a:avLst/>
            </a:prstGeom>
            <a:ln w="28575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肘形连接符 19">
              <a:extLst>
                <a:ext uri="{FF2B5EF4-FFF2-40B4-BE49-F238E27FC236}">
                  <a16:creationId xmlns:a16="http://schemas.microsoft.com/office/drawing/2014/main" id="{0E179B96-5421-4DF6-914A-BAD0AC1AB30C}"/>
                </a:ext>
              </a:extLst>
            </p:cNvPr>
            <p:cNvCxnSpPr/>
            <p:nvPr/>
          </p:nvCxnSpPr>
          <p:spPr>
            <a:xfrm rot="10800000" flipV="1">
              <a:off x="3960034" y="2660433"/>
              <a:ext cx="545441" cy="823661"/>
            </a:xfrm>
            <a:prstGeom prst="bentConnector2">
              <a:avLst/>
            </a:prstGeom>
            <a:ln w="28575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肘形连接符 20">
              <a:extLst>
                <a:ext uri="{FF2B5EF4-FFF2-40B4-BE49-F238E27FC236}">
                  <a16:creationId xmlns:a16="http://schemas.microsoft.com/office/drawing/2014/main" id="{3BD6129B-5A7F-4BD3-8C21-D68211250C71}"/>
                </a:ext>
              </a:extLst>
            </p:cNvPr>
            <p:cNvCxnSpPr/>
            <p:nvPr/>
          </p:nvCxnSpPr>
          <p:spPr>
            <a:xfrm rot="16200000" flipV="1">
              <a:off x="2513906" y="3519246"/>
              <a:ext cx="809188" cy="547840"/>
            </a:xfrm>
            <a:prstGeom prst="bentConnector3">
              <a:avLst>
                <a:gd name="adj1" fmla="val 1739"/>
              </a:avLst>
            </a:prstGeom>
            <a:ln w="28575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肘形连接符 21">
              <a:extLst>
                <a:ext uri="{FF2B5EF4-FFF2-40B4-BE49-F238E27FC236}">
                  <a16:creationId xmlns:a16="http://schemas.microsoft.com/office/drawing/2014/main" id="{10D294AF-6110-4A2B-9289-67A30D1C33E2}"/>
                </a:ext>
              </a:extLst>
            </p:cNvPr>
            <p:cNvCxnSpPr/>
            <p:nvPr/>
          </p:nvCxnSpPr>
          <p:spPr>
            <a:xfrm rot="10800000" flipV="1">
              <a:off x="6559958" y="2660434"/>
              <a:ext cx="545441" cy="823661"/>
            </a:xfrm>
            <a:prstGeom prst="bentConnector2">
              <a:avLst/>
            </a:prstGeom>
            <a:ln w="28575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肘形连接符 22">
              <a:extLst>
                <a:ext uri="{FF2B5EF4-FFF2-40B4-BE49-F238E27FC236}">
                  <a16:creationId xmlns:a16="http://schemas.microsoft.com/office/drawing/2014/main" id="{6519C765-4BC4-44FB-901C-051077B18ADC}"/>
                </a:ext>
              </a:extLst>
            </p:cNvPr>
            <p:cNvCxnSpPr/>
            <p:nvPr/>
          </p:nvCxnSpPr>
          <p:spPr>
            <a:xfrm rot="16200000" flipV="1">
              <a:off x="5113830" y="3519247"/>
              <a:ext cx="809188" cy="547840"/>
            </a:xfrm>
            <a:prstGeom prst="bentConnector3">
              <a:avLst>
                <a:gd name="adj1" fmla="val 1739"/>
              </a:avLst>
            </a:prstGeom>
            <a:ln w="28575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肘形连接符 23">
              <a:extLst>
                <a:ext uri="{FF2B5EF4-FFF2-40B4-BE49-F238E27FC236}">
                  <a16:creationId xmlns:a16="http://schemas.microsoft.com/office/drawing/2014/main" id="{49D70159-28F0-401A-99BA-DB00F75DA77B}"/>
                </a:ext>
              </a:extLst>
            </p:cNvPr>
            <p:cNvCxnSpPr/>
            <p:nvPr/>
          </p:nvCxnSpPr>
          <p:spPr>
            <a:xfrm rot="10800000" flipV="1">
              <a:off x="9157461" y="2645888"/>
              <a:ext cx="545441" cy="823661"/>
            </a:xfrm>
            <a:prstGeom prst="bentConnector2">
              <a:avLst/>
            </a:prstGeom>
            <a:ln w="28575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肘形连接符 24">
              <a:extLst>
                <a:ext uri="{FF2B5EF4-FFF2-40B4-BE49-F238E27FC236}">
                  <a16:creationId xmlns:a16="http://schemas.microsoft.com/office/drawing/2014/main" id="{5838C89B-467E-4D72-B89C-C96719A19FE4}"/>
                </a:ext>
              </a:extLst>
            </p:cNvPr>
            <p:cNvCxnSpPr/>
            <p:nvPr/>
          </p:nvCxnSpPr>
          <p:spPr>
            <a:xfrm rot="16200000" flipV="1">
              <a:off x="7730383" y="3523751"/>
              <a:ext cx="809188" cy="547840"/>
            </a:xfrm>
            <a:prstGeom prst="bentConnector3">
              <a:avLst>
                <a:gd name="adj1" fmla="val 1739"/>
              </a:avLst>
            </a:prstGeom>
            <a:ln w="28575" cmpd="sng">
              <a:solidFill>
                <a:schemeClr val="bg1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直接连接符 28">
              <a:extLst>
                <a:ext uri="{FF2B5EF4-FFF2-40B4-BE49-F238E27FC236}">
                  <a16:creationId xmlns:a16="http://schemas.microsoft.com/office/drawing/2014/main" id="{06F9AFD7-2E0D-47E0-B680-08390C0FCF1E}"/>
                </a:ext>
              </a:extLst>
            </p:cNvPr>
            <p:cNvCxnSpPr>
              <a:cxnSpLocks/>
            </p:cNvCxnSpPr>
            <p:nvPr/>
          </p:nvCxnSpPr>
          <p:spPr>
            <a:xfrm>
              <a:off x="11157573" y="2648241"/>
              <a:ext cx="1034427" cy="0"/>
            </a:xfrm>
            <a:prstGeom prst="line">
              <a:avLst/>
            </a:prstGeom>
            <a:ln w="28575" cmpd="sng">
              <a:solidFill>
                <a:schemeClr val="bg1">
                  <a:lumMod val="50000"/>
                </a:schemeClr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íšḷíḍê">
              <a:extLst>
                <a:ext uri="{FF2B5EF4-FFF2-40B4-BE49-F238E27FC236}">
                  <a16:creationId xmlns:a16="http://schemas.microsoft.com/office/drawing/2014/main" id="{6C008D7E-D337-4474-95E6-67152466CEBF}"/>
                </a:ext>
              </a:extLst>
            </p:cNvPr>
            <p:cNvSpPr txBox="1"/>
            <p:nvPr/>
          </p:nvSpPr>
          <p:spPr>
            <a:xfrm>
              <a:off x="674688" y="1130300"/>
              <a:ext cx="10845800" cy="6721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ctr">
                <a:buSzPct val="25000"/>
              </a:pPr>
              <a:r>
                <a:rPr lang="en-US" sz="2000" b="1" i="1" dirty="0"/>
                <a:t>Unified fonts make reading more fluent.</a:t>
              </a:r>
            </a:p>
          </p:txBody>
        </p:sp>
        <p:grpSp>
          <p:nvGrpSpPr>
            <p:cNvPr id="31" name="îšlïḍe">
              <a:extLst>
                <a:ext uri="{FF2B5EF4-FFF2-40B4-BE49-F238E27FC236}">
                  <a16:creationId xmlns:a16="http://schemas.microsoft.com/office/drawing/2014/main" id="{6480703A-3381-4C39-B932-C3B39BE8D809}"/>
                </a:ext>
              </a:extLst>
            </p:cNvPr>
            <p:cNvGrpSpPr/>
            <p:nvPr/>
          </p:nvGrpSpPr>
          <p:grpSpPr>
            <a:xfrm>
              <a:off x="673100" y="5011281"/>
              <a:ext cx="2597394" cy="1132337"/>
              <a:chOff x="8563614" y="4934816"/>
              <a:chExt cx="2955286" cy="1008290"/>
            </a:xfrm>
          </p:grpSpPr>
          <p:sp>
            <p:nvSpPr>
              <p:cNvPr id="41" name="íšľiḋé">
                <a:extLst>
                  <a:ext uri="{FF2B5EF4-FFF2-40B4-BE49-F238E27FC236}">
                    <a16:creationId xmlns:a16="http://schemas.microsoft.com/office/drawing/2014/main" id="{0453CF52-41E9-42C3-8B16-A7B156398ECB}"/>
                  </a:ext>
                </a:extLst>
              </p:cNvPr>
              <p:cNvSpPr txBox="1"/>
              <p:nvPr/>
            </p:nvSpPr>
            <p:spPr bwMode="auto">
              <a:xfrm>
                <a:off x="8563614" y="4934816"/>
                <a:ext cx="2955286" cy="4802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/>
                  <a:t>Text here</a:t>
                </a:r>
              </a:p>
            </p:txBody>
          </p:sp>
          <p:sp>
            <p:nvSpPr>
              <p:cNvPr id="42" name="íṧḷidé">
                <a:extLst>
                  <a:ext uri="{FF2B5EF4-FFF2-40B4-BE49-F238E27FC236}">
                    <a16:creationId xmlns:a16="http://schemas.microsoft.com/office/drawing/2014/main" id="{42C39DE4-AA55-4B4B-B9D3-F7B24C5A06EE}"/>
                  </a:ext>
                </a:extLst>
              </p:cNvPr>
              <p:cNvSpPr/>
              <p:nvPr/>
            </p:nvSpPr>
            <p:spPr bwMode="auto">
              <a:xfrm>
                <a:off x="8563614" y="5415115"/>
                <a:ext cx="2955286" cy="5279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925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 …</a:t>
                </a:r>
              </a:p>
            </p:txBody>
          </p:sp>
        </p:grpSp>
        <p:grpSp>
          <p:nvGrpSpPr>
            <p:cNvPr id="32" name="î$ļíḋé">
              <a:extLst>
                <a:ext uri="{FF2B5EF4-FFF2-40B4-BE49-F238E27FC236}">
                  <a16:creationId xmlns:a16="http://schemas.microsoft.com/office/drawing/2014/main" id="{463A28F9-BFA5-4BD2-B369-C2F01AD76CAC}"/>
                </a:ext>
              </a:extLst>
            </p:cNvPr>
            <p:cNvGrpSpPr/>
            <p:nvPr/>
          </p:nvGrpSpPr>
          <p:grpSpPr>
            <a:xfrm>
              <a:off x="3422569" y="5011281"/>
              <a:ext cx="2597394" cy="1132337"/>
              <a:chOff x="8563614" y="4934816"/>
              <a:chExt cx="2955286" cy="1008290"/>
            </a:xfrm>
          </p:grpSpPr>
          <p:sp>
            <p:nvSpPr>
              <p:cNvPr id="39" name="ïṡ1îḑê">
                <a:extLst>
                  <a:ext uri="{FF2B5EF4-FFF2-40B4-BE49-F238E27FC236}">
                    <a16:creationId xmlns:a16="http://schemas.microsoft.com/office/drawing/2014/main" id="{029C5998-B18E-4B8C-8542-7D8674F79BCB}"/>
                  </a:ext>
                </a:extLst>
              </p:cNvPr>
              <p:cNvSpPr txBox="1"/>
              <p:nvPr/>
            </p:nvSpPr>
            <p:spPr bwMode="auto">
              <a:xfrm>
                <a:off x="8563614" y="4934816"/>
                <a:ext cx="2955286" cy="4802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/>
                  <a:t>Text here</a:t>
                </a:r>
              </a:p>
            </p:txBody>
          </p:sp>
          <p:sp>
            <p:nvSpPr>
              <p:cNvPr id="40" name="iṩliḋe">
                <a:extLst>
                  <a:ext uri="{FF2B5EF4-FFF2-40B4-BE49-F238E27FC236}">
                    <a16:creationId xmlns:a16="http://schemas.microsoft.com/office/drawing/2014/main" id="{E8B79BAB-30F2-4FF4-A032-C1BF16392449}"/>
                  </a:ext>
                </a:extLst>
              </p:cNvPr>
              <p:cNvSpPr/>
              <p:nvPr/>
            </p:nvSpPr>
            <p:spPr bwMode="auto">
              <a:xfrm>
                <a:off x="8563614" y="5415115"/>
                <a:ext cx="2955286" cy="5279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925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 …</a:t>
                </a:r>
              </a:p>
            </p:txBody>
          </p:sp>
        </p:grpSp>
        <p:grpSp>
          <p:nvGrpSpPr>
            <p:cNvPr id="33" name="ïṩľïdé">
              <a:extLst>
                <a:ext uri="{FF2B5EF4-FFF2-40B4-BE49-F238E27FC236}">
                  <a16:creationId xmlns:a16="http://schemas.microsoft.com/office/drawing/2014/main" id="{E9A0C689-EF9C-4564-AC3C-5E9D687EEDF1}"/>
                </a:ext>
              </a:extLst>
            </p:cNvPr>
            <p:cNvGrpSpPr/>
            <p:nvPr/>
          </p:nvGrpSpPr>
          <p:grpSpPr>
            <a:xfrm>
              <a:off x="6172037" y="5011281"/>
              <a:ext cx="2597394" cy="1132337"/>
              <a:chOff x="8563614" y="4934816"/>
              <a:chExt cx="2955286" cy="1008290"/>
            </a:xfrm>
          </p:grpSpPr>
          <p:sp>
            <p:nvSpPr>
              <p:cNvPr id="37" name="îŝļïḋê">
                <a:extLst>
                  <a:ext uri="{FF2B5EF4-FFF2-40B4-BE49-F238E27FC236}">
                    <a16:creationId xmlns:a16="http://schemas.microsoft.com/office/drawing/2014/main" id="{19C44D85-5ECB-458A-BCE8-A6A398F61B51}"/>
                  </a:ext>
                </a:extLst>
              </p:cNvPr>
              <p:cNvSpPr txBox="1"/>
              <p:nvPr/>
            </p:nvSpPr>
            <p:spPr bwMode="auto">
              <a:xfrm>
                <a:off x="8563614" y="4934816"/>
                <a:ext cx="2955286" cy="4802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/>
                  <a:t>Text here</a:t>
                </a:r>
              </a:p>
            </p:txBody>
          </p:sp>
          <p:sp>
            <p:nvSpPr>
              <p:cNvPr id="38" name="ïṥlîḑê">
                <a:extLst>
                  <a:ext uri="{FF2B5EF4-FFF2-40B4-BE49-F238E27FC236}">
                    <a16:creationId xmlns:a16="http://schemas.microsoft.com/office/drawing/2014/main" id="{9CE13AA9-33B2-4516-BE94-0E64326C1E8D}"/>
                  </a:ext>
                </a:extLst>
              </p:cNvPr>
              <p:cNvSpPr/>
              <p:nvPr/>
            </p:nvSpPr>
            <p:spPr bwMode="auto">
              <a:xfrm>
                <a:off x="8563614" y="5415115"/>
                <a:ext cx="2955286" cy="5279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925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 …</a:t>
                </a:r>
              </a:p>
            </p:txBody>
          </p:sp>
        </p:grpSp>
        <p:grpSp>
          <p:nvGrpSpPr>
            <p:cNvPr id="34" name="iśḷíḓé">
              <a:extLst>
                <a:ext uri="{FF2B5EF4-FFF2-40B4-BE49-F238E27FC236}">
                  <a16:creationId xmlns:a16="http://schemas.microsoft.com/office/drawing/2014/main" id="{9A29E5BB-EEDC-4151-8F11-A56DCAECACE9}"/>
                </a:ext>
              </a:extLst>
            </p:cNvPr>
            <p:cNvGrpSpPr/>
            <p:nvPr/>
          </p:nvGrpSpPr>
          <p:grpSpPr>
            <a:xfrm>
              <a:off x="8921506" y="5011281"/>
              <a:ext cx="2597394" cy="1132337"/>
              <a:chOff x="8563614" y="4934816"/>
              <a:chExt cx="2955286" cy="1008290"/>
            </a:xfrm>
          </p:grpSpPr>
          <p:sp>
            <p:nvSpPr>
              <p:cNvPr id="35" name="ïṧlide">
                <a:extLst>
                  <a:ext uri="{FF2B5EF4-FFF2-40B4-BE49-F238E27FC236}">
                    <a16:creationId xmlns:a16="http://schemas.microsoft.com/office/drawing/2014/main" id="{F9727F3B-8D4C-4EE6-8131-4FCB02E5F994}"/>
                  </a:ext>
                </a:extLst>
              </p:cNvPr>
              <p:cNvSpPr txBox="1"/>
              <p:nvPr/>
            </p:nvSpPr>
            <p:spPr bwMode="auto">
              <a:xfrm>
                <a:off x="8563614" y="4934816"/>
                <a:ext cx="2955286" cy="4802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/>
                  <a:t>Text here</a:t>
                </a:r>
              </a:p>
            </p:txBody>
          </p:sp>
          <p:sp>
            <p:nvSpPr>
              <p:cNvPr id="36" name="îš1ïďe">
                <a:extLst>
                  <a:ext uri="{FF2B5EF4-FFF2-40B4-BE49-F238E27FC236}">
                    <a16:creationId xmlns:a16="http://schemas.microsoft.com/office/drawing/2014/main" id="{64717207-68D4-4B5A-8AB4-290EE9F2B6A9}"/>
                  </a:ext>
                </a:extLst>
              </p:cNvPr>
              <p:cNvSpPr/>
              <p:nvPr/>
            </p:nvSpPr>
            <p:spPr bwMode="auto">
              <a:xfrm>
                <a:off x="8563614" y="5415115"/>
                <a:ext cx="2955286" cy="5279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925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to retain text… …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72807918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CF7411F-0287-4A58-905C-B276518C3D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571318D-DAC2-400B-BC15-D246E5E222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9</a:t>
            </a:fld>
            <a:endParaRPr lang="zh-CN" altLang="en-US"/>
          </a:p>
        </p:txBody>
      </p:sp>
      <p:sp>
        <p:nvSpPr>
          <p:cNvPr id="59" name="ïṣḻîdé">
            <a:extLst>
              <a:ext uri="{FF2B5EF4-FFF2-40B4-BE49-F238E27FC236}">
                <a16:creationId xmlns:a16="http://schemas.microsoft.com/office/drawing/2014/main" id="{69269827-D28C-4EB1-87F3-E5532CA9ABCB}"/>
              </a:ext>
            </a:extLst>
          </p:cNvPr>
          <p:cNvSpPr/>
          <p:nvPr/>
        </p:nvSpPr>
        <p:spPr bwMode="auto">
          <a:xfrm>
            <a:off x="426326" y="2453431"/>
            <a:ext cx="8143874" cy="1584512"/>
          </a:xfrm>
          <a:custGeom>
            <a:avLst/>
            <a:gdLst>
              <a:gd name="connsiteX0" fmla="*/ 1046871 w 10858499"/>
              <a:gd name="connsiteY0" fmla="*/ 0 h 2112682"/>
              <a:gd name="connsiteX1" fmla="*/ 2085811 w 10858499"/>
              <a:gd name="connsiteY1" fmla="*/ 1056341 h 2112682"/>
              <a:gd name="connsiteX2" fmla="*/ 2079702 w 10858499"/>
              <a:gd name="connsiteY2" fmla="*/ 1056341 h 2112682"/>
              <a:gd name="connsiteX3" fmla="*/ 2793477 w 10858499"/>
              <a:gd name="connsiteY3" fmla="*/ 1784576 h 2112682"/>
              <a:gd name="connsiteX4" fmla="*/ 3515184 w 10858499"/>
              <a:gd name="connsiteY4" fmla="*/ 1056341 h 2112682"/>
              <a:gd name="connsiteX5" fmla="*/ 3514157 w 10858499"/>
              <a:gd name="connsiteY5" fmla="*/ 1056341 h 2112682"/>
              <a:gd name="connsiteX6" fmla="*/ 3509076 w 10858499"/>
              <a:gd name="connsiteY6" fmla="*/ 1056341 h 2112682"/>
              <a:gd name="connsiteX7" fmla="*/ 4555946 w 10858499"/>
              <a:gd name="connsiteY7" fmla="*/ 0 h 2112682"/>
              <a:gd name="connsiteX8" fmla="*/ 5594886 w 10858499"/>
              <a:gd name="connsiteY8" fmla="*/ 1056341 h 2112682"/>
              <a:gd name="connsiteX9" fmla="*/ 5588778 w 10858499"/>
              <a:gd name="connsiteY9" fmla="*/ 1056341 h 2112682"/>
              <a:gd name="connsiteX10" fmla="*/ 6302553 w 10858499"/>
              <a:gd name="connsiteY10" fmla="*/ 1784576 h 2112682"/>
              <a:gd name="connsiteX11" fmla="*/ 7024260 w 10858499"/>
              <a:gd name="connsiteY11" fmla="*/ 1056341 h 2112682"/>
              <a:gd name="connsiteX12" fmla="*/ 7023232 w 10858499"/>
              <a:gd name="connsiteY12" fmla="*/ 1056341 h 2112682"/>
              <a:gd name="connsiteX13" fmla="*/ 7018151 w 10858499"/>
              <a:gd name="connsiteY13" fmla="*/ 1056341 h 2112682"/>
              <a:gd name="connsiteX14" fmla="*/ 8065022 w 10858499"/>
              <a:gd name="connsiteY14" fmla="*/ 0 h 2112682"/>
              <a:gd name="connsiteX15" fmla="*/ 9103962 w 10858499"/>
              <a:gd name="connsiteY15" fmla="*/ 1056341 h 2112682"/>
              <a:gd name="connsiteX16" fmla="*/ 9097852 w 10858499"/>
              <a:gd name="connsiteY16" fmla="*/ 1056341 h 2112682"/>
              <a:gd name="connsiteX17" fmla="*/ 9811628 w 10858499"/>
              <a:gd name="connsiteY17" fmla="*/ 1784576 h 2112682"/>
              <a:gd name="connsiteX18" fmla="*/ 10533335 w 10858499"/>
              <a:gd name="connsiteY18" fmla="*/ 1056341 h 2112682"/>
              <a:gd name="connsiteX19" fmla="*/ 10858499 w 10858499"/>
              <a:gd name="connsiteY19" fmla="*/ 1056341 h 2112682"/>
              <a:gd name="connsiteX20" fmla="*/ 9811628 w 10858499"/>
              <a:gd name="connsiteY20" fmla="*/ 2112682 h 2112682"/>
              <a:gd name="connsiteX21" fmla="*/ 8772688 w 10858499"/>
              <a:gd name="connsiteY21" fmla="*/ 1056341 h 2112682"/>
              <a:gd name="connsiteX22" fmla="*/ 8777769 w 10858499"/>
              <a:gd name="connsiteY22" fmla="*/ 1056341 h 2112682"/>
              <a:gd name="connsiteX23" fmla="*/ 8778797 w 10858499"/>
              <a:gd name="connsiteY23" fmla="*/ 1056341 h 2112682"/>
              <a:gd name="connsiteX24" fmla="*/ 8065022 w 10858499"/>
              <a:gd name="connsiteY24" fmla="*/ 330611 h 2112682"/>
              <a:gd name="connsiteX25" fmla="*/ 7343316 w 10858499"/>
              <a:gd name="connsiteY25" fmla="*/ 1056341 h 2112682"/>
              <a:gd name="connsiteX26" fmla="*/ 7349424 w 10858499"/>
              <a:gd name="connsiteY26" fmla="*/ 1056341 h 2112682"/>
              <a:gd name="connsiteX27" fmla="*/ 6302553 w 10858499"/>
              <a:gd name="connsiteY27" fmla="*/ 2112682 h 2112682"/>
              <a:gd name="connsiteX28" fmla="*/ 5263613 w 10858499"/>
              <a:gd name="connsiteY28" fmla="*/ 1056341 h 2112682"/>
              <a:gd name="connsiteX29" fmla="*/ 5268694 w 10858499"/>
              <a:gd name="connsiteY29" fmla="*/ 1056341 h 2112682"/>
              <a:gd name="connsiteX30" fmla="*/ 5269722 w 10858499"/>
              <a:gd name="connsiteY30" fmla="*/ 1056341 h 2112682"/>
              <a:gd name="connsiteX31" fmla="*/ 4555946 w 10858499"/>
              <a:gd name="connsiteY31" fmla="*/ 330611 h 2112682"/>
              <a:gd name="connsiteX32" fmla="*/ 3834240 w 10858499"/>
              <a:gd name="connsiteY32" fmla="*/ 1056341 h 2112682"/>
              <a:gd name="connsiteX33" fmla="*/ 3840348 w 10858499"/>
              <a:gd name="connsiteY33" fmla="*/ 1056341 h 2112682"/>
              <a:gd name="connsiteX34" fmla="*/ 2793477 w 10858499"/>
              <a:gd name="connsiteY34" fmla="*/ 2112682 h 2112682"/>
              <a:gd name="connsiteX35" fmla="*/ 1754538 w 10858499"/>
              <a:gd name="connsiteY35" fmla="*/ 1056341 h 2112682"/>
              <a:gd name="connsiteX36" fmla="*/ 1759618 w 10858499"/>
              <a:gd name="connsiteY36" fmla="*/ 1056341 h 2112682"/>
              <a:gd name="connsiteX37" fmla="*/ 1760646 w 10858499"/>
              <a:gd name="connsiteY37" fmla="*/ 1056341 h 2112682"/>
              <a:gd name="connsiteX38" fmla="*/ 1046871 w 10858499"/>
              <a:gd name="connsiteY38" fmla="*/ 330611 h 2112682"/>
              <a:gd name="connsiteX39" fmla="*/ 325164 w 10858499"/>
              <a:gd name="connsiteY39" fmla="*/ 1056341 h 2112682"/>
              <a:gd name="connsiteX40" fmla="*/ 0 w 10858499"/>
              <a:gd name="connsiteY40" fmla="*/ 1056341 h 2112682"/>
              <a:gd name="connsiteX41" fmla="*/ 1046871 w 10858499"/>
              <a:gd name="connsiteY41" fmla="*/ 0 h 2112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0858499" h="2112682">
                <a:moveTo>
                  <a:pt x="1046871" y="0"/>
                </a:moveTo>
                <a:cubicBezTo>
                  <a:pt x="1617891" y="0"/>
                  <a:pt x="2085811" y="475757"/>
                  <a:pt x="2085811" y="1056341"/>
                </a:cubicBezTo>
                <a:lnTo>
                  <a:pt x="2079702" y="1056341"/>
                </a:lnTo>
                <a:cubicBezTo>
                  <a:pt x="2079702" y="1456470"/>
                  <a:pt x="2396936" y="1784576"/>
                  <a:pt x="2793477" y="1784576"/>
                </a:cubicBezTo>
                <a:cubicBezTo>
                  <a:pt x="3190019" y="1784576"/>
                  <a:pt x="3515184" y="1456470"/>
                  <a:pt x="3515184" y="1056341"/>
                </a:cubicBezTo>
                <a:lnTo>
                  <a:pt x="3514157" y="1056341"/>
                </a:lnTo>
                <a:cubicBezTo>
                  <a:pt x="3509076" y="1056341"/>
                  <a:pt x="3509076" y="1056341"/>
                  <a:pt x="3509076" y="1056341"/>
                </a:cubicBezTo>
                <a:cubicBezTo>
                  <a:pt x="3509076" y="475757"/>
                  <a:pt x="3976995" y="0"/>
                  <a:pt x="4555946" y="0"/>
                </a:cubicBezTo>
                <a:cubicBezTo>
                  <a:pt x="5126967" y="0"/>
                  <a:pt x="5594886" y="475757"/>
                  <a:pt x="5594886" y="1056341"/>
                </a:cubicBezTo>
                <a:lnTo>
                  <a:pt x="5588778" y="1056341"/>
                </a:lnTo>
                <a:cubicBezTo>
                  <a:pt x="5588778" y="1456470"/>
                  <a:pt x="5906011" y="1784576"/>
                  <a:pt x="6302553" y="1784576"/>
                </a:cubicBezTo>
                <a:cubicBezTo>
                  <a:pt x="6699095" y="1784576"/>
                  <a:pt x="7024260" y="1456470"/>
                  <a:pt x="7024260" y="1056341"/>
                </a:cubicBezTo>
                <a:lnTo>
                  <a:pt x="7023232" y="1056341"/>
                </a:lnTo>
                <a:cubicBezTo>
                  <a:pt x="7018151" y="1056341"/>
                  <a:pt x="7018151" y="1056341"/>
                  <a:pt x="7018151" y="1056341"/>
                </a:cubicBezTo>
                <a:cubicBezTo>
                  <a:pt x="7018151" y="475757"/>
                  <a:pt x="7486071" y="0"/>
                  <a:pt x="8065022" y="0"/>
                </a:cubicBezTo>
                <a:cubicBezTo>
                  <a:pt x="8636042" y="0"/>
                  <a:pt x="9103962" y="475757"/>
                  <a:pt x="9103962" y="1056341"/>
                </a:cubicBezTo>
                <a:lnTo>
                  <a:pt x="9097852" y="1056341"/>
                </a:lnTo>
                <a:cubicBezTo>
                  <a:pt x="9097852" y="1456470"/>
                  <a:pt x="9415086" y="1784576"/>
                  <a:pt x="9811628" y="1784576"/>
                </a:cubicBezTo>
                <a:cubicBezTo>
                  <a:pt x="10208170" y="1784576"/>
                  <a:pt x="10533335" y="1456470"/>
                  <a:pt x="10533335" y="1056341"/>
                </a:cubicBezTo>
                <a:cubicBezTo>
                  <a:pt x="10533335" y="1056341"/>
                  <a:pt x="10533335" y="1056341"/>
                  <a:pt x="10858499" y="1056341"/>
                </a:cubicBezTo>
                <a:cubicBezTo>
                  <a:pt x="10858499" y="1640530"/>
                  <a:pt x="10390579" y="2112682"/>
                  <a:pt x="9811628" y="2112682"/>
                </a:cubicBezTo>
                <a:cubicBezTo>
                  <a:pt x="9240608" y="2112682"/>
                  <a:pt x="8772688" y="1640530"/>
                  <a:pt x="8772688" y="1056341"/>
                </a:cubicBezTo>
                <a:cubicBezTo>
                  <a:pt x="8772688" y="1056341"/>
                  <a:pt x="8772688" y="1056341"/>
                  <a:pt x="8777769" y="1056341"/>
                </a:cubicBezTo>
                <a:lnTo>
                  <a:pt x="8778797" y="1056341"/>
                </a:lnTo>
                <a:cubicBezTo>
                  <a:pt x="8778797" y="653158"/>
                  <a:pt x="8461564" y="330611"/>
                  <a:pt x="8065022" y="330611"/>
                </a:cubicBezTo>
                <a:cubicBezTo>
                  <a:pt x="7660549" y="330611"/>
                  <a:pt x="7343316" y="653158"/>
                  <a:pt x="7343316" y="1056341"/>
                </a:cubicBezTo>
                <a:lnTo>
                  <a:pt x="7349424" y="1056341"/>
                </a:lnTo>
                <a:cubicBezTo>
                  <a:pt x="7349424" y="1640530"/>
                  <a:pt x="6881505" y="2112682"/>
                  <a:pt x="6302553" y="2112682"/>
                </a:cubicBezTo>
                <a:cubicBezTo>
                  <a:pt x="5731533" y="2112682"/>
                  <a:pt x="5263613" y="1640530"/>
                  <a:pt x="5263613" y="1056341"/>
                </a:cubicBezTo>
                <a:cubicBezTo>
                  <a:pt x="5263613" y="1056341"/>
                  <a:pt x="5263613" y="1056341"/>
                  <a:pt x="5268694" y="1056341"/>
                </a:cubicBezTo>
                <a:lnTo>
                  <a:pt x="5269722" y="1056341"/>
                </a:lnTo>
                <a:cubicBezTo>
                  <a:pt x="5269722" y="653158"/>
                  <a:pt x="4952488" y="330611"/>
                  <a:pt x="4555946" y="330611"/>
                </a:cubicBezTo>
                <a:cubicBezTo>
                  <a:pt x="4151473" y="330611"/>
                  <a:pt x="3834240" y="653158"/>
                  <a:pt x="3834240" y="1056341"/>
                </a:cubicBezTo>
                <a:lnTo>
                  <a:pt x="3840348" y="1056341"/>
                </a:lnTo>
                <a:cubicBezTo>
                  <a:pt x="3840348" y="1640530"/>
                  <a:pt x="3372429" y="2112682"/>
                  <a:pt x="2793477" y="2112682"/>
                </a:cubicBezTo>
                <a:cubicBezTo>
                  <a:pt x="2222457" y="2112682"/>
                  <a:pt x="1754538" y="1640530"/>
                  <a:pt x="1754538" y="1056341"/>
                </a:cubicBezTo>
                <a:cubicBezTo>
                  <a:pt x="1754538" y="1056341"/>
                  <a:pt x="1754538" y="1056341"/>
                  <a:pt x="1759618" y="1056341"/>
                </a:cubicBezTo>
                <a:lnTo>
                  <a:pt x="1760646" y="1056341"/>
                </a:lnTo>
                <a:cubicBezTo>
                  <a:pt x="1760646" y="653158"/>
                  <a:pt x="1443412" y="330611"/>
                  <a:pt x="1046871" y="330611"/>
                </a:cubicBezTo>
                <a:cubicBezTo>
                  <a:pt x="642398" y="330611"/>
                  <a:pt x="325164" y="653158"/>
                  <a:pt x="325164" y="1056341"/>
                </a:cubicBezTo>
                <a:cubicBezTo>
                  <a:pt x="0" y="1056341"/>
                  <a:pt x="0" y="1056341"/>
                  <a:pt x="0" y="1056341"/>
                </a:cubicBezTo>
                <a:cubicBezTo>
                  <a:pt x="0" y="475757"/>
                  <a:pt x="467919" y="0"/>
                  <a:pt x="1046871" y="0"/>
                </a:cubicBezTo>
                <a:close/>
              </a:path>
            </a:pathLst>
          </a:custGeom>
          <a:pattFill prst="dkUp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60" name="işḻïdè">
            <a:extLst>
              <a:ext uri="{FF2B5EF4-FFF2-40B4-BE49-F238E27FC236}">
                <a16:creationId xmlns:a16="http://schemas.microsoft.com/office/drawing/2014/main" id="{B8AC23E2-E44A-4213-91D5-03176532E63C}"/>
              </a:ext>
            </a:extLst>
          </p:cNvPr>
          <p:cNvSpPr/>
          <p:nvPr/>
        </p:nvSpPr>
        <p:spPr>
          <a:xfrm>
            <a:off x="2282368" y="3652088"/>
            <a:ext cx="484078" cy="48407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/>
          <a:p>
            <a:pPr algn="ctr" defTabSz="914354"/>
            <a:r>
              <a:rPr lang="en-US" altLang="zh-CN" sz="2000" dirty="0">
                <a:solidFill>
                  <a:schemeClr val="bg1"/>
                </a:solidFill>
              </a:rPr>
              <a:t>02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61" name="i$1iḋè">
            <a:extLst>
              <a:ext uri="{FF2B5EF4-FFF2-40B4-BE49-F238E27FC236}">
                <a16:creationId xmlns:a16="http://schemas.microsoft.com/office/drawing/2014/main" id="{588C1258-C8A7-4EC7-AC56-BEFF160E922F}"/>
              </a:ext>
            </a:extLst>
          </p:cNvPr>
          <p:cNvSpPr/>
          <p:nvPr/>
        </p:nvSpPr>
        <p:spPr>
          <a:xfrm>
            <a:off x="4914175" y="3652088"/>
            <a:ext cx="484078" cy="48407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/>
          <a:p>
            <a:pPr algn="ctr" defTabSz="914354"/>
            <a:r>
              <a:rPr lang="en-US" altLang="zh-CN" sz="2000" dirty="0">
                <a:solidFill>
                  <a:schemeClr val="bg1"/>
                </a:solidFill>
              </a:rPr>
              <a:t>04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62" name="ísḷïḍê">
            <a:extLst>
              <a:ext uri="{FF2B5EF4-FFF2-40B4-BE49-F238E27FC236}">
                <a16:creationId xmlns:a16="http://schemas.microsoft.com/office/drawing/2014/main" id="{21ACF38C-0C7C-4ADA-B165-13A913EC8ED8}"/>
              </a:ext>
            </a:extLst>
          </p:cNvPr>
          <p:cNvSpPr/>
          <p:nvPr/>
        </p:nvSpPr>
        <p:spPr>
          <a:xfrm>
            <a:off x="7545981" y="3652088"/>
            <a:ext cx="484078" cy="48407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/>
          <a:p>
            <a:pPr algn="ctr" defTabSz="914354"/>
            <a:r>
              <a:rPr lang="en-US" altLang="zh-CN" sz="2000" dirty="0">
                <a:solidFill>
                  <a:schemeClr val="bg1"/>
                </a:solidFill>
              </a:rPr>
              <a:t>06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63" name="îšļiḓê">
            <a:extLst>
              <a:ext uri="{FF2B5EF4-FFF2-40B4-BE49-F238E27FC236}">
                <a16:creationId xmlns:a16="http://schemas.microsoft.com/office/drawing/2014/main" id="{4FEC664F-48EC-4A07-9053-B71F490CB48A}"/>
              </a:ext>
            </a:extLst>
          </p:cNvPr>
          <p:cNvSpPr/>
          <p:nvPr/>
        </p:nvSpPr>
        <p:spPr>
          <a:xfrm>
            <a:off x="966465" y="2308519"/>
            <a:ext cx="484078" cy="484079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/>
          <a:p>
            <a:pPr algn="ctr" defTabSz="914354"/>
            <a:r>
              <a:rPr lang="en-US" altLang="zh-CN" sz="2000" dirty="0">
                <a:solidFill>
                  <a:schemeClr val="bg1"/>
                </a:solidFill>
              </a:rPr>
              <a:t>01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64" name="íślîdê">
            <a:extLst>
              <a:ext uri="{FF2B5EF4-FFF2-40B4-BE49-F238E27FC236}">
                <a16:creationId xmlns:a16="http://schemas.microsoft.com/office/drawing/2014/main" id="{4838820C-0920-4693-8061-866AB4945DCC}"/>
              </a:ext>
            </a:extLst>
          </p:cNvPr>
          <p:cNvSpPr/>
          <p:nvPr/>
        </p:nvSpPr>
        <p:spPr>
          <a:xfrm>
            <a:off x="3598272" y="2308519"/>
            <a:ext cx="484078" cy="484079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/>
          <a:p>
            <a:pPr algn="ctr" defTabSz="914354"/>
            <a:r>
              <a:rPr lang="en-US" altLang="zh-CN" sz="2000" dirty="0">
                <a:solidFill>
                  <a:schemeClr val="bg1"/>
                </a:solidFill>
              </a:rPr>
              <a:t>03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65" name="ïṣ1iḑe">
            <a:extLst>
              <a:ext uri="{FF2B5EF4-FFF2-40B4-BE49-F238E27FC236}">
                <a16:creationId xmlns:a16="http://schemas.microsoft.com/office/drawing/2014/main" id="{EF529BE9-6F3D-40F5-AD69-C5427C9F64D1}"/>
              </a:ext>
            </a:extLst>
          </p:cNvPr>
          <p:cNvSpPr/>
          <p:nvPr/>
        </p:nvSpPr>
        <p:spPr>
          <a:xfrm>
            <a:off x="6230079" y="2308519"/>
            <a:ext cx="484078" cy="484079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/>
          <a:p>
            <a:pPr algn="ctr" defTabSz="914354"/>
            <a:r>
              <a:rPr lang="en-US" altLang="zh-CN" sz="2000" dirty="0">
                <a:solidFill>
                  <a:schemeClr val="bg1"/>
                </a:solidFill>
              </a:rPr>
              <a:t>05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grpSp>
        <p:nvGrpSpPr>
          <p:cNvPr id="66" name="i$liḍé">
            <a:extLst>
              <a:ext uri="{FF2B5EF4-FFF2-40B4-BE49-F238E27FC236}">
                <a16:creationId xmlns:a16="http://schemas.microsoft.com/office/drawing/2014/main" id="{6D6E2556-589A-4484-8A5E-BB4784F00926}"/>
              </a:ext>
            </a:extLst>
          </p:cNvPr>
          <p:cNvGrpSpPr/>
          <p:nvPr/>
        </p:nvGrpSpPr>
        <p:grpSpPr>
          <a:xfrm>
            <a:off x="550553" y="3192435"/>
            <a:ext cx="1315903" cy="1288184"/>
            <a:chOff x="660400" y="4027303"/>
            <a:chExt cx="1754537" cy="1717579"/>
          </a:xfrm>
        </p:grpSpPr>
        <p:sp>
          <p:nvSpPr>
            <p:cNvPr id="82" name="ïŝḻîďê">
              <a:extLst>
                <a:ext uri="{FF2B5EF4-FFF2-40B4-BE49-F238E27FC236}">
                  <a16:creationId xmlns:a16="http://schemas.microsoft.com/office/drawing/2014/main" id="{FA84A9CB-8103-4507-86DB-A362A7D5349F}"/>
                </a:ext>
              </a:extLst>
            </p:cNvPr>
            <p:cNvSpPr txBox="1"/>
            <p:nvPr/>
          </p:nvSpPr>
          <p:spPr>
            <a:xfrm>
              <a:off x="660400" y="4027303"/>
              <a:ext cx="1754537" cy="44669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/>
                <a:t>官网</a:t>
              </a:r>
              <a:endParaRPr lang="id-ID" sz="1600" b="1" dirty="0"/>
            </a:p>
          </p:txBody>
        </p:sp>
        <p:sp>
          <p:nvSpPr>
            <p:cNvPr id="83" name="išļíḑé">
              <a:extLst>
                <a:ext uri="{FF2B5EF4-FFF2-40B4-BE49-F238E27FC236}">
                  <a16:creationId xmlns:a16="http://schemas.microsoft.com/office/drawing/2014/main" id="{5B9E6CB1-C12B-4F71-BCA1-C23610E43F3B}"/>
                </a:ext>
              </a:extLst>
            </p:cNvPr>
            <p:cNvSpPr/>
            <p:nvPr/>
          </p:nvSpPr>
          <p:spPr bwMode="auto">
            <a:xfrm>
              <a:off x="660400" y="4474004"/>
              <a:ext cx="1754537" cy="12708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zh-CN" altLang="en-US" sz="1100" dirty="0"/>
                <a:t>系统版本</a:t>
              </a:r>
              <a:r>
                <a:rPr lang="en-US" altLang="zh-CN" sz="1100" dirty="0"/>
                <a:t>(win </a:t>
              </a:r>
              <a:r>
                <a:rPr lang="en-US" altLang="zh-CN" sz="1100" dirty="0" err="1"/>
                <a:t>linux</a:t>
              </a:r>
              <a:r>
                <a:rPr lang="en-US" altLang="zh-CN" sz="1100" dirty="0"/>
                <a:t>)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zh-CN" altLang="en-US" sz="1100" dirty="0"/>
                <a:t>系统位数</a:t>
              </a:r>
              <a:r>
                <a:rPr lang="en-US" altLang="zh-CN" sz="1100" dirty="0"/>
                <a:t>(32   64)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zh-CN" altLang="en-US" sz="1100" dirty="0"/>
                <a:t>软件版本</a:t>
              </a:r>
              <a:r>
                <a:rPr lang="en-US" altLang="zh-CN" sz="1100" dirty="0"/>
                <a:t>(2.x   3.x)</a:t>
              </a:r>
            </a:p>
          </p:txBody>
        </p:sp>
      </p:grpSp>
      <p:grpSp>
        <p:nvGrpSpPr>
          <p:cNvPr id="67" name="iṡļiḑé">
            <a:extLst>
              <a:ext uri="{FF2B5EF4-FFF2-40B4-BE49-F238E27FC236}">
                <a16:creationId xmlns:a16="http://schemas.microsoft.com/office/drawing/2014/main" id="{A1A88F9C-A54A-4446-9F15-B6982C3C8F5E}"/>
              </a:ext>
            </a:extLst>
          </p:cNvPr>
          <p:cNvGrpSpPr/>
          <p:nvPr/>
        </p:nvGrpSpPr>
        <p:grpSpPr>
          <a:xfrm>
            <a:off x="3182360" y="3192435"/>
            <a:ext cx="1315903" cy="1288184"/>
            <a:chOff x="660400" y="4027303"/>
            <a:chExt cx="1754537" cy="1717579"/>
          </a:xfrm>
        </p:grpSpPr>
        <p:sp>
          <p:nvSpPr>
            <p:cNvPr id="80" name="ïşlïďe">
              <a:extLst>
                <a:ext uri="{FF2B5EF4-FFF2-40B4-BE49-F238E27FC236}">
                  <a16:creationId xmlns:a16="http://schemas.microsoft.com/office/drawing/2014/main" id="{1BBBFFDC-3383-4930-82BB-AF3D16BCDA57}"/>
                </a:ext>
              </a:extLst>
            </p:cNvPr>
            <p:cNvSpPr txBox="1"/>
            <p:nvPr/>
          </p:nvSpPr>
          <p:spPr>
            <a:xfrm>
              <a:off x="660400" y="4027303"/>
              <a:ext cx="1754537" cy="44669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/>
                <a:t>解压</a:t>
              </a:r>
              <a:r>
                <a:rPr lang="en-US" altLang="zh-CN" sz="1600" b="1" dirty="0"/>
                <a:t>1</a:t>
              </a:r>
              <a:endParaRPr lang="id-ID" sz="1600" b="1" dirty="0"/>
            </a:p>
          </p:txBody>
        </p:sp>
        <p:sp>
          <p:nvSpPr>
            <p:cNvPr id="81" name="ïs1ïḑê">
              <a:extLst>
                <a:ext uri="{FF2B5EF4-FFF2-40B4-BE49-F238E27FC236}">
                  <a16:creationId xmlns:a16="http://schemas.microsoft.com/office/drawing/2014/main" id="{1B65B0C2-7ED9-4D35-A57D-5BF58D0E343B}"/>
                </a:ext>
              </a:extLst>
            </p:cNvPr>
            <p:cNvSpPr/>
            <p:nvPr/>
          </p:nvSpPr>
          <p:spPr bwMode="auto">
            <a:xfrm>
              <a:off x="660400" y="4474004"/>
              <a:ext cx="1754537" cy="12708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solidFill>
                    <a:schemeClr val="accent3"/>
                  </a:solidFill>
                </a:rPr>
                <a:t>tar -</a:t>
              </a:r>
              <a:r>
                <a:rPr lang="en-US" altLang="zh-CN" sz="1100" dirty="0" err="1">
                  <a:solidFill>
                    <a:schemeClr val="accent3"/>
                  </a:solidFill>
                </a:rPr>
                <a:t>zxvf</a:t>
              </a:r>
              <a:r>
                <a:rPr lang="en-US" altLang="zh-CN" sz="1100" dirty="0">
                  <a:solidFill>
                    <a:schemeClr val="accent3"/>
                  </a:solidFill>
                </a:rPr>
                <a:t> hadoop*****.jar</a:t>
              </a:r>
            </a:p>
          </p:txBody>
        </p:sp>
      </p:grpSp>
      <p:grpSp>
        <p:nvGrpSpPr>
          <p:cNvPr id="68" name="ïṡ1iḓé">
            <a:extLst>
              <a:ext uri="{FF2B5EF4-FFF2-40B4-BE49-F238E27FC236}">
                <a16:creationId xmlns:a16="http://schemas.microsoft.com/office/drawing/2014/main" id="{D185BE00-0796-4562-848F-9E5703A90F96}"/>
              </a:ext>
            </a:extLst>
          </p:cNvPr>
          <p:cNvGrpSpPr/>
          <p:nvPr/>
        </p:nvGrpSpPr>
        <p:grpSpPr>
          <a:xfrm>
            <a:off x="5814167" y="3192435"/>
            <a:ext cx="1315903" cy="1288184"/>
            <a:chOff x="660400" y="4027303"/>
            <a:chExt cx="1754537" cy="1717579"/>
          </a:xfrm>
        </p:grpSpPr>
        <p:sp>
          <p:nvSpPr>
            <p:cNvPr id="78" name="iṡ1íḍé">
              <a:extLst>
                <a:ext uri="{FF2B5EF4-FFF2-40B4-BE49-F238E27FC236}">
                  <a16:creationId xmlns:a16="http://schemas.microsoft.com/office/drawing/2014/main" id="{BF8CBA03-616B-4CA6-AA6F-17EE7F69F59D}"/>
                </a:ext>
              </a:extLst>
            </p:cNvPr>
            <p:cNvSpPr txBox="1"/>
            <p:nvPr/>
          </p:nvSpPr>
          <p:spPr>
            <a:xfrm>
              <a:off x="660400" y="4027303"/>
              <a:ext cx="1754537" cy="44669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/>
                <a:t>环境变量配置</a:t>
              </a:r>
              <a:endParaRPr lang="id-ID" sz="1600" b="1" dirty="0"/>
            </a:p>
          </p:txBody>
        </p:sp>
        <p:sp>
          <p:nvSpPr>
            <p:cNvPr id="79" name="íśļîḓê">
              <a:extLst>
                <a:ext uri="{FF2B5EF4-FFF2-40B4-BE49-F238E27FC236}">
                  <a16:creationId xmlns:a16="http://schemas.microsoft.com/office/drawing/2014/main" id="{70F0A2AD-4577-4CB0-A79D-21762CDB49BA}"/>
                </a:ext>
              </a:extLst>
            </p:cNvPr>
            <p:cNvSpPr/>
            <p:nvPr/>
          </p:nvSpPr>
          <p:spPr bwMode="auto">
            <a:xfrm>
              <a:off x="660400" y="4474004"/>
              <a:ext cx="1754537" cy="12708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vim /</a:t>
              </a:r>
              <a:r>
                <a:rPr lang="en-US" altLang="zh-CN" sz="1100" dirty="0" err="1"/>
                <a:t>etc</a:t>
              </a:r>
              <a:r>
                <a:rPr lang="en-US" altLang="zh-CN" sz="1100" dirty="0"/>
                <a:t>/profile</a:t>
              </a:r>
              <a:endParaRPr lang="zh-CN" altLang="en-US" sz="1100" dirty="0"/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export PATH=$PATH:/</a:t>
              </a:r>
              <a:r>
                <a:rPr lang="en-US" altLang="zh-CN" sz="1100" dirty="0" err="1"/>
                <a:t>hadoop</a:t>
              </a:r>
              <a:r>
                <a:rPr lang="en-US" altLang="zh-CN" sz="1100" dirty="0"/>
                <a:t>/</a:t>
              </a:r>
              <a:r>
                <a:rPr lang="en-US" altLang="zh-CN" sz="1100" dirty="0" err="1"/>
                <a:t>sbin</a:t>
              </a:r>
              <a:r>
                <a:rPr lang="en-US" altLang="zh-CN" sz="1100" dirty="0"/>
                <a:t>:/</a:t>
              </a:r>
              <a:r>
                <a:rPr lang="en-US" altLang="zh-CN" sz="1100" dirty="0" err="1"/>
                <a:t>hadoop</a:t>
              </a:r>
              <a:r>
                <a:rPr lang="en-US" altLang="zh-CN" sz="1100" dirty="0"/>
                <a:t>/bin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source /</a:t>
              </a:r>
              <a:r>
                <a:rPr lang="en-US" altLang="zh-CN" sz="1100" dirty="0" err="1"/>
                <a:t>etc</a:t>
              </a:r>
              <a:r>
                <a:rPr lang="en-US" altLang="zh-CN" sz="1100" dirty="0"/>
                <a:t>/profile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endParaRPr lang="en-US" altLang="zh-CN" sz="1100" dirty="0"/>
            </a:p>
          </p:txBody>
        </p:sp>
      </p:grpSp>
      <p:grpSp>
        <p:nvGrpSpPr>
          <p:cNvPr id="69" name="ïṧľíďe">
            <a:extLst>
              <a:ext uri="{FF2B5EF4-FFF2-40B4-BE49-F238E27FC236}">
                <a16:creationId xmlns:a16="http://schemas.microsoft.com/office/drawing/2014/main" id="{19384272-8C83-4D97-9E2E-AC76E13F7B6E}"/>
              </a:ext>
            </a:extLst>
          </p:cNvPr>
          <p:cNvGrpSpPr/>
          <p:nvPr/>
        </p:nvGrpSpPr>
        <p:grpSpPr>
          <a:xfrm>
            <a:off x="1866456" y="1964065"/>
            <a:ext cx="1315903" cy="1288184"/>
            <a:chOff x="660400" y="4027303"/>
            <a:chExt cx="1754537" cy="1717579"/>
          </a:xfrm>
        </p:grpSpPr>
        <p:sp>
          <p:nvSpPr>
            <p:cNvPr id="76" name="ïşḻîďê">
              <a:extLst>
                <a:ext uri="{FF2B5EF4-FFF2-40B4-BE49-F238E27FC236}">
                  <a16:creationId xmlns:a16="http://schemas.microsoft.com/office/drawing/2014/main" id="{E48A389F-B1C3-4374-A9B7-82C9BA651118}"/>
                </a:ext>
              </a:extLst>
            </p:cNvPr>
            <p:cNvSpPr txBox="1"/>
            <p:nvPr/>
          </p:nvSpPr>
          <p:spPr>
            <a:xfrm>
              <a:off x="660400" y="4027303"/>
              <a:ext cx="1754537" cy="44669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/>
                <a:t>下载</a:t>
              </a:r>
              <a:endParaRPr lang="id-ID" sz="1600" b="1" dirty="0"/>
            </a:p>
          </p:txBody>
        </p:sp>
        <p:sp>
          <p:nvSpPr>
            <p:cNvPr id="77" name="íşḷîḓe">
              <a:extLst>
                <a:ext uri="{FF2B5EF4-FFF2-40B4-BE49-F238E27FC236}">
                  <a16:creationId xmlns:a16="http://schemas.microsoft.com/office/drawing/2014/main" id="{22A416C7-B772-401D-9467-76F1B3F4B5CE}"/>
                </a:ext>
              </a:extLst>
            </p:cNvPr>
            <p:cNvSpPr/>
            <p:nvPr/>
          </p:nvSpPr>
          <p:spPr bwMode="auto">
            <a:xfrm>
              <a:off x="660400" y="4474004"/>
              <a:ext cx="1754537" cy="12708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zh-CN" altLang="en-US" sz="1100" dirty="0"/>
                <a:t>等</a:t>
              </a:r>
              <a:r>
                <a:rPr lang="en-US" altLang="zh-CN" sz="1100" dirty="0"/>
                <a:t>… …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(</a:t>
              </a:r>
              <a:r>
                <a:rPr lang="zh-CN" altLang="en-US" sz="1100" dirty="0"/>
                <a:t>有现成的就好了</a:t>
              </a:r>
              <a:r>
                <a:rPr lang="en-US" altLang="zh-CN" sz="1100" dirty="0"/>
                <a:t>)</a:t>
              </a:r>
            </a:p>
          </p:txBody>
        </p:sp>
      </p:grpSp>
      <p:grpSp>
        <p:nvGrpSpPr>
          <p:cNvPr id="70" name="îṥḻíḓé">
            <a:extLst>
              <a:ext uri="{FF2B5EF4-FFF2-40B4-BE49-F238E27FC236}">
                <a16:creationId xmlns:a16="http://schemas.microsoft.com/office/drawing/2014/main" id="{D59D16AD-CE49-4B58-BB0C-6D0250C037BB}"/>
              </a:ext>
            </a:extLst>
          </p:cNvPr>
          <p:cNvGrpSpPr/>
          <p:nvPr/>
        </p:nvGrpSpPr>
        <p:grpSpPr>
          <a:xfrm>
            <a:off x="4498263" y="1964065"/>
            <a:ext cx="1315903" cy="1288184"/>
            <a:chOff x="660400" y="4027303"/>
            <a:chExt cx="1754537" cy="1717579"/>
          </a:xfrm>
        </p:grpSpPr>
        <p:sp>
          <p:nvSpPr>
            <p:cNvPr id="74" name="îṧļïdè">
              <a:extLst>
                <a:ext uri="{FF2B5EF4-FFF2-40B4-BE49-F238E27FC236}">
                  <a16:creationId xmlns:a16="http://schemas.microsoft.com/office/drawing/2014/main" id="{A788EAC7-399C-4D1F-9548-59310840517A}"/>
                </a:ext>
              </a:extLst>
            </p:cNvPr>
            <p:cNvSpPr txBox="1"/>
            <p:nvPr/>
          </p:nvSpPr>
          <p:spPr>
            <a:xfrm>
              <a:off x="660400" y="4027303"/>
              <a:ext cx="1754537" cy="44669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/>
                <a:t>解压</a:t>
              </a:r>
              <a:r>
                <a:rPr lang="en-US" altLang="zh-CN" sz="1600" b="1" dirty="0"/>
                <a:t>2</a:t>
              </a:r>
              <a:endParaRPr lang="id-ID" sz="1600" b="1" dirty="0"/>
            </a:p>
          </p:txBody>
        </p:sp>
        <p:sp>
          <p:nvSpPr>
            <p:cNvPr id="75" name="ïS1iḍé">
              <a:extLst>
                <a:ext uri="{FF2B5EF4-FFF2-40B4-BE49-F238E27FC236}">
                  <a16:creationId xmlns:a16="http://schemas.microsoft.com/office/drawing/2014/main" id="{AD155936-4562-4F7B-B988-6BA81CCB0C2E}"/>
                </a:ext>
              </a:extLst>
            </p:cNvPr>
            <p:cNvSpPr/>
            <p:nvPr/>
          </p:nvSpPr>
          <p:spPr bwMode="auto">
            <a:xfrm>
              <a:off x="660400" y="4474004"/>
              <a:ext cx="1754537" cy="12708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solidFill>
                    <a:schemeClr val="accent1"/>
                  </a:solidFill>
                </a:rPr>
                <a:t>or</a:t>
              </a:r>
              <a:r>
                <a:rPr lang="zh-CN" altLang="en-US" sz="1100" dirty="0">
                  <a:solidFill>
                    <a:schemeClr val="accent1"/>
                  </a:solidFill>
                </a:rPr>
                <a:t>左键！右键！</a:t>
              </a:r>
              <a:endParaRPr lang="en-US" altLang="zh-CN" sz="11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71" name="ï$ḷîḓê">
            <a:extLst>
              <a:ext uri="{FF2B5EF4-FFF2-40B4-BE49-F238E27FC236}">
                <a16:creationId xmlns:a16="http://schemas.microsoft.com/office/drawing/2014/main" id="{BBBDA409-2730-4782-AE04-AB9675F4EE84}"/>
              </a:ext>
            </a:extLst>
          </p:cNvPr>
          <p:cNvGrpSpPr/>
          <p:nvPr/>
        </p:nvGrpSpPr>
        <p:grpSpPr>
          <a:xfrm>
            <a:off x="7130070" y="1964065"/>
            <a:ext cx="1315903" cy="1288184"/>
            <a:chOff x="660400" y="4027303"/>
            <a:chExt cx="1754537" cy="1717579"/>
          </a:xfrm>
        </p:grpSpPr>
        <p:sp>
          <p:nvSpPr>
            <p:cNvPr id="72" name="ïšľïdè">
              <a:extLst>
                <a:ext uri="{FF2B5EF4-FFF2-40B4-BE49-F238E27FC236}">
                  <a16:creationId xmlns:a16="http://schemas.microsoft.com/office/drawing/2014/main" id="{3132E5C0-605F-4282-B83B-F51EAB89C0DD}"/>
                </a:ext>
              </a:extLst>
            </p:cNvPr>
            <p:cNvSpPr txBox="1"/>
            <p:nvPr/>
          </p:nvSpPr>
          <p:spPr>
            <a:xfrm>
              <a:off x="660400" y="4027303"/>
              <a:ext cx="1754537" cy="44669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/>
                <a:t>分布式</a:t>
              </a:r>
              <a:endParaRPr lang="id-ID" sz="1600" b="1" dirty="0"/>
            </a:p>
          </p:txBody>
        </p:sp>
        <p:sp>
          <p:nvSpPr>
            <p:cNvPr id="73" name="ï$líde">
              <a:extLst>
                <a:ext uri="{FF2B5EF4-FFF2-40B4-BE49-F238E27FC236}">
                  <a16:creationId xmlns:a16="http://schemas.microsoft.com/office/drawing/2014/main" id="{E80A9E35-4A97-4BEE-A98E-025F9BFFB1EB}"/>
                </a:ext>
              </a:extLst>
            </p:cNvPr>
            <p:cNvSpPr/>
            <p:nvPr/>
          </p:nvSpPr>
          <p:spPr bwMode="auto">
            <a:xfrm>
              <a:off x="660400" y="4474004"/>
              <a:ext cx="1754537" cy="12708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zh-CN" altLang="en-US" sz="1100" dirty="0"/>
                <a:t>下一步</a:t>
              </a:r>
              <a:endParaRPr lang="en-US" altLang="zh-CN" sz="1100" dirty="0"/>
            </a:p>
          </p:txBody>
        </p:sp>
      </p:grpSp>
    </p:spTree>
    <p:extLst>
      <p:ext uri="{BB962C8B-B14F-4D97-AF65-F5344CB8AC3E}">
        <p14:creationId xmlns:p14="http://schemas.microsoft.com/office/powerpoint/2010/main" val="32624415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E9576B95-676C-429F-A627-D48EE8F6ECE9}"/>
              </a:ext>
            </a:extLst>
          </p:cNvPr>
          <p:cNvSpPr/>
          <p:nvPr/>
        </p:nvSpPr>
        <p:spPr>
          <a:xfrm>
            <a:off x="2734166" y="1130300"/>
            <a:ext cx="2793511" cy="5003800"/>
          </a:xfrm>
          <a:prstGeom prst="round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1941C713-9BC6-41AD-AFC7-BB37386D371F}"/>
              </a:ext>
            </a:extLst>
          </p:cNvPr>
          <p:cNvSpPr txBox="1"/>
          <p:nvPr/>
        </p:nvSpPr>
        <p:spPr>
          <a:xfrm>
            <a:off x="3307710" y="495654"/>
            <a:ext cx="31021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/>
              <a:t>Map()</a:t>
            </a:r>
            <a:endParaRPr lang="zh-CN" altLang="en-US" sz="2800" dirty="0"/>
          </a:p>
        </p:txBody>
      </p: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12AB1DF8-9F59-459D-861B-0997412FBF92}"/>
              </a:ext>
            </a:extLst>
          </p:cNvPr>
          <p:cNvSpPr>
            <a:spLocks/>
          </p:cNvSpPr>
          <p:nvPr/>
        </p:nvSpPr>
        <p:spPr>
          <a:xfrm>
            <a:off x="3119602" y="4590442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91A342C0-220F-4EE6-8E94-FDE79F5160AA}"/>
              </a:ext>
            </a:extLst>
          </p:cNvPr>
          <p:cNvSpPr>
            <a:spLocks/>
          </p:cNvSpPr>
          <p:nvPr/>
        </p:nvSpPr>
        <p:spPr>
          <a:xfrm>
            <a:off x="3119602" y="2860371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2900AFE4-C899-455C-AECA-CE83C79CE577}"/>
              </a:ext>
            </a:extLst>
          </p:cNvPr>
          <p:cNvSpPr>
            <a:spLocks/>
          </p:cNvSpPr>
          <p:nvPr/>
        </p:nvSpPr>
        <p:spPr>
          <a:xfrm>
            <a:off x="3119602" y="1130300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3372978F-E17A-40CA-89B5-F22260ABE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-18696"/>
            <a:ext cx="8137922" cy="1028699"/>
          </a:xfrm>
        </p:spPr>
        <p:txBody>
          <a:bodyPr/>
          <a:lstStyle/>
          <a:p>
            <a:r>
              <a:rPr lang="en-US" altLang="zh-CN" dirty="0"/>
              <a:t>MapReduce</a:t>
            </a:r>
            <a:r>
              <a:rPr lang="zh-CN" altLang="en-US" dirty="0"/>
              <a:t>工作流程</a:t>
            </a:r>
          </a:p>
        </p:txBody>
      </p:sp>
      <p:graphicFrame>
        <p:nvGraphicFramePr>
          <p:cNvPr id="5" name="图示 4">
            <a:extLst>
              <a:ext uri="{FF2B5EF4-FFF2-40B4-BE49-F238E27FC236}">
                <a16:creationId xmlns:a16="http://schemas.microsoft.com/office/drawing/2014/main" id="{4143F789-211B-48A4-87F4-39FE191248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4870472"/>
              </p:ext>
            </p:extLst>
          </p:nvPr>
        </p:nvGraphicFramePr>
        <p:xfrm>
          <a:off x="3267407" y="1245113"/>
          <a:ext cx="1727028" cy="13140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7" name="图示 6">
            <a:extLst>
              <a:ext uri="{FF2B5EF4-FFF2-40B4-BE49-F238E27FC236}">
                <a16:creationId xmlns:a16="http://schemas.microsoft.com/office/drawing/2014/main" id="{CAFD8489-9F46-4A33-A768-FEC2061E62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52330275"/>
              </p:ext>
            </p:extLst>
          </p:nvPr>
        </p:nvGraphicFramePr>
        <p:xfrm>
          <a:off x="3193504" y="2976974"/>
          <a:ext cx="1874833" cy="13104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16" name="图示 15">
            <a:extLst>
              <a:ext uri="{FF2B5EF4-FFF2-40B4-BE49-F238E27FC236}">
                <a16:creationId xmlns:a16="http://schemas.microsoft.com/office/drawing/2014/main" id="{3A3B6F7F-B888-40B8-936D-51585125210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62717562"/>
              </p:ext>
            </p:extLst>
          </p:nvPr>
        </p:nvGraphicFramePr>
        <p:xfrm>
          <a:off x="3193504" y="4707045"/>
          <a:ext cx="1874833" cy="13104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</p:spTree>
    <p:extLst>
      <p:ext uri="{BB962C8B-B14F-4D97-AF65-F5344CB8AC3E}">
        <p14:creationId xmlns:p14="http://schemas.microsoft.com/office/powerpoint/2010/main" val="11648758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C7683FA-E85D-4AFB-A91C-30200F0379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6D870A8-3150-455C-94DA-F484282D15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0</a:t>
            </a:fld>
            <a:endParaRPr lang="zh-CN" altLang="en-US"/>
          </a:p>
        </p:txBody>
      </p:sp>
      <p:sp>
        <p:nvSpPr>
          <p:cNvPr id="6" name="išļíde">
            <a:extLst>
              <a:ext uri="{FF2B5EF4-FFF2-40B4-BE49-F238E27FC236}">
                <a16:creationId xmlns:a16="http://schemas.microsoft.com/office/drawing/2014/main" id="{5CC484C3-1E21-47AB-AE61-8EFF977408BE}"/>
              </a:ext>
            </a:extLst>
          </p:cNvPr>
          <p:cNvSpPr/>
          <p:nvPr/>
        </p:nvSpPr>
        <p:spPr bwMode="auto">
          <a:xfrm>
            <a:off x="-470274" y="2747266"/>
            <a:ext cx="6462137" cy="1765300"/>
          </a:xfrm>
          <a:custGeom>
            <a:avLst/>
            <a:gdLst/>
            <a:ahLst/>
            <a:cxnLst>
              <a:cxn ang="0">
                <a:pos x="1972" y="620"/>
              </a:cxn>
              <a:cxn ang="0">
                <a:pos x="1765" y="500"/>
              </a:cxn>
              <a:cxn ang="0">
                <a:pos x="1765" y="580"/>
              </a:cxn>
              <a:cxn ang="0">
                <a:pos x="860" y="580"/>
              </a:cxn>
              <a:cxn ang="0">
                <a:pos x="820" y="540"/>
              </a:cxn>
              <a:cxn ang="0">
                <a:pos x="820" y="120"/>
              </a:cxn>
              <a:cxn ang="0">
                <a:pos x="700" y="0"/>
              </a:cxn>
              <a:cxn ang="0">
                <a:pos x="0" y="0"/>
              </a:cxn>
              <a:cxn ang="0">
                <a:pos x="0" y="80"/>
              </a:cxn>
              <a:cxn ang="0">
                <a:pos x="700" y="80"/>
              </a:cxn>
              <a:cxn ang="0">
                <a:pos x="740" y="120"/>
              </a:cxn>
              <a:cxn ang="0">
                <a:pos x="740" y="540"/>
              </a:cxn>
              <a:cxn ang="0">
                <a:pos x="860" y="660"/>
              </a:cxn>
              <a:cxn ang="0">
                <a:pos x="1765" y="660"/>
              </a:cxn>
              <a:cxn ang="0">
                <a:pos x="1765" y="740"/>
              </a:cxn>
              <a:cxn ang="0">
                <a:pos x="1972" y="620"/>
              </a:cxn>
            </a:cxnLst>
            <a:rect l="0" t="0" r="r" b="b"/>
            <a:pathLst>
              <a:path w="1972" h="740">
                <a:moveTo>
                  <a:pt x="1972" y="620"/>
                </a:moveTo>
                <a:cubicBezTo>
                  <a:pt x="1765" y="500"/>
                  <a:pt x="1765" y="500"/>
                  <a:pt x="1765" y="500"/>
                </a:cubicBezTo>
                <a:cubicBezTo>
                  <a:pt x="1765" y="580"/>
                  <a:pt x="1765" y="580"/>
                  <a:pt x="1765" y="580"/>
                </a:cubicBezTo>
                <a:cubicBezTo>
                  <a:pt x="860" y="580"/>
                  <a:pt x="860" y="580"/>
                  <a:pt x="860" y="580"/>
                </a:cubicBezTo>
                <a:cubicBezTo>
                  <a:pt x="838" y="580"/>
                  <a:pt x="820" y="562"/>
                  <a:pt x="820" y="540"/>
                </a:cubicBezTo>
                <a:cubicBezTo>
                  <a:pt x="820" y="120"/>
                  <a:pt x="820" y="120"/>
                  <a:pt x="820" y="120"/>
                </a:cubicBezTo>
                <a:cubicBezTo>
                  <a:pt x="820" y="54"/>
                  <a:pt x="766" y="0"/>
                  <a:pt x="70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0"/>
                  <a:pt x="0" y="80"/>
                  <a:pt x="0" y="80"/>
                </a:cubicBezTo>
                <a:cubicBezTo>
                  <a:pt x="700" y="80"/>
                  <a:pt x="700" y="80"/>
                  <a:pt x="700" y="80"/>
                </a:cubicBezTo>
                <a:cubicBezTo>
                  <a:pt x="722" y="80"/>
                  <a:pt x="740" y="98"/>
                  <a:pt x="740" y="120"/>
                </a:cubicBezTo>
                <a:cubicBezTo>
                  <a:pt x="740" y="540"/>
                  <a:pt x="740" y="540"/>
                  <a:pt x="740" y="540"/>
                </a:cubicBezTo>
                <a:cubicBezTo>
                  <a:pt x="740" y="606"/>
                  <a:pt x="794" y="660"/>
                  <a:pt x="860" y="660"/>
                </a:cubicBezTo>
                <a:cubicBezTo>
                  <a:pt x="1765" y="660"/>
                  <a:pt x="1765" y="660"/>
                  <a:pt x="1765" y="660"/>
                </a:cubicBezTo>
                <a:cubicBezTo>
                  <a:pt x="1765" y="740"/>
                  <a:pt x="1765" y="740"/>
                  <a:pt x="1765" y="740"/>
                </a:cubicBezTo>
                <a:lnTo>
                  <a:pt x="1972" y="62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7" name="ïṣlïďê">
            <a:extLst>
              <a:ext uri="{FF2B5EF4-FFF2-40B4-BE49-F238E27FC236}">
                <a16:creationId xmlns:a16="http://schemas.microsoft.com/office/drawing/2014/main" id="{2B030D8B-0CC0-42D1-83F3-72F10223D105}"/>
              </a:ext>
            </a:extLst>
          </p:cNvPr>
          <p:cNvSpPr/>
          <p:nvPr/>
        </p:nvSpPr>
        <p:spPr bwMode="auto">
          <a:xfrm>
            <a:off x="2" y="1840804"/>
            <a:ext cx="5779378" cy="2538413"/>
          </a:xfrm>
          <a:custGeom>
            <a:avLst/>
            <a:gdLst/>
            <a:ahLst/>
            <a:cxnLst>
              <a:cxn ang="0">
                <a:pos x="1764" y="120"/>
              </a:cxn>
              <a:cxn ang="0">
                <a:pos x="1557" y="0"/>
              </a:cxn>
              <a:cxn ang="0">
                <a:pos x="1557" y="80"/>
              </a:cxn>
              <a:cxn ang="0">
                <a:pos x="392" y="80"/>
              </a:cxn>
              <a:cxn ang="0">
                <a:pos x="272" y="200"/>
              </a:cxn>
              <a:cxn ang="0">
                <a:pos x="272" y="944"/>
              </a:cxn>
              <a:cxn ang="0">
                <a:pos x="232" y="984"/>
              </a:cxn>
              <a:cxn ang="0">
                <a:pos x="0" y="984"/>
              </a:cxn>
              <a:cxn ang="0">
                <a:pos x="0" y="1064"/>
              </a:cxn>
              <a:cxn ang="0">
                <a:pos x="232" y="1064"/>
              </a:cxn>
              <a:cxn ang="0">
                <a:pos x="352" y="944"/>
              </a:cxn>
              <a:cxn ang="0">
                <a:pos x="352" y="200"/>
              </a:cxn>
              <a:cxn ang="0">
                <a:pos x="392" y="160"/>
              </a:cxn>
              <a:cxn ang="0">
                <a:pos x="1557" y="160"/>
              </a:cxn>
              <a:cxn ang="0">
                <a:pos x="1557" y="240"/>
              </a:cxn>
              <a:cxn ang="0">
                <a:pos x="1764" y="120"/>
              </a:cxn>
            </a:cxnLst>
            <a:rect l="0" t="0" r="r" b="b"/>
            <a:pathLst>
              <a:path w="1764" h="1064">
                <a:moveTo>
                  <a:pt x="1764" y="120"/>
                </a:moveTo>
                <a:cubicBezTo>
                  <a:pt x="1557" y="0"/>
                  <a:pt x="1557" y="0"/>
                  <a:pt x="1557" y="0"/>
                </a:cubicBezTo>
                <a:cubicBezTo>
                  <a:pt x="1557" y="80"/>
                  <a:pt x="1557" y="80"/>
                  <a:pt x="1557" y="80"/>
                </a:cubicBezTo>
                <a:cubicBezTo>
                  <a:pt x="392" y="80"/>
                  <a:pt x="392" y="80"/>
                  <a:pt x="392" y="80"/>
                </a:cubicBezTo>
                <a:cubicBezTo>
                  <a:pt x="326" y="80"/>
                  <a:pt x="272" y="134"/>
                  <a:pt x="272" y="200"/>
                </a:cubicBezTo>
                <a:cubicBezTo>
                  <a:pt x="272" y="944"/>
                  <a:pt x="272" y="944"/>
                  <a:pt x="272" y="944"/>
                </a:cubicBezTo>
                <a:cubicBezTo>
                  <a:pt x="272" y="966"/>
                  <a:pt x="254" y="984"/>
                  <a:pt x="232" y="984"/>
                </a:cubicBezTo>
                <a:cubicBezTo>
                  <a:pt x="0" y="984"/>
                  <a:pt x="0" y="984"/>
                  <a:pt x="0" y="984"/>
                </a:cubicBezTo>
                <a:cubicBezTo>
                  <a:pt x="0" y="1064"/>
                  <a:pt x="0" y="1064"/>
                  <a:pt x="0" y="1064"/>
                </a:cubicBezTo>
                <a:cubicBezTo>
                  <a:pt x="232" y="1064"/>
                  <a:pt x="232" y="1064"/>
                  <a:pt x="232" y="1064"/>
                </a:cubicBezTo>
                <a:cubicBezTo>
                  <a:pt x="298" y="1064"/>
                  <a:pt x="352" y="1010"/>
                  <a:pt x="352" y="944"/>
                </a:cubicBezTo>
                <a:cubicBezTo>
                  <a:pt x="352" y="200"/>
                  <a:pt x="352" y="200"/>
                  <a:pt x="352" y="200"/>
                </a:cubicBezTo>
                <a:cubicBezTo>
                  <a:pt x="352" y="178"/>
                  <a:pt x="370" y="160"/>
                  <a:pt x="392" y="160"/>
                </a:cubicBezTo>
                <a:cubicBezTo>
                  <a:pt x="1557" y="160"/>
                  <a:pt x="1557" y="160"/>
                  <a:pt x="1557" y="160"/>
                </a:cubicBezTo>
                <a:cubicBezTo>
                  <a:pt x="1557" y="240"/>
                  <a:pt x="1557" y="240"/>
                  <a:pt x="1557" y="240"/>
                </a:cubicBezTo>
                <a:lnTo>
                  <a:pt x="1764" y="12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8" name="iŝľíḑè">
            <a:extLst>
              <a:ext uri="{FF2B5EF4-FFF2-40B4-BE49-F238E27FC236}">
                <a16:creationId xmlns:a16="http://schemas.microsoft.com/office/drawing/2014/main" id="{2488CC43-8976-4038-9B52-FD541F0C512F}"/>
              </a:ext>
            </a:extLst>
          </p:cNvPr>
          <p:cNvSpPr/>
          <p:nvPr/>
        </p:nvSpPr>
        <p:spPr bwMode="auto">
          <a:xfrm>
            <a:off x="0" y="3510852"/>
            <a:ext cx="5216976" cy="1917700"/>
          </a:xfrm>
          <a:custGeom>
            <a:avLst/>
            <a:gdLst/>
            <a:ahLst/>
            <a:cxnLst>
              <a:cxn ang="0">
                <a:pos x="1592" y="684"/>
              </a:cxn>
              <a:cxn ang="0">
                <a:pos x="1385" y="564"/>
              </a:cxn>
              <a:cxn ang="0">
                <a:pos x="1385" y="644"/>
              </a:cxn>
              <a:cxn ang="0">
                <a:pos x="1112" y="644"/>
              </a:cxn>
              <a:cxn ang="0">
                <a:pos x="1072" y="604"/>
              </a:cxn>
              <a:cxn ang="0">
                <a:pos x="1072" y="120"/>
              </a:cxn>
              <a:cxn ang="0">
                <a:pos x="952" y="0"/>
              </a:cxn>
              <a:cxn ang="0">
                <a:pos x="0" y="0"/>
              </a:cxn>
              <a:cxn ang="0">
                <a:pos x="0" y="80"/>
              </a:cxn>
              <a:cxn ang="0">
                <a:pos x="952" y="80"/>
              </a:cxn>
              <a:cxn ang="0">
                <a:pos x="992" y="120"/>
              </a:cxn>
              <a:cxn ang="0">
                <a:pos x="992" y="604"/>
              </a:cxn>
              <a:cxn ang="0">
                <a:pos x="1112" y="724"/>
              </a:cxn>
              <a:cxn ang="0">
                <a:pos x="1385" y="724"/>
              </a:cxn>
              <a:cxn ang="0">
                <a:pos x="1385" y="804"/>
              </a:cxn>
              <a:cxn ang="0">
                <a:pos x="1592" y="684"/>
              </a:cxn>
            </a:cxnLst>
            <a:rect l="0" t="0" r="r" b="b"/>
            <a:pathLst>
              <a:path w="1592" h="804">
                <a:moveTo>
                  <a:pt x="1592" y="684"/>
                </a:moveTo>
                <a:cubicBezTo>
                  <a:pt x="1385" y="564"/>
                  <a:pt x="1385" y="564"/>
                  <a:pt x="1385" y="564"/>
                </a:cubicBezTo>
                <a:cubicBezTo>
                  <a:pt x="1385" y="644"/>
                  <a:pt x="1385" y="644"/>
                  <a:pt x="1385" y="644"/>
                </a:cubicBezTo>
                <a:cubicBezTo>
                  <a:pt x="1112" y="644"/>
                  <a:pt x="1112" y="644"/>
                  <a:pt x="1112" y="644"/>
                </a:cubicBezTo>
                <a:cubicBezTo>
                  <a:pt x="1090" y="644"/>
                  <a:pt x="1072" y="626"/>
                  <a:pt x="1072" y="604"/>
                </a:cubicBezTo>
                <a:cubicBezTo>
                  <a:pt x="1072" y="120"/>
                  <a:pt x="1072" y="120"/>
                  <a:pt x="1072" y="120"/>
                </a:cubicBezTo>
                <a:cubicBezTo>
                  <a:pt x="1072" y="54"/>
                  <a:pt x="1018" y="0"/>
                  <a:pt x="95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0"/>
                  <a:pt x="0" y="80"/>
                  <a:pt x="0" y="80"/>
                </a:cubicBezTo>
                <a:cubicBezTo>
                  <a:pt x="952" y="80"/>
                  <a:pt x="952" y="80"/>
                  <a:pt x="952" y="80"/>
                </a:cubicBezTo>
                <a:cubicBezTo>
                  <a:pt x="974" y="80"/>
                  <a:pt x="992" y="98"/>
                  <a:pt x="992" y="120"/>
                </a:cubicBezTo>
                <a:cubicBezTo>
                  <a:pt x="992" y="604"/>
                  <a:pt x="992" y="604"/>
                  <a:pt x="992" y="604"/>
                </a:cubicBezTo>
                <a:cubicBezTo>
                  <a:pt x="992" y="670"/>
                  <a:pt x="1046" y="724"/>
                  <a:pt x="1112" y="724"/>
                </a:cubicBezTo>
                <a:cubicBezTo>
                  <a:pt x="1385" y="724"/>
                  <a:pt x="1385" y="724"/>
                  <a:pt x="1385" y="724"/>
                </a:cubicBezTo>
                <a:cubicBezTo>
                  <a:pt x="1385" y="804"/>
                  <a:pt x="1385" y="804"/>
                  <a:pt x="1385" y="804"/>
                </a:cubicBezTo>
                <a:lnTo>
                  <a:pt x="1592" y="684"/>
                </a:lnTo>
                <a:close/>
              </a:path>
            </a:pathLst>
          </a:custGeom>
          <a:solidFill>
            <a:schemeClr val="bg1">
              <a:lumMod val="65000"/>
              <a:alpha val="8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9" name="îŝliḑê">
            <a:extLst>
              <a:ext uri="{FF2B5EF4-FFF2-40B4-BE49-F238E27FC236}">
                <a16:creationId xmlns:a16="http://schemas.microsoft.com/office/drawing/2014/main" id="{E87E8F6E-6A66-4089-AC59-23AC941AB46B}"/>
              </a:ext>
            </a:extLst>
          </p:cNvPr>
          <p:cNvSpPr/>
          <p:nvPr/>
        </p:nvSpPr>
        <p:spPr bwMode="auto">
          <a:xfrm>
            <a:off x="4" y="2956818"/>
            <a:ext cx="4626128" cy="2119313"/>
          </a:xfrm>
          <a:custGeom>
            <a:avLst/>
            <a:gdLst/>
            <a:ahLst/>
            <a:cxnLst>
              <a:cxn ang="0">
                <a:pos x="1412" y="120"/>
              </a:cxn>
              <a:cxn ang="0">
                <a:pos x="1205" y="0"/>
              </a:cxn>
              <a:cxn ang="0">
                <a:pos x="1205" y="80"/>
              </a:cxn>
              <a:cxn ang="0">
                <a:pos x="564" y="80"/>
              </a:cxn>
              <a:cxn ang="0">
                <a:pos x="444" y="200"/>
              </a:cxn>
              <a:cxn ang="0">
                <a:pos x="444" y="768"/>
              </a:cxn>
              <a:cxn ang="0">
                <a:pos x="404" y="808"/>
              </a:cxn>
              <a:cxn ang="0">
                <a:pos x="0" y="808"/>
              </a:cxn>
              <a:cxn ang="0">
                <a:pos x="0" y="888"/>
              </a:cxn>
              <a:cxn ang="0">
                <a:pos x="404" y="888"/>
              </a:cxn>
              <a:cxn ang="0">
                <a:pos x="524" y="768"/>
              </a:cxn>
              <a:cxn ang="0">
                <a:pos x="524" y="200"/>
              </a:cxn>
              <a:cxn ang="0">
                <a:pos x="564" y="160"/>
              </a:cxn>
              <a:cxn ang="0">
                <a:pos x="1205" y="160"/>
              </a:cxn>
              <a:cxn ang="0">
                <a:pos x="1205" y="240"/>
              </a:cxn>
              <a:cxn ang="0">
                <a:pos x="1412" y="120"/>
              </a:cxn>
            </a:cxnLst>
            <a:rect l="0" t="0" r="r" b="b"/>
            <a:pathLst>
              <a:path w="1412" h="888">
                <a:moveTo>
                  <a:pt x="1412" y="120"/>
                </a:moveTo>
                <a:cubicBezTo>
                  <a:pt x="1205" y="0"/>
                  <a:pt x="1205" y="0"/>
                  <a:pt x="1205" y="0"/>
                </a:cubicBezTo>
                <a:cubicBezTo>
                  <a:pt x="1205" y="80"/>
                  <a:pt x="1205" y="80"/>
                  <a:pt x="1205" y="80"/>
                </a:cubicBezTo>
                <a:cubicBezTo>
                  <a:pt x="564" y="80"/>
                  <a:pt x="564" y="80"/>
                  <a:pt x="564" y="80"/>
                </a:cubicBezTo>
                <a:cubicBezTo>
                  <a:pt x="498" y="80"/>
                  <a:pt x="444" y="134"/>
                  <a:pt x="444" y="200"/>
                </a:cubicBezTo>
                <a:cubicBezTo>
                  <a:pt x="444" y="768"/>
                  <a:pt x="444" y="768"/>
                  <a:pt x="444" y="768"/>
                </a:cubicBezTo>
                <a:cubicBezTo>
                  <a:pt x="444" y="790"/>
                  <a:pt x="426" y="808"/>
                  <a:pt x="404" y="808"/>
                </a:cubicBezTo>
                <a:cubicBezTo>
                  <a:pt x="0" y="808"/>
                  <a:pt x="0" y="808"/>
                  <a:pt x="0" y="808"/>
                </a:cubicBezTo>
                <a:cubicBezTo>
                  <a:pt x="0" y="888"/>
                  <a:pt x="0" y="888"/>
                  <a:pt x="0" y="888"/>
                </a:cubicBezTo>
                <a:cubicBezTo>
                  <a:pt x="404" y="888"/>
                  <a:pt x="404" y="888"/>
                  <a:pt x="404" y="888"/>
                </a:cubicBezTo>
                <a:cubicBezTo>
                  <a:pt x="470" y="888"/>
                  <a:pt x="524" y="834"/>
                  <a:pt x="524" y="768"/>
                </a:cubicBezTo>
                <a:cubicBezTo>
                  <a:pt x="524" y="200"/>
                  <a:pt x="524" y="200"/>
                  <a:pt x="524" y="200"/>
                </a:cubicBezTo>
                <a:cubicBezTo>
                  <a:pt x="524" y="178"/>
                  <a:pt x="542" y="160"/>
                  <a:pt x="564" y="160"/>
                </a:cubicBezTo>
                <a:cubicBezTo>
                  <a:pt x="1205" y="160"/>
                  <a:pt x="1205" y="160"/>
                  <a:pt x="1205" y="160"/>
                </a:cubicBezTo>
                <a:cubicBezTo>
                  <a:pt x="1205" y="240"/>
                  <a:pt x="1205" y="240"/>
                  <a:pt x="1205" y="240"/>
                </a:cubicBezTo>
                <a:lnTo>
                  <a:pt x="1412" y="120"/>
                </a:lnTo>
                <a:close/>
              </a:path>
            </a:pathLst>
          </a:custGeom>
          <a:solidFill>
            <a:schemeClr val="bg1">
              <a:lumMod val="65000"/>
              <a:alpha val="8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0" name="ïŝļïḋè">
            <a:extLst>
              <a:ext uri="{FF2B5EF4-FFF2-40B4-BE49-F238E27FC236}">
                <a16:creationId xmlns:a16="http://schemas.microsoft.com/office/drawing/2014/main" id="{B02BCA2B-716D-4FDC-8E3E-A08E33F67EBD}"/>
              </a:ext>
            </a:extLst>
          </p:cNvPr>
          <p:cNvSpPr/>
          <p:nvPr/>
        </p:nvSpPr>
        <p:spPr bwMode="auto">
          <a:xfrm>
            <a:off x="6151380" y="1922092"/>
            <a:ext cx="398512" cy="398512"/>
          </a:xfrm>
          <a:custGeom>
            <a:avLst/>
            <a:gdLst>
              <a:gd name="T0" fmla="*/ 545 w 913"/>
              <a:gd name="T1" fmla="*/ 9 h 913"/>
              <a:gd name="T2" fmla="*/ 367 w 913"/>
              <a:gd name="T3" fmla="*/ 9 h 913"/>
              <a:gd name="T4" fmla="*/ 0 w 913"/>
              <a:gd name="T5" fmla="*/ 456 h 913"/>
              <a:gd name="T6" fmla="*/ 367 w 913"/>
              <a:gd name="T7" fmla="*/ 904 h 913"/>
              <a:gd name="T8" fmla="*/ 545 w 913"/>
              <a:gd name="T9" fmla="*/ 904 h 913"/>
              <a:gd name="T10" fmla="*/ 913 w 913"/>
              <a:gd name="T11" fmla="*/ 456 h 913"/>
              <a:gd name="T12" fmla="*/ 339 w 913"/>
              <a:gd name="T13" fmla="*/ 108 h 913"/>
              <a:gd name="T14" fmla="*/ 171 w 913"/>
              <a:gd name="T15" fmla="*/ 225 h 913"/>
              <a:gd name="T16" fmla="*/ 118 w 913"/>
              <a:gd name="T17" fmla="*/ 314 h 913"/>
              <a:gd name="T18" fmla="*/ 181 w 913"/>
              <a:gd name="T19" fmla="*/ 403 h 913"/>
              <a:gd name="T20" fmla="*/ 118 w 913"/>
              <a:gd name="T21" fmla="*/ 314 h 913"/>
              <a:gd name="T22" fmla="*/ 91 w 913"/>
              <a:gd name="T23" fmla="*/ 492 h 913"/>
              <a:gd name="T24" fmla="*/ 196 w 913"/>
              <a:gd name="T25" fmla="*/ 581 h 913"/>
              <a:gd name="T26" fmla="*/ 158 w 913"/>
              <a:gd name="T27" fmla="*/ 670 h 913"/>
              <a:gd name="T28" fmla="*/ 339 w 913"/>
              <a:gd name="T29" fmla="*/ 804 h 913"/>
              <a:gd name="T30" fmla="*/ 412 w 913"/>
              <a:gd name="T31" fmla="*/ 748 h 913"/>
              <a:gd name="T32" fmla="*/ 412 w 913"/>
              <a:gd name="T33" fmla="*/ 670 h 913"/>
              <a:gd name="T34" fmla="*/ 412 w 913"/>
              <a:gd name="T35" fmla="*/ 581 h 913"/>
              <a:gd name="T36" fmla="*/ 269 w 913"/>
              <a:gd name="T37" fmla="*/ 492 h 913"/>
              <a:gd name="T38" fmla="*/ 412 w 913"/>
              <a:gd name="T39" fmla="*/ 581 h 913"/>
              <a:gd name="T40" fmla="*/ 271 w 913"/>
              <a:gd name="T41" fmla="*/ 403 h 913"/>
              <a:gd name="T42" fmla="*/ 412 w 913"/>
              <a:gd name="T43" fmla="*/ 314 h 913"/>
              <a:gd name="T44" fmla="*/ 412 w 913"/>
              <a:gd name="T45" fmla="*/ 225 h 913"/>
              <a:gd name="T46" fmla="*/ 412 w 913"/>
              <a:gd name="T47" fmla="*/ 165 h 913"/>
              <a:gd name="T48" fmla="*/ 795 w 913"/>
              <a:gd name="T49" fmla="*/ 314 h 913"/>
              <a:gd name="T50" fmla="*/ 732 w 913"/>
              <a:gd name="T51" fmla="*/ 403 h 913"/>
              <a:gd name="T52" fmla="*/ 795 w 913"/>
              <a:gd name="T53" fmla="*/ 314 h 913"/>
              <a:gd name="T54" fmla="*/ 672 w 913"/>
              <a:gd name="T55" fmla="*/ 225 h 913"/>
              <a:gd name="T56" fmla="*/ 742 w 913"/>
              <a:gd name="T57" fmla="*/ 225 h 913"/>
              <a:gd name="T58" fmla="*/ 564 w 913"/>
              <a:gd name="T59" fmla="*/ 225 h 913"/>
              <a:gd name="T60" fmla="*/ 501 w 913"/>
              <a:gd name="T61" fmla="*/ 165 h 913"/>
              <a:gd name="T62" fmla="*/ 617 w 913"/>
              <a:gd name="T63" fmla="*/ 314 h 913"/>
              <a:gd name="T64" fmla="*/ 501 w 913"/>
              <a:gd name="T65" fmla="*/ 403 h 913"/>
              <a:gd name="T66" fmla="*/ 501 w 913"/>
              <a:gd name="T67" fmla="*/ 492 h 913"/>
              <a:gd name="T68" fmla="*/ 624 w 913"/>
              <a:gd name="T69" fmla="*/ 581 h 913"/>
              <a:gd name="T70" fmla="*/ 501 w 913"/>
              <a:gd name="T71" fmla="*/ 492 h 913"/>
              <a:gd name="T72" fmla="*/ 501 w 913"/>
              <a:gd name="T73" fmla="*/ 670 h 913"/>
              <a:gd name="T74" fmla="*/ 501 w 913"/>
              <a:gd name="T75" fmla="*/ 748 h 913"/>
              <a:gd name="T76" fmla="*/ 682 w 913"/>
              <a:gd name="T77" fmla="*/ 670 h 913"/>
              <a:gd name="T78" fmla="*/ 573 w 913"/>
              <a:gd name="T79" fmla="*/ 804 h 913"/>
              <a:gd name="T80" fmla="*/ 733 w 913"/>
              <a:gd name="T81" fmla="*/ 492 h 913"/>
              <a:gd name="T82" fmla="*/ 802 w 913"/>
              <a:gd name="T83" fmla="*/ 581 h 9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913" h="913">
                <a:moveTo>
                  <a:pt x="751" y="108"/>
                </a:moveTo>
                <a:cubicBezTo>
                  <a:pt x="693" y="59"/>
                  <a:pt x="623" y="24"/>
                  <a:pt x="545" y="9"/>
                </a:cubicBezTo>
                <a:cubicBezTo>
                  <a:pt x="517" y="3"/>
                  <a:pt x="487" y="0"/>
                  <a:pt x="456" y="0"/>
                </a:cubicBezTo>
                <a:cubicBezTo>
                  <a:pt x="426" y="0"/>
                  <a:pt x="396" y="3"/>
                  <a:pt x="367" y="9"/>
                </a:cubicBezTo>
                <a:cubicBezTo>
                  <a:pt x="290" y="24"/>
                  <a:pt x="219" y="59"/>
                  <a:pt x="161" y="108"/>
                </a:cubicBezTo>
                <a:cubicBezTo>
                  <a:pt x="63" y="192"/>
                  <a:pt x="0" y="317"/>
                  <a:pt x="0" y="456"/>
                </a:cubicBezTo>
                <a:cubicBezTo>
                  <a:pt x="0" y="596"/>
                  <a:pt x="63" y="721"/>
                  <a:pt x="161" y="804"/>
                </a:cubicBezTo>
                <a:cubicBezTo>
                  <a:pt x="219" y="854"/>
                  <a:pt x="290" y="889"/>
                  <a:pt x="367" y="904"/>
                </a:cubicBezTo>
                <a:cubicBezTo>
                  <a:pt x="396" y="910"/>
                  <a:pt x="426" y="913"/>
                  <a:pt x="456" y="913"/>
                </a:cubicBezTo>
                <a:cubicBezTo>
                  <a:pt x="487" y="913"/>
                  <a:pt x="517" y="910"/>
                  <a:pt x="545" y="904"/>
                </a:cubicBezTo>
                <a:cubicBezTo>
                  <a:pt x="623" y="889"/>
                  <a:pt x="693" y="854"/>
                  <a:pt x="751" y="804"/>
                </a:cubicBezTo>
                <a:cubicBezTo>
                  <a:pt x="850" y="721"/>
                  <a:pt x="913" y="596"/>
                  <a:pt x="913" y="456"/>
                </a:cubicBezTo>
                <a:cubicBezTo>
                  <a:pt x="913" y="317"/>
                  <a:pt x="850" y="192"/>
                  <a:pt x="751" y="108"/>
                </a:cubicBezTo>
                <a:close/>
                <a:moveTo>
                  <a:pt x="339" y="108"/>
                </a:moveTo>
                <a:cubicBezTo>
                  <a:pt x="301" y="141"/>
                  <a:pt x="267" y="181"/>
                  <a:pt x="241" y="225"/>
                </a:cubicBezTo>
                <a:cubicBezTo>
                  <a:pt x="171" y="225"/>
                  <a:pt x="171" y="225"/>
                  <a:pt x="171" y="225"/>
                </a:cubicBezTo>
                <a:cubicBezTo>
                  <a:pt x="215" y="172"/>
                  <a:pt x="273" y="131"/>
                  <a:pt x="339" y="108"/>
                </a:cubicBezTo>
                <a:close/>
                <a:moveTo>
                  <a:pt x="118" y="314"/>
                </a:moveTo>
                <a:cubicBezTo>
                  <a:pt x="201" y="314"/>
                  <a:pt x="201" y="314"/>
                  <a:pt x="201" y="314"/>
                </a:cubicBezTo>
                <a:cubicBezTo>
                  <a:pt x="191" y="343"/>
                  <a:pt x="185" y="372"/>
                  <a:pt x="181" y="403"/>
                </a:cubicBezTo>
                <a:cubicBezTo>
                  <a:pt x="93" y="403"/>
                  <a:pt x="93" y="403"/>
                  <a:pt x="93" y="403"/>
                </a:cubicBezTo>
                <a:cubicBezTo>
                  <a:pt x="98" y="372"/>
                  <a:pt x="106" y="342"/>
                  <a:pt x="118" y="314"/>
                </a:cubicBezTo>
                <a:close/>
                <a:moveTo>
                  <a:pt x="111" y="581"/>
                </a:moveTo>
                <a:cubicBezTo>
                  <a:pt x="101" y="553"/>
                  <a:pt x="94" y="523"/>
                  <a:pt x="91" y="492"/>
                </a:cubicBezTo>
                <a:cubicBezTo>
                  <a:pt x="180" y="492"/>
                  <a:pt x="180" y="492"/>
                  <a:pt x="180" y="492"/>
                </a:cubicBezTo>
                <a:cubicBezTo>
                  <a:pt x="182" y="523"/>
                  <a:pt x="188" y="553"/>
                  <a:pt x="196" y="581"/>
                </a:cubicBezTo>
                <a:lnTo>
                  <a:pt x="111" y="581"/>
                </a:lnTo>
                <a:close/>
                <a:moveTo>
                  <a:pt x="158" y="670"/>
                </a:moveTo>
                <a:cubicBezTo>
                  <a:pt x="231" y="670"/>
                  <a:pt x="231" y="670"/>
                  <a:pt x="231" y="670"/>
                </a:cubicBezTo>
                <a:cubicBezTo>
                  <a:pt x="259" y="722"/>
                  <a:pt x="295" y="767"/>
                  <a:pt x="339" y="804"/>
                </a:cubicBezTo>
                <a:cubicBezTo>
                  <a:pt x="266" y="780"/>
                  <a:pt x="203" y="732"/>
                  <a:pt x="158" y="670"/>
                </a:cubicBezTo>
                <a:close/>
                <a:moveTo>
                  <a:pt x="412" y="748"/>
                </a:moveTo>
                <a:cubicBezTo>
                  <a:pt x="383" y="726"/>
                  <a:pt x="357" y="700"/>
                  <a:pt x="336" y="670"/>
                </a:cubicBezTo>
                <a:cubicBezTo>
                  <a:pt x="412" y="670"/>
                  <a:pt x="412" y="670"/>
                  <a:pt x="412" y="670"/>
                </a:cubicBezTo>
                <a:lnTo>
                  <a:pt x="412" y="748"/>
                </a:lnTo>
                <a:close/>
                <a:moveTo>
                  <a:pt x="412" y="581"/>
                </a:moveTo>
                <a:cubicBezTo>
                  <a:pt x="289" y="581"/>
                  <a:pt x="289" y="581"/>
                  <a:pt x="289" y="581"/>
                </a:cubicBezTo>
                <a:cubicBezTo>
                  <a:pt x="279" y="553"/>
                  <a:pt x="272" y="523"/>
                  <a:pt x="269" y="492"/>
                </a:cubicBezTo>
                <a:cubicBezTo>
                  <a:pt x="412" y="492"/>
                  <a:pt x="412" y="492"/>
                  <a:pt x="412" y="492"/>
                </a:cubicBezTo>
                <a:lnTo>
                  <a:pt x="412" y="581"/>
                </a:lnTo>
                <a:close/>
                <a:moveTo>
                  <a:pt x="412" y="403"/>
                </a:moveTo>
                <a:cubicBezTo>
                  <a:pt x="271" y="403"/>
                  <a:pt x="271" y="403"/>
                  <a:pt x="271" y="403"/>
                </a:cubicBezTo>
                <a:cubicBezTo>
                  <a:pt x="276" y="372"/>
                  <a:pt x="284" y="342"/>
                  <a:pt x="296" y="314"/>
                </a:cubicBezTo>
                <a:cubicBezTo>
                  <a:pt x="412" y="314"/>
                  <a:pt x="412" y="314"/>
                  <a:pt x="412" y="314"/>
                </a:cubicBezTo>
                <a:lnTo>
                  <a:pt x="412" y="403"/>
                </a:lnTo>
                <a:close/>
                <a:moveTo>
                  <a:pt x="412" y="225"/>
                </a:moveTo>
                <a:cubicBezTo>
                  <a:pt x="349" y="225"/>
                  <a:pt x="349" y="225"/>
                  <a:pt x="349" y="225"/>
                </a:cubicBezTo>
                <a:cubicBezTo>
                  <a:pt x="368" y="202"/>
                  <a:pt x="389" y="182"/>
                  <a:pt x="412" y="165"/>
                </a:cubicBezTo>
                <a:lnTo>
                  <a:pt x="412" y="225"/>
                </a:lnTo>
                <a:close/>
                <a:moveTo>
                  <a:pt x="795" y="314"/>
                </a:moveTo>
                <a:cubicBezTo>
                  <a:pt x="807" y="342"/>
                  <a:pt x="815" y="372"/>
                  <a:pt x="820" y="403"/>
                </a:cubicBezTo>
                <a:cubicBezTo>
                  <a:pt x="732" y="403"/>
                  <a:pt x="732" y="403"/>
                  <a:pt x="732" y="403"/>
                </a:cubicBezTo>
                <a:cubicBezTo>
                  <a:pt x="728" y="372"/>
                  <a:pt x="721" y="343"/>
                  <a:pt x="712" y="314"/>
                </a:cubicBezTo>
                <a:lnTo>
                  <a:pt x="795" y="314"/>
                </a:lnTo>
                <a:close/>
                <a:moveTo>
                  <a:pt x="742" y="225"/>
                </a:moveTo>
                <a:cubicBezTo>
                  <a:pt x="672" y="225"/>
                  <a:pt x="672" y="225"/>
                  <a:pt x="672" y="225"/>
                </a:cubicBezTo>
                <a:cubicBezTo>
                  <a:pt x="645" y="181"/>
                  <a:pt x="612" y="141"/>
                  <a:pt x="573" y="108"/>
                </a:cubicBezTo>
                <a:cubicBezTo>
                  <a:pt x="640" y="131"/>
                  <a:pt x="698" y="172"/>
                  <a:pt x="742" y="225"/>
                </a:cubicBezTo>
                <a:close/>
                <a:moveTo>
                  <a:pt x="501" y="165"/>
                </a:moveTo>
                <a:cubicBezTo>
                  <a:pt x="524" y="182"/>
                  <a:pt x="545" y="202"/>
                  <a:pt x="564" y="225"/>
                </a:cubicBezTo>
                <a:cubicBezTo>
                  <a:pt x="501" y="225"/>
                  <a:pt x="501" y="225"/>
                  <a:pt x="501" y="225"/>
                </a:cubicBezTo>
                <a:lnTo>
                  <a:pt x="501" y="165"/>
                </a:lnTo>
                <a:close/>
                <a:moveTo>
                  <a:pt x="501" y="314"/>
                </a:moveTo>
                <a:cubicBezTo>
                  <a:pt x="617" y="314"/>
                  <a:pt x="617" y="314"/>
                  <a:pt x="617" y="314"/>
                </a:cubicBezTo>
                <a:cubicBezTo>
                  <a:pt x="629" y="342"/>
                  <a:pt x="637" y="372"/>
                  <a:pt x="642" y="403"/>
                </a:cubicBezTo>
                <a:cubicBezTo>
                  <a:pt x="501" y="403"/>
                  <a:pt x="501" y="403"/>
                  <a:pt x="501" y="403"/>
                </a:cubicBezTo>
                <a:lnTo>
                  <a:pt x="501" y="314"/>
                </a:lnTo>
                <a:close/>
                <a:moveTo>
                  <a:pt x="501" y="492"/>
                </a:moveTo>
                <a:cubicBezTo>
                  <a:pt x="644" y="492"/>
                  <a:pt x="644" y="492"/>
                  <a:pt x="644" y="492"/>
                </a:cubicBezTo>
                <a:cubicBezTo>
                  <a:pt x="641" y="523"/>
                  <a:pt x="634" y="553"/>
                  <a:pt x="624" y="581"/>
                </a:cubicBezTo>
                <a:cubicBezTo>
                  <a:pt x="501" y="581"/>
                  <a:pt x="501" y="581"/>
                  <a:pt x="501" y="581"/>
                </a:cubicBezTo>
                <a:lnTo>
                  <a:pt x="501" y="492"/>
                </a:lnTo>
                <a:close/>
                <a:moveTo>
                  <a:pt x="501" y="748"/>
                </a:moveTo>
                <a:cubicBezTo>
                  <a:pt x="501" y="670"/>
                  <a:pt x="501" y="670"/>
                  <a:pt x="501" y="670"/>
                </a:cubicBezTo>
                <a:cubicBezTo>
                  <a:pt x="577" y="670"/>
                  <a:pt x="577" y="670"/>
                  <a:pt x="577" y="670"/>
                </a:cubicBezTo>
                <a:cubicBezTo>
                  <a:pt x="555" y="700"/>
                  <a:pt x="530" y="726"/>
                  <a:pt x="501" y="748"/>
                </a:cubicBezTo>
                <a:close/>
                <a:moveTo>
                  <a:pt x="573" y="804"/>
                </a:moveTo>
                <a:cubicBezTo>
                  <a:pt x="617" y="767"/>
                  <a:pt x="654" y="722"/>
                  <a:pt x="682" y="670"/>
                </a:cubicBezTo>
                <a:cubicBezTo>
                  <a:pt x="755" y="670"/>
                  <a:pt x="755" y="670"/>
                  <a:pt x="755" y="670"/>
                </a:cubicBezTo>
                <a:cubicBezTo>
                  <a:pt x="710" y="732"/>
                  <a:pt x="647" y="780"/>
                  <a:pt x="573" y="804"/>
                </a:cubicBezTo>
                <a:close/>
                <a:moveTo>
                  <a:pt x="717" y="581"/>
                </a:moveTo>
                <a:cubicBezTo>
                  <a:pt x="725" y="553"/>
                  <a:pt x="731" y="523"/>
                  <a:pt x="733" y="492"/>
                </a:cubicBezTo>
                <a:cubicBezTo>
                  <a:pt x="822" y="492"/>
                  <a:pt x="822" y="492"/>
                  <a:pt x="822" y="492"/>
                </a:cubicBezTo>
                <a:cubicBezTo>
                  <a:pt x="819" y="523"/>
                  <a:pt x="812" y="553"/>
                  <a:pt x="802" y="581"/>
                </a:cubicBezTo>
                <a:lnTo>
                  <a:pt x="717" y="58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grpSp>
        <p:nvGrpSpPr>
          <p:cNvPr id="11" name="iš1íḑé">
            <a:extLst>
              <a:ext uri="{FF2B5EF4-FFF2-40B4-BE49-F238E27FC236}">
                <a16:creationId xmlns:a16="http://schemas.microsoft.com/office/drawing/2014/main" id="{5C5095A5-F5B4-4E2D-B79A-CC95F0ACC64B}"/>
              </a:ext>
            </a:extLst>
          </p:cNvPr>
          <p:cNvGrpSpPr/>
          <p:nvPr/>
        </p:nvGrpSpPr>
        <p:grpSpPr>
          <a:xfrm>
            <a:off x="5422932" y="4903812"/>
            <a:ext cx="528636" cy="426763"/>
            <a:chOff x="3810000" y="3027363"/>
            <a:chExt cx="609600" cy="492126"/>
          </a:xfrm>
          <a:solidFill>
            <a:schemeClr val="bg1">
              <a:lumMod val="65000"/>
            </a:schemeClr>
          </a:solidFill>
          <a:effectLst/>
        </p:grpSpPr>
        <p:sp>
          <p:nvSpPr>
            <p:cNvPr id="35" name="ïṡļiďê">
              <a:extLst>
                <a:ext uri="{FF2B5EF4-FFF2-40B4-BE49-F238E27FC236}">
                  <a16:creationId xmlns:a16="http://schemas.microsoft.com/office/drawing/2014/main" id="{6BB4D103-F224-4183-A87B-90B429CB59A3}"/>
                </a:ext>
              </a:extLst>
            </p:cNvPr>
            <p:cNvSpPr/>
            <p:nvPr/>
          </p:nvSpPr>
          <p:spPr bwMode="auto">
            <a:xfrm>
              <a:off x="3902075" y="3027363"/>
              <a:ext cx="373063" cy="247650"/>
            </a:xfrm>
            <a:custGeom>
              <a:avLst/>
              <a:gdLst>
                <a:gd name="T0" fmla="*/ 526 w 558"/>
                <a:gd name="T1" fmla="*/ 0 h 370"/>
                <a:gd name="T2" fmla="*/ 33 w 558"/>
                <a:gd name="T3" fmla="*/ 0 h 370"/>
                <a:gd name="T4" fmla="*/ 0 w 558"/>
                <a:gd name="T5" fmla="*/ 33 h 370"/>
                <a:gd name="T6" fmla="*/ 0 w 558"/>
                <a:gd name="T7" fmla="*/ 301 h 370"/>
                <a:gd name="T8" fmla="*/ 60 w 558"/>
                <a:gd name="T9" fmla="*/ 252 h 370"/>
                <a:gd name="T10" fmla="*/ 60 w 558"/>
                <a:gd name="T11" fmla="*/ 70 h 370"/>
                <a:gd name="T12" fmla="*/ 499 w 558"/>
                <a:gd name="T13" fmla="*/ 70 h 370"/>
                <a:gd name="T14" fmla="*/ 499 w 558"/>
                <a:gd name="T15" fmla="*/ 350 h 370"/>
                <a:gd name="T16" fmla="*/ 558 w 558"/>
                <a:gd name="T17" fmla="*/ 370 h 370"/>
                <a:gd name="T18" fmla="*/ 558 w 558"/>
                <a:gd name="T19" fmla="*/ 33 h 370"/>
                <a:gd name="T20" fmla="*/ 526 w 558"/>
                <a:gd name="T21" fmla="*/ 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8" h="370">
                  <a:moveTo>
                    <a:pt x="526" y="0"/>
                  </a:moveTo>
                  <a:cubicBezTo>
                    <a:pt x="33" y="0"/>
                    <a:pt x="33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301"/>
                    <a:pt x="0" y="301"/>
                    <a:pt x="0" y="301"/>
                  </a:cubicBezTo>
                  <a:cubicBezTo>
                    <a:pt x="60" y="252"/>
                    <a:pt x="60" y="252"/>
                    <a:pt x="60" y="252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499" y="70"/>
                    <a:pt x="499" y="70"/>
                    <a:pt x="499" y="70"/>
                  </a:cubicBezTo>
                  <a:cubicBezTo>
                    <a:pt x="499" y="350"/>
                    <a:pt x="499" y="350"/>
                    <a:pt x="499" y="350"/>
                  </a:cubicBezTo>
                  <a:cubicBezTo>
                    <a:pt x="558" y="370"/>
                    <a:pt x="558" y="370"/>
                    <a:pt x="558" y="370"/>
                  </a:cubicBezTo>
                  <a:cubicBezTo>
                    <a:pt x="558" y="33"/>
                    <a:pt x="558" y="33"/>
                    <a:pt x="558" y="33"/>
                  </a:cubicBezTo>
                  <a:cubicBezTo>
                    <a:pt x="558" y="15"/>
                    <a:pt x="544" y="0"/>
                    <a:pt x="5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5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36" name="iṩḷíḑè">
              <a:extLst>
                <a:ext uri="{FF2B5EF4-FFF2-40B4-BE49-F238E27FC236}">
                  <a16:creationId xmlns:a16="http://schemas.microsoft.com/office/drawing/2014/main" id="{A4977376-91E4-431B-AC8F-284A465897E8}"/>
                </a:ext>
              </a:extLst>
            </p:cNvPr>
            <p:cNvSpPr/>
            <p:nvPr/>
          </p:nvSpPr>
          <p:spPr bwMode="auto">
            <a:xfrm>
              <a:off x="3902075" y="3276601"/>
              <a:ext cx="373063" cy="242888"/>
            </a:xfrm>
            <a:custGeom>
              <a:avLst/>
              <a:gdLst>
                <a:gd name="T0" fmla="*/ 499 w 558"/>
                <a:gd name="T1" fmla="*/ 288 h 362"/>
                <a:gd name="T2" fmla="*/ 60 w 558"/>
                <a:gd name="T3" fmla="*/ 288 h 362"/>
                <a:gd name="T4" fmla="*/ 60 w 558"/>
                <a:gd name="T5" fmla="*/ 0 h 362"/>
                <a:gd name="T6" fmla="*/ 0 w 558"/>
                <a:gd name="T7" fmla="*/ 50 h 362"/>
                <a:gd name="T8" fmla="*/ 0 w 558"/>
                <a:gd name="T9" fmla="*/ 330 h 362"/>
                <a:gd name="T10" fmla="*/ 33 w 558"/>
                <a:gd name="T11" fmla="*/ 362 h 362"/>
                <a:gd name="T12" fmla="*/ 526 w 558"/>
                <a:gd name="T13" fmla="*/ 362 h 362"/>
                <a:gd name="T14" fmla="*/ 558 w 558"/>
                <a:gd name="T15" fmla="*/ 330 h 362"/>
                <a:gd name="T16" fmla="*/ 558 w 558"/>
                <a:gd name="T17" fmla="*/ 95 h 362"/>
                <a:gd name="T18" fmla="*/ 499 w 558"/>
                <a:gd name="T19" fmla="*/ 75 h 362"/>
                <a:gd name="T20" fmla="*/ 499 w 558"/>
                <a:gd name="T21" fmla="*/ 288 h 362"/>
                <a:gd name="T22" fmla="*/ 279 w 558"/>
                <a:gd name="T23" fmla="*/ 352 h 362"/>
                <a:gd name="T24" fmla="*/ 252 w 558"/>
                <a:gd name="T25" fmla="*/ 325 h 362"/>
                <a:gd name="T26" fmla="*/ 279 w 558"/>
                <a:gd name="T27" fmla="*/ 298 h 362"/>
                <a:gd name="T28" fmla="*/ 306 w 558"/>
                <a:gd name="T29" fmla="*/ 325 h 362"/>
                <a:gd name="T30" fmla="*/ 279 w 558"/>
                <a:gd name="T31" fmla="*/ 352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58" h="362">
                  <a:moveTo>
                    <a:pt x="499" y="288"/>
                  </a:moveTo>
                  <a:cubicBezTo>
                    <a:pt x="60" y="288"/>
                    <a:pt x="60" y="288"/>
                    <a:pt x="60" y="288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0" y="348"/>
                    <a:pt x="15" y="362"/>
                    <a:pt x="33" y="362"/>
                  </a:cubicBezTo>
                  <a:cubicBezTo>
                    <a:pt x="526" y="362"/>
                    <a:pt x="526" y="362"/>
                    <a:pt x="526" y="362"/>
                  </a:cubicBezTo>
                  <a:cubicBezTo>
                    <a:pt x="544" y="362"/>
                    <a:pt x="558" y="348"/>
                    <a:pt x="558" y="330"/>
                  </a:cubicBezTo>
                  <a:cubicBezTo>
                    <a:pt x="558" y="95"/>
                    <a:pt x="558" y="95"/>
                    <a:pt x="558" y="95"/>
                  </a:cubicBezTo>
                  <a:cubicBezTo>
                    <a:pt x="499" y="75"/>
                    <a:pt x="499" y="75"/>
                    <a:pt x="499" y="75"/>
                  </a:cubicBezTo>
                  <a:lnTo>
                    <a:pt x="499" y="288"/>
                  </a:lnTo>
                  <a:close/>
                  <a:moveTo>
                    <a:pt x="279" y="352"/>
                  </a:moveTo>
                  <a:cubicBezTo>
                    <a:pt x="264" y="352"/>
                    <a:pt x="252" y="340"/>
                    <a:pt x="252" y="325"/>
                  </a:cubicBezTo>
                  <a:cubicBezTo>
                    <a:pt x="252" y="310"/>
                    <a:pt x="264" y="298"/>
                    <a:pt x="279" y="298"/>
                  </a:cubicBezTo>
                  <a:cubicBezTo>
                    <a:pt x="294" y="298"/>
                    <a:pt x="306" y="310"/>
                    <a:pt x="306" y="325"/>
                  </a:cubicBezTo>
                  <a:cubicBezTo>
                    <a:pt x="306" y="340"/>
                    <a:pt x="294" y="352"/>
                    <a:pt x="279" y="3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/>
            <a:p>
              <a:pPr algn="ctr"/>
              <a:endParaRPr/>
            </a:p>
          </p:txBody>
        </p:sp>
        <p:sp>
          <p:nvSpPr>
            <p:cNvPr id="37" name="ïŝļiḋe">
              <a:extLst>
                <a:ext uri="{FF2B5EF4-FFF2-40B4-BE49-F238E27FC236}">
                  <a16:creationId xmlns:a16="http://schemas.microsoft.com/office/drawing/2014/main" id="{AC2986AD-EE02-4E74-AE84-C1A5B9233018}"/>
                </a:ext>
              </a:extLst>
            </p:cNvPr>
            <p:cNvSpPr/>
            <p:nvPr/>
          </p:nvSpPr>
          <p:spPr bwMode="auto">
            <a:xfrm>
              <a:off x="4003675" y="3224213"/>
              <a:ext cx="58738" cy="136525"/>
            </a:xfrm>
            <a:custGeom>
              <a:avLst/>
              <a:gdLst>
                <a:gd name="T0" fmla="*/ 5 w 87"/>
                <a:gd name="T1" fmla="*/ 12 h 204"/>
                <a:gd name="T2" fmla="*/ 0 w 87"/>
                <a:gd name="T3" fmla="*/ 11 h 204"/>
                <a:gd name="T4" fmla="*/ 41 w 87"/>
                <a:gd name="T5" fmla="*/ 204 h 204"/>
                <a:gd name="T6" fmla="*/ 78 w 87"/>
                <a:gd name="T7" fmla="*/ 193 h 204"/>
                <a:gd name="T8" fmla="*/ 87 w 87"/>
                <a:gd name="T9" fmla="*/ 194 h 204"/>
                <a:gd name="T10" fmla="*/ 46 w 87"/>
                <a:gd name="T11" fmla="*/ 0 h 204"/>
                <a:gd name="T12" fmla="*/ 5 w 87"/>
                <a:gd name="T13" fmla="*/ 1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204">
                  <a:moveTo>
                    <a:pt x="5" y="12"/>
                  </a:moveTo>
                  <a:cubicBezTo>
                    <a:pt x="3" y="12"/>
                    <a:pt x="2" y="12"/>
                    <a:pt x="0" y="11"/>
                  </a:cubicBezTo>
                  <a:cubicBezTo>
                    <a:pt x="41" y="204"/>
                    <a:pt x="41" y="204"/>
                    <a:pt x="41" y="204"/>
                  </a:cubicBezTo>
                  <a:cubicBezTo>
                    <a:pt x="52" y="197"/>
                    <a:pt x="65" y="193"/>
                    <a:pt x="78" y="193"/>
                  </a:cubicBezTo>
                  <a:cubicBezTo>
                    <a:pt x="81" y="193"/>
                    <a:pt x="84" y="194"/>
                    <a:pt x="87" y="194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4" y="8"/>
                    <a:pt x="20" y="12"/>
                    <a:pt x="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38" name="iṡḷídê">
              <a:extLst>
                <a:ext uri="{FF2B5EF4-FFF2-40B4-BE49-F238E27FC236}">
                  <a16:creationId xmlns:a16="http://schemas.microsoft.com/office/drawing/2014/main" id="{1ED610EA-9CFD-4CA0-ABB7-28CA287A23DA}"/>
                </a:ext>
              </a:extLst>
            </p:cNvPr>
            <p:cNvSpPr/>
            <p:nvPr/>
          </p:nvSpPr>
          <p:spPr bwMode="auto">
            <a:xfrm>
              <a:off x="4079875" y="3302001"/>
              <a:ext cx="79375" cy="80963"/>
            </a:xfrm>
            <a:custGeom>
              <a:avLst/>
              <a:gdLst>
                <a:gd name="T0" fmla="*/ 87 w 120"/>
                <a:gd name="T1" fmla="*/ 0 h 120"/>
                <a:gd name="T2" fmla="*/ 0 w 120"/>
                <a:gd name="T3" fmla="*/ 86 h 120"/>
                <a:gd name="T4" fmla="*/ 32 w 120"/>
                <a:gd name="T5" fmla="*/ 120 h 120"/>
                <a:gd name="T6" fmla="*/ 120 w 120"/>
                <a:gd name="T7" fmla="*/ 34 h 120"/>
                <a:gd name="T8" fmla="*/ 87 w 120"/>
                <a:gd name="T9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120">
                  <a:moveTo>
                    <a:pt x="87" y="0"/>
                  </a:moveTo>
                  <a:cubicBezTo>
                    <a:pt x="0" y="86"/>
                    <a:pt x="0" y="86"/>
                    <a:pt x="0" y="86"/>
                  </a:cubicBezTo>
                  <a:cubicBezTo>
                    <a:pt x="14" y="93"/>
                    <a:pt x="26" y="105"/>
                    <a:pt x="32" y="120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06" y="27"/>
                    <a:pt x="94" y="15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39" name="îslîḍè">
              <a:extLst>
                <a:ext uri="{FF2B5EF4-FFF2-40B4-BE49-F238E27FC236}">
                  <a16:creationId xmlns:a16="http://schemas.microsoft.com/office/drawing/2014/main" id="{04B17A0A-E86D-4DA9-99FD-21C346A6DC1B}"/>
                </a:ext>
              </a:extLst>
            </p:cNvPr>
            <p:cNvSpPr/>
            <p:nvPr/>
          </p:nvSpPr>
          <p:spPr bwMode="auto">
            <a:xfrm>
              <a:off x="4222750" y="3275013"/>
              <a:ext cx="196850" cy="93663"/>
            </a:xfrm>
            <a:custGeom>
              <a:avLst/>
              <a:gdLst>
                <a:gd name="T0" fmla="*/ 295 w 295"/>
                <a:gd name="T1" fmla="*/ 97 h 141"/>
                <a:gd name="T2" fmla="*/ 9 w 295"/>
                <a:gd name="T3" fmla="*/ 0 h 141"/>
                <a:gd name="T4" fmla="*/ 10 w 295"/>
                <a:gd name="T5" fmla="*/ 10 h 141"/>
                <a:gd name="T6" fmla="*/ 0 w 295"/>
                <a:gd name="T7" fmla="*/ 47 h 141"/>
                <a:gd name="T8" fmla="*/ 280 w 295"/>
                <a:gd name="T9" fmla="*/ 141 h 141"/>
                <a:gd name="T10" fmla="*/ 295 w 295"/>
                <a:gd name="T11" fmla="*/ 97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5" h="141">
                  <a:moveTo>
                    <a:pt x="295" y="97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10" y="3"/>
                    <a:pt x="10" y="7"/>
                    <a:pt x="10" y="10"/>
                  </a:cubicBezTo>
                  <a:cubicBezTo>
                    <a:pt x="10" y="24"/>
                    <a:pt x="6" y="36"/>
                    <a:pt x="0" y="47"/>
                  </a:cubicBezTo>
                  <a:cubicBezTo>
                    <a:pt x="280" y="141"/>
                    <a:pt x="280" y="141"/>
                    <a:pt x="280" y="141"/>
                  </a:cubicBezTo>
                  <a:lnTo>
                    <a:pt x="295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40" name="îşľïďé">
              <a:extLst>
                <a:ext uri="{FF2B5EF4-FFF2-40B4-BE49-F238E27FC236}">
                  <a16:creationId xmlns:a16="http://schemas.microsoft.com/office/drawing/2014/main" id="{EA695ABF-846C-4B5B-B4AB-7EB351BA9227}"/>
                </a:ext>
              </a:extLst>
            </p:cNvPr>
            <p:cNvSpPr/>
            <p:nvPr/>
          </p:nvSpPr>
          <p:spPr bwMode="auto">
            <a:xfrm>
              <a:off x="3810000" y="3198813"/>
              <a:ext cx="171450" cy="150813"/>
            </a:xfrm>
            <a:custGeom>
              <a:avLst/>
              <a:gdLst>
                <a:gd name="T0" fmla="*/ 227 w 256"/>
                <a:gd name="T1" fmla="*/ 0 h 224"/>
                <a:gd name="T2" fmla="*/ 0 w 256"/>
                <a:gd name="T3" fmla="*/ 187 h 224"/>
                <a:gd name="T4" fmla="*/ 30 w 256"/>
                <a:gd name="T5" fmla="*/ 224 h 224"/>
                <a:gd name="T6" fmla="*/ 256 w 256"/>
                <a:gd name="T7" fmla="*/ 38 h 224"/>
                <a:gd name="T8" fmla="*/ 227 w 256"/>
                <a:gd name="T9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" h="224">
                  <a:moveTo>
                    <a:pt x="227" y="0"/>
                  </a:moveTo>
                  <a:cubicBezTo>
                    <a:pt x="0" y="187"/>
                    <a:pt x="0" y="187"/>
                    <a:pt x="0" y="187"/>
                  </a:cubicBezTo>
                  <a:cubicBezTo>
                    <a:pt x="30" y="224"/>
                    <a:pt x="30" y="224"/>
                    <a:pt x="30" y="224"/>
                  </a:cubicBezTo>
                  <a:cubicBezTo>
                    <a:pt x="256" y="38"/>
                    <a:pt x="256" y="38"/>
                    <a:pt x="256" y="38"/>
                  </a:cubicBezTo>
                  <a:cubicBezTo>
                    <a:pt x="242" y="29"/>
                    <a:pt x="233" y="15"/>
                    <a:pt x="22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41" name="işḷîḋe">
              <a:extLst>
                <a:ext uri="{FF2B5EF4-FFF2-40B4-BE49-F238E27FC236}">
                  <a16:creationId xmlns:a16="http://schemas.microsoft.com/office/drawing/2014/main" id="{22F3C0FF-FB73-4A6E-924F-B08F596DC972}"/>
                </a:ext>
              </a:extLst>
            </p:cNvPr>
            <p:cNvSpPr/>
            <p:nvPr/>
          </p:nvSpPr>
          <p:spPr bwMode="auto">
            <a:xfrm>
              <a:off x="3973513" y="3148013"/>
              <a:ext cx="66675" cy="650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42" name="îslïḋê">
              <a:extLst>
                <a:ext uri="{FF2B5EF4-FFF2-40B4-BE49-F238E27FC236}">
                  <a16:creationId xmlns:a16="http://schemas.microsoft.com/office/drawing/2014/main" id="{C2EC1688-ED6B-4959-9D16-1A61EB0ED1F2}"/>
                </a:ext>
              </a:extLst>
            </p:cNvPr>
            <p:cNvSpPr/>
            <p:nvPr/>
          </p:nvSpPr>
          <p:spPr bwMode="auto">
            <a:xfrm>
              <a:off x="4022725" y="3373438"/>
              <a:ext cx="65088" cy="650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43" name="íŝļíḓê">
              <a:extLst>
                <a:ext uri="{FF2B5EF4-FFF2-40B4-BE49-F238E27FC236}">
                  <a16:creationId xmlns:a16="http://schemas.microsoft.com/office/drawing/2014/main" id="{7A87469B-CA0D-4451-858F-620CEFFBE772}"/>
                </a:ext>
              </a:extLst>
            </p:cNvPr>
            <p:cNvSpPr/>
            <p:nvPr/>
          </p:nvSpPr>
          <p:spPr bwMode="auto">
            <a:xfrm>
              <a:off x="4149725" y="3244851"/>
              <a:ext cx="65088" cy="650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</p:grpSp>
      <p:grpSp>
        <p:nvGrpSpPr>
          <p:cNvPr id="12" name="íṩļíḓé">
            <a:extLst>
              <a:ext uri="{FF2B5EF4-FFF2-40B4-BE49-F238E27FC236}">
                <a16:creationId xmlns:a16="http://schemas.microsoft.com/office/drawing/2014/main" id="{0C832A74-5FBA-47AC-AC1A-B9CB134866A8}"/>
              </a:ext>
            </a:extLst>
          </p:cNvPr>
          <p:cNvGrpSpPr/>
          <p:nvPr/>
        </p:nvGrpSpPr>
        <p:grpSpPr>
          <a:xfrm>
            <a:off x="5318857" y="3057853"/>
            <a:ext cx="398513" cy="375219"/>
            <a:chOff x="3870325" y="1641476"/>
            <a:chExt cx="488950" cy="460375"/>
          </a:xfrm>
          <a:solidFill>
            <a:schemeClr val="bg1">
              <a:lumMod val="65000"/>
            </a:schemeClr>
          </a:solidFill>
          <a:effectLst/>
        </p:grpSpPr>
        <p:sp>
          <p:nvSpPr>
            <p:cNvPr id="33" name="îṡlîḑê">
              <a:extLst>
                <a:ext uri="{FF2B5EF4-FFF2-40B4-BE49-F238E27FC236}">
                  <a16:creationId xmlns:a16="http://schemas.microsoft.com/office/drawing/2014/main" id="{6930AAC1-291B-4491-9746-97FEAF28FA0F}"/>
                </a:ext>
              </a:extLst>
            </p:cNvPr>
            <p:cNvSpPr/>
            <p:nvPr/>
          </p:nvSpPr>
          <p:spPr bwMode="auto">
            <a:xfrm>
              <a:off x="4184650" y="1830388"/>
              <a:ext cx="174625" cy="120650"/>
            </a:xfrm>
            <a:custGeom>
              <a:avLst/>
              <a:gdLst>
                <a:gd name="T0" fmla="*/ 0 w 261"/>
                <a:gd name="T1" fmla="*/ 57 h 179"/>
                <a:gd name="T2" fmla="*/ 0 w 261"/>
                <a:gd name="T3" fmla="*/ 122 h 179"/>
                <a:gd name="T4" fmla="*/ 58 w 261"/>
                <a:gd name="T5" fmla="*/ 179 h 179"/>
                <a:gd name="T6" fmla="*/ 261 w 261"/>
                <a:gd name="T7" fmla="*/ 179 h 179"/>
                <a:gd name="T8" fmla="*/ 261 w 261"/>
                <a:gd name="T9" fmla="*/ 0 h 179"/>
                <a:gd name="T10" fmla="*/ 58 w 261"/>
                <a:gd name="T11" fmla="*/ 0 h 179"/>
                <a:gd name="T12" fmla="*/ 0 w 261"/>
                <a:gd name="T13" fmla="*/ 57 h 179"/>
                <a:gd name="T14" fmla="*/ 143 w 261"/>
                <a:gd name="T15" fmla="*/ 89 h 179"/>
                <a:gd name="T16" fmla="*/ 93 w 261"/>
                <a:gd name="T17" fmla="*/ 140 h 179"/>
                <a:gd name="T18" fmla="*/ 42 w 261"/>
                <a:gd name="T19" fmla="*/ 89 h 179"/>
                <a:gd name="T20" fmla="*/ 93 w 261"/>
                <a:gd name="T21" fmla="*/ 39 h 179"/>
                <a:gd name="T22" fmla="*/ 143 w 261"/>
                <a:gd name="T23" fmla="*/ 8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1" h="179">
                  <a:moveTo>
                    <a:pt x="0" y="57"/>
                  </a:moveTo>
                  <a:cubicBezTo>
                    <a:pt x="0" y="122"/>
                    <a:pt x="0" y="122"/>
                    <a:pt x="0" y="122"/>
                  </a:cubicBezTo>
                  <a:cubicBezTo>
                    <a:pt x="0" y="153"/>
                    <a:pt x="26" y="179"/>
                    <a:pt x="58" y="179"/>
                  </a:cubicBezTo>
                  <a:cubicBezTo>
                    <a:pt x="261" y="179"/>
                    <a:pt x="261" y="179"/>
                    <a:pt x="261" y="179"/>
                  </a:cubicBezTo>
                  <a:cubicBezTo>
                    <a:pt x="261" y="0"/>
                    <a:pt x="261" y="0"/>
                    <a:pt x="261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26" y="0"/>
                    <a:pt x="0" y="25"/>
                    <a:pt x="0" y="57"/>
                  </a:cubicBezTo>
                  <a:close/>
                  <a:moveTo>
                    <a:pt x="143" y="89"/>
                  </a:moveTo>
                  <a:cubicBezTo>
                    <a:pt x="143" y="117"/>
                    <a:pt x="120" y="140"/>
                    <a:pt x="93" y="140"/>
                  </a:cubicBezTo>
                  <a:cubicBezTo>
                    <a:pt x="65" y="140"/>
                    <a:pt x="42" y="117"/>
                    <a:pt x="42" y="89"/>
                  </a:cubicBezTo>
                  <a:cubicBezTo>
                    <a:pt x="42" y="62"/>
                    <a:pt x="65" y="39"/>
                    <a:pt x="93" y="39"/>
                  </a:cubicBezTo>
                  <a:cubicBezTo>
                    <a:pt x="120" y="39"/>
                    <a:pt x="143" y="62"/>
                    <a:pt x="143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34" name="îṥ1íḓé">
              <a:extLst>
                <a:ext uri="{FF2B5EF4-FFF2-40B4-BE49-F238E27FC236}">
                  <a16:creationId xmlns:a16="http://schemas.microsoft.com/office/drawing/2014/main" id="{BB1D147A-7014-446F-AFDA-A361FAB42F86}"/>
                </a:ext>
              </a:extLst>
            </p:cNvPr>
            <p:cNvSpPr/>
            <p:nvPr/>
          </p:nvSpPr>
          <p:spPr bwMode="auto">
            <a:xfrm>
              <a:off x="3870325" y="1641476"/>
              <a:ext cx="488950" cy="460375"/>
            </a:xfrm>
            <a:custGeom>
              <a:avLst/>
              <a:gdLst>
                <a:gd name="T0" fmla="*/ 62 w 731"/>
                <a:gd name="T1" fmla="*/ 19 h 688"/>
                <a:gd name="T2" fmla="*/ 617 w 731"/>
                <a:gd name="T3" fmla="*/ 19 h 688"/>
                <a:gd name="T4" fmla="*/ 660 w 731"/>
                <a:gd name="T5" fmla="*/ 19 h 688"/>
                <a:gd name="T6" fmla="*/ 673 w 731"/>
                <a:gd name="T7" fmla="*/ 19 h 688"/>
                <a:gd name="T8" fmla="*/ 711 w 731"/>
                <a:gd name="T9" fmla="*/ 50 h 688"/>
                <a:gd name="T10" fmla="*/ 731 w 731"/>
                <a:gd name="T11" fmla="*/ 66 h 688"/>
                <a:gd name="T12" fmla="*/ 731 w 731"/>
                <a:gd name="T13" fmla="*/ 57 h 688"/>
                <a:gd name="T14" fmla="*/ 716 w 731"/>
                <a:gd name="T15" fmla="*/ 19 h 688"/>
                <a:gd name="T16" fmla="*/ 673 w 731"/>
                <a:gd name="T17" fmla="*/ 0 h 688"/>
                <a:gd name="T18" fmla="*/ 660 w 731"/>
                <a:gd name="T19" fmla="*/ 0 h 688"/>
                <a:gd name="T20" fmla="*/ 56 w 731"/>
                <a:gd name="T21" fmla="*/ 0 h 688"/>
                <a:gd name="T22" fmla="*/ 1 w 731"/>
                <a:gd name="T23" fmla="*/ 28 h 688"/>
                <a:gd name="T24" fmla="*/ 1 w 731"/>
                <a:gd name="T25" fmla="*/ 50 h 688"/>
                <a:gd name="T26" fmla="*/ 1 w 731"/>
                <a:gd name="T27" fmla="*/ 62 h 688"/>
                <a:gd name="T28" fmla="*/ 1 w 731"/>
                <a:gd name="T29" fmla="*/ 72 h 688"/>
                <a:gd name="T30" fmla="*/ 1 w 731"/>
                <a:gd name="T31" fmla="*/ 116 h 688"/>
                <a:gd name="T32" fmla="*/ 1 w 731"/>
                <a:gd name="T33" fmla="*/ 174 h 688"/>
                <a:gd name="T34" fmla="*/ 1 w 731"/>
                <a:gd name="T35" fmla="*/ 243 h 688"/>
                <a:gd name="T36" fmla="*/ 1 w 731"/>
                <a:gd name="T37" fmla="*/ 317 h 688"/>
                <a:gd name="T38" fmla="*/ 1 w 731"/>
                <a:gd name="T39" fmla="*/ 390 h 688"/>
                <a:gd name="T40" fmla="*/ 1 w 731"/>
                <a:gd name="T41" fmla="*/ 458 h 688"/>
                <a:gd name="T42" fmla="*/ 1 w 731"/>
                <a:gd name="T43" fmla="*/ 515 h 688"/>
                <a:gd name="T44" fmla="*/ 1 w 731"/>
                <a:gd name="T45" fmla="*/ 556 h 688"/>
                <a:gd name="T46" fmla="*/ 1 w 731"/>
                <a:gd name="T47" fmla="*/ 575 h 688"/>
                <a:gd name="T48" fmla="*/ 1 w 731"/>
                <a:gd name="T49" fmla="*/ 575 h 688"/>
                <a:gd name="T50" fmla="*/ 1 w 731"/>
                <a:gd name="T51" fmla="*/ 630 h 688"/>
                <a:gd name="T52" fmla="*/ 58 w 731"/>
                <a:gd name="T53" fmla="*/ 688 h 688"/>
                <a:gd name="T54" fmla="*/ 673 w 731"/>
                <a:gd name="T55" fmla="*/ 688 h 688"/>
                <a:gd name="T56" fmla="*/ 731 w 731"/>
                <a:gd name="T57" fmla="*/ 630 h 688"/>
                <a:gd name="T58" fmla="*/ 731 w 731"/>
                <a:gd name="T59" fmla="*/ 584 h 688"/>
                <a:gd name="T60" fmla="*/ 731 w 731"/>
                <a:gd name="T61" fmla="*/ 492 h 688"/>
                <a:gd name="T62" fmla="*/ 528 w 731"/>
                <a:gd name="T63" fmla="*/ 492 h 688"/>
                <a:gd name="T64" fmla="*/ 442 w 731"/>
                <a:gd name="T65" fmla="*/ 406 h 688"/>
                <a:gd name="T66" fmla="*/ 442 w 731"/>
                <a:gd name="T67" fmla="*/ 341 h 688"/>
                <a:gd name="T68" fmla="*/ 528 w 731"/>
                <a:gd name="T69" fmla="*/ 255 h 688"/>
                <a:gd name="T70" fmla="*/ 731 w 731"/>
                <a:gd name="T71" fmla="*/ 255 h 688"/>
                <a:gd name="T72" fmla="*/ 731 w 731"/>
                <a:gd name="T73" fmla="*/ 191 h 688"/>
                <a:gd name="T74" fmla="*/ 731 w 731"/>
                <a:gd name="T75" fmla="*/ 179 h 688"/>
                <a:gd name="T76" fmla="*/ 731 w 731"/>
                <a:gd name="T77" fmla="*/ 175 h 688"/>
                <a:gd name="T78" fmla="*/ 731 w 731"/>
                <a:gd name="T79" fmla="*/ 141 h 688"/>
                <a:gd name="T80" fmla="*/ 731 w 731"/>
                <a:gd name="T81" fmla="*/ 116 h 688"/>
                <a:gd name="T82" fmla="*/ 673 w 731"/>
                <a:gd name="T83" fmla="*/ 59 h 688"/>
                <a:gd name="T84" fmla="*/ 624 w 731"/>
                <a:gd name="T85" fmla="*/ 59 h 688"/>
                <a:gd name="T86" fmla="*/ 622 w 731"/>
                <a:gd name="T87" fmla="*/ 59 h 688"/>
                <a:gd name="T88" fmla="*/ 613 w 731"/>
                <a:gd name="T89" fmla="*/ 59 h 688"/>
                <a:gd name="T90" fmla="*/ 602 w 731"/>
                <a:gd name="T91" fmla="*/ 59 h 688"/>
                <a:gd name="T92" fmla="*/ 590 w 731"/>
                <a:gd name="T93" fmla="*/ 59 h 688"/>
                <a:gd name="T94" fmla="*/ 574 w 731"/>
                <a:gd name="T95" fmla="*/ 59 h 688"/>
                <a:gd name="T96" fmla="*/ 554 w 731"/>
                <a:gd name="T97" fmla="*/ 59 h 688"/>
                <a:gd name="T98" fmla="*/ 62 w 731"/>
                <a:gd name="T99" fmla="*/ 59 h 688"/>
                <a:gd name="T100" fmla="*/ 24 w 731"/>
                <a:gd name="T101" fmla="*/ 37 h 688"/>
                <a:gd name="T102" fmla="*/ 62 w 731"/>
                <a:gd name="T103" fmla="*/ 19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31" h="688">
                  <a:moveTo>
                    <a:pt x="62" y="19"/>
                  </a:moveTo>
                  <a:cubicBezTo>
                    <a:pt x="62" y="19"/>
                    <a:pt x="617" y="19"/>
                    <a:pt x="617" y="19"/>
                  </a:cubicBezTo>
                  <a:cubicBezTo>
                    <a:pt x="660" y="19"/>
                    <a:pt x="660" y="19"/>
                    <a:pt x="660" y="19"/>
                  </a:cubicBezTo>
                  <a:cubicBezTo>
                    <a:pt x="673" y="19"/>
                    <a:pt x="673" y="19"/>
                    <a:pt x="673" y="19"/>
                  </a:cubicBezTo>
                  <a:cubicBezTo>
                    <a:pt x="692" y="19"/>
                    <a:pt x="707" y="32"/>
                    <a:pt x="711" y="50"/>
                  </a:cubicBezTo>
                  <a:cubicBezTo>
                    <a:pt x="718" y="54"/>
                    <a:pt x="725" y="59"/>
                    <a:pt x="731" y="66"/>
                  </a:cubicBezTo>
                  <a:cubicBezTo>
                    <a:pt x="731" y="57"/>
                    <a:pt x="731" y="57"/>
                    <a:pt x="731" y="57"/>
                  </a:cubicBezTo>
                  <a:cubicBezTo>
                    <a:pt x="731" y="42"/>
                    <a:pt x="725" y="29"/>
                    <a:pt x="716" y="19"/>
                  </a:cubicBezTo>
                  <a:cubicBezTo>
                    <a:pt x="705" y="7"/>
                    <a:pt x="690" y="0"/>
                    <a:pt x="673" y="0"/>
                  </a:cubicBezTo>
                  <a:cubicBezTo>
                    <a:pt x="660" y="0"/>
                    <a:pt x="660" y="0"/>
                    <a:pt x="660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37" y="0"/>
                    <a:pt x="6" y="6"/>
                    <a:pt x="1" y="28"/>
                  </a:cubicBezTo>
                  <a:cubicBezTo>
                    <a:pt x="0" y="35"/>
                    <a:pt x="1" y="43"/>
                    <a:pt x="1" y="50"/>
                  </a:cubicBezTo>
                  <a:cubicBezTo>
                    <a:pt x="1" y="54"/>
                    <a:pt x="1" y="58"/>
                    <a:pt x="1" y="62"/>
                  </a:cubicBezTo>
                  <a:cubicBezTo>
                    <a:pt x="1" y="66"/>
                    <a:pt x="1" y="69"/>
                    <a:pt x="1" y="72"/>
                  </a:cubicBezTo>
                  <a:cubicBezTo>
                    <a:pt x="1" y="86"/>
                    <a:pt x="1" y="101"/>
                    <a:pt x="1" y="116"/>
                  </a:cubicBezTo>
                  <a:cubicBezTo>
                    <a:pt x="1" y="135"/>
                    <a:pt x="1" y="155"/>
                    <a:pt x="1" y="174"/>
                  </a:cubicBezTo>
                  <a:cubicBezTo>
                    <a:pt x="1" y="197"/>
                    <a:pt x="1" y="220"/>
                    <a:pt x="1" y="243"/>
                  </a:cubicBezTo>
                  <a:cubicBezTo>
                    <a:pt x="1" y="268"/>
                    <a:pt x="1" y="292"/>
                    <a:pt x="1" y="317"/>
                  </a:cubicBezTo>
                  <a:cubicBezTo>
                    <a:pt x="1" y="341"/>
                    <a:pt x="1" y="366"/>
                    <a:pt x="1" y="390"/>
                  </a:cubicBezTo>
                  <a:cubicBezTo>
                    <a:pt x="1" y="413"/>
                    <a:pt x="1" y="436"/>
                    <a:pt x="1" y="458"/>
                  </a:cubicBezTo>
                  <a:cubicBezTo>
                    <a:pt x="1" y="477"/>
                    <a:pt x="1" y="496"/>
                    <a:pt x="1" y="515"/>
                  </a:cubicBezTo>
                  <a:cubicBezTo>
                    <a:pt x="1" y="529"/>
                    <a:pt x="1" y="542"/>
                    <a:pt x="1" y="556"/>
                  </a:cubicBezTo>
                  <a:cubicBezTo>
                    <a:pt x="1" y="562"/>
                    <a:pt x="1" y="568"/>
                    <a:pt x="1" y="575"/>
                  </a:cubicBezTo>
                  <a:cubicBezTo>
                    <a:pt x="1" y="575"/>
                    <a:pt x="1" y="575"/>
                    <a:pt x="1" y="575"/>
                  </a:cubicBezTo>
                  <a:cubicBezTo>
                    <a:pt x="1" y="630"/>
                    <a:pt x="1" y="630"/>
                    <a:pt x="1" y="630"/>
                  </a:cubicBezTo>
                  <a:cubicBezTo>
                    <a:pt x="1" y="662"/>
                    <a:pt x="26" y="688"/>
                    <a:pt x="58" y="688"/>
                  </a:cubicBezTo>
                  <a:cubicBezTo>
                    <a:pt x="673" y="688"/>
                    <a:pt x="673" y="688"/>
                    <a:pt x="673" y="688"/>
                  </a:cubicBezTo>
                  <a:cubicBezTo>
                    <a:pt x="705" y="688"/>
                    <a:pt x="731" y="662"/>
                    <a:pt x="731" y="630"/>
                  </a:cubicBezTo>
                  <a:cubicBezTo>
                    <a:pt x="731" y="584"/>
                    <a:pt x="731" y="584"/>
                    <a:pt x="731" y="584"/>
                  </a:cubicBezTo>
                  <a:cubicBezTo>
                    <a:pt x="731" y="492"/>
                    <a:pt x="731" y="492"/>
                    <a:pt x="731" y="492"/>
                  </a:cubicBezTo>
                  <a:cubicBezTo>
                    <a:pt x="528" y="492"/>
                    <a:pt x="528" y="492"/>
                    <a:pt x="528" y="492"/>
                  </a:cubicBezTo>
                  <a:cubicBezTo>
                    <a:pt x="480" y="492"/>
                    <a:pt x="442" y="453"/>
                    <a:pt x="442" y="406"/>
                  </a:cubicBezTo>
                  <a:cubicBezTo>
                    <a:pt x="442" y="341"/>
                    <a:pt x="442" y="341"/>
                    <a:pt x="442" y="341"/>
                  </a:cubicBezTo>
                  <a:cubicBezTo>
                    <a:pt x="442" y="294"/>
                    <a:pt x="480" y="255"/>
                    <a:pt x="528" y="255"/>
                  </a:cubicBezTo>
                  <a:cubicBezTo>
                    <a:pt x="731" y="255"/>
                    <a:pt x="731" y="255"/>
                    <a:pt x="731" y="255"/>
                  </a:cubicBezTo>
                  <a:cubicBezTo>
                    <a:pt x="731" y="191"/>
                    <a:pt x="731" y="191"/>
                    <a:pt x="731" y="191"/>
                  </a:cubicBezTo>
                  <a:cubicBezTo>
                    <a:pt x="731" y="179"/>
                    <a:pt x="731" y="179"/>
                    <a:pt x="731" y="179"/>
                  </a:cubicBezTo>
                  <a:cubicBezTo>
                    <a:pt x="731" y="175"/>
                    <a:pt x="731" y="175"/>
                    <a:pt x="731" y="175"/>
                  </a:cubicBezTo>
                  <a:cubicBezTo>
                    <a:pt x="731" y="141"/>
                    <a:pt x="731" y="141"/>
                    <a:pt x="731" y="141"/>
                  </a:cubicBezTo>
                  <a:cubicBezTo>
                    <a:pt x="731" y="116"/>
                    <a:pt x="731" y="116"/>
                    <a:pt x="731" y="116"/>
                  </a:cubicBezTo>
                  <a:cubicBezTo>
                    <a:pt x="731" y="84"/>
                    <a:pt x="705" y="59"/>
                    <a:pt x="673" y="59"/>
                  </a:cubicBezTo>
                  <a:cubicBezTo>
                    <a:pt x="624" y="59"/>
                    <a:pt x="624" y="59"/>
                    <a:pt x="624" y="59"/>
                  </a:cubicBezTo>
                  <a:cubicBezTo>
                    <a:pt x="622" y="59"/>
                    <a:pt x="622" y="59"/>
                    <a:pt x="622" y="59"/>
                  </a:cubicBezTo>
                  <a:cubicBezTo>
                    <a:pt x="613" y="59"/>
                    <a:pt x="613" y="59"/>
                    <a:pt x="613" y="59"/>
                  </a:cubicBezTo>
                  <a:cubicBezTo>
                    <a:pt x="602" y="59"/>
                    <a:pt x="602" y="59"/>
                    <a:pt x="602" y="59"/>
                  </a:cubicBezTo>
                  <a:cubicBezTo>
                    <a:pt x="590" y="59"/>
                    <a:pt x="590" y="59"/>
                    <a:pt x="590" y="59"/>
                  </a:cubicBezTo>
                  <a:cubicBezTo>
                    <a:pt x="574" y="59"/>
                    <a:pt x="574" y="59"/>
                    <a:pt x="574" y="59"/>
                  </a:cubicBezTo>
                  <a:cubicBezTo>
                    <a:pt x="554" y="59"/>
                    <a:pt x="554" y="59"/>
                    <a:pt x="554" y="59"/>
                  </a:cubicBezTo>
                  <a:cubicBezTo>
                    <a:pt x="554" y="59"/>
                    <a:pt x="63" y="59"/>
                    <a:pt x="62" y="59"/>
                  </a:cubicBezTo>
                  <a:cubicBezTo>
                    <a:pt x="50" y="59"/>
                    <a:pt x="22" y="56"/>
                    <a:pt x="24" y="37"/>
                  </a:cubicBezTo>
                  <a:cubicBezTo>
                    <a:pt x="27" y="21"/>
                    <a:pt x="50" y="19"/>
                    <a:pt x="62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</p:grpSp>
      <p:grpSp>
        <p:nvGrpSpPr>
          <p:cNvPr id="13" name="íśļïḋè">
            <a:extLst>
              <a:ext uri="{FF2B5EF4-FFF2-40B4-BE49-F238E27FC236}">
                <a16:creationId xmlns:a16="http://schemas.microsoft.com/office/drawing/2014/main" id="{5AC5831F-E93D-4CFB-A0C7-FEDD66207773}"/>
              </a:ext>
            </a:extLst>
          </p:cNvPr>
          <p:cNvGrpSpPr/>
          <p:nvPr/>
        </p:nvGrpSpPr>
        <p:grpSpPr>
          <a:xfrm>
            <a:off x="6349516" y="4071826"/>
            <a:ext cx="437943" cy="317051"/>
            <a:chOff x="1066800" y="1651001"/>
            <a:chExt cx="609601" cy="441325"/>
          </a:xfrm>
          <a:solidFill>
            <a:schemeClr val="accent1"/>
          </a:solidFill>
          <a:effectLst/>
        </p:grpSpPr>
        <p:sp>
          <p:nvSpPr>
            <p:cNvPr id="26" name="ïSḷiďe">
              <a:extLst>
                <a:ext uri="{FF2B5EF4-FFF2-40B4-BE49-F238E27FC236}">
                  <a16:creationId xmlns:a16="http://schemas.microsoft.com/office/drawing/2014/main" id="{1B0E3AC4-9CA5-46AD-848D-59DB9412F2AE}"/>
                </a:ext>
              </a:extLst>
            </p:cNvPr>
            <p:cNvSpPr/>
            <p:nvPr/>
          </p:nvSpPr>
          <p:spPr bwMode="auto">
            <a:xfrm>
              <a:off x="1066800" y="1651001"/>
              <a:ext cx="609600" cy="233363"/>
            </a:xfrm>
            <a:custGeom>
              <a:avLst/>
              <a:gdLst>
                <a:gd name="T0" fmla="*/ 913 w 913"/>
                <a:gd name="T1" fmla="*/ 175 h 350"/>
                <a:gd name="T2" fmla="*/ 734 w 913"/>
                <a:gd name="T3" fmla="*/ 0 h 350"/>
                <a:gd name="T4" fmla="*/ 178 w 913"/>
                <a:gd name="T5" fmla="*/ 0 h 350"/>
                <a:gd name="T6" fmla="*/ 0 w 913"/>
                <a:gd name="T7" fmla="*/ 175 h 350"/>
                <a:gd name="T8" fmla="*/ 178 w 913"/>
                <a:gd name="T9" fmla="*/ 350 h 350"/>
                <a:gd name="T10" fmla="*/ 734 w 913"/>
                <a:gd name="T11" fmla="*/ 350 h 350"/>
                <a:gd name="T12" fmla="*/ 913 w 913"/>
                <a:gd name="T13" fmla="*/ 175 h 350"/>
                <a:gd name="T14" fmla="*/ 46 w 913"/>
                <a:gd name="T15" fmla="*/ 175 h 350"/>
                <a:gd name="T16" fmla="*/ 178 w 913"/>
                <a:gd name="T17" fmla="*/ 46 h 350"/>
                <a:gd name="T18" fmla="*/ 734 w 913"/>
                <a:gd name="T19" fmla="*/ 46 h 350"/>
                <a:gd name="T20" fmla="*/ 866 w 913"/>
                <a:gd name="T21" fmla="*/ 175 h 350"/>
                <a:gd name="T22" fmla="*/ 734 w 913"/>
                <a:gd name="T23" fmla="*/ 303 h 350"/>
                <a:gd name="T24" fmla="*/ 178 w 913"/>
                <a:gd name="T25" fmla="*/ 303 h 350"/>
                <a:gd name="T26" fmla="*/ 46 w 913"/>
                <a:gd name="T27" fmla="*/ 175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3" h="350">
                  <a:moveTo>
                    <a:pt x="913" y="175"/>
                  </a:moveTo>
                  <a:cubicBezTo>
                    <a:pt x="913" y="78"/>
                    <a:pt x="833" y="0"/>
                    <a:pt x="734" y="0"/>
                  </a:cubicBezTo>
                  <a:cubicBezTo>
                    <a:pt x="178" y="0"/>
                    <a:pt x="178" y="0"/>
                    <a:pt x="178" y="0"/>
                  </a:cubicBezTo>
                  <a:cubicBezTo>
                    <a:pt x="80" y="0"/>
                    <a:pt x="0" y="78"/>
                    <a:pt x="0" y="175"/>
                  </a:cubicBezTo>
                  <a:cubicBezTo>
                    <a:pt x="0" y="271"/>
                    <a:pt x="80" y="350"/>
                    <a:pt x="178" y="350"/>
                  </a:cubicBezTo>
                  <a:cubicBezTo>
                    <a:pt x="734" y="350"/>
                    <a:pt x="734" y="350"/>
                    <a:pt x="734" y="350"/>
                  </a:cubicBezTo>
                  <a:cubicBezTo>
                    <a:pt x="833" y="350"/>
                    <a:pt x="913" y="271"/>
                    <a:pt x="913" y="175"/>
                  </a:cubicBezTo>
                  <a:close/>
                  <a:moveTo>
                    <a:pt x="46" y="175"/>
                  </a:moveTo>
                  <a:cubicBezTo>
                    <a:pt x="46" y="104"/>
                    <a:pt x="106" y="46"/>
                    <a:pt x="178" y="46"/>
                  </a:cubicBezTo>
                  <a:cubicBezTo>
                    <a:pt x="734" y="46"/>
                    <a:pt x="734" y="46"/>
                    <a:pt x="734" y="46"/>
                  </a:cubicBezTo>
                  <a:cubicBezTo>
                    <a:pt x="807" y="46"/>
                    <a:pt x="866" y="104"/>
                    <a:pt x="866" y="175"/>
                  </a:cubicBezTo>
                  <a:cubicBezTo>
                    <a:pt x="866" y="245"/>
                    <a:pt x="807" y="303"/>
                    <a:pt x="734" y="303"/>
                  </a:cubicBezTo>
                  <a:cubicBezTo>
                    <a:pt x="178" y="303"/>
                    <a:pt x="178" y="303"/>
                    <a:pt x="178" y="303"/>
                  </a:cubicBezTo>
                  <a:cubicBezTo>
                    <a:pt x="106" y="303"/>
                    <a:pt x="46" y="245"/>
                    <a:pt x="46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/>
            <a:p>
              <a:pPr algn="ctr"/>
              <a:endParaRPr/>
            </a:p>
          </p:txBody>
        </p:sp>
        <p:sp>
          <p:nvSpPr>
            <p:cNvPr id="27" name="íṣ1îďê">
              <a:extLst>
                <a:ext uri="{FF2B5EF4-FFF2-40B4-BE49-F238E27FC236}">
                  <a16:creationId xmlns:a16="http://schemas.microsoft.com/office/drawing/2014/main" id="{A1B6DEBD-CF78-47F9-BEFF-4F8A1439AC41}"/>
                </a:ext>
              </a:extLst>
            </p:cNvPr>
            <p:cNvSpPr/>
            <p:nvPr/>
          </p:nvSpPr>
          <p:spPr bwMode="auto">
            <a:xfrm>
              <a:off x="1149350" y="1720851"/>
              <a:ext cx="98425" cy="93663"/>
            </a:xfrm>
            <a:custGeom>
              <a:avLst/>
              <a:gdLst>
                <a:gd name="T0" fmla="*/ 57 w 62"/>
                <a:gd name="T1" fmla="*/ 14 h 59"/>
                <a:gd name="T2" fmla="*/ 38 w 62"/>
                <a:gd name="T3" fmla="*/ 20 h 59"/>
                <a:gd name="T4" fmla="*/ 38 w 62"/>
                <a:gd name="T5" fmla="*/ 0 h 59"/>
                <a:gd name="T6" fmla="*/ 24 w 62"/>
                <a:gd name="T7" fmla="*/ 0 h 59"/>
                <a:gd name="T8" fmla="*/ 24 w 62"/>
                <a:gd name="T9" fmla="*/ 20 h 59"/>
                <a:gd name="T10" fmla="*/ 4 w 62"/>
                <a:gd name="T11" fmla="*/ 14 h 59"/>
                <a:gd name="T12" fmla="*/ 0 w 62"/>
                <a:gd name="T13" fmla="*/ 27 h 59"/>
                <a:gd name="T14" fmla="*/ 19 w 62"/>
                <a:gd name="T15" fmla="*/ 34 h 59"/>
                <a:gd name="T16" fmla="*/ 7 w 62"/>
                <a:gd name="T17" fmla="*/ 50 h 59"/>
                <a:gd name="T18" fmla="*/ 18 w 62"/>
                <a:gd name="T19" fmla="*/ 59 h 59"/>
                <a:gd name="T20" fmla="*/ 30 w 62"/>
                <a:gd name="T21" fmla="*/ 42 h 59"/>
                <a:gd name="T22" fmla="*/ 43 w 62"/>
                <a:gd name="T23" fmla="*/ 59 h 59"/>
                <a:gd name="T24" fmla="*/ 54 w 62"/>
                <a:gd name="T25" fmla="*/ 51 h 59"/>
                <a:gd name="T26" fmla="*/ 42 w 62"/>
                <a:gd name="T27" fmla="*/ 34 h 59"/>
                <a:gd name="T28" fmla="*/ 62 w 62"/>
                <a:gd name="T29" fmla="*/ 28 h 59"/>
                <a:gd name="T30" fmla="*/ 57 w 62"/>
                <a:gd name="T31" fmla="*/ 1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" h="59">
                  <a:moveTo>
                    <a:pt x="57" y="14"/>
                  </a:moveTo>
                  <a:lnTo>
                    <a:pt x="38" y="20"/>
                  </a:lnTo>
                  <a:lnTo>
                    <a:pt x="38" y="0"/>
                  </a:lnTo>
                  <a:lnTo>
                    <a:pt x="24" y="0"/>
                  </a:lnTo>
                  <a:lnTo>
                    <a:pt x="24" y="20"/>
                  </a:lnTo>
                  <a:lnTo>
                    <a:pt x="4" y="14"/>
                  </a:lnTo>
                  <a:lnTo>
                    <a:pt x="0" y="27"/>
                  </a:lnTo>
                  <a:lnTo>
                    <a:pt x="19" y="34"/>
                  </a:lnTo>
                  <a:lnTo>
                    <a:pt x="7" y="50"/>
                  </a:lnTo>
                  <a:lnTo>
                    <a:pt x="18" y="59"/>
                  </a:lnTo>
                  <a:lnTo>
                    <a:pt x="30" y="42"/>
                  </a:lnTo>
                  <a:lnTo>
                    <a:pt x="43" y="59"/>
                  </a:lnTo>
                  <a:lnTo>
                    <a:pt x="54" y="51"/>
                  </a:lnTo>
                  <a:lnTo>
                    <a:pt x="42" y="34"/>
                  </a:lnTo>
                  <a:lnTo>
                    <a:pt x="62" y="28"/>
                  </a:lnTo>
                  <a:lnTo>
                    <a:pt x="57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28" name="ïṣḻíḍé">
              <a:extLst>
                <a:ext uri="{FF2B5EF4-FFF2-40B4-BE49-F238E27FC236}">
                  <a16:creationId xmlns:a16="http://schemas.microsoft.com/office/drawing/2014/main" id="{77D4C74B-E0A4-4597-86D1-01FD2A26B603}"/>
                </a:ext>
              </a:extLst>
            </p:cNvPr>
            <p:cNvSpPr/>
            <p:nvPr/>
          </p:nvSpPr>
          <p:spPr bwMode="auto">
            <a:xfrm>
              <a:off x="1265238" y="1720851"/>
              <a:ext cx="96838" cy="93663"/>
            </a:xfrm>
            <a:custGeom>
              <a:avLst/>
              <a:gdLst>
                <a:gd name="T0" fmla="*/ 57 w 61"/>
                <a:gd name="T1" fmla="*/ 14 h 59"/>
                <a:gd name="T2" fmla="*/ 38 w 61"/>
                <a:gd name="T3" fmla="*/ 20 h 59"/>
                <a:gd name="T4" fmla="*/ 38 w 61"/>
                <a:gd name="T5" fmla="*/ 0 h 59"/>
                <a:gd name="T6" fmla="*/ 23 w 61"/>
                <a:gd name="T7" fmla="*/ 0 h 59"/>
                <a:gd name="T8" fmla="*/ 23 w 61"/>
                <a:gd name="T9" fmla="*/ 20 h 59"/>
                <a:gd name="T10" fmla="*/ 4 w 61"/>
                <a:gd name="T11" fmla="*/ 14 h 59"/>
                <a:gd name="T12" fmla="*/ 0 w 61"/>
                <a:gd name="T13" fmla="*/ 27 h 59"/>
                <a:gd name="T14" fmla="*/ 19 w 61"/>
                <a:gd name="T15" fmla="*/ 34 h 59"/>
                <a:gd name="T16" fmla="*/ 7 w 61"/>
                <a:gd name="T17" fmla="*/ 50 h 59"/>
                <a:gd name="T18" fmla="*/ 18 w 61"/>
                <a:gd name="T19" fmla="*/ 59 h 59"/>
                <a:gd name="T20" fmla="*/ 30 w 61"/>
                <a:gd name="T21" fmla="*/ 42 h 59"/>
                <a:gd name="T22" fmla="*/ 42 w 61"/>
                <a:gd name="T23" fmla="*/ 59 h 59"/>
                <a:gd name="T24" fmla="*/ 54 w 61"/>
                <a:gd name="T25" fmla="*/ 51 h 59"/>
                <a:gd name="T26" fmla="*/ 42 w 61"/>
                <a:gd name="T27" fmla="*/ 34 h 59"/>
                <a:gd name="T28" fmla="*/ 61 w 61"/>
                <a:gd name="T29" fmla="*/ 28 h 59"/>
                <a:gd name="T30" fmla="*/ 57 w 61"/>
                <a:gd name="T31" fmla="*/ 1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1" h="59">
                  <a:moveTo>
                    <a:pt x="57" y="14"/>
                  </a:moveTo>
                  <a:lnTo>
                    <a:pt x="38" y="20"/>
                  </a:lnTo>
                  <a:lnTo>
                    <a:pt x="38" y="0"/>
                  </a:lnTo>
                  <a:lnTo>
                    <a:pt x="23" y="0"/>
                  </a:lnTo>
                  <a:lnTo>
                    <a:pt x="23" y="20"/>
                  </a:lnTo>
                  <a:lnTo>
                    <a:pt x="4" y="14"/>
                  </a:lnTo>
                  <a:lnTo>
                    <a:pt x="0" y="27"/>
                  </a:lnTo>
                  <a:lnTo>
                    <a:pt x="19" y="34"/>
                  </a:lnTo>
                  <a:lnTo>
                    <a:pt x="7" y="50"/>
                  </a:lnTo>
                  <a:lnTo>
                    <a:pt x="18" y="59"/>
                  </a:lnTo>
                  <a:lnTo>
                    <a:pt x="30" y="42"/>
                  </a:lnTo>
                  <a:lnTo>
                    <a:pt x="42" y="59"/>
                  </a:lnTo>
                  <a:lnTo>
                    <a:pt x="54" y="51"/>
                  </a:lnTo>
                  <a:lnTo>
                    <a:pt x="42" y="34"/>
                  </a:lnTo>
                  <a:lnTo>
                    <a:pt x="61" y="28"/>
                  </a:lnTo>
                  <a:lnTo>
                    <a:pt x="57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29" name="î$lídé">
              <a:extLst>
                <a:ext uri="{FF2B5EF4-FFF2-40B4-BE49-F238E27FC236}">
                  <a16:creationId xmlns:a16="http://schemas.microsoft.com/office/drawing/2014/main" id="{03715109-D203-4868-86B6-01D18C3CB594}"/>
                </a:ext>
              </a:extLst>
            </p:cNvPr>
            <p:cNvSpPr/>
            <p:nvPr/>
          </p:nvSpPr>
          <p:spPr bwMode="auto">
            <a:xfrm>
              <a:off x="1379538" y="1720851"/>
              <a:ext cx="98425" cy="93663"/>
            </a:xfrm>
            <a:custGeom>
              <a:avLst/>
              <a:gdLst>
                <a:gd name="T0" fmla="*/ 58 w 62"/>
                <a:gd name="T1" fmla="*/ 14 h 59"/>
                <a:gd name="T2" fmla="*/ 39 w 62"/>
                <a:gd name="T3" fmla="*/ 20 h 59"/>
                <a:gd name="T4" fmla="*/ 39 w 62"/>
                <a:gd name="T5" fmla="*/ 0 h 59"/>
                <a:gd name="T6" fmla="*/ 24 w 62"/>
                <a:gd name="T7" fmla="*/ 0 h 59"/>
                <a:gd name="T8" fmla="*/ 24 w 62"/>
                <a:gd name="T9" fmla="*/ 20 h 59"/>
                <a:gd name="T10" fmla="*/ 5 w 62"/>
                <a:gd name="T11" fmla="*/ 14 h 59"/>
                <a:gd name="T12" fmla="*/ 0 w 62"/>
                <a:gd name="T13" fmla="*/ 27 h 59"/>
                <a:gd name="T14" fmla="*/ 20 w 62"/>
                <a:gd name="T15" fmla="*/ 34 h 59"/>
                <a:gd name="T16" fmla="*/ 7 w 62"/>
                <a:gd name="T17" fmla="*/ 50 h 59"/>
                <a:gd name="T18" fmla="*/ 19 w 62"/>
                <a:gd name="T19" fmla="*/ 59 h 59"/>
                <a:gd name="T20" fmla="*/ 31 w 62"/>
                <a:gd name="T21" fmla="*/ 42 h 59"/>
                <a:gd name="T22" fmla="*/ 43 w 62"/>
                <a:gd name="T23" fmla="*/ 59 h 59"/>
                <a:gd name="T24" fmla="*/ 55 w 62"/>
                <a:gd name="T25" fmla="*/ 51 h 59"/>
                <a:gd name="T26" fmla="*/ 43 w 62"/>
                <a:gd name="T27" fmla="*/ 34 h 59"/>
                <a:gd name="T28" fmla="*/ 62 w 62"/>
                <a:gd name="T29" fmla="*/ 28 h 59"/>
                <a:gd name="T30" fmla="*/ 58 w 62"/>
                <a:gd name="T31" fmla="*/ 1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" h="59">
                  <a:moveTo>
                    <a:pt x="58" y="14"/>
                  </a:moveTo>
                  <a:lnTo>
                    <a:pt x="39" y="20"/>
                  </a:lnTo>
                  <a:lnTo>
                    <a:pt x="39" y="0"/>
                  </a:lnTo>
                  <a:lnTo>
                    <a:pt x="24" y="0"/>
                  </a:lnTo>
                  <a:lnTo>
                    <a:pt x="24" y="20"/>
                  </a:lnTo>
                  <a:lnTo>
                    <a:pt x="5" y="14"/>
                  </a:lnTo>
                  <a:lnTo>
                    <a:pt x="0" y="27"/>
                  </a:lnTo>
                  <a:lnTo>
                    <a:pt x="20" y="34"/>
                  </a:lnTo>
                  <a:lnTo>
                    <a:pt x="7" y="50"/>
                  </a:lnTo>
                  <a:lnTo>
                    <a:pt x="19" y="59"/>
                  </a:lnTo>
                  <a:lnTo>
                    <a:pt x="31" y="42"/>
                  </a:lnTo>
                  <a:lnTo>
                    <a:pt x="43" y="59"/>
                  </a:lnTo>
                  <a:lnTo>
                    <a:pt x="55" y="51"/>
                  </a:lnTo>
                  <a:lnTo>
                    <a:pt x="43" y="34"/>
                  </a:lnTo>
                  <a:lnTo>
                    <a:pt x="62" y="28"/>
                  </a:lnTo>
                  <a:lnTo>
                    <a:pt x="58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30" name="iṩľïďê">
              <a:extLst>
                <a:ext uri="{FF2B5EF4-FFF2-40B4-BE49-F238E27FC236}">
                  <a16:creationId xmlns:a16="http://schemas.microsoft.com/office/drawing/2014/main" id="{ECD64E8F-6022-4950-9177-9AD569CBA918}"/>
                </a:ext>
              </a:extLst>
            </p:cNvPr>
            <p:cNvSpPr/>
            <p:nvPr/>
          </p:nvSpPr>
          <p:spPr bwMode="auto">
            <a:xfrm>
              <a:off x="1495425" y="1720851"/>
              <a:ext cx="98425" cy="93663"/>
            </a:xfrm>
            <a:custGeom>
              <a:avLst/>
              <a:gdLst>
                <a:gd name="T0" fmla="*/ 54 w 62"/>
                <a:gd name="T1" fmla="*/ 51 h 59"/>
                <a:gd name="T2" fmla="*/ 43 w 62"/>
                <a:gd name="T3" fmla="*/ 34 h 59"/>
                <a:gd name="T4" fmla="*/ 62 w 62"/>
                <a:gd name="T5" fmla="*/ 28 h 59"/>
                <a:gd name="T6" fmla="*/ 58 w 62"/>
                <a:gd name="T7" fmla="*/ 14 h 59"/>
                <a:gd name="T8" fmla="*/ 38 w 62"/>
                <a:gd name="T9" fmla="*/ 20 h 59"/>
                <a:gd name="T10" fmla="*/ 38 w 62"/>
                <a:gd name="T11" fmla="*/ 0 h 59"/>
                <a:gd name="T12" fmla="*/ 24 w 62"/>
                <a:gd name="T13" fmla="*/ 0 h 59"/>
                <a:gd name="T14" fmla="*/ 24 w 62"/>
                <a:gd name="T15" fmla="*/ 20 h 59"/>
                <a:gd name="T16" fmla="*/ 5 w 62"/>
                <a:gd name="T17" fmla="*/ 14 h 59"/>
                <a:gd name="T18" fmla="*/ 0 w 62"/>
                <a:gd name="T19" fmla="*/ 27 h 59"/>
                <a:gd name="T20" fmla="*/ 20 w 62"/>
                <a:gd name="T21" fmla="*/ 34 h 59"/>
                <a:gd name="T22" fmla="*/ 7 w 62"/>
                <a:gd name="T23" fmla="*/ 50 h 59"/>
                <a:gd name="T24" fmla="*/ 19 w 62"/>
                <a:gd name="T25" fmla="*/ 59 h 59"/>
                <a:gd name="T26" fmla="*/ 31 w 62"/>
                <a:gd name="T27" fmla="*/ 42 h 59"/>
                <a:gd name="T28" fmla="*/ 43 w 62"/>
                <a:gd name="T29" fmla="*/ 59 h 59"/>
                <a:gd name="T30" fmla="*/ 54 w 62"/>
                <a:gd name="T31" fmla="*/ 5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" h="59">
                  <a:moveTo>
                    <a:pt x="54" y="51"/>
                  </a:moveTo>
                  <a:lnTo>
                    <a:pt x="43" y="34"/>
                  </a:lnTo>
                  <a:lnTo>
                    <a:pt x="62" y="28"/>
                  </a:lnTo>
                  <a:lnTo>
                    <a:pt x="58" y="14"/>
                  </a:lnTo>
                  <a:lnTo>
                    <a:pt x="38" y="20"/>
                  </a:lnTo>
                  <a:lnTo>
                    <a:pt x="38" y="0"/>
                  </a:lnTo>
                  <a:lnTo>
                    <a:pt x="24" y="0"/>
                  </a:lnTo>
                  <a:lnTo>
                    <a:pt x="24" y="20"/>
                  </a:lnTo>
                  <a:lnTo>
                    <a:pt x="5" y="14"/>
                  </a:lnTo>
                  <a:lnTo>
                    <a:pt x="0" y="27"/>
                  </a:lnTo>
                  <a:lnTo>
                    <a:pt x="20" y="34"/>
                  </a:lnTo>
                  <a:lnTo>
                    <a:pt x="7" y="50"/>
                  </a:lnTo>
                  <a:lnTo>
                    <a:pt x="19" y="59"/>
                  </a:lnTo>
                  <a:lnTo>
                    <a:pt x="31" y="42"/>
                  </a:lnTo>
                  <a:lnTo>
                    <a:pt x="43" y="59"/>
                  </a:lnTo>
                  <a:lnTo>
                    <a:pt x="54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31" name="iSľîde">
              <a:extLst>
                <a:ext uri="{FF2B5EF4-FFF2-40B4-BE49-F238E27FC236}">
                  <a16:creationId xmlns:a16="http://schemas.microsoft.com/office/drawing/2014/main" id="{8F3CFAD9-B019-4BD8-A036-9F2CAC330B8E}"/>
                </a:ext>
              </a:extLst>
            </p:cNvPr>
            <p:cNvSpPr/>
            <p:nvPr/>
          </p:nvSpPr>
          <p:spPr bwMode="auto">
            <a:xfrm>
              <a:off x="1408113" y="1962151"/>
              <a:ext cx="61913" cy="76200"/>
            </a:xfrm>
            <a:custGeom>
              <a:avLst/>
              <a:gdLst>
                <a:gd name="T0" fmla="*/ 78 w 91"/>
                <a:gd name="T1" fmla="*/ 13 h 112"/>
                <a:gd name="T2" fmla="*/ 63 w 91"/>
                <a:gd name="T3" fmla="*/ 3 h 112"/>
                <a:gd name="T4" fmla="*/ 46 w 91"/>
                <a:gd name="T5" fmla="*/ 0 h 112"/>
                <a:gd name="T6" fmla="*/ 28 w 91"/>
                <a:gd name="T7" fmla="*/ 3 h 112"/>
                <a:gd name="T8" fmla="*/ 13 w 91"/>
                <a:gd name="T9" fmla="*/ 13 h 112"/>
                <a:gd name="T10" fmla="*/ 4 w 91"/>
                <a:gd name="T11" fmla="*/ 31 h 112"/>
                <a:gd name="T12" fmla="*/ 0 w 91"/>
                <a:gd name="T13" fmla="*/ 56 h 112"/>
                <a:gd name="T14" fmla="*/ 4 w 91"/>
                <a:gd name="T15" fmla="*/ 81 h 112"/>
                <a:gd name="T16" fmla="*/ 13 w 91"/>
                <a:gd name="T17" fmla="*/ 98 h 112"/>
                <a:gd name="T18" fmla="*/ 28 w 91"/>
                <a:gd name="T19" fmla="*/ 108 h 112"/>
                <a:gd name="T20" fmla="*/ 46 w 91"/>
                <a:gd name="T21" fmla="*/ 112 h 112"/>
                <a:gd name="T22" fmla="*/ 63 w 91"/>
                <a:gd name="T23" fmla="*/ 108 h 112"/>
                <a:gd name="T24" fmla="*/ 78 w 91"/>
                <a:gd name="T25" fmla="*/ 98 h 112"/>
                <a:gd name="T26" fmla="*/ 88 w 91"/>
                <a:gd name="T27" fmla="*/ 81 h 112"/>
                <a:gd name="T28" fmla="*/ 91 w 91"/>
                <a:gd name="T29" fmla="*/ 56 h 112"/>
                <a:gd name="T30" fmla="*/ 88 w 91"/>
                <a:gd name="T31" fmla="*/ 31 h 112"/>
                <a:gd name="T32" fmla="*/ 78 w 91"/>
                <a:gd name="T33" fmla="*/ 13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1" h="112">
                  <a:moveTo>
                    <a:pt x="78" y="13"/>
                  </a:moveTo>
                  <a:cubicBezTo>
                    <a:pt x="74" y="9"/>
                    <a:pt x="69" y="5"/>
                    <a:pt x="63" y="3"/>
                  </a:cubicBezTo>
                  <a:cubicBezTo>
                    <a:pt x="58" y="1"/>
                    <a:pt x="52" y="0"/>
                    <a:pt x="46" y="0"/>
                  </a:cubicBezTo>
                  <a:cubicBezTo>
                    <a:pt x="39" y="0"/>
                    <a:pt x="33" y="1"/>
                    <a:pt x="28" y="3"/>
                  </a:cubicBezTo>
                  <a:cubicBezTo>
                    <a:pt x="22" y="5"/>
                    <a:pt x="17" y="9"/>
                    <a:pt x="13" y="13"/>
                  </a:cubicBezTo>
                  <a:cubicBezTo>
                    <a:pt x="9" y="18"/>
                    <a:pt x="6" y="24"/>
                    <a:pt x="4" y="31"/>
                  </a:cubicBezTo>
                  <a:cubicBezTo>
                    <a:pt x="1" y="38"/>
                    <a:pt x="0" y="46"/>
                    <a:pt x="0" y="56"/>
                  </a:cubicBezTo>
                  <a:cubicBezTo>
                    <a:pt x="0" y="65"/>
                    <a:pt x="1" y="74"/>
                    <a:pt x="4" y="81"/>
                  </a:cubicBezTo>
                  <a:cubicBezTo>
                    <a:pt x="6" y="88"/>
                    <a:pt x="9" y="94"/>
                    <a:pt x="13" y="98"/>
                  </a:cubicBezTo>
                  <a:cubicBezTo>
                    <a:pt x="17" y="103"/>
                    <a:pt x="22" y="106"/>
                    <a:pt x="28" y="108"/>
                  </a:cubicBezTo>
                  <a:cubicBezTo>
                    <a:pt x="33" y="111"/>
                    <a:pt x="39" y="112"/>
                    <a:pt x="46" y="112"/>
                  </a:cubicBezTo>
                  <a:cubicBezTo>
                    <a:pt x="52" y="112"/>
                    <a:pt x="58" y="111"/>
                    <a:pt x="63" y="108"/>
                  </a:cubicBezTo>
                  <a:cubicBezTo>
                    <a:pt x="69" y="106"/>
                    <a:pt x="74" y="103"/>
                    <a:pt x="78" y="98"/>
                  </a:cubicBezTo>
                  <a:cubicBezTo>
                    <a:pt x="82" y="94"/>
                    <a:pt x="85" y="88"/>
                    <a:pt x="88" y="81"/>
                  </a:cubicBezTo>
                  <a:cubicBezTo>
                    <a:pt x="90" y="74"/>
                    <a:pt x="91" y="65"/>
                    <a:pt x="91" y="56"/>
                  </a:cubicBezTo>
                  <a:cubicBezTo>
                    <a:pt x="91" y="46"/>
                    <a:pt x="90" y="38"/>
                    <a:pt x="88" y="31"/>
                  </a:cubicBezTo>
                  <a:cubicBezTo>
                    <a:pt x="85" y="24"/>
                    <a:pt x="82" y="18"/>
                    <a:pt x="7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  <p:sp>
          <p:nvSpPr>
            <p:cNvPr id="32" name="isḷíde">
              <a:extLst>
                <a:ext uri="{FF2B5EF4-FFF2-40B4-BE49-F238E27FC236}">
                  <a16:creationId xmlns:a16="http://schemas.microsoft.com/office/drawing/2014/main" id="{C7F5691B-3FA6-46C8-B496-A24C507C92FC}"/>
                </a:ext>
              </a:extLst>
            </p:cNvPr>
            <p:cNvSpPr/>
            <p:nvPr/>
          </p:nvSpPr>
          <p:spPr bwMode="auto">
            <a:xfrm>
              <a:off x="1303338" y="1908176"/>
              <a:ext cx="373063" cy="184150"/>
            </a:xfrm>
            <a:custGeom>
              <a:avLst/>
              <a:gdLst>
                <a:gd name="T0" fmla="*/ 417 w 558"/>
                <a:gd name="T1" fmla="*/ 0 h 275"/>
                <a:gd name="T2" fmla="*/ 141 w 558"/>
                <a:gd name="T3" fmla="*/ 0 h 275"/>
                <a:gd name="T4" fmla="*/ 0 w 558"/>
                <a:gd name="T5" fmla="*/ 137 h 275"/>
                <a:gd name="T6" fmla="*/ 141 w 558"/>
                <a:gd name="T7" fmla="*/ 275 h 275"/>
                <a:gd name="T8" fmla="*/ 417 w 558"/>
                <a:gd name="T9" fmla="*/ 275 h 275"/>
                <a:gd name="T10" fmla="*/ 558 w 558"/>
                <a:gd name="T11" fmla="*/ 137 h 275"/>
                <a:gd name="T12" fmla="*/ 417 w 558"/>
                <a:gd name="T13" fmla="*/ 0 h 275"/>
                <a:gd name="T14" fmla="*/ 272 w 558"/>
                <a:gd name="T15" fmla="*/ 167 h 275"/>
                <a:gd name="T16" fmla="*/ 257 w 558"/>
                <a:gd name="T17" fmla="*/ 189 h 275"/>
                <a:gd name="T18" fmla="*/ 233 w 558"/>
                <a:gd name="T19" fmla="*/ 202 h 275"/>
                <a:gd name="T20" fmla="*/ 203 w 558"/>
                <a:gd name="T21" fmla="*/ 207 h 275"/>
                <a:gd name="T22" fmla="*/ 172 w 558"/>
                <a:gd name="T23" fmla="*/ 202 h 275"/>
                <a:gd name="T24" fmla="*/ 148 w 558"/>
                <a:gd name="T25" fmla="*/ 189 h 275"/>
                <a:gd name="T26" fmla="*/ 133 w 558"/>
                <a:gd name="T27" fmla="*/ 167 h 275"/>
                <a:gd name="T28" fmla="*/ 128 w 558"/>
                <a:gd name="T29" fmla="*/ 138 h 275"/>
                <a:gd name="T30" fmla="*/ 133 w 558"/>
                <a:gd name="T31" fmla="*/ 108 h 275"/>
                <a:gd name="T32" fmla="*/ 148 w 558"/>
                <a:gd name="T33" fmla="*/ 87 h 275"/>
                <a:gd name="T34" fmla="*/ 172 w 558"/>
                <a:gd name="T35" fmla="*/ 73 h 275"/>
                <a:gd name="T36" fmla="*/ 203 w 558"/>
                <a:gd name="T37" fmla="*/ 69 h 275"/>
                <a:gd name="T38" fmla="*/ 233 w 558"/>
                <a:gd name="T39" fmla="*/ 73 h 275"/>
                <a:gd name="T40" fmla="*/ 257 w 558"/>
                <a:gd name="T41" fmla="*/ 87 h 275"/>
                <a:gd name="T42" fmla="*/ 272 w 558"/>
                <a:gd name="T43" fmla="*/ 108 h 275"/>
                <a:gd name="T44" fmla="*/ 277 w 558"/>
                <a:gd name="T45" fmla="*/ 138 h 275"/>
                <a:gd name="T46" fmla="*/ 272 w 558"/>
                <a:gd name="T47" fmla="*/ 167 h 275"/>
                <a:gd name="T48" fmla="*/ 418 w 558"/>
                <a:gd name="T49" fmla="*/ 203 h 275"/>
                <a:gd name="T50" fmla="*/ 384 w 558"/>
                <a:gd name="T51" fmla="*/ 178 h 275"/>
                <a:gd name="T52" fmla="*/ 378 w 558"/>
                <a:gd name="T53" fmla="*/ 170 h 275"/>
                <a:gd name="T54" fmla="*/ 343 w 558"/>
                <a:gd name="T55" fmla="*/ 145 h 275"/>
                <a:gd name="T56" fmla="*/ 327 w 558"/>
                <a:gd name="T57" fmla="*/ 174 h 275"/>
                <a:gd name="T58" fmla="*/ 313 w 558"/>
                <a:gd name="T59" fmla="*/ 203 h 275"/>
                <a:gd name="T60" fmla="*/ 300 w 558"/>
                <a:gd name="T61" fmla="*/ 172 h 275"/>
                <a:gd name="T62" fmla="*/ 300 w 558"/>
                <a:gd name="T63" fmla="*/ 104 h 275"/>
                <a:gd name="T64" fmla="*/ 313 w 558"/>
                <a:gd name="T65" fmla="*/ 73 h 275"/>
                <a:gd name="T66" fmla="*/ 327 w 558"/>
                <a:gd name="T67" fmla="*/ 102 h 275"/>
                <a:gd name="T68" fmla="*/ 342 w 558"/>
                <a:gd name="T69" fmla="*/ 131 h 275"/>
                <a:gd name="T70" fmla="*/ 376 w 558"/>
                <a:gd name="T71" fmla="*/ 106 h 275"/>
                <a:gd name="T72" fmla="*/ 382 w 558"/>
                <a:gd name="T73" fmla="*/ 98 h 275"/>
                <a:gd name="T74" fmla="*/ 415 w 558"/>
                <a:gd name="T75" fmla="*/ 73 h 275"/>
                <a:gd name="T76" fmla="*/ 412 w 558"/>
                <a:gd name="T77" fmla="*/ 98 h 275"/>
                <a:gd name="T78" fmla="*/ 402 w 558"/>
                <a:gd name="T79" fmla="*/ 112 h 275"/>
                <a:gd name="T80" fmla="*/ 402 w 558"/>
                <a:gd name="T81" fmla="*/ 162 h 275"/>
                <a:gd name="T82" fmla="*/ 414 w 558"/>
                <a:gd name="T83" fmla="*/ 178 h 275"/>
                <a:gd name="T84" fmla="*/ 418 w 558"/>
                <a:gd name="T85" fmla="*/ 20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58" h="275">
                  <a:moveTo>
                    <a:pt x="417" y="0"/>
                  </a:moveTo>
                  <a:cubicBezTo>
                    <a:pt x="141" y="0"/>
                    <a:pt x="141" y="0"/>
                    <a:pt x="141" y="0"/>
                  </a:cubicBezTo>
                  <a:cubicBezTo>
                    <a:pt x="63" y="0"/>
                    <a:pt x="0" y="62"/>
                    <a:pt x="0" y="137"/>
                  </a:cubicBezTo>
                  <a:cubicBezTo>
                    <a:pt x="0" y="213"/>
                    <a:pt x="63" y="275"/>
                    <a:pt x="141" y="275"/>
                  </a:cubicBezTo>
                  <a:cubicBezTo>
                    <a:pt x="417" y="275"/>
                    <a:pt x="417" y="275"/>
                    <a:pt x="417" y="275"/>
                  </a:cubicBezTo>
                  <a:cubicBezTo>
                    <a:pt x="494" y="275"/>
                    <a:pt x="558" y="213"/>
                    <a:pt x="558" y="137"/>
                  </a:cubicBezTo>
                  <a:cubicBezTo>
                    <a:pt x="558" y="62"/>
                    <a:pt x="494" y="0"/>
                    <a:pt x="417" y="0"/>
                  </a:cubicBezTo>
                  <a:close/>
                  <a:moveTo>
                    <a:pt x="272" y="167"/>
                  </a:moveTo>
                  <a:cubicBezTo>
                    <a:pt x="268" y="176"/>
                    <a:pt x="263" y="183"/>
                    <a:pt x="257" y="189"/>
                  </a:cubicBezTo>
                  <a:cubicBezTo>
                    <a:pt x="250" y="195"/>
                    <a:pt x="242" y="199"/>
                    <a:pt x="233" y="202"/>
                  </a:cubicBezTo>
                  <a:cubicBezTo>
                    <a:pt x="224" y="205"/>
                    <a:pt x="214" y="207"/>
                    <a:pt x="203" y="207"/>
                  </a:cubicBezTo>
                  <a:cubicBezTo>
                    <a:pt x="191" y="207"/>
                    <a:pt x="181" y="205"/>
                    <a:pt x="172" y="202"/>
                  </a:cubicBezTo>
                  <a:cubicBezTo>
                    <a:pt x="163" y="199"/>
                    <a:pt x="155" y="195"/>
                    <a:pt x="148" y="189"/>
                  </a:cubicBezTo>
                  <a:cubicBezTo>
                    <a:pt x="142" y="183"/>
                    <a:pt x="137" y="176"/>
                    <a:pt x="133" y="167"/>
                  </a:cubicBezTo>
                  <a:cubicBezTo>
                    <a:pt x="130" y="159"/>
                    <a:pt x="128" y="149"/>
                    <a:pt x="128" y="138"/>
                  </a:cubicBezTo>
                  <a:cubicBezTo>
                    <a:pt x="128" y="127"/>
                    <a:pt x="130" y="117"/>
                    <a:pt x="133" y="108"/>
                  </a:cubicBezTo>
                  <a:cubicBezTo>
                    <a:pt x="137" y="100"/>
                    <a:pt x="142" y="92"/>
                    <a:pt x="148" y="87"/>
                  </a:cubicBezTo>
                  <a:cubicBezTo>
                    <a:pt x="155" y="81"/>
                    <a:pt x="163" y="76"/>
                    <a:pt x="172" y="73"/>
                  </a:cubicBezTo>
                  <a:cubicBezTo>
                    <a:pt x="181" y="70"/>
                    <a:pt x="191" y="69"/>
                    <a:pt x="203" y="69"/>
                  </a:cubicBezTo>
                  <a:cubicBezTo>
                    <a:pt x="214" y="69"/>
                    <a:pt x="224" y="70"/>
                    <a:pt x="233" y="73"/>
                  </a:cubicBezTo>
                  <a:cubicBezTo>
                    <a:pt x="242" y="76"/>
                    <a:pt x="250" y="81"/>
                    <a:pt x="257" y="87"/>
                  </a:cubicBezTo>
                  <a:cubicBezTo>
                    <a:pt x="263" y="92"/>
                    <a:pt x="268" y="100"/>
                    <a:pt x="272" y="108"/>
                  </a:cubicBezTo>
                  <a:cubicBezTo>
                    <a:pt x="275" y="117"/>
                    <a:pt x="277" y="127"/>
                    <a:pt x="277" y="138"/>
                  </a:cubicBezTo>
                  <a:cubicBezTo>
                    <a:pt x="277" y="149"/>
                    <a:pt x="275" y="159"/>
                    <a:pt x="272" y="167"/>
                  </a:cubicBezTo>
                  <a:close/>
                  <a:moveTo>
                    <a:pt x="418" y="203"/>
                  </a:moveTo>
                  <a:cubicBezTo>
                    <a:pt x="409" y="203"/>
                    <a:pt x="394" y="192"/>
                    <a:pt x="384" y="178"/>
                  </a:cubicBezTo>
                  <a:cubicBezTo>
                    <a:pt x="378" y="170"/>
                    <a:pt x="378" y="170"/>
                    <a:pt x="378" y="170"/>
                  </a:cubicBezTo>
                  <a:cubicBezTo>
                    <a:pt x="368" y="157"/>
                    <a:pt x="352" y="145"/>
                    <a:pt x="343" y="145"/>
                  </a:cubicBezTo>
                  <a:cubicBezTo>
                    <a:pt x="334" y="145"/>
                    <a:pt x="327" y="158"/>
                    <a:pt x="327" y="174"/>
                  </a:cubicBezTo>
                  <a:cubicBezTo>
                    <a:pt x="327" y="190"/>
                    <a:pt x="321" y="203"/>
                    <a:pt x="313" y="203"/>
                  </a:cubicBezTo>
                  <a:cubicBezTo>
                    <a:pt x="306" y="203"/>
                    <a:pt x="300" y="189"/>
                    <a:pt x="300" y="172"/>
                  </a:cubicBezTo>
                  <a:cubicBezTo>
                    <a:pt x="300" y="104"/>
                    <a:pt x="300" y="104"/>
                    <a:pt x="300" y="104"/>
                  </a:cubicBezTo>
                  <a:cubicBezTo>
                    <a:pt x="300" y="87"/>
                    <a:pt x="306" y="73"/>
                    <a:pt x="313" y="73"/>
                  </a:cubicBezTo>
                  <a:cubicBezTo>
                    <a:pt x="321" y="73"/>
                    <a:pt x="327" y="86"/>
                    <a:pt x="327" y="102"/>
                  </a:cubicBezTo>
                  <a:cubicBezTo>
                    <a:pt x="327" y="118"/>
                    <a:pt x="334" y="131"/>
                    <a:pt x="342" y="131"/>
                  </a:cubicBezTo>
                  <a:cubicBezTo>
                    <a:pt x="351" y="131"/>
                    <a:pt x="366" y="120"/>
                    <a:pt x="376" y="106"/>
                  </a:cubicBezTo>
                  <a:cubicBezTo>
                    <a:pt x="382" y="98"/>
                    <a:pt x="382" y="98"/>
                    <a:pt x="382" y="98"/>
                  </a:cubicBezTo>
                  <a:cubicBezTo>
                    <a:pt x="392" y="84"/>
                    <a:pt x="407" y="73"/>
                    <a:pt x="415" y="73"/>
                  </a:cubicBezTo>
                  <a:cubicBezTo>
                    <a:pt x="423" y="73"/>
                    <a:pt x="422" y="84"/>
                    <a:pt x="412" y="98"/>
                  </a:cubicBezTo>
                  <a:cubicBezTo>
                    <a:pt x="402" y="112"/>
                    <a:pt x="402" y="112"/>
                    <a:pt x="402" y="112"/>
                  </a:cubicBezTo>
                  <a:cubicBezTo>
                    <a:pt x="392" y="126"/>
                    <a:pt x="392" y="148"/>
                    <a:pt x="402" y="162"/>
                  </a:cubicBezTo>
                  <a:cubicBezTo>
                    <a:pt x="414" y="178"/>
                    <a:pt x="414" y="178"/>
                    <a:pt x="414" y="178"/>
                  </a:cubicBezTo>
                  <a:cubicBezTo>
                    <a:pt x="425" y="192"/>
                    <a:pt x="426" y="203"/>
                    <a:pt x="418" y="2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/>
            </a:p>
          </p:txBody>
        </p:sp>
      </p:grpSp>
      <p:grpSp>
        <p:nvGrpSpPr>
          <p:cNvPr id="14" name="íśḷiďe">
            <a:extLst>
              <a:ext uri="{FF2B5EF4-FFF2-40B4-BE49-F238E27FC236}">
                <a16:creationId xmlns:a16="http://schemas.microsoft.com/office/drawing/2014/main" id="{B4B3CDB4-9367-4A83-98B7-210979D35D0D}"/>
              </a:ext>
            </a:extLst>
          </p:cNvPr>
          <p:cNvGrpSpPr/>
          <p:nvPr/>
        </p:nvGrpSpPr>
        <p:grpSpPr>
          <a:xfrm>
            <a:off x="6599899" y="1751901"/>
            <a:ext cx="1802902" cy="755243"/>
            <a:chOff x="1197898" y="2503545"/>
            <a:chExt cx="2198693" cy="1006991"/>
          </a:xfrm>
        </p:grpSpPr>
        <p:sp>
          <p:nvSpPr>
            <p:cNvPr id="24" name="ïsľíḓê">
              <a:extLst>
                <a:ext uri="{FF2B5EF4-FFF2-40B4-BE49-F238E27FC236}">
                  <a16:creationId xmlns:a16="http://schemas.microsoft.com/office/drawing/2014/main" id="{ED1D7240-1668-444B-A1AC-EA6D3CDCFAFA}"/>
                </a:ext>
              </a:extLst>
            </p:cNvPr>
            <p:cNvSpPr txBox="1"/>
            <p:nvPr/>
          </p:nvSpPr>
          <p:spPr>
            <a:xfrm>
              <a:off x="1197898" y="2503545"/>
              <a:ext cx="2198693" cy="388226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 fontScale="92500" lnSpcReduction="20000"/>
            </a:bodyPr>
            <a:lstStyle/>
            <a:p>
              <a:r>
                <a:rPr lang="en-US" altLang="zh-CN" sz="1600" b="1" dirty="0"/>
                <a:t>Text here</a:t>
              </a:r>
              <a:endParaRPr lang="zh-CN" altLang="en-US" sz="1600" b="1" dirty="0"/>
            </a:p>
          </p:txBody>
        </p:sp>
        <p:sp>
          <p:nvSpPr>
            <p:cNvPr id="25" name="ïs1íḓé">
              <a:extLst>
                <a:ext uri="{FF2B5EF4-FFF2-40B4-BE49-F238E27FC236}">
                  <a16:creationId xmlns:a16="http://schemas.microsoft.com/office/drawing/2014/main" id="{61D46A54-CE60-402F-A511-C79E4EC84CF3}"/>
                </a:ext>
              </a:extLst>
            </p:cNvPr>
            <p:cNvSpPr txBox="1"/>
            <p:nvPr/>
          </p:nvSpPr>
          <p:spPr>
            <a:xfrm>
              <a:off x="1197898" y="2891770"/>
              <a:ext cx="2198693" cy="618766"/>
            </a:xfrm>
            <a:prstGeom prst="rect">
              <a:avLst/>
            </a:prstGeom>
          </p:spPr>
          <p:txBody>
            <a:bodyPr vert="horz" wrap="square" lIns="91440" tIns="45720" rIns="91440" bIns="45720" anchor="ctr" anchorCtr="0">
              <a:normAutofit fontScale="85000" lnSpcReduction="10000"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….</a:t>
              </a:r>
            </a:p>
          </p:txBody>
        </p:sp>
      </p:grpSp>
      <p:grpSp>
        <p:nvGrpSpPr>
          <p:cNvPr id="15" name="ïśļïḓé">
            <a:extLst>
              <a:ext uri="{FF2B5EF4-FFF2-40B4-BE49-F238E27FC236}">
                <a16:creationId xmlns:a16="http://schemas.microsoft.com/office/drawing/2014/main" id="{B3B5119E-6E8D-4D13-9ADE-223E15CB3626}"/>
              </a:ext>
            </a:extLst>
          </p:cNvPr>
          <p:cNvGrpSpPr/>
          <p:nvPr/>
        </p:nvGrpSpPr>
        <p:grpSpPr>
          <a:xfrm>
            <a:off x="6837464" y="3861854"/>
            <a:ext cx="1802902" cy="755243"/>
            <a:chOff x="1197898" y="2503545"/>
            <a:chExt cx="2198693" cy="1006991"/>
          </a:xfrm>
        </p:grpSpPr>
        <p:sp>
          <p:nvSpPr>
            <p:cNvPr id="22" name="íṩ1iďè">
              <a:extLst>
                <a:ext uri="{FF2B5EF4-FFF2-40B4-BE49-F238E27FC236}">
                  <a16:creationId xmlns:a16="http://schemas.microsoft.com/office/drawing/2014/main" id="{6653DB7A-9D85-4293-8CA9-685188467423}"/>
                </a:ext>
              </a:extLst>
            </p:cNvPr>
            <p:cNvSpPr txBox="1"/>
            <p:nvPr/>
          </p:nvSpPr>
          <p:spPr>
            <a:xfrm>
              <a:off x="1197898" y="2503545"/>
              <a:ext cx="2198693" cy="388226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 fontScale="92500" lnSpcReduction="20000"/>
            </a:bodyPr>
            <a:lstStyle/>
            <a:p>
              <a:r>
                <a:rPr lang="en-US" altLang="zh-CN" sz="1600" b="1" dirty="0"/>
                <a:t>Text here</a:t>
              </a:r>
              <a:endParaRPr lang="zh-CN" altLang="en-US" sz="1600" b="1" dirty="0"/>
            </a:p>
          </p:txBody>
        </p:sp>
        <p:sp>
          <p:nvSpPr>
            <p:cNvPr id="23" name="ïṩḷíḑê">
              <a:extLst>
                <a:ext uri="{FF2B5EF4-FFF2-40B4-BE49-F238E27FC236}">
                  <a16:creationId xmlns:a16="http://schemas.microsoft.com/office/drawing/2014/main" id="{A973F2DF-1415-48A6-986A-A66332E38805}"/>
                </a:ext>
              </a:extLst>
            </p:cNvPr>
            <p:cNvSpPr txBox="1"/>
            <p:nvPr/>
          </p:nvSpPr>
          <p:spPr>
            <a:xfrm>
              <a:off x="1197898" y="2891770"/>
              <a:ext cx="2198693" cy="618766"/>
            </a:xfrm>
            <a:prstGeom prst="rect">
              <a:avLst/>
            </a:prstGeom>
          </p:spPr>
          <p:txBody>
            <a:bodyPr vert="horz" wrap="square" lIns="91440" tIns="45720" rIns="91440" bIns="45720" anchor="ctr" anchorCtr="0">
              <a:normAutofit fontScale="85000" lnSpcReduction="10000"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….</a:t>
              </a:r>
            </a:p>
          </p:txBody>
        </p:sp>
      </p:grpSp>
      <p:grpSp>
        <p:nvGrpSpPr>
          <p:cNvPr id="16" name="îṧḻïḍé">
            <a:extLst>
              <a:ext uri="{FF2B5EF4-FFF2-40B4-BE49-F238E27FC236}">
                <a16:creationId xmlns:a16="http://schemas.microsoft.com/office/drawing/2014/main" id="{F420B2E6-4DA3-459C-96B2-47CD907D68CE}"/>
              </a:ext>
            </a:extLst>
          </p:cNvPr>
          <p:cNvGrpSpPr/>
          <p:nvPr/>
        </p:nvGrpSpPr>
        <p:grpSpPr>
          <a:xfrm>
            <a:off x="5810228" y="2861618"/>
            <a:ext cx="1911887" cy="755243"/>
            <a:chOff x="1304696" y="2503545"/>
            <a:chExt cx="2198694" cy="1006991"/>
          </a:xfrm>
        </p:grpSpPr>
        <p:sp>
          <p:nvSpPr>
            <p:cNvPr id="20" name="î$ļîḍè">
              <a:extLst>
                <a:ext uri="{FF2B5EF4-FFF2-40B4-BE49-F238E27FC236}">
                  <a16:creationId xmlns:a16="http://schemas.microsoft.com/office/drawing/2014/main" id="{A1D3727E-659E-4009-A158-5ED77895112B}"/>
                </a:ext>
              </a:extLst>
            </p:cNvPr>
            <p:cNvSpPr txBox="1"/>
            <p:nvPr/>
          </p:nvSpPr>
          <p:spPr>
            <a:xfrm>
              <a:off x="1304697" y="2503545"/>
              <a:ext cx="2198693" cy="388226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 fontScale="92500" lnSpcReduction="20000"/>
            </a:bodyPr>
            <a:lstStyle/>
            <a:p>
              <a:r>
                <a:rPr lang="en-US" altLang="zh-CN" sz="1600" b="1" dirty="0"/>
                <a:t>Text here</a:t>
              </a:r>
              <a:endParaRPr lang="zh-CN" altLang="en-US" sz="1600" b="1" dirty="0"/>
            </a:p>
          </p:txBody>
        </p:sp>
        <p:sp>
          <p:nvSpPr>
            <p:cNvPr id="21" name="ïṡ1iḓê">
              <a:extLst>
                <a:ext uri="{FF2B5EF4-FFF2-40B4-BE49-F238E27FC236}">
                  <a16:creationId xmlns:a16="http://schemas.microsoft.com/office/drawing/2014/main" id="{2F5B56E8-3E9C-4D98-B22C-3E317415F72C}"/>
                </a:ext>
              </a:extLst>
            </p:cNvPr>
            <p:cNvSpPr txBox="1"/>
            <p:nvPr/>
          </p:nvSpPr>
          <p:spPr>
            <a:xfrm>
              <a:off x="1304696" y="2891770"/>
              <a:ext cx="2198693" cy="618766"/>
            </a:xfrm>
            <a:prstGeom prst="rect">
              <a:avLst/>
            </a:prstGeom>
          </p:spPr>
          <p:txBody>
            <a:bodyPr vert="horz" wrap="square" lIns="91440" tIns="45720" rIns="91440" bIns="45720" anchor="ctr" anchorCtr="0">
              <a:normAutofit fontScale="92500"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….</a:t>
              </a:r>
            </a:p>
          </p:txBody>
        </p:sp>
      </p:grpSp>
      <p:grpSp>
        <p:nvGrpSpPr>
          <p:cNvPr id="17" name="iṣḷîḓè">
            <a:extLst>
              <a:ext uri="{FF2B5EF4-FFF2-40B4-BE49-F238E27FC236}">
                <a16:creationId xmlns:a16="http://schemas.microsoft.com/office/drawing/2014/main" id="{82659152-94CA-45A7-9CA4-636BB283DD28}"/>
              </a:ext>
            </a:extLst>
          </p:cNvPr>
          <p:cNvGrpSpPr/>
          <p:nvPr/>
        </p:nvGrpSpPr>
        <p:grpSpPr>
          <a:xfrm>
            <a:off x="5995965" y="4764357"/>
            <a:ext cx="1911886" cy="755243"/>
            <a:chOff x="1518295" y="2503545"/>
            <a:chExt cx="2198693" cy="1006991"/>
          </a:xfrm>
        </p:grpSpPr>
        <p:sp>
          <p:nvSpPr>
            <p:cNvPr id="18" name="išļíďê">
              <a:extLst>
                <a:ext uri="{FF2B5EF4-FFF2-40B4-BE49-F238E27FC236}">
                  <a16:creationId xmlns:a16="http://schemas.microsoft.com/office/drawing/2014/main" id="{3AABFE08-F403-4B00-AF3D-B8D19BD0E282}"/>
                </a:ext>
              </a:extLst>
            </p:cNvPr>
            <p:cNvSpPr txBox="1"/>
            <p:nvPr/>
          </p:nvSpPr>
          <p:spPr>
            <a:xfrm>
              <a:off x="1518295" y="2503545"/>
              <a:ext cx="2198693" cy="388226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 fontScale="92500" lnSpcReduction="20000"/>
            </a:bodyPr>
            <a:lstStyle/>
            <a:p>
              <a:r>
                <a:rPr lang="en-US" altLang="zh-CN" sz="1600" b="1" dirty="0"/>
                <a:t>Text here</a:t>
              </a:r>
              <a:endParaRPr lang="zh-CN" altLang="en-US" sz="1600" b="1" dirty="0"/>
            </a:p>
          </p:txBody>
        </p:sp>
        <p:sp>
          <p:nvSpPr>
            <p:cNvPr id="19" name="îṧľïḋé">
              <a:extLst>
                <a:ext uri="{FF2B5EF4-FFF2-40B4-BE49-F238E27FC236}">
                  <a16:creationId xmlns:a16="http://schemas.microsoft.com/office/drawing/2014/main" id="{CBA98C56-2EEA-4C1F-96B4-BC8B52865225}"/>
                </a:ext>
              </a:extLst>
            </p:cNvPr>
            <p:cNvSpPr txBox="1"/>
            <p:nvPr/>
          </p:nvSpPr>
          <p:spPr>
            <a:xfrm>
              <a:off x="1518295" y="2891770"/>
              <a:ext cx="2198693" cy="618766"/>
            </a:xfrm>
            <a:prstGeom prst="rect">
              <a:avLst/>
            </a:prstGeom>
          </p:spPr>
          <p:txBody>
            <a:bodyPr vert="horz" wrap="square" lIns="91440" tIns="45720" rIns="91440" bIns="45720" anchor="ctr" anchorCtr="0">
              <a:normAutofit fontScale="92500"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.…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656539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E9576B95-676C-429F-A627-D48EE8F6ECE9}"/>
              </a:ext>
            </a:extLst>
          </p:cNvPr>
          <p:cNvSpPr/>
          <p:nvPr/>
        </p:nvSpPr>
        <p:spPr>
          <a:xfrm>
            <a:off x="2734166" y="1130300"/>
            <a:ext cx="2793511" cy="5003800"/>
          </a:xfrm>
          <a:prstGeom prst="round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1941C713-9BC6-41AD-AFC7-BB37386D371F}"/>
              </a:ext>
            </a:extLst>
          </p:cNvPr>
          <p:cNvSpPr txBox="1"/>
          <p:nvPr/>
        </p:nvSpPr>
        <p:spPr>
          <a:xfrm>
            <a:off x="3307710" y="495654"/>
            <a:ext cx="31021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/>
              <a:t>Map()</a:t>
            </a:r>
            <a:r>
              <a:rPr lang="zh-CN" altLang="en-US" sz="2800" dirty="0"/>
              <a:t>中间结果</a:t>
            </a:r>
          </a:p>
        </p:txBody>
      </p: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12AB1DF8-9F59-459D-861B-0997412FBF92}"/>
              </a:ext>
            </a:extLst>
          </p:cNvPr>
          <p:cNvSpPr>
            <a:spLocks/>
          </p:cNvSpPr>
          <p:nvPr/>
        </p:nvSpPr>
        <p:spPr>
          <a:xfrm>
            <a:off x="3119602" y="4590442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91A342C0-220F-4EE6-8E94-FDE79F5160AA}"/>
              </a:ext>
            </a:extLst>
          </p:cNvPr>
          <p:cNvSpPr>
            <a:spLocks/>
          </p:cNvSpPr>
          <p:nvPr/>
        </p:nvSpPr>
        <p:spPr>
          <a:xfrm>
            <a:off x="3119602" y="2860371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2900AFE4-C899-455C-AECA-CE83C79CE577}"/>
              </a:ext>
            </a:extLst>
          </p:cNvPr>
          <p:cNvSpPr>
            <a:spLocks/>
          </p:cNvSpPr>
          <p:nvPr/>
        </p:nvSpPr>
        <p:spPr>
          <a:xfrm>
            <a:off x="3119602" y="1130300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3372978F-E17A-40CA-89B5-F22260ABE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-18696"/>
            <a:ext cx="8137922" cy="1028699"/>
          </a:xfrm>
        </p:spPr>
        <p:txBody>
          <a:bodyPr/>
          <a:lstStyle/>
          <a:p>
            <a:r>
              <a:rPr lang="en-US" altLang="zh-CN" dirty="0"/>
              <a:t>MapReduce</a:t>
            </a:r>
            <a:r>
              <a:rPr lang="zh-CN" altLang="en-US" dirty="0"/>
              <a:t>工作流程</a:t>
            </a:r>
          </a:p>
        </p:txBody>
      </p:sp>
      <p:graphicFrame>
        <p:nvGraphicFramePr>
          <p:cNvPr id="5" name="图示 4">
            <a:extLst>
              <a:ext uri="{FF2B5EF4-FFF2-40B4-BE49-F238E27FC236}">
                <a16:creationId xmlns:a16="http://schemas.microsoft.com/office/drawing/2014/main" id="{4143F789-211B-48A4-87F4-39FE191248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06193447"/>
              </p:ext>
            </p:extLst>
          </p:nvPr>
        </p:nvGraphicFramePr>
        <p:xfrm>
          <a:off x="3267407" y="1245113"/>
          <a:ext cx="1727028" cy="13140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7" name="图示 6">
            <a:extLst>
              <a:ext uri="{FF2B5EF4-FFF2-40B4-BE49-F238E27FC236}">
                <a16:creationId xmlns:a16="http://schemas.microsoft.com/office/drawing/2014/main" id="{CAFD8489-9F46-4A33-A768-FEC2061E62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7564142"/>
              </p:ext>
            </p:extLst>
          </p:nvPr>
        </p:nvGraphicFramePr>
        <p:xfrm>
          <a:off x="3193504" y="2976974"/>
          <a:ext cx="1874833" cy="13104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16" name="图示 15">
            <a:extLst>
              <a:ext uri="{FF2B5EF4-FFF2-40B4-BE49-F238E27FC236}">
                <a16:creationId xmlns:a16="http://schemas.microsoft.com/office/drawing/2014/main" id="{3A3B6F7F-B888-40B8-936D-51585125210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34171082"/>
              </p:ext>
            </p:extLst>
          </p:nvPr>
        </p:nvGraphicFramePr>
        <p:xfrm>
          <a:off x="3193504" y="4707045"/>
          <a:ext cx="1874833" cy="13104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</p:spTree>
    <p:extLst>
      <p:ext uri="{BB962C8B-B14F-4D97-AF65-F5344CB8AC3E}">
        <p14:creationId xmlns:p14="http://schemas.microsoft.com/office/powerpoint/2010/main" val="34773120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E9576B95-676C-429F-A627-D48EE8F6ECE9}"/>
              </a:ext>
            </a:extLst>
          </p:cNvPr>
          <p:cNvSpPr/>
          <p:nvPr/>
        </p:nvSpPr>
        <p:spPr>
          <a:xfrm>
            <a:off x="896332" y="1130300"/>
            <a:ext cx="2793511" cy="5003800"/>
          </a:xfrm>
          <a:prstGeom prst="round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1941C713-9BC6-41AD-AFC7-BB37386D371F}"/>
              </a:ext>
            </a:extLst>
          </p:cNvPr>
          <p:cNvSpPr txBox="1"/>
          <p:nvPr/>
        </p:nvSpPr>
        <p:spPr>
          <a:xfrm>
            <a:off x="1469876" y="495654"/>
            <a:ext cx="31021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/>
              <a:t>Map()</a:t>
            </a:r>
            <a:r>
              <a:rPr lang="zh-CN" altLang="en-US" sz="2800" dirty="0"/>
              <a:t>中间结果</a:t>
            </a:r>
          </a:p>
        </p:txBody>
      </p: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12AB1DF8-9F59-459D-861B-0997412FBF92}"/>
              </a:ext>
            </a:extLst>
          </p:cNvPr>
          <p:cNvSpPr>
            <a:spLocks/>
          </p:cNvSpPr>
          <p:nvPr/>
        </p:nvSpPr>
        <p:spPr>
          <a:xfrm>
            <a:off x="1281768" y="4590442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91A342C0-220F-4EE6-8E94-FDE79F5160AA}"/>
              </a:ext>
            </a:extLst>
          </p:cNvPr>
          <p:cNvSpPr>
            <a:spLocks/>
          </p:cNvSpPr>
          <p:nvPr/>
        </p:nvSpPr>
        <p:spPr>
          <a:xfrm>
            <a:off x="1281768" y="2860371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2900AFE4-C899-455C-AECA-CE83C79CE577}"/>
              </a:ext>
            </a:extLst>
          </p:cNvPr>
          <p:cNvSpPr>
            <a:spLocks/>
          </p:cNvSpPr>
          <p:nvPr/>
        </p:nvSpPr>
        <p:spPr>
          <a:xfrm>
            <a:off x="1281768" y="1130300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3372978F-E17A-40CA-89B5-F22260ABE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-514350"/>
            <a:ext cx="8137922" cy="1028699"/>
          </a:xfrm>
        </p:spPr>
        <p:txBody>
          <a:bodyPr/>
          <a:lstStyle/>
          <a:p>
            <a:r>
              <a:rPr lang="en-US" altLang="zh-CN" dirty="0"/>
              <a:t>MapReduce</a:t>
            </a:r>
            <a:r>
              <a:rPr lang="zh-CN" altLang="en-US" dirty="0"/>
              <a:t>工作流程</a:t>
            </a:r>
          </a:p>
        </p:txBody>
      </p:sp>
      <p:graphicFrame>
        <p:nvGraphicFramePr>
          <p:cNvPr id="5" name="图示 4">
            <a:extLst>
              <a:ext uri="{FF2B5EF4-FFF2-40B4-BE49-F238E27FC236}">
                <a16:creationId xmlns:a16="http://schemas.microsoft.com/office/drawing/2014/main" id="{4143F789-211B-48A4-87F4-39FE191248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47339754"/>
              </p:ext>
            </p:extLst>
          </p:nvPr>
        </p:nvGraphicFramePr>
        <p:xfrm>
          <a:off x="1429573" y="1245113"/>
          <a:ext cx="1727028" cy="13140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7" name="图示 6">
            <a:extLst>
              <a:ext uri="{FF2B5EF4-FFF2-40B4-BE49-F238E27FC236}">
                <a16:creationId xmlns:a16="http://schemas.microsoft.com/office/drawing/2014/main" id="{CAFD8489-9F46-4A33-A768-FEC2061E62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264565"/>
              </p:ext>
            </p:extLst>
          </p:nvPr>
        </p:nvGraphicFramePr>
        <p:xfrm>
          <a:off x="1355670" y="2976974"/>
          <a:ext cx="1874833" cy="13104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16" name="图示 15">
            <a:extLst>
              <a:ext uri="{FF2B5EF4-FFF2-40B4-BE49-F238E27FC236}">
                <a16:creationId xmlns:a16="http://schemas.microsoft.com/office/drawing/2014/main" id="{3A3B6F7F-B888-40B8-936D-51585125210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40277546"/>
              </p:ext>
            </p:extLst>
          </p:nvPr>
        </p:nvGraphicFramePr>
        <p:xfrm>
          <a:off x="1355670" y="4707045"/>
          <a:ext cx="1874833" cy="13104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</p:spTree>
    <p:extLst>
      <p:ext uri="{BB962C8B-B14F-4D97-AF65-F5344CB8AC3E}">
        <p14:creationId xmlns:p14="http://schemas.microsoft.com/office/powerpoint/2010/main" val="23861713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Click="0" advTm="0">
        <p159:morph option="byObject"/>
      </p:transition>
    </mc:Choice>
    <mc:Fallback xmlns="">
      <p:transition spd="slow" advClick="0" advTm="0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E9576B95-676C-429F-A627-D48EE8F6ECE9}"/>
              </a:ext>
            </a:extLst>
          </p:cNvPr>
          <p:cNvSpPr/>
          <p:nvPr/>
        </p:nvSpPr>
        <p:spPr>
          <a:xfrm>
            <a:off x="896332" y="1130300"/>
            <a:ext cx="2793511" cy="5003800"/>
          </a:xfrm>
          <a:prstGeom prst="round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1941C713-9BC6-41AD-AFC7-BB37386D371F}"/>
              </a:ext>
            </a:extLst>
          </p:cNvPr>
          <p:cNvSpPr txBox="1"/>
          <p:nvPr/>
        </p:nvSpPr>
        <p:spPr>
          <a:xfrm>
            <a:off x="1469876" y="495654"/>
            <a:ext cx="31021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/>
              <a:t>Map()</a:t>
            </a:r>
            <a:r>
              <a:rPr lang="zh-CN" altLang="en-US" sz="2800" dirty="0"/>
              <a:t>中间结果</a:t>
            </a:r>
          </a:p>
        </p:txBody>
      </p: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12AB1DF8-9F59-459D-861B-0997412FBF92}"/>
              </a:ext>
            </a:extLst>
          </p:cNvPr>
          <p:cNvSpPr>
            <a:spLocks/>
          </p:cNvSpPr>
          <p:nvPr/>
        </p:nvSpPr>
        <p:spPr>
          <a:xfrm>
            <a:off x="1281768" y="4590442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91A342C0-220F-4EE6-8E94-FDE79F5160AA}"/>
              </a:ext>
            </a:extLst>
          </p:cNvPr>
          <p:cNvSpPr>
            <a:spLocks/>
          </p:cNvSpPr>
          <p:nvPr/>
        </p:nvSpPr>
        <p:spPr>
          <a:xfrm>
            <a:off x="1281768" y="2860371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2900AFE4-C899-455C-AECA-CE83C79CE577}"/>
              </a:ext>
            </a:extLst>
          </p:cNvPr>
          <p:cNvSpPr>
            <a:spLocks/>
          </p:cNvSpPr>
          <p:nvPr/>
        </p:nvSpPr>
        <p:spPr>
          <a:xfrm>
            <a:off x="1281768" y="1130300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3" name="任意多边形: 形状 2">
            <a:extLst>
              <a:ext uri="{FF2B5EF4-FFF2-40B4-BE49-F238E27FC236}">
                <a16:creationId xmlns:a16="http://schemas.microsoft.com/office/drawing/2014/main" id="{22D3FD83-2587-4DC7-969A-FBEFB7723458}"/>
              </a:ext>
            </a:extLst>
          </p:cNvPr>
          <p:cNvSpPr/>
          <p:nvPr/>
        </p:nvSpPr>
        <p:spPr>
          <a:xfrm>
            <a:off x="1431259" y="1245113"/>
            <a:ext cx="1725341" cy="247985"/>
          </a:xfrm>
          <a:custGeom>
            <a:avLst/>
            <a:gdLst>
              <a:gd name="connsiteX0" fmla="*/ 0 w 1725341"/>
              <a:gd name="connsiteY0" fmla="*/ 24799 h 247985"/>
              <a:gd name="connsiteX1" fmla="*/ 24799 w 1725341"/>
              <a:gd name="connsiteY1" fmla="*/ 0 h 247985"/>
              <a:gd name="connsiteX2" fmla="*/ 1700543 w 1725341"/>
              <a:gd name="connsiteY2" fmla="*/ 0 h 247985"/>
              <a:gd name="connsiteX3" fmla="*/ 1725342 w 1725341"/>
              <a:gd name="connsiteY3" fmla="*/ 24799 h 247985"/>
              <a:gd name="connsiteX4" fmla="*/ 1725341 w 1725341"/>
              <a:gd name="connsiteY4" fmla="*/ 223187 h 247985"/>
              <a:gd name="connsiteX5" fmla="*/ 1700542 w 1725341"/>
              <a:gd name="connsiteY5" fmla="*/ 247986 h 247985"/>
              <a:gd name="connsiteX6" fmla="*/ 24799 w 1725341"/>
              <a:gd name="connsiteY6" fmla="*/ 247985 h 247985"/>
              <a:gd name="connsiteX7" fmla="*/ 0 w 1725341"/>
              <a:gd name="connsiteY7" fmla="*/ 223186 h 247985"/>
              <a:gd name="connsiteX8" fmla="*/ 0 w 1725341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25341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700543" y="0"/>
                </a:lnTo>
                <a:cubicBezTo>
                  <a:pt x="1714239" y="0"/>
                  <a:pt x="1725342" y="11103"/>
                  <a:pt x="1725342" y="24799"/>
                </a:cubicBezTo>
                <a:cubicBezTo>
                  <a:pt x="1725342" y="90928"/>
                  <a:pt x="1725341" y="157058"/>
                  <a:pt x="1725341" y="223187"/>
                </a:cubicBezTo>
                <a:cubicBezTo>
                  <a:pt x="1725341" y="236883"/>
                  <a:pt x="1714238" y="247986"/>
                  <a:pt x="1700542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adoop,1</a:t>
            </a:r>
            <a:endParaRPr lang="zh-CN" altLang="en-US" sz="1100" b="1" kern="1200" dirty="0"/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90C67C54-F03F-4574-B5B3-69A1E94A4D3F}"/>
              </a:ext>
            </a:extLst>
          </p:cNvPr>
          <p:cNvSpPr/>
          <p:nvPr/>
        </p:nvSpPr>
        <p:spPr>
          <a:xfrm>
            <a:off x="1486118" y="1511899"/>
            <a:ext cx="1613936" cy="247985"/>
          </a:xfrm>
          <a:custGeom>
            <a:avLst/>
            <a:gdLst>
              <a:gd name="connsiteX0" fmla="*/ 0 w 1613936"/>
              <a:gd name="connsiteY0" fmla="*/ 24799 h 247985"/>
              <a:gd name="connsiteX1" fmla="*/ 24799 w 1613936"/>
              <a:gd name="connsiteY1" fmla="*/ 0 h 247985"/>
              <a:gd name="connsiteX2" fmla="*/ 1589138 w 1613936"/>
              <a:gd name="connsiteY2" fmla="*/ 0 h 247985"/>
              <a:gd name="connsiteX3" fmla="*/ 1613937 w 1613936"/>
              <a:gd name="connsiteY3" fmla="*/ 24799 h 247985"/>
              <a:gd name="connsiteX4" fmla="*/ 1613936 w 1613936"/>
              <a:gd name="connsiteY4" fmla="*/ 223187 h 247985"/>
              <a:gd name="connsiteX5" fmla="*/ 1589137 w 1613936"/>
              <a:gd name="connsiteY5" fmla="*/ 247986 h 247985"/>
              <a:gd name="connsiteX6" fmla="*/ 24799 w 1613936"/>
              <a:gd name="connsiteY6" fmla="*/ 247985 h 247985"/>
              <a:gd name="connsiteX7" fmla="*/ 0 w 1613936"/>
              <a:gd name="connsiteY7" fmla="*/ 223186 h 247985"/>
              <a:gd name="connsiteX8" fmla="*/ 0 w 1613936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13936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589138" y="0"/>
                </a:lnTo>
                <a:cubicBezTo>
                  <a:pt x="1602834" y="0"/>
                  <a:pt x="1613937" y="11103"/>
                  <a:pt x="1613937" y="24799"/>
                </a:cubicBezTo>
                <a:cubicBezTo>
                  <a:pt x="1613937" y="90928"/>
                  <a:pt x="1613936" y="157058"/>
                  <a:pt x="1613936" y="223187"/>
                </a:cubicBezTo>
                <a:cubicBezTo>
                  <a:pt x="1613936" y="236883"/>
                  <a:pt x="1602833" y="247986"/>
                  <a:pt x="1589137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99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ello,1</a:t>
            </a:r>
            <a:endParaRPr lang="zh-CN" altLang="en-US" sz="1100" b="1" kern="1200" dirty="0"/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D570BD41-D587-42B3-A945-0701119606B4}"/>
              </a:ext>
            </a:extLst>
          </p:cNvPr>
          <p:cNvSpPr/>
          <p:nvPr/>
        </p:nvSpPr>
        <p:spPr>
          <a:xfrm>
            <a:off x="1555792" y="1778136"/>
            <a:ext cx="1474589" cy="247985"/>
          </a:xfrm>
          <a:custGeom>
            <a:avLst/>
            <a:gdLst>
              <a:gd name="connsiteX0" fmla="*/ 0 w 1474589"/>
              <a:gd name="connsiteY0" fmla="*/ 24799 h 247985"/>
              <a:gd name="connsiteX1" fmla="*/ 24799 w 1474589"/>
              <a:gd name="connsiteY1" fmla="*/ 0 h 247985"/>
              <a:gd name="connsiteX2" fmla="*/ 1449791 w 1474589"/>
              <a:gd name="connsiteY2" fmla="*/ 0 h 247985"/>
              <a:gd name="connsiteX3" fmla="*/ 1474590 w 1474589"/>
              <a:gd name="connsiteY3" fmla="*/ 24799 h 247985"/>
              <a:gd name="connsiteX4" fmla="*/ 1474589 w 1474589"/>
              <a:gd name="connsiteY4" fmla="*/ 223187 h 247985"/>
              <a:gd name="connsiteX5" fmla="*/ 1449790 w 1474589"/>
              <a:gd name="connsiteY5" fmla="*/ 247986 h 247985"/>
              <a:gd name="connsiteX6" fmla="*/ 24799 w 1474589"/>
              <a:gd name="connsiteY6" fmla="*/ 247985 h 247985"/>
              <a:gd name="connsiteX7" fmla="*/ 0 w 1474589"/>
              <a:gd name="connsiteY7" fmla="*/ 223186 h 247985"/>
              <a:gd name="connsiteX8" fmla="*/ 0 w 1474589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74589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449791" y="0"/>
                </a:lnTo>
                <a:cubicBezTo>
                  <a:pt x="1463487" y="0"/>
                  <a:pt x="1474590" y="11103"/>
                  <a:pt x="1474590" y="24799"/>
                </a:cubicBezTo>
                <a:cubicBezTo>
                  <a:pt x="1474590" y="90928"/>
                  <a:pt x="1474589" y="157058"/>
                  <a:pt x="1474589" y="223187"/>
                </a:cubicBezTo>
                <a:cubicBezTo>
                  <a:pt x="1474589" y="236883"/>
                  <a:pt x="1463486" y="247986"/>
                  <a:pt x="1449790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I,1</a:t>
            </a:r>
            <a:endParaRPr lang="zh-CN" altLang="en-US" sz="1100" b="1" kern="1200" dirty="0"/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215F389F-B06C-4AA2-9B81-BC0E370C2994}"/>
              </a:ext>
            </a:extLst>
          </p:cNvPr>
          <p:cNvSpPr/>
          <p:nvPr/>
        </p:nvSpPr>
        <p:spPr>
          <a:xfrm>
            <a:off x="1592584" y="2044373"/>
            <a:ext cx="1401005" cy="247985"/>
          </a:xfrm>
          <a:custGeom>
            <a:avLst/>
            <a:gdLst>
              <a:gd name="connsiteX0" fmla="*/ 0 w 1401005"/>
              <a:gd name="connsiteY0" fmla="*/ 24799 h 247985"/>
              <a:gd name="connsiteX1" fmla="*/ 24799 w 1401005"/>
              <a:gd name="connsiteY1" fmla="*/ 0 h 247985"/>
              <a:gd name="connsiteX2" fmla="*/ 1376207 w 1401005"/>
              <a:gd name="connsiteY2" fmla="*/ 0 h 247985"/>
              <a:gd name="connsiteX3" fmla="*/ 1401006 w 1401005"/>
              <a:gd name="connsiteY3" fmla="*/ 24799 h 247985"/>
              <a:gd name="connsiteX4" fmla="*/ 1401005 w 1401005"/>
              <a:gd name="connsiteY4" fmla="*/ 223187 h 247985"/>
              <a:gd name="connsiteX5" fmla="*/ 1376206 w 1401005"/>
              <a:gd name="connsiteY5" fmla="*/ 247986 h 247985"/>
              <a:gd name="connsiteX6" fmla="*/ 24799 w 1401005"/>
              <a:gd name="connsiteY6" fmla="*/ 247985 h 247985"/>
              <a:gd name="connsiteX7" fmla="*/ 0 w 1401005"/>
              <a:gd name="connsiteY7" fmla="*/ 223186 h 247985"/>
              <a:gd name="connsiteX8" fmla="*/ 0 w 1401005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01005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376207" y="0"/>
                </a:lnTo>
                <a:cubicBezTo>
                  <a:pt x="1389903" y="0"/>
                  <a:pt x="1401006" y="11103"/>
                  <a:pt x="1401006" y="24799"/>
                </a:cubicBezTo>
                <a:cubicBezTo>
                  <a:pt x="1401006" y="90928"/>
                  <a:pt x="1401005" y="157058"/>
                  <a:pt x="1401005" y="223187"/>
                </a:cubicBezTo>
                <a:cubicBezTo>
                  <a:pt x="1401005" y="236883"/>
                  <a:pt x="1389902" y="247986"/>
                  <a:pt x="1376206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like,1</a:t>
            </a:r>
            <a:endParaRPr lang="zh-CN" altLang="en-US" sz="1100" b="1" kern="1200" dirty="0"/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F6035C0F-963C-4EDE-B572-F7FB757A0064}"/>
              </a:ext>
            </a:extLst>
          </p:cNvPr>
          <p:cNvSpPr/>
          <p:nvPr/>
        </p:nvSpPr>
        <p:spPr>
          <a:xfrm>
            <a:off x="1638365" y="2310610"/>
            <a:ext cx="1309443" cy="247985"/>
          </a:xfrm>
          <a:custGeom>
            <a:avLst/>
            <a:gdLst>
              <a:gd name="connsiteX0" fmla="*/ 0 w 1309443"/>
              <a:gd name="connsiteY0" fmla="*/ 24799 h 247985"/>
              <a:gd name="connsiteX1" fmla="*/ 24799 w 1309443"/>
              <a:gd name="connsiteY1" fmla="*/ 0 h 247985"/>
              <a:gd name="connsiteX2" fmla="*/ 1284645 w 1309443"/>
              <a:gd name="connsiteY2" fmla="*/ 0 h 247985"/>
              <a:gd name="connsiteX3" fmla="*/ 1309444 w 1309443"/>
              <a:gd name="connsiteY3" fmla="*/ 24799 h 247985"/>
              <a:gd name="connsiteX4" fmla="*/ 1309443 w 1309443"/>
              <a:gd name="connsiteY4" fmla="*/ 223187 h 247985"/>
              <a:gd name="connsiteX5" fmla="*/ 1284644 w 1309443"/>
              <a:gd name="connsiteY5" fmla="*/ 247986 h 247985"/>
              <a:gd name="connsiteX6" fmla="*/ 24799 w 1309443"/>
              <a:gd name="connsiteY6" fmla="*/ 247985 h 247985"/>
              <a:gd name="connsiteX7" fmla="*/ 0 w 1309443"/>
              <a:gd name="connsiteY7" fmla="*/ 223186 h 247985"/>
              <a:gd name="connsiteX8" fmla="*/ 0 w 1309443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09443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284645" y="0"/>
                </a:lnTo>
                <a:cubicBezTo>
                  <a:pt x="1298341" y="0"/>
                  <a:pt x="1309444" y="11103"/>
                  <a:pt x="1309444" y="24799"/>
                </a:cubicBezTo>
                <a:cubicBezTo>
                  <a:pt x="1309444" y="90928"/>
                  <a:pt x="1309443" y="157058"/>
                  <a:pt x="1309443" y="223187"/>
                </a:cubicBezTo>
                <a:cubicBezTo>
                  <a:pt x="1309443" y="236883"/>
                  <a:pt x="1298340" y="247986"/>
                  <a:pt x="1284644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World,1</a:t>
            </a:r>
            <a:endParaRPr lang="zh-CN" altLang="en-US" sz="1100" b="1" kern="1200" dirty="0"/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AD3D7401-BDBC-48A4-9DEC-C3ABE5D0E4EB}"/>
              </a:ext>
            </a:extLst>
          </p:cNvPr>
          <p:cNvSpPr/>
          <p:nvPr/>
        </p:nvSpPr>
        <p:spPr>
          <a:xfrm>
            <a:off x="1356478" y="2977703"/>
            <a:ext cx="1873215" cy="246029"/>
          </a:xfrm>
          <a:custGeom>
            <a:avLst/>
            <a:gdLst>
              <a:gd name="connsiteX0" fmla="*/ 0 w 1873215"/>
              <a:gd name="connsiteY0" fmla="*/ 24603 h 246029"/>
              <a:gd name="connsiteX1" fmla="*/ 24603 w 1873215"/>
              <a:gd name="connsiteY1" fmla="*/ 0 h 246029"/>
              <a:gd name="connsiteX2" fmla="*/ 1848612 w 1873215"/>
              <a:gd name="connsiteY2" fmla="*/ 0 h 246029"/>
              <a:gd name="connsiteX3" fmla="*/ 1873215 w 1873215"/>
              <a:gd name="connsiteY3" fmla="*/ 24603 h 246029"/>
              <a:gd name="connsiteX4" fmla="*/ 1873215 w 1873215"/>
              <a:gd name="connsiteY4" fmla="*/ 221426 h 246029"/>
              <a:gd name="connsiteX5" fmla="*/ 1848612 w 1873215"/>
              <a:gd name="connsiteY5" fmla="*/ 246029 h 246029"/>
              <a:gd name="connsiteX6" fmla="*/ 24603 w 1873215"/>
              <a:gd name="connsiteY6" fmla="*/ 246029 h 246029"/>
              <a:gd name="connsiteX7" fmla="*/ 0 w 1873215"/>
              <a:gd name="connsiteY7" fmla="*/ 221426 h 246029"/>
              <a:gd name="connsiteX8" fmla="*/ 0 w 1873215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3215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848612" y="0"/>
                </a:lnTo>
                <a:cubicBezTo>
                  <a:pt x="1862200" y="0"/>
                  <a:pt x="1873215" y="11015"/>
                  <a:pt x="1873215" y="24603"/>
                </a:cubicBezTo>
                <a:lnTo>
                  <a:pt x="1873215" y="221426"/>
                </a:lnTo>
                <a:cubicBezTo>
                  <a:pt x="1873215" y="235014"/>
                  <a:pt x="1862200" y="246029"/>
                  <a:pt x="1848612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adoop,1</a:t>
            </a:r>
            <a:endParaRPr lang="zh-CN" altLang="en-US" sz="1100" b="1" kern="1200" dirty="0"/>
          </a:p>
        </p:txBody>
      </p:sp>
      <p:sp>
        <p:nvSpPr>
          <p:cNvPr id="20" name="任意多边形: 形状 19">
            <a:extLst>
              <a:ext uri="{FF2B5EF4-FFF2-40B4-BE49-F238E27FC236}">
                <a16:creationId xmlns:a16="http://schemas.microsoft.com/office/drawing/2014/main" id="{61D36425-725B-4100-9DB9-F1C6EBF97FB4}"/>
              </a:ext>
            </a:extLst>
          </p:cNvPr>
          <p:cNvSpPr/>
          <p:nvPr/>
        </p:nvSpPr>
        <p:spPr>
          <a:xfrm>
            <a:off x="1457328" y="3243444"/>
            <a:ext cx="1671516" cy="246029"/>
          </a:xfrm>
          <a:custGeom>
            <a:avLst/>
            <a:gdLst>
              <a:gd name="connsiteX0" fmla="*/ 0 w 1671516"/>
              <a:gd name="connsiteY0" fmla="*/ 24603 h 246029"/>
              <a:gd name="connsiteX1" fmla="*/ 24603 w 1671516"/>
              <a:gd name="connsiteY1" fmla="*/ 0 h 246029"/>
              <a:gd name="connsiteX2" fmla="*/ 1646913 w 1671516"/>
              <a:gd name="connsiteY2" fmla="*/ 0 h 246029"/>
              <a:gd name="connsiteX3" fmla="*/ 1671516 w 1671516"/>
              <a:gd name="connsiteY3" fmla="*/ 24603 h 246029"/>
              <a:gd name="connsiteX4" fmla="*/ 1671516 w 1671516"/>
              <a:gd name="connsiteY4" fmla="*/ 221426 h 246029"/>
              <a:gd name="connsiteX5" fmla="*/ 1646913 w 1671516"/>
              <a:gd name="connsiteY5" fmla="*/ 246029 h 246029"/>
              <a:gd name="connsiteX6" fmla="*/ 24603 w 1671516"/>
              <a:gd name="connsiteY6" fmla="*/ 246029 h 246029"/>
              <a:gd name="connsiteX7" fmla="*/ 0 w 1671516"/>
              <a:gd name="connsiteY7" fmla="*/ 221426 h 246029"/>
              <a:gd name="connsiteX8" fmla="*/ 0 w 1671516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1516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646913" y="0"/>
                </a:lnTo>
                <a:cubicBezTo>
                  <a:pt x="1660501" y="0"/>
                  <a:pt x="1671516" y="11015"/>
                  <a:pt x="1671516" y="24603"/>
                </a:cubicBezTo>
                <a:lnTo>
                  <a:pt x="1671516" y="221426"/>
                </a:lnTo>
                <a:cubicBezTo>
                  <a:pt x="1671516" y="235014"/>
                  <a:pt x="1660501" y="246029"/>
                  <a:pt x="1646913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99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ello,1</a:t>
            </a:r>
            <a:endParaRPr lang="zh-CN" altLang="en-US" sz="1100" b="1" kern="1200" dirty="0"/>
          </a:p>
        </p:txBody>
      </p:sp>
      <p:sp>
        <p:nvSpPr>
          <p:cNvPr id="21" name="任意多边形: 形状 20">
            <a:extLst>
              <a:ext uri="{FF2B5EF4-FFF2-40B4-BE49-F238E27FC236}">
                <a16:creationId xmlns:a16="http://schemas.microsoft.com/office/drawing/2014/main" id="{9765C789-B7E3-4DB0-9E05-1539E8B73D29}"/>
              </a:ext>
            </a:extLst>
          </p:cNvPr>
          <p:cNvSpPr/>
          <p:nvPr/>
        </p:nvSpPr>
        <p:spPr>
          <a:xfrm>
            <a:off x="1504715" y="3509185"/>
            <a:ext cx="1576742" cy="246029"/>
          </a:xfrm>
          <a:custGeom>
            <a:avLst/>
            <a:gdLst>
              <a:gd name="connsiteX0" fmla="*/ 0 w 1576742"/>
              <a:gd name="connsiteY0" fmla="*/ 24603 h 246029"/>
              <a:gd name="connsiteX1" fmla="*/ 24603 w 1576742"/>
              <a:gd name="connsiteY1" fmla="*/ 0 h 246029"/>
              <a:gd name="connsiteX2" fmla="*/ 1552139 w 1576742"/>
              <a:gd name="connsiteY2" fmla="*/ 0 h 246029"/>
              <a:gd name="connsiteX3" fmla="*/ 1576742 w 1576742"/>
              <a:gd name="connsiteY3" fmla="*/ 24603 h 246029"/>
              <a:gd name="connsiteX4" fmla="*/ 1576742 w 1576742"/>
              <a:gd name="connsiteY4" fmla="*/ 221426 h 246029"/>
              <a:gd name="connsiteX5" fmla="*/ 1552139 w 1576742"/>
              <a:gd name="connsiteY5" fmla="*/ 246029 h 246029"/>
              <a:gd name="connsiteX6" fmla="*/ 24603 w 1576742"/>
              <a:gd name="connsiteY6" fmla="*/ 246029 h 246029"/>
              <a:gd name="connsiteX7" fmla="*/ 0 w 1576742"/>
              <a:gd name="connsiteY7" fmla="*/ 221426 h 246029"/>
              <a:gd name="connsiteX8" fmla="*/ 0 w 1576742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6742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552139" y="0"/>
                </a:lnTo>
                <a:cubicBezTo>
                  <a:pt x="1565727" y="0"/>
                  <a:pt x="1576742" y="11015"/>
                  <a:pt x="1576742" y="24603"/>
                </a:cubicBezTo>
                <a:lnTo>
                  <a:pt x="1576742" y="221426"/>
                </a:lnTo>
                <a:cubicBezTo>
                  <a:pt x="1576742" y="235014"/>
                  <a:pt x="1565727" y="246029"/>
                  <a:pt x="1552139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I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728C15DC-9B93-4335-B8FF-DBC73CDCC1BE}"/>
              </a:ext>
            </a:extLst>
          </p:cNvPr>
          <p:cNvSpPr/>
          <p:nvPr/>
        </p:nvSpPr>
        <p:spPr>
          <a:xfrm>
            <a:off x="1550182" y="3774926"/>
            <a:ext cx="1485807" cy="246029"/>
          </a:xfrm>
          <a:custGeom>
            <a:avLst/>
            <a:gdLst>
              <a:gd name="connsiteX0" fmla="*/ 0 w 1485807"/>
              <a:gd name="connsiteY0" fmla="*/ 24603 h 246029"/>
              <a:gd name="connsiteX1" fmla="*/ 24603 w 1485807"/>
              <a:gd name="connsiteY1" fmla="*/ 0 h 246029"/>
              <a:gd name="connsiteX2" fmla="*/ 1461204 w 1485807"/>
              <a:gd name="connsiteY2" fmla="*/ 0 h 246029"/>
              <a:gd name="connsiteX3" fmla="*/ 1485807 w 1485807"/>
              <a:gd name="connsiteY3" fmla="*/ 24603 h 246029"/>
              <a:gd name="connsiteX4" fmla="*/ 1485807 w 1485807"/>
              <a:gd name="connsiteY4" fmla="*/ 221426 h 246029"/>
              <a:gd name="connsiteX5" fmla="*/ 1461204 w 1485807"/>
              <a:gd name="connsiteY5" fmla="*/ 246029 h 246029"/>
              <a:gd name="connsiteX6" fmla="*/ 24603 w 1485807"/>
              <a:gd name="connsiteY6" fmla="*/ 246029 h 246029"/>
              <a:gd name="connsiteX7" fmla="*/ 0 w 1485807"/>
              <a:gd name="connsiteY7" fmla="*/ 221426 h 246029"/>
              <a:gd name="connsiteX8" fmla="*/ 0 w 1485807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85807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461204" y="0"/>
                </a:lnTo>
                <a:cubicBezTo>
                  <a:pt x="1474792" y="0"/>
                  <a:pt x="1485807" y="11015"/>
                  <a:pt x="1485807" y="24603"/>
                </a:cubicBezTo>
                <a:lnTo>
                  <a:pt x="1485807" y="221426"/>
                </a:lnTo>
                <a:cubicBezTo>
                  <a:pt x="1485807" y="235014"/>
                  <a:pt x="1474792" y="246029"/>
                  <a:pt x="1461204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like,1</a:t>
            </a:r>
            <a:endParaRPr lang="zh-CN" altLang="en-US" sz="1100" b="1" kern="1200" dirty="0"/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C5B9557A-4817-40A4-9B63-88927FE37BE4}"/>
              </a:ext>
            </a:extLst>
          </p:cNvPr>
          <p:cNvSpPr/>
          <p:nvPr/>
        </p:nvSpPr>
        <p:spPr>
          <a:xfrm>
            <a:off x="1587084" y="4040667"/>
            <a:ext cx="1412003" cy="246029"/>
          </a:xfrm>
          <a:custGeom>
            <a:avLst/>
            <a:gdLst>
              <a:gd name="connsiteX0" fmla="*/ 0 w 1412003"/>
              <a:gd name="connsiteY0" fmla="*/ 24603 h 246029"/>
              <a:gd name="connsiteX1" fmla="*/ 24603 w 1412003"/>
              <a:gd name="connsiteY1" fmla="*/ 0 h 246029"/>
              <a:gd name="connsiteX2" fmla="*/ 1387400 w 1412003"/>
              <a:gd name="connsiteY2" fmla="*/ 0 h 246029"/>
              <a:gd name="connsiteX3" fmla="*/ 1412003 w 1412003"/>
              <a:gd name="connsiteY3" fmla="*/ 24603 h 246029"/>
              <a:gd name="connsiteX4" fmla="*/ 1412003 w 1412003"/>
              <a:gd name="connsiteY4" fmla="*/ 221426 h 246029"/>
              <a:gd name="connsiteX5" fmla="*/ 1387400 w 1412003"/>
              <a:gd name="connsiteY5" fmla="*/ 246029 h 246029"/>
              <a:gd name="connsiteX6" fmla="*/ 24603 w 1412003"/>
              <a:gd name="connsiteY6" fmla="*/ 246029 h 246029"/>
              <a:gd name="connsiteX7" fmla="*/ 0 w 1412003"/>
              <a:gd name="connsiteY7" fmla="*/ 221426 h 246029"/>
              <a:gd name="connsiteX8" fmla="*/ 0 w 1412003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12003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387400" y="0"/>
                </a:lnTo>
                <a:cubicBezTo>
                  <a:pt x="1400988" y="0"/>
                  <a:pt x="1412003" y="11015"/>
                  <a:pt x="1412003" y="24603"/>
                </a:cubicBezTo>
                <a:lnTo>
                  <a:pt x="1412003" y="221426"/>
                </a:lnTo>
                <a:cubicBezTo>
                  <a:pt x="1412003" y="235014"/>
                  <a:pt x="1400988" y="246029"/>
                  <a:pt x="1387400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050" b="1" kern="1200" dirty="0">
                <a:latin typeface="Arial"/>
                <a:ea typeface="微软雅黑"/>
                <a:cs typeface="+mn-cs"/>
              </a:rPr>
              <a:t>MapReduce,1</a:t>
            </a:r>
            <a:endParaRPr lang="zh-CN" altLang="en-US" sz="105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25" name="任意多边形: 形状 24">
            <a:extLst>
              <a:ext uri="{FF2B5EF4-FFF2-40B4-BE49-F238E27FC236}">
                <a16:creationId xmlns:a16="http://schemas.microsoft.com/office/drawing/2014/main" id="{296CDF8D-27C6-4E43-A412-ECABF71E80F3}"/>
              </a:ext>
            </a:extLst>
          </p:cNvPr>
          <p:cNvSpPr/>
          <p:nvPr/>
        </p:nvSpPr>
        <p:spPr>
          <a:xfrm>
            <a:off x="1356018" y="4707774"/>
            <a:ext cx="1874133" cy="246029"/>
          </a:xfrm>
          <a:custGeom>
            <a:avLst/>
            <a:gdLst>
              <a:gd name="connsiteX0" fmla="*/ 0 w 1874133"/>
              <a:gd name="connsiteY0" fmla="*/ 24603 h 246029"/>
              <a:gd name="connsiteX1" fmla="*/ 24603 w 1874133"/>
              <a:gd name="connsiteY1" fmla="*/ 0 h 246029"/>
              <a:gd name="connsiteX2" fmla="*/ 1849530 w 1874133"/>
              <a:gd name="connsiteY2" fmla="*/ 0 h 246029"/>
              <a:gd name="connsiteX3" fmla="*/ 1874133 w 1874133"/>
              <a:gd name="connsiteY3" fmla="*/ 24603 h 246029"/>
              <a:gd name="connsiteX4" fmla="*/ 1874133 w 1874133"/>
              <a:gd name="connsiteY4" fmla="*/ 221426 h 246029"/>
              <a:gd name="connsiteX5" fmla="*/ 1849530 w 1874133"/>
              <a:gd name="connsiteY5" fmla="*/ 246029 h 246029"/>
              <a:gd name="connsiteX6" fmla="*/ 24603 w 1874133"/>
              <a:gd name="connsiteY6" fmla="*/ 246029 h 246029"/>
              <a:gd name="connsiteX7" fmla="*/ 0 w 1874133"/>
              <a:gd name="connsiteY7" fmla="*/ 221426 h 246029"/>
              <a:gd name="connsiteX8" fmla="*/ 0 w 1874133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4133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849530" y="0"/>
                </a:lnTo>
                <a:cubicBezTo>
                  <a:pt x="1863118" y="0"/>
                  <a:pt x="1874133" y="11015"/>
                  <a:pt x="1874133" y="24603"/>
                </a:cubicBezTo>
                <a:lnTo>
                  <a:pt x="1874133" y="221426"/>
                </a:lnTo>
                <a:cubicBezTo>
                  <a:pt x="1874133" y="235014"/>
                  <a:pt x="1863118" y="246029"/>
                  <a:pt x="1849530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ello,1</a:t>
            </a:r>
            <a:endParaRPr lang="zh-CN" altLang="en-US" sz="1100" b="1" kern="1200" dirty="0"/>
          </a:p>
        </p:txBody>
      </p:sp>
      <p:sp>
        <p:nvSpPr>
          <p:cNvPr id="26" name="任意多边形: 形状 25">
            <a:extLst>
              <a:ext uri="{FF2B5EF4-FFF2-40B4-BE49-F238E27FC236}">
                <a16:creationId xmlns:a16="http://schemas.microsoft.com/office/drawing/2014/main" id="{722CFC5D-532E-4CB8-9887-648F93AA2E6C}"/>
              </a:ext>
            </a:extLst>
          </p:cNvPr>
          <p:cNvSpPr/>
          <p:nvPr/>
        </p:nvSpPr>
        <p:spPr>
          <a:xfrm>
            <a:off x="1457733" y="4973515"/>
            <a:ext cx="1670703" cy="246029"/>
          </a:xfrm>
          <a:custGeom>
            <a:avLst/>
            <a:gdLst>
              <a:gd name="connsiteX0" fmla="*/ 0 w 1670703"/>
              <a:gd name="connsiteY0" fmla="*/ 24603 h 246029"/>
              <a:gd name="connsiteX1" fmla="*/ 24603 w 1670703"/>
              <a:gd name="connsiteY1" fmla="*/ 0 h 246029"/>
              <a:gd name="connsiteX2" fmla="*/ 1646100 w 1670703"/>
              <a:gd name="connsiteY2" fmla="*/ 0 h 246029"/>
              <a:gd name="connsiteX3" fmla="*/ 1670703 w 1670703"/>
              <a:gd name="connsiteY3" fmla="*/ 24603 h 246029"/>
              <a:gd name="connsiteX4" fmla="*/ 1670703 w 1670703"/>
              <a:gd name="connsiteY4" fmla="*/ 221426 h 246029"/>
              <a:gd name="connsiteX5" fmla="*/ 1646100 w 1670703"/>
              <a:gd name="connsiteY5" fmla="*/ 246029 h 246029"/>
              <a:gd name="connsiteX6" fmla="*/ 24603 w 1670703"/>
              <a:gd name="connsiteY6" fmla="*/ 246029 h 246029"/>
              <a:gd name="connsiteX7" fmla="*/ 0 w 1670703"/>
              <a:gd name="connsiteY7" fmla="*/ 221426 h 246029"/>
              <a:gd name="connsiteX8" fmla="*/ 0 w 1670703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703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646100" y="0"/>
                </a:lnTo>
                <a:cubicBezTo>
                  <a:pt x="1659688" y="0"/>
                  <a:pt x="1670703" y="11015"/>
                  <a:pt x="1670703" y="24603"/>
                </a:cubicBezTo>
                <a:lnTo>
                  <a:pt x="1670703" y="221426"/>
                </a:lnTo>
                <a:cubicBezTo>
                  <a:pt x="1670703" y="235014"/>
                  <a:pt x="1659688" y="246029"/>
                  <a:pt x="1646100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99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I,1</a:t>
            </a:r>
            <a:endParaRPr lang="zh-CN" altLang="en-US" sz="1100" b="1" kern="1200" dirty="0"/>
          </a:p>
        </p:txBody>
      </p:sp>
      <p:sp>
        <p:nvSpPr>
          <p:cNvPr id="27" name="任意多边形: 形状 26">
            <a:extLst>
              <a:ext uri="{FF2B5EF4-FFF2-40B4-BE49-F238E27FC236}">
                <a16:creationId xmlns:a16="http://schemas.microsoft.com/office/drawing/2014/main" id="{4128A72F-9C48-434C-BA4C-322D0193DD74}"/>
              </a:ext>
            </a:extLst>
          </p:cNvPr>
          <p:cNvSpPr/>
          <p:nvPr/>
        </p:nvSpPr>
        <p:spPr>
          <a:xfrm>
            <a:off x="1506255" y="5239256"/>
            <a:ext cx="1573660" cy="246029"/>
          </a:xfrm>
          <a:custGeom>
            <a:avLst/>
            <a:gdLst>
              <a:gd name="connsiteX0" fmla="*/ 0 w 1573660"/>
              <a:gd name="connsiteY0" fmla="*/ 24603 h 246029"/>
              <a:gd name="connsiteX1" fmla="*/ 24603 w 1573660"/>
              <a:gd name="connsiteY1" fmla="*/ 0 h 246029"/>
              <a:gd name="connsiteX2" fmla="*/ 1549057 w 1573660"/>
              <a:gd name="connsiteY2" fmla="*/ 0 h 246029"/>
              <a:gd name="connsiteX3" fmla="*/ 1573660 w 1573660"/>
              <a:gd name="connsiteY3" fmla="*/ 24603 h 246029"/>
              <a:gd name="connsiteX4" fmla="*/ 1573660 w 1573660"/>
              <a:gd name="connsiteY4" fmla="*/ 221426 h 246029"/>
              <a:gd name="connsiteX5" fmla="*/ 1549057 w 1573660"/>
              <a:gd name="connsiteY5" fmla="*/ 246029 h 246029"/>
              <a:gd name="connsiteX6" fmla="*/ 24603 w 1573660"/>
              <a:gd name="connsiteY6" fmla="*/ 246029 h 246029"/>
              <a:gd name="connsiteX7" fmla="*/ 0 w 1573660"/>
              <a:gd name="connsiteY7" fmla="*/ 221426 h 246029"/>
              <a:gd name="connsiteX8" fmla="*/ 0 w 1573660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3660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549057" y="0"/>
                </a:lnTo>
                <a:cubicBezTo>
                  <a:pt x="1562645" y="0"/>
                  <a:pt x="1573660" y="11015"/>
                  <a:pt x="1573660" y="24603"/>
                </a:cubicBezTo>
                <a:lnTo>
                  <a:pt x="1573660" y="221426"/>
                </a:lnTo>
                <a:cubicBezTo>
                  <a:pt x="1573660" y="235014"/>
                  <a:pt x="1562645" y="246029"/>
                  <a:pt x="1549057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Java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CE88977E-9269-4910-A639-F84215CC93A8}"/>
              </a:ext>
            </a:extLst>
          </p:cNvPr>
          <p:cNvSpPr/>
          <p:nvPr/>
        </p:nvSpPr>
        <p:spPr>
          <a:xfrm>
            <a:off x="1553080" y="5504997"/>
            <a:ext cx="1480010" cy="246029"/>
          </a:xfrm>
          <a:custGeom>
            <a:avLst/>
            <a:gdLst>
              <a:gd name="connsiteX0" fmla="*/ 0 w 1480010"/>
              <a:gd name="connsiteY0" fmla="*/ 24603 h 246029"/>
              <a:gd name="connsiteX1" fmla="*/ 24603 w 1480010"/>
              <a:gd name="connsiteY1" fmla="*/ 0 h 246029"/>
              <a:gd name="connsiteX2" fmla="*/ 1455407 w 1480010"/>
              <a:gd name="connsiteY2" fmla="*/ 0 h 246029"/>
              <a:gd name="connsiteX3" fmla="*/ 1480010 w 1480010"/>
              <a:gd name="connsiteY3" fmla="*/ 24603 h 246029"/>
              <a:gd name="connsiteX4" fmla="*/ 1480010 w 1480010"/>
              <a:gd name="connsiteY4" fmla="*/ 221426 h 246029"/>
              <a:gd name="connsiteX5" fmla="*/ 1455407 w 1480010"/>
              <a:gd name="connsiteY5" fmla="*/ 246029 h 246029"/>
              <a:gd name="connsiteX6" fmla="*/ 24603 w 1480010"/>
              <a:gd name="connsiteY6" fmla="*/ 246029 h 246029"/>
              <a:gd name="connsiteX7" fmla="*/ 0 w 1480010"/>
              <a:gd name="connsiteY7" fmla="*/ 221426 h 246029"/>
              <a:gd name="connsiteX8" fmla="*/ 0 w 1480010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80010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455407" y="0"/>
                </a:lnTo>
                <a:cubicBezTo>
                  <a:pt x="1468995" y="0"/>
                  <a:pt x="1480010" y="11015"/>
                  <a:pt x="1480010" y="24603"/>
                </a:cubicBezTo>
                <a:lnTo>
                  <a:pt x="1480010" y="221426"/>
                </a:lnTo>
                <a:cubicBezTo>
                  <a:pt x="1480010" y="235014"/>
                  <a:pt x="1468995" y="246029"/>
                  <a:pt x="1455407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like,1</a:t>
            </a:r>
            <a:endParaRPr lang="zh-CN" altLang="en-US" sz="1100" b="1" kern="1200" dirty="0"/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613B5803-2DB8-4508-82BA-7EA0FBF1FC3C}"/>
              </a:ext>
            </a:extLst>
          </p:cNvPr>
          <p:cNvSpPr/>
          <p:nvPr/>
        </p:nvSpPr>
        <p:spPr>
          <a:xfrm>
            <a:off x="1595633" y="5770738"/>
            <a:ext cx="1394904" cy="246029"/>
          </a:xfrm>
          <a:custGeom>
            <a:avLst/>
            <a:gdLst>
              <a:gd name="connsiteX0" fmla="*/ 0 w 1394904"/>
              <a:gd name="connsiteY0" fmla="*/ 24603 h 246029"/>
              <a:gd name="connsiteX1" fmla="*/ 24603 w 1394904"/>
              <a:gd name="connsiteY1" fmla="*/ 0 h 246029"/>
              <a:gd name="connsiteX2" fmla="*/ 1370301 w 1394904"/>
              <a:gd name="connsiteY2" fmla="*/ 0 h 246029"/>
              <a:gd name="connsiteX3" fmla="*/ 1394904 w 1394904"/>
              <a:gd name="connsiteY3" fmla="*/ 24603 h 246029"/>
              <a:gd name="connsiteX4" fmla="*/ 1394904 w 1394904"/>
              <a:gd name="connsiteY4" fmla="*/ 221426 h 246029"/>
              <a:gd name="connsiteX5" fmla="*/ 1370301 w 1394904"/>
              <a:gd name="connsiteY5" fmla="*/ 246029 h 246029"/>
              <a:gd name="connsiteX6" fmla="*/ 24603 w 1394904"/>
              <a:gd name="connsiteY6" fmla="*/ 246029 h 246029"/>
              <a:gd name="connsiteX7" fmla="*/ 0 w 1394904"/>
              <a:gd name="connsiteY7" fmla="*/ 221426 h 246029"/>
              <a:gd name="connsiteX8" fmla="*/ 0 w 1394904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94904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370301" y="0"/>
                </a:lnTo>
                <a:cubicBezTo>
                  <a:pt x="1383889" y="0"/>
                  <a:pt x="1394904" y="11015"/>
                  <a:pt x="1394904" y="24603"/>
                </a:cubicBezTo>
                <a:lnTo>
                  <a:pt x="1394904" y="221426"/>
                </a:lnTo>
                <a:cubicBezTo>
                  <a:pt x="1394904" y="235014"/>
                  <a:pt x="1383889" y="246029"/>
                  <a:pt x="1370301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MapReduce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32" name="标题 3">
            <a:extLst>
              <a:ext uri="{FF2B5EF4-FFF2-40B4-BE49-F238E27FC236}">
                <a16:creationId xmlns:a16="http://schemas.microsoft.com/office/drawing/2014/main" id="{4EA5887E-594B-4F9E-B713-7C204956FE2D}"/>
              </a:ext>
            </a:extLst>
          </p:cNvPr>
          <p:cNvSpPr txBox="1">
            <a:spLocks/>
          </p:cNvSpPr>
          <p:nvPr/>
        </p:nvSpPr>
        <p:spPr>
          <a:xfrm>
            <a:off x="502444" y="-514350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MapReduce</a:t>
            </a:r>
            <a:r>
              <a:rPr lang="zh-CN" altLang="en-US" dirty="0"/>
              <a:t>工作流程</a:t>
            </a:r>
          </a:p>
        </p:txBody>
      </p: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28156D7A-6D71-4F5B-933D-9061964A3BEF}"/>
              </a:ext>
            </a:extLst>
          </p:cNvPr>
          <p:cNvGrpSpPr/>
          <p:nvPr/>
        </p:nvGrpSpPr>
        <p:grpSpPr>
          <a:xfrm>
            <a:off x="9144000" y="495654"/>
            <a:ext cx="2793511" cy="5638446"/>
            <a:chOff x="5468332" y="495654"/>
            <a:chExt cx="2793511" cy="5638446"/>
          </a:xfrm>
        </p:grpSpPr>
        <p:grpSp>
          <p:nvGrpSpPr>
            <p:cNvPr id="37" name="组合 36">
              <a:extLst>
                <a:ext uri="{FF2B5EF4-FFF2-40B4-BE49-F238E27FC236}">
                  <a16:creationId xmlns:a16="http://schemas.microsoft.com/office/drawing/2014/main" id="{4C20457C-8D20-42B8-B18A-E8CB5E4C7397}"/>
                </a:ext>
              </a:extLst>
            </p:cNvPr>
            <p:cNvGrpSpPr/>
            <p:nvPr/>
          </p:nvGrpSpPr>
          <p:grpSpPr>
            <a:xfrm>
              <a:off x="5468332" y="495654"/>
              <a:ext cx="2793511" cy="5638446"/>
              <a:chOff x="4965095" y="495654"/>
              <a:chExt cx="2793511" cy="5638446"/>
            </a:xfrm>
          </p:grpSpPr>
          <p:sp>
            <p:nvSpPr>
              <p:cNvPr id="40" name="矩形: 圆角 39">
                <a:extLst>
                  <a:ext uri="{FF2B5EF4-FFF2-40B4-BE49-F238E27FC236}">
                    <a16:creationId xmlns:a16="http://schemas.microsoft.com/office/drawing/2014/main" id="{FB0BE5BD-81E4-4AC8-BA1C-236A06404EDC}"/>
                  </a:ext>
                </a:extLst>
              </p:cNvPr>
              <p:cNvSpPr/>
              <p:nvPr/>
            </p:nvSpPr>
            <p:spPr>
              <a:xfrm>
                <a:off x="4965095" y="1130300"/>
                <a:ext cx="2793511" cy="5003800"/>
              </a:xfrm>
              <a:prstGeom prst="round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1" name="文本框 40">
                <a:extLst>
                  <a:ext uri="{FF2B5EF4-FFF2-40B4-BE49-F238E27FC236}">
                    <a16:creationId xmlns:a16="http://schemas.microsoft.com/office/drawing/2014/main" id="{4A521177-3D3E-4F67-9049-BD1CB4F8D944}"/>
                  </a:ext>
                </a:extLst>
              </p:cNvPr>
              <p:cNvSpPr txBox="1"/>
              <p:nvPr/>
            </p:nvSpPr>
            <p:spPr>
              <a:xfrm>
                <a:off x="5473087" y="495654"/>
                <a:ext cx="177752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2800" dirty="0"/>
                  <a:t>Reduce()</a:t>
                </a:r>
                <a:endParaRPr lang="zh-CN" altLang="en-US" sz="2800" dirty="0"/>
              </a:p>
            </p:txBody>
          </p:sp>
        </p:grpSp>
        <p:sp>
          <p:nvSpPr>
            <p:cNvPr id="38" name="矩形: 圆角 37">
              <a:extLst>
                <a:ext uri="{FF2B5EF4-FFF2-40B4-BE49-F238E27FC236}">
                  <a16:creationId xmlns:a16="http://schemas.microsoft.com/office/drawing/2014/main" id="{DEECD460-F091-4B83-8F82-4320BC8B8E7E}"/>
                </a:ext>
              </a:extLst>
            </p:cNvPr>
            <p:cNvSpPr>
              <a:spLocks/>
            </p:cNvSpPr>
            <p:nvPr/>
          </p:nvSpPr>
          <p:spPr>
            <a:xfrm>
              <a:off x="5850674" y="1634825"/>
              <a:ext cx="2028825" cy="1662932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  <p:sp>
          <p:nvSpPr>
            <p:cNvPr id="39" name="矩形: 圆角 38">
              <a:extLst>
                <a:ext uri="{FF2B5EF4-FFF2-40B4-BE49-F238E27FC236}">
                  <a16:creationId xmlns:a16="http://schemas.microsoft.com/office/drawing/2014/main" id="{5D47EDD1-92D4-42FB-82F5-71880924CA05}"/>
                </a:ext>
              </a:extLst>
            </p:cNvPr>
            <p:cNvSpPr>
              <a:spLocks/>
            </p:cNvSpPr>
            <p:nvPr/>
          </p:nvSpPr>
          <p:spPr>
            <a:xfrm>
              <a:off x="5850674" y="3961339"/>
              <a:ext cx="2028825" cy="1662932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3887573225"/>
      </p:ext>
    </p:extLst>
  </p:cSld>
  <p:clrMapOvr>
    <a:masterClrMapping/>
  </p:clrMapOvr>
  <p:transition spd="slow" advClick="0" advTm="0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E9576B95-676C-429F-A627-D48EE8F6ECE9}"/>
              </a:ext>
            </a:extLst>
          </p:cNvPr>
          <p:cNvSpPr/>
          <p:nvPr/>
        </p:nvSpPr>
        <p:spPr>
          <a:xfrm>
            <a:off x="896332" y="1130300"/>
            <a:ext cx="2793511" cy="5003800"/>
          </a:xfrm>
          <a:prstGeom prst="round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1941C713-9BC6-41AD-AFC7-BB37386D371F}"/>
              </a:ext>
            </a:extLst>
          </p:cNvPr>
          <p:cNvSpPr txBox="1"/>
          <p:nvPr/>
        </p:nvSpPr>
        <p:spPr>
          <a:xfrm>
            <a:off x="1469876" y="495654"/>
            <a:ext cx="31021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/>
              <a:t>Map()</a:t>
            </a:r>
            <a:r>
              <a:rPr lang="zh-CN" altLang="en-US" sz="2400" dirty="0"/>
              <a:t>中间结果</a:t>
            </a:r>
          </a:p>
        </p:txBody>
      </p: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12AB1DF8-9F59-459D-861B-0997412FBF92}"/>
              </a:ext>
            </a:extLst>
          </p:cNvPr>
          <p:cNvSpPr>
            <a:spLocks/>
          </p:cNvSpPr>
          <p:nvPr/>
        </p:nvSpPr>
        <p:spPr>
          <a:xfrm>
            <a:off x="1281768" y="4590442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91A342C0-220F-4EE6-8E94-FDE79F5160AA}"/>
              </a:ext>
            </a:extLst>
          </p:cNvPr>
          <p:cNvSpPr>
            <a:spLocks/>
          </p:cNvSpPr>
          <p:nvPr/>
        </p:nvSpPr>
        <p:spPr>
          <a:xfrm>
            <a:off x="1281768" y="2860371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2900AFE4-C899-455C-AECA-CE83C79CE577}"/>
              </a:ext>
            </a:extLst>
          </p:cNvPr>
          <p:cNvSpPr>
            <a:spLocks/>
          </p:cNvSpPr>
          <p:nvPr/>
        </p:nvSpPr>
        <p:spPr>
          <a:xfrm>
            <a:off x="1281768" y="1130300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3" name="任意多边形: 形状 2">
            <a:extLst>
              <a:ext uri="{FF2B5EF4-FFF2-40B4-BE49-F238E27FC236}">
                <a16:creationId xmlns:a16="http://schemas.microsoft.com/office/drawing/2014/main" id="{22D3FD83-2587-4DC7-969A-FBEFB7723458}"/>
              </a:ext>
            </a:extLst>
          </p:cNvPr>
          <p:cNvSpPr/>
          <p:nvPr/>
        </p:nvSpPr>
        <p:spPr>
          <a:xfrm>
            <a:off x="1431259" y="1245113"/>
            <a:ext cx="1725341" cy="247985"/>
          </a:xfrm>
          <a:custGeom>
            <a:avLst/>
            <a:gdLst>
              <a:gd name="connsiteX0" fmla="*/ 0 w 1725341"/>
              <a:gd name="connsiteY0" fmla="*/ 24799 h 247985"/>
              <a:gd name="connsiteX1" fmla="*/ 24799 w 1725341"/>
              <a:gd name="connsiteY1" fmla="*/ 0 h 247985"/>
              <a:gd name="connsiteX2" fmla="*/ 1700543 w 1725341"/>
              <a:gd name="connsiteY2" fmla="*/ 0 h 247985"/>
              <a:gd name="connsiteX3" fmla="*/ 1725342 w 1725341"/>
              <a:gd name="connsiteY3" fmla="*/ 24799 h 247985"/>
              <a:gd name="connsiteX4" fmla="*/ 1725341 w 1725341"/>
              <a:gd name="connsiteY4" fmla="*/ 223187 h 247985"/>
              <a:gd name="connsiteX5" fmla="*/ 1700542 w 1725341"/>
              <a:gd name="connsiteY5" fmla="*/ 247986 h 247985"/>
              <a:gd name="connsiteX6" fmla="*/ 24799 w 1725341"/>
              <a:gd name="connsiteY6" fmla="*/ 247985 h 247985"/>
              <a:gd name="connsiteX7" fmla="*/ 0 w 1725341"/>
              <a:gd name="connsiteY7" fmla="*/ 223186 h 247985"/>
              <a:gd name="connsiteX8" fmla="*/ 0 w 1725341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25341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700543" y="0"/>
                </a:lnTo>
                <a:cubicBezTo>
                  <a:pt x="1714239" y="0"/>
                  <a:pt x="1725342" y="11103"/>
                  <a:pt x="1725342" y="24799"/>
                </a:cubicBezTo>
                <a:cubicBezTo>
                  <a:pt x="1725342" y="90928"/>
                  <a:pt x="1725341" y="157058"/>
                  <a:pt x="1725341" y="223187"/>
                </a:cubicBezTo>
                <a:cubicBezTo>
                  <a:pt x="1725341" y="236883"/>
                  <a:pt x="1714238" y="247986"/>
                  <a:pt x="1700542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adoop,1</a:t>
            </a:r>
            <a:endParaRPr lang="zh-CN" altLang="en-US" sz="1100" b="1" kern="1200" dirty="0"/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90C67C54-F03F-4574-B5B3-69A1E94A4D3F}"/>
              </a:ext>
            </a:extLst>
          </p:cNvPr>
          <p:cNvSpPr/>
          <p:nvPr/>
        </p:nvSpPr>
        <p:spPr>
          <a:xfrm>
            <a:off x="1486118" y="1511899"/>
            <a:ext cx="1613936" cy="247985"/>
          </a:xfrm>
          <a:custGeom>
            <a:avLst/>
            <a:gdLst>
              <a:gd name="connsiteX0" fmla="*/ 0 w 1613936"/>
              <a:gd name="connsiteY0" fmla="*/ 24799 h 247985"/>
              <a:gd name="connsiteX1" fmla="*/ 24799 w 1613936"/>
              <a:gd name="connsiteY1" fmla="*/ 0 h 247985"/>
              <a:gd name="connsiteX2" fmla="*/ 1589138 w 1613936"/>
              <a:gd name="connsiteY2" fmla="*/ 0 h 247985"/>
              <a:gd name="connsiteX3" fmla="*/ 1613937 w 1613936"/>
              <a:gd name="connsiteY3" fmla="*/ 24799 h 247985"/>
              <a:gd name="connsiteX4" fmla="*/ 1613936 w 1613936"/>
              <a:gd name="connsiteY4" fmla="*/ 223187 h 247985"/>
              <a:gd name="connsiteX5" fmla="*/ 1589137 w 1613936"/>
              <a:gd name="connsiteY5" fmla="*/ 247986 h 247985"/>
              <a:gd name="connsiteX6" fmla="*/ 24799 w 1613936"/>
              <a:gd name="connsiteY6" fmla="*/ 247985 h 247985"/>
              <a:gd name="connsiteX7" fmla="*/ 0 w 1613936"/>
              <a:gd name="connsiteY7" fmla="*/ 223186 h 247985"/>
              <a:gd name="connsiteX8" fmla="*/ 0 w 1613936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13936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589138" y="0"/>
                </a:lnTo>
                <a:cubicBezTo>
                  <a:pt x="1602834" y="0"/>
                  <a:pt x="1613937" y="11103"/>
                  <a:pt x="1613937" y="24799"/>
                </a:cubicBezTo>
                <a:cubicBezTo>
                  <a:pt x="1613937" y="90928"/>
                  <a:pt x="1613936" y="157058"/>
                  <a:pt x="1613936" y="223187"/>
                </a:cubicBezTo>
                <a:cubicBezTo>
                  <a:pt x="1613936" y="236883"/>
                  <a:pt x="1602833" y="247986"/>
                  <a:pt x="1589137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99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ello,1</a:t>
            </a:r>
            <a:endParaRPr lang="zh-CN" altLang="en-US" sz="1100" b="1" kern="1200" dirty="0"/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D570BD41-D587-42B3-A945-0701119606B4}"/>
              </a:ext>
            </a:extLst>
          </p:cNvPr>
          <p:cNvSpPr/>
          <p:nvPr/>
        </p:nvSpPr>
        <p:spPr>
          <a:xfrm>
            <a:off x="1555792" y="1778136"/>
            <a:ext cx="1474589" cy="247985"/>
          </a:xfrm>
          <a:custGeom>
            <a:avLst/>
            <a:gdLst>
              <a:gd name="connsiteX0" fmla="*/ 0 w 1474589"/>
              <a:gd name="connsiteY0" fmla="*/ 24799 h 247985"/>
              <a:gd name="connsiteX1" fmla="*/ 24799 w 1474589"/>
              <a:gd name="connsiteY1" fmla="*/ 0 h 247985"/>
              <a:gd name="connsiteX2" fmla="*/ 1449791 w 1474589"/>
              <a:gd name="connsiteY2" fmla="*/ 0 h 247985"/>
              <a:gd name="connsiteX3" fmla="*/ 1474590 w 1474589"/>
              <a:gd name="connsiteY3" fmla="*/ 24799 h 247985"/>
              <a:gd name="connsiteX4" fmla="*/ 1474589 w 1474589"/>
              <a:gd name="connsiteY4" fmla="*/ 223187 h 247985"/>
              <a:gd name="connsiteX5" fmla="*/ 1449790 w 1474589"/>
              <a:gd name="connsiteY5" fmla="*/ 247986 h 247985"/>
              <a:gd name="connsiteX6" fmla="*/ 24799 w 1474589"/>
              <a:gd name="connsiteY6" fmla="*/ 247985 h 247985"/>
              <a:gd name="connsiteX7" fmla="*/ 0 w 1474589"/>
              <a:gd name="connsiteY7" fmla="*/ 223186 h 247985"/>
              <a:gd name="connsiteX8" fmla="*/ 0 w 1474589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74589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449791" y="0"/>
                </a:lnTo>
                <a:cubicBezTo>
                  <a:pt x="1463487" y="0"/>
                  <a:pt x="1474590" y="11103"/>
                  <a:pt x="1474590" y="24799"/>
                </a:cubicBezTo>
                <a:cubicBezTo>
                  <a:pt x="1474590" y="90928"/>
                  <a:pt x="1474589" y="157058"/>
                  <a:pt x="1474589" y="223187"/>
                </a:cubicBezTo>
                <a:cubicBezTo>
                  <a:pt x="1474589" y="236883"/>
                  <a:pt x="1463486" y="247986"/>
                  <a:pt x="1449790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I,1</a:t>
            </a:r>
            <a:endParaRPr lang="zh-CN" altLang="en-US" sz="1100" b="1" kern="1200" dirty="0"/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215F389F-B06C-4AA2-9B81-BC0E370C2994}"/>
              </a:ext>
            </a:extLst>
          </p:cNvPr>
          <p:cNvSpPr/>
          <p:nvPr/>
        </p:nvSpPr>
        <p:spPr>
          <a:xfrm>
            <a:off x="1592584" y="2044373"/>
            <a:ext cx="1401005" cy="247985"/>
          </a:xfrm>
          <a:custGeom>
            <a:avLst/>
            <a:gdLst>
              <a:gd name="connsiteX0" fmla="*/ 0 w 1401005"/>
              <a:gd name="connsiteY0" fmla="*/ 24799 h 247985"/>
              <a:gd name="connsiteX1" fmla="*/ 24799 w 1401005"/>
              <a:gd name="connsiteY1" fmla="*/ 0 h 247985"/>
              <a:gd name="connsiteX2" fmla="*/ 1376207 w 1401005"/>
              <a:gd name="connsiteY2" fmla="*/ 0 h 247985"/>
              <a:gd name="connsiteX3" fmla="*/ 1401006 w 1401005"/>
              <a:gd name="connsiteY3" fmla="*/ 24799 h 247985"/>
              <a:gd name="connsiteX4" fmla="*/ 1401005 w 1401005"/>
              <a:gd name="connsiteY4" fmla="*/ 223187 h 247985"/>
              <a:gd name="connsiteX5" fmla="*/ 1376206 w 1401005"/>
              <a:gd name="connsiteY5" fmla="*/ 247986 h 247985"/>
              <a:gd name="connsiteX6" fmla="*/ 24799 w 1401005"/>
              <a:gd name="connsiteY6" fmla="*/ 247985 h 247985"/>
              <a:gd name="connsiteX7" fmla="*/ 0 w 1401005"/>
              <a:gd name="connsiteY7" fmla="*/ 223186 h 247985"/>
              <a:gd name="connsiteX8" fmla="*/ 0 w 1401005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01005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376207" y="0"/>
                </a:lnTo>
                <a:cubicBezTo>
                  <a:pt x="1389903" y="0"/>
                  <a:pt x="1401006" y="11103"/>
                  <a:pt x="1401006" y="24799"/>
                </a:cubicBezTo>
                <a:cubicBezTo>
                  <a:pt x="1401006" y="90928"/>
                  <a:pt x="1401005" y="157058"/>
                  <a:pt x="1401005" y="223187"/>
                </a:cubicBezTo>
                <a:cubicBezTo>
                  <a:pt x="1401005" y="236883"/>
                  <a:pt x="1389902" y="247986"/>
                  <a:pt x="1376206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like,1</a:t>
            </a:r>
            <a:endParaRPr lang="zh-CN" altLang="en-US" sz="1100" b="1" kern="1200" dirty="0"/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F6035C0F-963C-4EDE-B572-F7FB757A0064}"/>
              </a:ext>
            </a:extLst>
          </p:cNvPr>
          <p:cNvSpPr/>
          <p:nvPr/>
        </p:nvSpPr>
        <p:spPr>
          <a:xfrm>
            <a:off x="1638365" y="2310610"/>
            <a:ext cx="1309443" cy="247985"/>
          </a:xfrm>
          <a:custGeom>
            <a:avLst/>
            <a:gdLst>
              <a:gd name="connsiteX0" fmla="*/ 0 w 1309443"/>
              <a:gd name="connsiteY0" fmla="*/ 24799 h 247985"/>
              <a:gd name="connsiteX1" fmla="*/ 24799 w 1309443"/>
              <a:gd name="connsiteY1" fmla="*/ 0 h 247985"/>
              <a:gd name="connsiteX2" fmla="*/ 1284645 w 1309443"/>
              <a:gd name="connsiteY2" fmla="*/ 0 h 247985"/>
              <a:gd name="connsiteX3" fmla="*/ 1309444 w 1309443"/>
              <a:gd name="connsiteY3" fmla="*/ 24799 h 247985"/>
              <a:gd name="connsiteX4" fmla="*/ 1309443 w 1309443"/>
              <a:gd name="connsiteY4" fmla="*/ 223187 h 247985"/>
              <a:gd name="connsiteX5" fmla="*/ 1284644 w 1309443"/>
              <a:gd name="connsiteY5" fmla="*/ 247986 h 247985"/>
              <a:gd name="connsiteX6" fmla="*/ 24799 w 1309443"/>
              <a:gd name="connsiteY6" fmla="*/ 247985 h 247985"/>
              <a:gd name="connsiteX7" fmla="*/ 0 w 1309443"/>
              <a:gd name="connsiteY7" fmla="*/ 223186 h 247985"/>
              <a:gd name="connsiteX8" fmla="*/ 0 w 1309443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09443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284645" y="0"/>
                </a:lnTo>
                <a:cubicBezTo>
                  <a:pt x="1298341" y="0"/>
                  <a:pt x="1309444" y="11103"/>
                  <a:pt x="1309444" y="24799"/>
                </a:cubicBezTo>
                <a:cubicBezTo>
                  <a:pt x="1309444" y="90928"/>
                  <a:pt x="1309443" y="157058"/>
                  <a:pt x="1309443" y="223187"/>
                </a:cubicBezTo>
                <a:cubicBezTo>
                  <a:pt x="1309443" y="236883"/>
                  <a:pt x="1298340" y="247986"/>
                  <a:pt x="1284644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World,1</a:t>
            </a:r>
            <a:endParaRPr lang="zh-CN" altLang="en-US" sz="1100" b="1" kern="1200" dirty="0"/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AD3D7401-BDBC-48A4-9DEC-C3ABE5D0E4EB}"/>
              </a:ext>
            </a:extLst>
          </p:cNvPr>
          <p:cNvSpPr/>
          <p:nvPr/>
        </p:nvSpPr>
        <p:spPr>
          <a:xfrm>
            <a:off x="1356478" y="2977703"/>
            <a:ext cx="1873215" cy="246029"/>
          </a:xfrm>
          <a:custGeom>
            <a:avLst/>
            <a:gdLst>
              <a:gd name="connsiteX0" fmla="*/ 0 w 1873215"/>
              <a:gd name="connsiteY0" fmla="*/ 24603 h 246029"/>
              <a:gd name="connsiteX1" fmla="*/ 24603 w 1873215"/>
              <a:gd name="connsiteY1" fmla="*/ 0 h 246029"/>
              <a:gd name="connsiteX2" fmla="*/ 1848612 w 1873215"/>
              <a:gd name="connsiteY2" fmla="*/ 0 h 246029"/>
              <a:gd name="connsiteX3" fmla="*/ 1873215 w 1873215"/>
              <a:gd name="connsiteY3" fmla="*/ 24603 h 246029"/>
              <a:gd name="connsiteX4" fmla="*/ 1873215 w 1873215"/>
              <a:gd name="connsiteY4" fmla="*/ 221426 h 246029"/>
              <a:gd name="connsiteX5" fmla="*/ 1848612 w 1873215"/>
              <a:gd name="connsiteY5" fmla="*/ 246029 h 246029"/>
              <a:gd name="connsiteX6" fmla="*/ 24603 w 1873215"/>
              <a:gd name="connsiteY6" fmla="*/ 246029 h 246029"/>
              <a:gd name="connsiteX7" fmla="*/ 0 w 1873215"/>
              <a:gd name="connsiteY7" fmla="*/ 221426 h 246029"/>
              <a:gd name="connsiteX8" fmla="*/ 0 w 1873215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3215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848612" y="0"/>
                </a:lnTo>
                <a:cubicBezTo>
                  <a:pt x="1862200" y="0"/>
                  <a:pt x="1873215" y="11015"/>
                  <a:pt x="1873215" y="24603"/>
                </a:cubicBezTo>
                <a:lnTo>
                  <a:pt x="1873215" y="221426"/>
                </a:lnTo>
                <a:cubicBezTo>
                  <a:pt x="1873215" y="235014"/>
                  <a:pt x="1862200" y="246029"/>
                  <a:pt x="1848612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adoop,1</a:t>
            </a:r>
            <a:endParaRPr lang="zh-CN" altLang="en-US" sz="1100" b="1" kern="1200" dirty="0"/>
          </a:p>
        </p:txBody>
      </p:sp>
      <p:sp>
        <p:nvSpPr>
          <p:cNvPr id="20" name="任意多边形: 形状 19">
            <a:extLst>
              <a:ext uri="{FF2B5EF4-FFF2-40B4-BE49-F238E27FC236}">
                <a16:creationId xmlns:a16="http://schemas.microsoft.com/office/drawing/2014/main" id="{61D36425-725B-4100-9DB9-F1C6EBF97FB4}"/>
              </a:ext>
            </a:extLst>
          </p:cNvPr>
          <p:cNvSpPr/>
          <p:nvPr/>
        </p:nvSpPr>
        <p:spPr>
          <a:xfrm>
            <a:off x="1457328" y="3243444"/>
            <a:ext cx="1671516" cy="246029"/>
          </a:xfrm>
          <a:custGeom>
            <a:avLst/>
            <a:gdLst>
              <a:gd name="connsiteX0" fmla="*/ 0 w 1671516"/>
              <a:gd name="connsiteY0" fmla="*/ 24603 h 246029"/>
              <a:gd name="connsiteX1" fmla="*/ 24603 w 1671516"/>
              <a:gd name="connsiteY1" fmla="*/ 0 h 246029"/>
              <a:gd name="connsiteX2" fmla="*/ 1646913 w 1671516"/>
              <a:gd name="connsiteY2" fmla="*/ 0 h 246029"/>
              <a:gd name="connsiteX3" fmla="*/ 1671516 w 1671516"/>
              <a:gd name="connsiteY3" fmla="*/ 24603 h 246029"/>
              <a:gd name="connsiteX4" fmla="*/ 1671516 w 1671516"/>
              <a:gd name="connsiteY4" fmla="*/ 221426 h 246029"/>
              <a:gd name="connsiteX5" fmla="*/ 1646913 w 1671516"/>
              <a:gd name="connsiteY5" fmla="*/ 246029 h 246029"/>
              <a:gd name="connsiteX6" fmla="*/ 24603 w 1671516"/>
              <a:gd name="connsiteY6" fmla="*/ 246029 h 246029"/>
              <a:gd name="connsiteX7" fmla="*/ 0 w 1671516"/>
              <a:gd name="connsiteY7" fmla="*/ 221426 h 246029"/>
              <a:gd name="connsiteX8" fmla="*/ 0 w 1671516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1516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646913" y="0"/>
                </a:lnTo>
                <a:cubicBezTo>
                  <a:pt x="1660501" y="0"/>
                  <a:pt x="1671516" y="11015"/>
                  <a:pt x="1671516" y="24603"/>
                </a:cubicBezTo>
                <a:lnTo>
                  <a:pt x="1671516" y="221426"/>
                </a:lnTo>
                <a:cubicBezTo>
                  <a:pt x="1671516" y="235014"/>
                  <a:pt x="1660501" y="246029"/>
                  <a:pt x="1646913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99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ello,1</a:t>
            </a:r>
            <a:endParaRPr lang="zh-CN" altLang="en-US" sz="1100" b="1" kern="1200" dirty="0"/>
          </a:p>
        </p:txBody>
      </p:sp>
      <p:sp>
        <p:nvSpPr>
          <p:cNvPr id="21" name="任意多边形: 形状 20">
            <a:extLst>
              <a:ext uri="{FF2B5EF4-FFF2-40B4-BE49-F238E27FC236}">
                <a16:creationId xmlns:a16="http://schemas.microsoft.com/office/drawing/2014/main" id="{9765C789-B7E3-4DB0-9E05-1539E8B73D29}"/>
              </a:ext>
            </a:extLst>
          </p:cNvPr>
          <p:cNvSpPr/>
          <p:nvPr/>
        </p:nvSpPr>
        <p:spPr>
          <a:xfrm>
            <a:off x="1504715" y="3509185"/>
            <a:ext cx="1576742" cy="246029"/>
          </a:xfrm>
          <a:custGeom>
            <a:avLst/>
            <a:gdLst>
              <a:gd name="connsiteX0" fmla="*/ 0 w 1576742"/>
              <a:gd name="connsiteY0" fmla="*/ 24603 h 246029"/>
              <a:gd name="connsiteX1" fmla="*/ 24603 w 1576742"/>
              <a:gd name="connsiteY1" fmla="*/ 0 h 246029"/>
              <a:gd name="connsiteX2" fmla="*/ 1552139 w 1576742"/>
              <a:gd name="connsiteY2" fmla="*/ 0 h 246029"/>
              <a:gd name="connsiteX3" fmla="*/ 1576742 w 1576742"/>
              <a:gd name="connsiteY3" fmla="*/ 24603 h 246029"/>
              <a:gd name="connsiteX4" fmla="*/ 1576742 w 1576742"/>
              <a:gd name="connsiteY4" fmla="*/ 221426 h 246029"/>
              <a:gd name="connsiteX5" fmla="*/ 1552139 w 1576742"/>
              <a:gd name="connsiteY5" fmla="*/ 246029 h 246029"/>
              <a:gd name="connsiteX6" fmla="*/ 24603 w 1576742"/>
              <a:gd name="connsiteY6" fmla="*/ 246029 h 246029"/>
              <a:gd name="connsiteX7" fmla="*/ 0 w 1576742"/>
              <a:gd name="connsiteY7" fmla="*/ 221426 h 246029"/>
              <a:gd name="connsiteX8" fmla="*/ 0 w 1576742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6742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552139" y="0"/>
                </a:lnTo>
                <a:cubicBezTo>
                  <a:pt x="1565727" y="0"/>
                  <a:pt x="1576742" y="11015"/>
                  <a:pt x="1576742" y="24603"/>
                </a:cubicBezTo>
                <a:lnTo>
                  <a:pt x="1576742" y="221426"/>
                </a:lnTo>
                <a:cubicBezTo>
                  <a:pt x="1576742" y="235014"/>
                  <a:pt x="1565727" y="246029"/>
                  <a:pt x="1552139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I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728C15DC-9B93-4335-B8FF-DBC73CDCC1BE}"/>
              </a:ext>
            </a:extLst>
          </p:cNvPr>
          <p:cNvSpPr/>
          <p:nvPr/>
        </p:nvSpPr>
        <p:spPr>
          <a:xfrm>
            <a:off x="1550182" y="3774926"/>
            <a:ext cx="1485807" cy="246029"/>
          </a:xfrm>
          <a:custGeom>
            <a:avLst/>
            <a:gdLst>
              <a:gd name="connsiteX0" fmla="*/ 0 w 1485807"/>
              <a:gd name="connsiteY0" fmla="*/ 24603 h 246029"/>
              <a:gd name="connsiteX1" fmla="*/ 24603 w 1485807"/>
              <a:gd name="connsiteY1" fmla="*/ 0 h 246029"/>
              <a:gd name="connsiteX2" fmla="*/ 1461204 w 1485807"/>
              <a:gd name="connsiteY2" fmla="*/ 0 h 246029"/>
              <a:gd name="connsiteX3" fmla="*/ 1485807 w 1485807"/>
              <a:gd name="connsiteY3" fmla="*/ 24603 h 246029"/>
              <a:gd name="connsiteX4" fmla="*/ 1485807 w 1485807"/>
              <a:gd name="connsiteY4" fmla="*/ 221426 h 246029"/>
              <a:gd name="connsiteX5" fmla="*/ 1461204 w 1485807"/>
              <a:gd name="connsiteY5" fmla="*/ 246029 h 246029"/>
              <a:gd name="connsiteX6" fmla="*/ 24603 w 1485807"/>
              <a:gd name="connsiteY6" fmla="*/ 246029 h 246029"/>
              <a:gd name="connsiteX7" fmla="*/ 0 w 1485807"/>
              <a:gd name="connsiteY7" fmla="*/ 221426 h 246029"/>
              <a:gd name="connsiteX8" fmla="*/ 0 w 1485807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85807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461204" y="0"/>
                </a:lnTo>
                <a:cubicBezTo>
                  <a:pt x="1474792" y="0"/>
                  <a:pt x="1485807" y="11015"/>
                  <a:pt x="1485807" y="24603"/>
                </a:cubicBezTo>
                <a:lnTo>
                  <a:pt x="1485807" y="221426"/>
                </a:lnTo>
                <a:cubicBezTo>
                  <a:pt x="1485807" y="235014"/>
                  <a:pt x="1474792" y="246029"/>
                  <a:pt x="1461204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like,1</a:t>
            </a:r>
            <a:endParaRPr lang="zh-CN" altLang="en-US" sz="1100" b="1" kern="1200" dirty="0"/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C5B9557A-4817-40A4-9B63-88927FE37BE4}"/>
              </a:ext>
            </a:extLst>
          </p:cNvPr>
          <p:cNvSpPr/>
          <p:nvPr/>
        </p:nvSpPr>
        <p:spPr>
          <a:xfrm>
            <a:off x="1587084" y="4040667"/>
            <a:ext cx="1412003" cy="246029"/>
          </a:xfrm>
          <a:custGeom>
            <a:avLst/>
            <a:gdLst>
              <a:gd name="connsiteX0" fmla="*/ 0 w 1412003"/>
              <a:gd name="connsiteY0" fmla="*/ 24603 h 246029"/>
              <a:gd name="connsiteX1" fmla="*/ 24603 w 1412003"/>
              <a:gd name="connsiteY1" fmla="*/ 0 h 246029"/>
              <a:gd name="connsiteX2" fmla="*/ 1387400 w 1412003"/>
              <a:gd name="connsiteY2" fmla="*/ 0 h 246029"/>
              <a:gd name="connsiteX3" fmla="*/ 1412003 w 1412003"/>
              <a:gd name="connsiteY3" fmla="*/ 24603 h 246029"/>
              <a:gd name="connsiteX4" fmla="*/ 1412003 w 1412003"/>
              <a:gd name="connsiteY4" fmla="*/ 221426 h 246029"/>
              <a:gd name="connsiteX5" fmla="*/ 1387400 w 1412003"/>
              <a:gd name="connsiteY5" fmla="*/ 246029 h 246029"/>
              <a:gd name="connsiteX6" fmla="*/ 24603 w 1412003"/>
              <a:gd name="connsiteY6" fmla="*/ 246029 h 246029"/>
              <a:gd name="connsiteX7" fmla="*/ 0 w 1412003"/>
              <a:gd name="connsiteY7" fmla="*/ 221426 h 246029"/>
              <a:gd name="connsiteX8" fmla="*/ 0 w 1412003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12003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387400" y="0"/>
                </a:lnTo>
                <a:cubicBezTo>
                  <a:pt x="1400988" y="0"/>
                  <a:pt x="1412003" y="11015"/>
                  <a:pt x="1412003" y="24603"/>
                </a:cubicBezTo>
                <a:lnTo>
                  <a:pt x="1412003" y="221426"/>
                </a:lnTo>
                <a:cubicBezTo>
                  <a:pt x="1412003" y="235014"/>
                  <a:pt x="1400988" y="246029"/>
                  <a:pt x="1387400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050" b="1" kern="1200" dirty="0">
                <a:latin typeface="Arial"/>
                <a:ea typeface="微软雅黑"/>
                <a:cs typeface="+mn-cs"/>
              </a:rPr>
              <a:t>MapReduce,1</a:t>
            </a:r>
            <a:endParaRPr lang="zh-CN" altLang="en-US" sz="105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25" name="任意多边形: 形状 24">
            <a:extLst>
              <a:ext uri="{FF2B5EF4-FFF2-40B4-BE49-F238E27FC236}">
                <a16:creationId xmlns:a16="http://schemas.microsoft.com/office/drawing/2014/main" id="{296CDF8D-27C6-4E43-A412-ECABF71E80F3}"/>
              </a:ext>
            </a:extLst>
          </p:cNvPr>
          <p:cNvSpPr/>
          <p:nvPr/>
        </p:nvSpPr>
        <p:spPr>
          <a:xfrm>
            <a:off x="1356018" y="4707774"/>
            <a:ext cx="1874133" cy="246029"/>
          </a:xfrm>
          <a:custGeom>
            <a:avLst/>
            <a:gdLst>
              <a:gd name="connsiteX0" fmla="*/ 0 w 1874133"/>
              <a:gd name="connsiteY0" fmla="*/ 24603 h 246029"/>
              <a:gd name="connsiteX1" fmla="*/ 24603 w 1874133"/>
              <a:gd name="connsiteY1" fmla="*/ 0 h 246029"/>
              <a:gd name="connsiteX2" fmla="*/ 1849530 w 1874133"/>
              <a:gd name="connsiteY2" fmla="*/ 0 h 246029"/>
              <a:gd name="connsiteX3" fmla="*/ 1874133 w 1874133"/>
              <a:gd name="connsiteY3" fmla="*/ 24603 h 246029"/>
              <a:gd name="connsiteX4" fmla="*/ 1874133 w 1874133"/>
              <a:gd name="connsiteY4" fmla="*/ 221426 h 246029"/>
              <a:gd name="connsiteX5" fmla="*/ 1849530 w 1874133"/>
              <a:gd name="connsiteY5" fmla="*/ 246029 h 246029"/>
              <a:gd name="connsiteX6" fmla="*/ 24603 w 1874133"/>
              <a:gd name="connsiteY6" fmla="*/ 246029 h 246029"/>
              <a:gd name="connsiteX7" fmla="*/ 0 w 1874133"/>
              <a:gd name="connsiteY7" fmla="*/ 221426 h 246029"/>
              <a:gd name="connsiteX8" fmla="*/ 0 w 1874133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4133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849530" y="0"/>
                </a:lnTo>
                <a:cubicBezTo>
                  <a:pt x="1863118" y="0"/>
                  <a:pt x="1874133" y="11015"/>
                  <a:pt x="1874133" y="24603"/>
                </a:cubicBezTo>
                <a:lnTo>
                  <a:pt x="1874133" y="221426"/>
                </a:lnTo>
                <a:cubicBezTo>
                  <a:pt x="1874133" y="235014"/>
                  <a:pt x="1863118" y="246029"/>
                  <a:pt x="1849530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ello,1</a:t>
            </a:r>
            <a:endParaRPr lang="zh-CN" altLang="en-US" sz="1100" b="1" kern="1200" dirty="0"/>
          </a:p>
        </p:txBody>
      </p:sp>
      <p:sp>
        <p:nvSpPr>
          <p:cNvPr id="26" name="任意多边形: 形状 25">
            <a:extLst>
              <a:ext uri="{FF2B5EF4-FFF2-40B4-BE49-F238E27FC236}">
                <a16:creationId xmlns:a16="http://schemas.microsoft.com/office/drawing/2014/main" id="{722CFC5D-532E-4CB8-9887-648F93AA2E6C}"/>
              </a:ext>
            </a:extLst>
          </p:cNvPr>
          <p:cNvSpPr/>
          <p:nvPr/>
        </p:nvSpPr>
        <p:spPr>
          <a:xfrm>
            <a:off x="1457733" y="4973515"/>
            <a:ext cx="1670703" cy="246029"/>
          </a:xfrm>
          <a:custGeom>
            <a:avLst/>
            <a:gdLst>
              <a:gd name="connsiteX0" fmla="*/ 0 w 1670703"/>
              <a:gd name="connsiteY0" fmla="*/ 24603 h 246029"/>
              <a:gd name="connsiteX1" fmla="*/ 24603 w 1670703"/>
              <a:gd name="connsiteY1" fmla="*/ 0 h 246029"/>
              <a:gd name="connsiteX2" fmla="*/ 1646100 w 1670703"/>
              <a:gd name="connsiteY2" fmla="*/ 0 h 246029"/>
              <a:gd name="connsiteX3" fmla="*/ 1670703 w 1670703"/>
              <a:gd name="connsiteY3" fmla="*/ 24603 h 246029"/>
              <a:gd name="connsiteX4" fmla="*/ 1670703 w 1670703"/>
              <a:gd name="connsiteY4" fmla="*/ 221426 h 246029"/>
              <a:gd name="connsiteX5" fmla="*/ 1646100 w 1670703"/>
              <a:gd name="connsiteY5" fmla="*/ 246029 h 246029"/>
              <a:gd name="connsiteX6" fmla="*/ 24603 w 1670703"/>
              <a:gd name="connsiteY6" fmla="*/ 246029 h 246029"/>
              <a:gd name="connsiteX7" fmla="*/ 0 w 1670703"/>
              <a:gd name="connsiteY7" fmla="*/ 221426 h 246029"/>
              <a:gd name="connsiteX8" fmla="*/ 0 w 1670703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703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646100" y="0"/>
                </a:lnTo>
                <a:cubicBezTo>
                  <a:pt x="1659688" y="0"/>
                  <a:pt x="1670703" y="11015"/>
                  <a:pt x="1670703" y="24603"/>
                </a:cubicBezTo>
                <a:lnTo>
                  <a:pt x="1670703" y="221426"/>
                </a:lnTo>
                <a:cubicBezTo>
                  <a:pt x="1670703" y="235014"/>
                  <a:pt x="1659688" y="246029"/>
                  <a:pt x="1646100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99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I,1</a:t>
            </a:r>
            <a:endParaRPr lang="zh-CN" altLang="en-US" sz="1100" b="1" kern="1200" dirty="0"/>
          </a:p>
        </p:txBody>
      </p:sp>
      <p:sp>
        <p:nvSpPr>
          <p:cNvPr id="27" name="任意多边形: 形状 26">
            <a:extLst>
              <a:ext uri="{FF2B5EF4-FFF2-40B4-BE49-F238E27FC236}">
                <a16:creationId xmlns:a16="http://schemas.microsoft.com/office/drawing/2014/main" id="{4128A72F-9C48-434C-BA4C-322D0193DD74}"/>
              </a:ext>
            </a:extLst>
          </p:cNvPr>
          <p:cNvSpPr/>
          <p:nvPr/>
        </p:nvSpPr>
        <p:spPr>
          <a:xfrm>
            <a:off x="1506255" y="5239256"/>
            <a:ext cx="1573660" cy="246029"/>
          </a:xfrm>
          <a:custGeom>
            <a:avLst/>
            <a:gdLst>
              <a:gd name="connsiteX0" fmla="*/ 0 w 1573660"/>
              <a:gd name="connsiteY0" fmla="*/ 24603 h 246029"/>
              <a:gd name="connsiteX1" fmla="*/ 24603 w 1573660"/>
              <a:gd name="connsiteY1" fmla="*/ 0 h 246029"/>
              <a:gd name="connsiteX2" fmla="*/ 1549057 w 1573660"/>
              <a:gd name="connsiteY2" fmla="*/ 0 h 246029"/>
              <a:gd name="connsiteX3" fmla="*/ 1573660 w 1573660"/>
              <a:gd name="connsiteY3" fmla="*/ 24603 h 246029"/>
              <a:gd name="connsiteX4" fmla="*/ 1573660 w 1573660"/>
              <a:gd name="connsiteY4" fmla="*/ 221426 h 246029"/>
              <a:gd name="connsiteX5" fmla="*/ 1549057 w 1573660"/>
              <a:gd name="connsiteY5" fmla="*/ 246029 h 246029"/>
              <a:gd name="connsiteX6" fmla="*/ 24603 w 1573660"/>
              <a:gd name="connsiteY6" fmla="*/ 246029 h 246029"/>
              <a:gd name="connsiteX7" fmla="*/ 0 w 1573660"/>
              <a:gd name="connsiteY7" fmla="*/ 221426 h 246029"/>
              <a:gd name="connsiteX8" fmla="*/ 0 w 1573660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3660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549057" y="0"/>
                </a:lnTo>
                <a:cubicBezTo>
                  <a:pt x="1562645" y="0"/>
                  <a:pt x="1573660" y="11015"/>
                  <a:pt x="1573660" y="24603"/>
                </a:cubicBezTo>
                <a:lnTo>
                  <a:pt x="1573660" y="221426"/>
                </a:lnTo>
                <a:cubicBezTo>
                  <a:pt x="1573660" y="235014"/>
                  <a:pt x="1562645" y="246029"/>
                  <a:pt x="1549057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Java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CE88977E-9269-4910-A639-F84215CC93A8}"/>
              </a:ext>
            </a:extLst>
          </p:cNvPr>
          <p:cNvSpPr/>
          <p:nvPr/>
        </p:nvSpPr>
        <p:spPr>
          <a:xfrm>
            <a:off x="1553080" y="5504997"/>
            <a:ext cx="1480010" cy="246029"/>
          </a:xfrm>
          <a:custGeom>
            <a:avLst/>
            <a:gdLst>
              <a:gd name="connsiteX0" fmla="*/ 0 w 1480010"/>
              <a:gd name="connsiteY0" fmla="*/ 24603 h 246029"/>
              <a:gd name="connsiteX1" fmla="*/ 24603 w 1480010"/>
              <a:gd name="connsiteY1" fmla="*/ 0 h 246029"/>
              <a:gd name="connsiteX2" fmla="*/ 1455407 w 1480010"/>
              <a:gd name="connsiteY2" fmla="*/ 0 h 246029"/>
              <a:gd name="connsiteX3" fmla="*/ 1480010 w 1480010"/>
              <a:gd name="connsiteY3" fmla="*/ 24603 h 246029"/>
              <a:gd name="connsiteX4" fmla="*/ 1480010 w 1480010"/>
              <a:gd name="connsiteY4" fmla="*/ 221426 h 246029"/>
              <a:gd name="connsiteX5" fmla="*/ 1455407 w 1480010"/>
              <a:gd name="connsiteY5" fmla="*/ 246029 h 246029"/>
              <a:gd name="connsiteX6" fmla="*/ 24603 w 1480010"/>
              <a:gd name="connsiteY6" fmla="*/ 246029 h 246029"/>
              <a:gd name="connsiteX7" fmla="*/ 0 w 1480010"/>
              <a:gd name="connsiteY7" fmla="*/ 221426 h 246029"/>
              <a:gd name="connsiteX8" fmla="*/ 0 w 1480010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80010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455407" y="0"/>
                </a:lnTo>
                <a:cubicBezTo>
                  <a:pt x="1468995" y="0"/>
                  <a:pt x="1480010" y="11015"/>
                  <a:pt x="1480010" y="24603"/>
                </a:cubicBezTo>
                <a:lnTo>
                  <a:pt x="1480010" y="221426"/>
                </a:lnTo>
                <a:cubicBezTo>
                  <a:pt x="1480010" y="235014"/>
                  <a:pt x="1468995" y="246029"/>
                  <a:pt x="1455407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like,1</a:t>
            </a:r>
            <a:endParaRPr lang="zh-CN" altLang="en-US" sz="1100" b="1" kern="1200" dirty="0"/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613B5803-2DB8-4508-82BA-7EA0FBF1FC3C}"/>
              </a:ext>
            </a:extLst>
          </p:cNvPr>
          <p:cNvSpPr/>
          <p:nvPr/>
        </p:nvSpPr>
        <p:spPr>
          <a:xfrm>
            <a:off x="1595633" y="5770738"/>
            <a:ext cx="1394904" cy="246029"/>
          </a:xfrm>
          <a:custGeom>
            <a:avLst/>
            <a:gdLst>
              <a:gd name="connsiteX0" fmla="*/ 0 w 1394904"/>
              <a:gd name="connsiteY0" fmla="*/ 24603 h 246029"/>
              <a:gd name="connsiteX1" fmla="*/ 24603 w 1394904"/>
              <a:gd name="connsiteY1" fmla="*/ 0 h 246029"/>
              <a:gd name="connsiteX2" fmla="*/ 1370301 w 1394904"/>
              <a:gd name="connsiteY2" fmla="*/ 0 h 246029"/>
              <a:gd name="connsiteX3" fmla="*/ 1394904 w 1394904"/>
              <a:gd name="connsiteY3" fmla="*/ 24603 h 246029"/>
              <a:gd name="connsiteX4" fmla="*/ 1394904 w 1394904"/>
              <a:gd name="connsiteY4" fmla="*/ 221426 h 246029"/>
              <a:gd name="connsiteX5" fmla="*/ 1370301 w 1394904"/>
              <a:gd name="connsiteY5" fmla="*/ 246029 h 246029"/>
              <a:gd name="connsiteX6" fmla="*/ 24603 w 1394904"/>
              <a:gd name="connsiteY6" fmla="*/ 246029 h 246029"/>
              <a:gd name="connsiteX7" fmla="*/ 0 w 1394904"/>
              <a:gd name="connsiteY7" fmla="*/ 221426 h 246029"/>
              <a:gd name="connsiteX8" fmla="*/ 0 w 1394904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94904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370301" y="0"/>
                </a:lnTo>
                <a:cubicBezTo>
                  <a:pt x="1383889" y="0"/>
                  <a:pt x="1394904" y="11015"/>
                  <a:pt x="1394904" y="24603"/>
                </a:cubicBezTo>
                <a:lnTo>
                  <a:pt x="1394904" y="221426"/>
                </a:lnTo>
                <a:cubicBezTo>
                  <a:pt x="1394904" y="235014"/>
                  <a:pt x="1383889" y="246029"/>
                  <a:pt x="1370301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MapReduce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32" name="标题 3">
            <a:extLst>
              <a:ext uri="{FF2B5EF4-FFF2-40B4-BE49-F238E27FC236}">
                <a16:creationId xmlns:a16="http://schemas.microsoft.com/office/drawing/2014/main" id="{4EA5887E-594B-4F9E-B713-7C204956FE2D}"/>
              </a:ext>
            </a:extLst>
          </p:cNvPr>
          <p:cNvSpPr txBox="1">
            <a:spLocks/>
          </p:cNvSpPr>
          <p:nvPr/>
        </p:nvSpPr>
        <p:spPr>
          <a:xfrm>
            <a:off x="502444" y="-514350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MapReduce</a:t>
            </a:r>
            <a:r>
              <a:rPr lang="zh-CN" altLang="en-US" dirty="0"/>
              <a:t>工作流程</a:t>
            </a:r>
          </a:p>
        </p:txBody>
      </p: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58DC52F2-CC78-4AA9-B594-19A5E7C89907}"/>
              </a:ext>
            </a:extLst>
          </p:cNvPr>
          <p:cNvGrpSpPr/>
          <p:nvPr/>
        </p:nvGrpSpPr>
        <p:grpSpPr>
          <a:xfrm>
            <a:off x="5468332" y="495654"/>
            <a:ext cx="2793511" cy="5638446"/>
            <a:chOff x="5468332" y="495654"/>
            <a:chExt cx="2793511" cy="5638446"/>
          </a:xfrm>
        </p:grpSpPr>
        <p:grpSp>
          <p:nvGrpSpPr>
            <p:cNvPr id="31" name="组合 30">
              <a:extLst>
                <a:ext uri="{FF2B5EF4-FFF2-40B4-BE49-F238E27FC236}">
                  <a16:creationId xmlns:a16="http://schemas.microsoft.com/office/drawing/2014/main" id="{EA8693D5-7024-45AA-9EB3-7C6E1D77ADE2}"/>
                </a:ext>
              </a:extLst>
            </p:cNvPr>
            <p:cNvGrpSpPr/>
            <p:nvPr/>
          </p:nvGrpSpPr>
          <p:grpSpPr>
            <a:xfrm>
              <a:off x="5468332" y="495654"/>
              <a:ext cx="2793511" cy="5638446"/>
              <a:chOff x="4965095" y="495654"/>
              <a:chExt cx="2793511" cy="5638446"/>
            </a:xfrm>
          </p:grpSpPr>
          <p:sp>
            <p:nvSpPr>
              <p:cNvPr id="35" name="矩形: 圆角 34">
                <a:extLst>
                  <a:ext uri="{FF2B5EF4-FFF2-40B4-BE49-F238E27FC236}">
                    <a16:creationId xmlns:a16="http://schemas.microsoft.com/office/drawing/2014/main" id="{160CF4E0-52B2-4A3F-8EB0-91071C5C2410}"/>
                  </a:ext>
                </a:extLst>
              </p:cNvPr>
              <p:cNvSpPr/>
              <p:nvPr/>
            </p:nvSpPr>
            <p:spPr>
              <a:xfrm>
                <a:off x="4965095" y="1130300"/>
                <a:ext cx="2793511" cy="5003800"/>
              </a:xfrm>
              <a:prstGeom prst="round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2" name="文本框 41">
                <a:extLst>
                  <a:ext uri="{FF2B5EF4-FFF2-40B4-BE49-F238E27FC236}">
                    <a16:creationId xmlns:a16="http://schemas.microsoft.com/office/drawing/2014/main" id="{8A8236DC-A948-44D4-A62A-079D0FB9C5E6}"/>
                  </a:ext>
                </a:extLst>
              </p:cNvPr>
              <p:cNvSpPr txBox="1"/>
              <p:nvPr/>
            </p:nvSpPr>
            <p:spPr>
              <a:xfrm>
                <a:off x="5473087" y="495654"/>
                <a:ext cx="177752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2800" dirty="0"/>
                  <a:t>Reduce()</a:t>
                </a:r>
                <a:endParaRPr lang="zh-CN" altLang="en-US" sz="2800" dirty="0"/>
              </a:p>
            </p:txBody>
          </p:sp>
        </p:grpSp>
        <p:sp>
          <p:nvSpPr>
            <p:cNvPr id="33" name="矩形: 圆角 32">
              <a:extLst>
                <a:ext uri="{FF2B5EF4-FFF2-40B4-BE49-F238E27FC236}">
                  <a16:creationId xmlns:a16="http://schemas.microsoft.com/office/drawing/2014/main" id="{8666965C-7A61-4CA2-ACCA-F9FD4AD30711}"/>
                </a:ext>
              </a:extLst>
            </p:cNvPr>
            <p:cNvSpPr>
              <a:spLocks/>
            </p:cNvSpPr>
            <p:nvPr/>
          </p:nvSpPr>
          <p:spPr>
            <a:xfrm>
              <a:off x="5850674" y="1634825"/>
              <a:ext cx="2028825" cy="1662932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  <p:sp>
          <p:nvSpPr>
            <p:cNvPr id="34" name="矩形: 圆角 33">
              <a:extLst>
                <a:ext uri="{FF2B5EF4-FFF2-40B4-BE49-F238E27FC236}">
                  <a16:creationId xmlns:a16="http://schemas.microsoft.com/office/drawing/2014/main" id="{ABF70D29-58A0-4284-8EAF-157BF13EF491}"/>
                </a:ext>
              </a:extLst>
            </p:cNvPr>
            <p:cNvSpPr>
              <a:spLocks/>
            </p:cNvSpPr>
            <p:nvPr/>
          </p:nvSpPr>
          <p:spPr>
            <a:xfrm>
              <a:off x="5850674" y="3961339"/>
              <a:ext cx="2028825" cy="1662932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</p:grpSp>
      <p:sp>
        <p:nvSpPr>
          <p:cNvPr id="2" name="文本框 1">
            <a:extLst>
              <a:ext uri="{FF2B5EF4-FFF2-40B4-BE49-F238E27FC236}">
                <a16:creationId xmlns:a16="http://schemas.microsoft.com/office/drawing/2014/main" id="{E7324B21-27BA-40A5-8DB0-F41ED49F4A78}"/>
              </a:ext>
            </a:extLst>
          </p:cNvPr>
          <p:cNvSpPr txBox="1"/>
          <p:nvPr/>
        </p:nvSpPr>
        <p:spPr>
          <a:xfrm>
            <a:off x="3610973" y="572598"/>
            <a:ext cx="1920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Hadoop</a:t>
            </a:r>
            <a:r>
              <a:rPr lang="zh-CN" altLang="en-US" dirty="0"/>
              <a:t>处理框架</a:t>
            </a:r>
          </a:p>
        </p:txBody>
      </p:sp>
    </p:spTree>
    <p:extLst>
      <p:ext uri="{BB962C8B-B14F-4D97-AF65-F5344CB8AC3E}">
        <p14:creationId xmlns:p14="http://schemas.microsoft.com/office/powerpoint/2010/main" val="34624443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E9576B95-676C-429F-A627-D48EE8F6ECE9}"/>
              </a:ext>
            </a:extLst>
          </p:cNvPr>
          <p:cNvSpPr/>
          <p:nvPr/>
        </p:nvSpPr>
        <p:spPr>
          <a:xfrm>
            <a:off x="896332" y="1130300"/>
            <a:ext cx="2793511" cy="5003800"/>
          </a:xfrm>
          <a:prstGeom prst="round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1941C713-9BC6-41AD-AFC7-BB37386D371F}"/>
              </a:ext>
            </a:extLst>
          </p:cNvPr>
          <p:cNvSpPr txBox="1"/>
          <p:nvPr/>
        </p:nvSpPr>
        <p:spPr>
          <a:xfrm>
            <a:off x="1469876" y="495654"/>
            <a:ext cx="31021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/>
              <a:t>Map()</a:t>
            </a:r>
            <a:r>
              <a:rPr lang="zh-CN" altLang="en-US" sz="2400" dirty="0"/>
              <a:t>中间结果</a:t>
            </a:r>
          </a:p>
        </p:txBody>
      </p: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12AB1DF8-9F59-459D-861B-0997412FBF92}"/>
              </a:ext>
            </a:extLst>
          </p:cNvPr>
          <p:cNvSpPr>
            <a:spLocks/>
          </p:cNvSpPr>
          <p:nvPr/>
        </p:nvSpPr>
        <p:spPr>
          <a:xfrm>
            <a:off x="1281768" y="4590442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91A342C0-220F-4EE6-8E94-FDE79F5160AA}"/>
              </a:ext>
            </a:extLst>
          </p:cNvPr>
          <p:cNvSpPr>
            <a:spLocks/>
          </p:cNvSpPr>
          <p:nvPr/>
        </p:nvSpPr>
        <p:spPr>
          <a:xfrm>
            <a:off x="1281768" y="2860371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2900AFE4-C899-455C-AECA-CE83C79CE577}"/>
              </a:ext>
            </a:extLst>
          </p:cNvPr>
          <p:cNvSpPr>
            <a:spLocks/>
          </p:cNvSpPr>
          <p:nvPr/>
        </p:nvSpPr>
        <p:spPr>
          <a:xfrm>
            <a:off x="1281768" y="1130300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3" name="任意多边形: 形状 2">
            <a:extLst>
              <a:ext uri="{FF2B5EF4-FFF2-40B4-BE49-F238E27FC236}">
                <a16:creationId xmlns:a16="http://schemas.microsoft.com/office/drawing/2014/main" id="{22D3FD83-2587-4DC7-969A-FBEFB7723458}"/>
              </a:ext>
            </a:extLst>
          </p:cNvPr>
          <p:cNvSpPr/>
          <p:nvPr/>
        </p:nvSpPr>
        <p:spPr>
          <a:xfrm>
            <a:off x="1457328" y="1248722"/>
            <a:ext cx="1725341" cy="247985"/>
          </a:xfrm>
          <a:custGeom>
            <a:avLst/>
            <a:gdLst>
              <a:gd name="connsiteX0" fmla="*/ 0 w 1725341"/>
              <a:gd name="connsiteY0" fmla="*/ 24799 h 247985"/>
              <a:gd name="connsiteX1" fmla="*/ 24799 w 1725341"/>
              <a:gd name="connsiteY1" fmla="*/ 0 h 247985"/>
              <a:gd name="connsiteX2" fmla="*/ 1700543 w 1725341"/>
              <a:gd name="connsiteY2" fmla="*/ 0 h 247985"/>
              <a:gd name="connsiteX3" fmla="*/ 1725342 w 1725341"/>
              <a:gd name="connsiteY3" fmla="*/ 24799 h 247985"/>
              <a:gd name="connsiteX4" fmla="*/ 1725341 w 1725341"/>
              <a:gd name="connsiteY4" fmla="*/ 223187 h 247985"/>
              <a:gd name="connsiteX5" fmla="*/ 1700542 w 1725341"/>
              <a:gd name="connsiteY5" fmla="*/ 247986 h 247985"/>
              <a:gd name="connsiteX6" fmla="*/ 24799 w 1725341"/>
              <a:gd name="connsiteY6" fmla="*/ 247985 h 247985"/>
              <a:gd name="connsiteX7" fmla="*/ 0 w 1725341"/>
              <a:gd name="connsiteY7" fmla="*/ 223186 h 247985"/>
              <a:gd name="connsiteX8" fmla="*/ 0 w 1725341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25341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700543" y="0"/>
                </a:lnTo>
                <a:cubicBezTo>
                  <a:pt x="1714239" y="0"/>
                  <a:pt x="1725342" y="11103"/>
                  <a:pt x="1725342" y="24799"/>
                </a:cubicBezTo>
                <a:cubicBezTo>
                  <a:pt x="1725342" y="90928"/>
                  <a:pt x="1725341" y="157058"/>
                  <a:pt x="1725341" y="223187"/>
                </a:cubicBezTo>
                <a:cubicBezTo>
                  <a:pt x="1725341" y="236883"/>
                  <a:pt x="1714238" y="247986"/>
                  <a:pt x="1700542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adoop,1</a:t>
            </a:r>
            <a:endParaRPr lang="zh-CN" altLang="en-US" sz="1100" b="1" kern="1200" dirty="0"/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90C67C54-F03F-4574-B5B3-69A1E94A4D3F}"/>
              </a:ext>
            </a:extLst>
          </p:cNvPr>
          <p:cNvSpPr/>
          <p:nvPr/>
        </p:nvSpPr>
        <p:spPr>
          <a:xfrm>
            <a:off x="1486118" y="1511899"/>
            <a:ext cx="1613936" cy="247985"/>
          </a:xfrm>
          <a:custGeom>
            <a:avLst/>
            <a:gdLst>
              <a:gd name="connsiteX0" fmla="*/ 0 w 1613936"/>
              <a:gd name="connsiteY0" fmla="*/ 24799 h 247985"/>
              <a:gd name="connsiteX1" fmla="*/ 24799 w 1613936"/>
              <a:gd name="connsiteY1" fmla="*/ 0 h 247985"/>
              <a:gd name="connsiteX2" fmla="*/ 1589138 w 1613936"/>
              <a:gd name="connsiteY2" fmla="*/ 0 h 247985"/>
              <a:gd name="connsiteX3" fmla="*/ 1613937 w 1613936"/>
              <a:gd name="connsiteY3" fmla="*/ 24799 h 247985"/>
              <a:gd name="connsiteX4" fmla="*/ 1613936 w 1613936"/>
              <a:gd name="connsiteY4" fmla="*/ 223187 h 247985"/>
              <a:gd name="connsiteX5" fmla="*/ 1589137 w 1613936"/>
              <a:gd name="connsiteY5" fmla="*/ 247986 h 247985"/>
              <a:gd name="connsiteX6" fmla="*/ 24799 w 1613936"/>
              <a:gd name="connsiteY6" fmla="*/ 247985 h 247985"/>
              <a:gd name="connsiteX7" fmla="*/ 0 w 1613936"/>
              <a:gd name="connsiteY7" fmla="*/ 223186 h 247985"/>
              <a:gd name="connsiteX8" fmla="*/ 0 w 1613936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13936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589138" y="0"/>
                </a:lnTo>
                <a:cubicBezTo>
                  <a:pt x="1602834" y="0"/>
                  <a:pt x="1613937" y="11103"/>
                  <a:pt x="1613937" y="24799"/>
                </a:cubicBezTo>
                <a:cubicBezTo>
                  <a:pt x="1613937" y="90928"/>
                  <a:pt x="1613936" y="157058"/>
                  <a:pt x="1613936" y="223187"/>
                </a:cubicBezTo>
                <a:cubicBezTo>
                  <a:pt x="1613936" y="236883"/>
                  <a:pt x="1602833" y="247986"/>
                  <a:pt x="1589137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99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ello,1</a:t>
            </a:r>
            <a:endParaRPr lang="zh-CN" altLang="en-US" sz="1100" b="1" kern="1200" dirty="0"/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D570BD41-D587-42B3-A945-0701119606B4}"/>
              </a:ext>
            </a:extLst>
          </p:cNvPr>
          <p:cNvSpPr/>
          <p:nvPr/>
        </p:nvSpPr>
        <p:spPr>
          <a:xfrm>
            <a:off x="1555792" y="1778136"/>
            <a:ext cx="1474589" cy="247985"/>
          </a:xfrm>
          <a:custGeom>
            <a:avLst/>
            <a:gdLst>
              <a:gd name="connsiteX0" fmla="*/ 0 w 1474589"/>
              <a:gd name="connsiteY0" fmla="*/ 24799 h 247985"/>
              <a:gd name="connsiteX1" fmla="*/ 24799 w 1474589"/>
              <a:gd name="connsiteY1" fmla="*/ 0 h 247985"/>
              <a:gd name="connsiteX2" fmla="*/ 1449791 w 1474589"/>
              <a:gd name="connsiteY2" fmla="*/ 0 h 247985"/>
              <a:gd name="connsiteX3" fmla="*/ 1474590 w 1474589"/>
              <a:gd name="connsiteY3" fmla="*/ 24799 h 247985"/>
              <a:gd name="connsiteX4" fmla="*/ 1474589 w 1474589"/>
              <a:gd name="connsiteY4" fmla="*/ 223187 h 247985"/>
              <a:gd name="connsiteX5" fmla="*/ 1449790 w 1474589"/>
              <a:gd name="connsiteY5" fmla="*/ 247986 h 247985"/>
              <a:gd name="connsiteX6" fmla="*/ 24799 w 1474589"/>
              <a:gd name="connsiteY6" fmla="*/ 247985 h 247985"/>
              <a:gd name="connsiteX7" fmla="*/ 0 w 1474589"/>
              <a:gd name="connsiteY7" fmla="*/ 223186 h 247985"/>
              <a:gd name="connsiteX8" fmla="*/ 0 w 1474589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74589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449791" y="0"/>
                </a:lnTo>
                <a:cubicBezTo>
                  <a:pt x="1463487" y="0"/>
                  <a:pt x="1474590" y="11103"/>
                  <a:pt x="1474590" y="24799"/>
                </a:cubicBezTo>
                <a:cubicBezTo>
                  <a:pt x="1474590" y="90928"/>
                  <a:pt x="1474589" y="157058"/>
                  <a:pt x="1474589" y="223187"/>
                </a:cubicBezTo>
                <a:cubicBezTo>
                  <a:pt x="1474589" y="236883"/>
                  <a:pt x="1463486" y="247986"/>
                  <a:pt x="1449790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I,1</a:t>
            </a:r>
            <a:endParaRPr lang="zh-CN" altLang="en-US" sz="1100" b="1" kern="1200" dirty="0"/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215F389F-B06C-4AA2-9B81-BC0E370C2994}"/>
              </a:ext>
            </a:extLst>
          </p:cNvPr>
          <p:cNvSpPr/>
          <p:nvPr/>
        </p:nvSpPr>
        <p:spPr>
          <a:xfrm>
            <a:off x="1592584" y="2044373"/>
            <a:ext cx="1401005" cy="247985"/>
          </a:xfrm>
          <a:custGeom>
            <a:avLst/>
            <a:gdLst>
              <a:gd name="connsiteX0" fmla="*/ 0 w 1401005"/>
              <a:gd name="connsiteY0" fmla="*/ 24799 h 247985"/>
              <a:gd name="connsiteX1" fmla="*/ 24799 w 1401005"/>
              <a:gd name="connsiteY1" fmla="*/ 0 h 247985"/>
              <a:gd name="connsiteX2" fmla="*/ 1376207 w 1401005"/>
              <a:gd name="connsiteY2" fmla="*/ 0 h 247985"/>
              <a:gd name="connsiteX3" fmla="*/ 1401006 w 1401005"/>
              <a:gd name="connsiteY3" fmla="*/ 24799 h 247985"/>
              <a:gd name="connsiteX4" fmla="*/ 1401005 w 1401005"/>
              <a:gd name="connsiteY4" fmla="*/ 223187 h 247985"/>
              <a:gd name="connsiteX5" fmla="*/ 1376206 w 1401005"/>
              <a:gd name="connsiteY5" fmla="*/ 247986 h 247985"/>
              <a:gd name="connsiteX6" fmla="*/ 24799 w 1401005"/>
              <a:gd name="connsiteY6" fmla="*/ 247985 h 247985"/>
              <a:gd name="connsiteX7" fmla="*/ 0 w 1401005"/>
              <a:gd name="connsiteY7" fmla="*/ 223186 h 247985"/>
              <a:gd name="connsiteX8" fmla="*/ 0 w 1401005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01005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376207" y="0"/>
                </a:lnTo>
                <a:cubicBezTo>
                  <a:pt x="1389903" y="0"/>
                  <a:pt x="1401006" y="11103"/>
                  <a:pt x="1401006" y="24799"/>
                </a:cubicBezTo>
                <a:cubicBezTo>
                  <a:pt x="1401006" y="90928"/>
                  <a:pt x="1401005" y="157058"/>
                  <a:pt x="1401005" y="223187"/>
                </a:cubicBezTo>
                <a:cubicBezTo>
                  <a:pt x="1401005" y="236883"/>
                  <a:pt x="1389902" y="247986"/>
                  <a:pt x="1376206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like,1</a:t>
            </a:r>
            <a:endParaRPr lang="zh-CN" altLang="en-US" sz="1100" b="1" kern="1200" dirty="0"/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F6035C0F-963C-4EDE-B572-F7FB757A0064}"/>
              </a:ext>
            </a:extLst>
          </p:cNvPr>
          <p:cNvSpPr/>
          <p:nvPr/>
        </p:nvSpPr>
        <p:spPr>
          <a:xfrm>
            <a:off x="1638365" y="2310610"/>
            <a:ext cx="1309443" cy="247985"/>
          </a:xfrm>
          <a:custGeom>
            <a:avLst/>
            <a:gdLst>
              <a:gd name="connsiteX0" fmla="*/ 0 w 1309443"/>
              <a:gd name="connsiteY0" fmla="*/ 24799 h 247985"/>
              <a:gd name="connsiteX1" fmla="*/ 24799 w 1309443"/>
              <a:gd name="connsiteY1" fmla="*/ 0 h 247985"/>
              <a:gd name="connsiteX2" fmla="*/ 1284645 w 1309443"/>
              <a:gd name="connsiteY2" fmla="*/ 0 h 247985"/>
              <a:gd name="connsiteX3" fmla="*/ 1309444 w 1309443"/>
              <a:gd name="connsiteY3" fmla="*/ 24799 h 247985"/>
              <a:gd name="connsiteX4" fmla="*/ 1309443 w 1309443"/>
              <a:gd name="connsiteY4" fmla="*/ 223187 h 247985"/>
              <a:gd name="connsiteX5" fmla="*/ 1284644 w 1309443"/>
              <a:gd name="connsiteY5" fmla="*/ 247986 h 247985"/>
              <a:gd name="connsiteX6" fmla="*/ 24799 w 1309443"/>
              <a:gd name="connsiteY6" fmla="*/ 247985 h 247985"/>
              <a:gd name="connsiteX7" fmla="*/ 0 w 1309443"/>
              <a:gd name="connsiteY7" fmla="*/ 223186 h 247985"/>
              <a:gd name="connsiteX8" fmla="*/ 0 w 1309443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09443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284645" y="0"/>
                </a:lnTo>
                <a:cubicBezTo>
                  <a:pt x="1298341" y="0"/>
                  <a:pt x="1309444" y="11103"/>
                  <a:pt x="1309444" y="24799"/>
                </a:cubicBezTo>
                <a:cubicBezTo>
                  <a:pt x="1309444" y="90928"/>
                  <a:pt x="1309443" y="157058"/>
                  <a:pt x="1309443" y="223187"/>
                </a:cubicBezTo>
                <a:cubicBezTo>
                  <a:pt x="1309443" y="236883"/>
                  <a:pt x="1298340" y="247986"/>
                  <a:pt x="1284644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World,1</a:t>
            </a:r>
            <a:endParaRPr lang="zh-CN" altLang="en-US" sz="1100" b="1" kern="1200" dirty="0"/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AD3D7401-BDBC-48A4-9DEC-C3ABE5D0E4EB}"/>
              </a:ext>
            </a:extLst>
          </p:cNvPr>
          <p:cNvSpPr/>
          <p:nvPr/>
        </p:nvSpPr>
        <p:spPr>
          <a:xfrm>
            <a:off x="1356478" y="2977703"/>
            <a:ext cx="1873215" cy="246029"/>
          </a:xfrm>
          <a:custGeom>
            <a:avLst/>
            <a:gdLst>
              <a:gd name="connsiteX0" fmla="*/ 0 w 1873215"/>
              <a:gd name="connsiteY0" fmla="*/ 24603 h 246029"/>
              <a:gd name="connsiteX1" fmla="*/ 24603 w 1873215"/>
              <a:gd name="connsiteY1" fmla="*/ 0 h 246029"/>
              <a:gd name="connsiteX2" fmla="*/ 1848612 w 1873215"/>
              <a:gd name="connsiteY2" fmla="*/ 0 h 246029"/>
              <a:gd name="connsiteX3" fmla="*/ 1873215 w 1873215"/>
              <a:gd name="connsiteY3" fmla="*/ 24603 h 246029"/>
              <a:gd name="connsiteX4" fmla="*/ 1873215 w 1873215"/>
              <a:gd name="connsiteY4" fmla="*/ 221426 h 246029"/>
              <a:gd name="connsiteX5" fmla="*/ 1848612 w 1873215"/>
              <a:gd name="connsiteY5" fmla="*/ 246029 h 246029"/>
              <a:gd name="connsiteX6" fmla="*/ 24603 w 1873215"/>
              <a:gd name="connsiteY6" fmla="*/ 246029 h 246029"/>
              <a:gd name="connsiteX7" fmla="*/ 0 w 1873215"/>
              <a:gd name="connsiteY7" fmla="*/ 221426 h 246029"/>
              <a:gd name="connsiteX8" fmla="*/ 0 w 1873215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3215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848612" y="0"/>
                </a:lnTo>
                <a:cubicBezTo>
                  <a:pt x="1862200" y="0"/>
                  <a:pt x="1873215" y="11015"/>
                  <a:pt x="1873215" y="24603"/>
                </a:cubicBezTo>
                <a:lnTo>
                  <a:pt x="1873215" y="221426"/>
                </a:lnTo>
                <a:cubicBezTo>
                  <a:pt x="1873215" y="235014"/>
                  <a:pt x="1862200" y="246029"/>
                  <a:pt x="1848612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adoop,1</a:t>
            </a:r>
            <a:endParaRPr lang="zh-CN" altLang="en-US" sz="1100" b="1" kern="1200" dirty="0"/>
          </a:p>
        </p:txBody>
      </p:sp>
      <p:sp>
        <p:nvSpPr>
          <p:cNvPr id="20" name="任意多边形: 形状 19">
            <a:extLst>
              <a:ext uri="{FF2B5EF4-FFF2-40B4-BE49-F238E27FC236}">
                <a16:creationId xmlns:a16="http://schemas.microsoft.com/office/drawing/2014/main" id="{61D36425-725B-4100-9DB9-F1C6EBF97FB4}"/>
              </a:ext>
            </a:extLst>
          </p:cNvPr>
          <p:cNvSpPr/>
          <p:nvPr/>
        </p:nvSpPr>
        <p:spPr>
          <a:xfrm>
            <a:off x="1457328" y="3243444"/>
            <a:ext cx="1671516" cy="246029"/>
          </a:xfrm>
          <a:custGeom>
            <a:avLst/>
            <a:gdLst>
              <a:gd name="connsiteX0" fmla="*/ 0 w 1671516"/>
              <a:gd name="connsiteY0" fmla="*/ 24603 h 246029"/>
              <a:gd name="connsiteX1" fmla="*/ 24603 w 1671516"/>
              <a:gd name="connsiteY1" fmla="*/ 0 h 246029"/>
              <a:gd name="connsiteX2" fmla="*/ 1646913 w 1671516"/>
              <a:gd name="connsiteY2" fmla="*/ 0 h 246029"/>
              <a:gd name="connsiteX3" fmla="*/ 1671516 w 1671516"/>
              <a:gd name="connsiteY3" fmla="*/ 24603 h 246029"/>
              <a:gd name="connsiteX4" fmla="*/ 1671516 w 1671516"/>
              <a:gd name="connsiteY4" fmla="*/ 221426 h 246029"/>
              <a:gd name="connsiteX5" fmla="*/ 1646913 w 1671516"/>
              <a:gd name="connsiteY5" fmla="*/ 246029 h 246029"/>
              <a:gd name="connsiteX6" fmla="*/ 24603 w 1671516"/>
              <a:gd name="connsiteY6" fmla="*/ 246029 h 246029"/>
              <a:gd name="connsiteX7" fmla="*/ 0 w 1671516"/>
              <a:gd name="connsiteY7" fmla="*/ 221426 h 246029"/>
              <a:gd name="connsiteX8" fmla="*/ 0 w 1671516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1516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646913" y="0"/>
                </a:lnTo>
                <a:cubicBezTo>
                  <a:pt x="1660501" y="0"/>
                  <a:pt x="1671516" y="11015"/>
                  <a:pt x="1671516" y="24603"/>
                </a:cubicBezTo>
                <a:lnTo>
                  <a:pt x="1671516" y="221426"/>
                </a:lnTo>
                <a:cubicBezTo>
                  <a:pt x="1671516" y="235014"/>
                  <a:pt x="1660501" y="246029"/>
                  <a:pt x="1646913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99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ello,1</a:t>
            </a:r>
            <a:endParaRPr lang="zh-CN" altLang="en-US" sz="1100" b="1" kern="1200" dirty="0"/>
          </a:p>
        </p:txBody>
      </p:sp>
      <p:sp>
        <p:nvSpPr>
          <p:cNvPr id="21" name="任意多边形: 形状 20">
            <a:extLst>
              <a:ext uri="{FF2B5EF4-FFF2-40B4-BE49-F238E27FC236}">
                <a16:creationId xmlns:a16="http://schemas.microsoft.com/office/drawing/2014/main" id="{9765C789-B7E3-4DB0-9E05-1539E8B73D29}"/>
              </a:ext>
            </a:extLst>
          </p:cNvPr>
          <p:cNvSpPr/>
          <p:nvPr/>
        </p:nvSpPr>
        <p:spPr>
          <a:xfrm>
            <a:off x="1504715" y="3509185"/>
            <a:ext cx="1576742" cy="246029"/>
          </a:xfrm>
          <a:custGeom>
            <a:avLst/>
            <a:gdLst>
              <a:gd name="connsiteX0" fmla="*/ 0 w 1576742"/>
              <a:gd name="connsiteY0" fmla="*/ 24603 h 246029"/>
              <a:gd name="connsiteX1" fmla="*/ 24603 w 1576742"/>
              <a:gd name="connsiteY1" fmla="*/ 0 h 246029"/>
              <a:gd name="connsiteX2" fmla="*/ 1552139 w 1576742"/>
              <a:gd name="connsiteY2" fmla="*/ 0 h 246029"/>
              <a:gd name="connsiteX3" fmla="*/ 1576742 w 1576742"/>
              <a:gd name="connsiteY3" fmla="*/ 24603 h 246029"/>
              <a:gd name="connsiteX4" fmla="*/ 1576742 w 1576742"/>
              <a:gd name="connsiteY4" fmla="*/ 221426 h 246029"/>
              <a:gd name="connsiteX5" fmla="*/ 1552139 w 1576742"/>
              <a:gd name="connsiteY5" fmla="*/ 246029 h 246029"/>
              <a:gd name="connsiteX6" fmla="*/ 24603 w 1576742"/>
              <a:gd name="connsiteY6" fmla="*/ 246029 h 246029"/>
              <a:gd name="connsiteX7" fmla="*/ 0 w 1576742"/>
              <a:gd name="connsiteY7" fmla="*/ 221426 h 246029"/>
              <a:gd name="connsiteX8" fmla="*/ 0 w 1576742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6742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552139" y="0"/>
                </a:lnTo>
                <a:cubicBezTo>
                  <a:pt x="1565727" y="0"/>
                  <a:pt x="1576742" y="11015"/>
                  <a:pt x="1576742" y="24603"/>
                </a:cubicBezTo>
                <a:lnTo>
                  <a:pt x="1576742" y="221426"/>
                </a:lnTo>
                <a:cubicBezTo>
                  <a:pt x="1576742" y="235014"/>
                  <a:pt x="1565727" y="246029"/>
                  <a:pt x="1552139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I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728C15DC-9B93-4335-B8FF-DBC73CDCC1BE}"/>
              </a:ext>
            </a:extLst>
          </p:cNvPr>
          <p:cNvSpPr/>
          <p:nvPr/>
        </p:nvSpPr>
        <p:spPr>
          <a:xfrm>
            <a:off x="1550182" y="3774926"/>
            <a:ext cx="1485807" cy="246029"/>
          </a:xfrm>
          <a:custGeom>
            <a:avLst/>
            <a:gdLst>
              <a:gd name="connsiteX0" fmla="*/ 0 w 1485807"/>
              <a:gd name="connsiteY0" fmla="*/ 24603 h 246029"/>
              <a:gd name="connsiteX1" fmla="*/ 24603 w 1485807"/>
              <a:gd name="connsiteY1" fmla="*/ 0 h 246029"/>
              <a:gd name="connsiteX2" fmla="*/ 1461204 w 1485807"/>
              <a:gd name="connsiteY2" fmla="*/ 0 h 246029"/>
              <a:gd name="connsiteX3" fmla="*/ 1485807 w 1485807"/>
              <a:gd name="connsiteY3" fmla="*/ 24603 h 246029"/>
              <a:gd name="connsiteX4" fmla="*/ 1485807 w 1485807"/>
              <a:gd name="connsiteY4" fmla="*/ 221426 h 246029"/>
              <a:gd name="connsiteX5" fmla="*/ 1461204 w 1485807"/>
              <a:gd name="connsiteY5" fmla="*/ 246029 h 246029"/>
              <a:gd name="connsiteX6" fmla="*/ 24603 w 1485807"/>
              <a:gd name="connsiteY6" fmla="*/ 246029 h 246029"/>
              <a:gd name="connsiteX7" fmla="*/ 0 w 1485807"/>
              <a:gd name="connsiteY7" fmla="*/ 221426 h 246029"/>
              <a:gd name="connsiteX8" fmla="*/ 0 w 1485807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85807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461204" y="0"/>
                </a:lnTo>
                <a:cubicBezTo>
                  <a:pt x="1474792" y="0"/>
                  <a:pt x="1485807" y="11015"/>
                  <a:pt x="1485807" y="24603"/>
                </a:cubicBezTo>
                <a:lnTo>
                  <a:pt x="1485807" y="221426"/>
                </a:lnTo>
                <a:cubicBezTo>
                  <a:pt x="1485807" y="235014"/>
                  <a:pt x="1474792" y="246029"/>
                  <a:pt x="1461204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like,1</a:t>
            </a:r>
            <a:endParaRPr lang="zh-CN" altLang="en-US" sz="1100" b="1" kern="1200" dirty="0"/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C5B9557A-4817-40A4-9B63-88927FE37BE4}"/>
              </a:ext>
            </a:extLst>
          </p:cNvPr>
          <p:cNvSpPr/>
          <p:nvPr/>
        </p:nvSpPr>
        <p:spPr>
          <a:xfrm>
            <a:off x="1587084" y="4040667"/>
            <a:ext cx="1412003" cy="246029"/>
          </a:xfrm>
          <a:custGeom>
            <a:avLst/>
            <a:gdLst>
              <a:gd name="connsiteX0" fmla="*/ 0 w 1412003"/>
              <a:gd name="connsiteY0" fmla="*/ 24603 h 246029"/>
              <a:gd name="connsiteX1" fmla="*/ 24603 w 1412003"/>
              <a:gd name="connsiteY1" fmla="*/ 0 h 246029"/>
              <a:gd name="connsiteX2" fmla="*/ 1387400 w 1412003"/>
              <a:gd name="connsiteY2" fmla="*/ 0 h 246029"/>
              <a:gd name="connsiteX3" fmla="*/ 1412003 w 1412003"/>
              <a:gd name="connsiteY3" fmla="*/ 24603 h 246029"/>
              <a:gd name="connsiteX4" fmla="*/ 1412003 w 1412003"/>
              <a:gd name="connsiteY4" fmla="*/ 221426 h 246029"/>
              <a:gd name="connsiteX5" fmla="*/ 1387400 w 1412003"/>
              <a:gd name="connsiteY5" fmla="*/ 246029 h 246029"/>
              <a:gd name="connsiteX6" fmla="*/ 24603 w 1412003"/>
              <a:gd name="connsiteY6" fmla="*/ 246029 h 246029"/>
              <a:gd name="connsiteX7" fmla="*/ 0 w 1412003"/>
              <a:gd name="connsiteY7" fmla="*/ 221426 h 246029"/>
              <a:gd name="connsiteX8" fmla="*/ 0 w 1412003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12003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387400" y="0"/>
                </a:lnTo>
                <a:cubicBezTo>
                  <a:pt x="1400988" y="0"/>
                  <a:pt x="1412003" y="11015"/>
                  <a:pt x="1412003" y="24603"/>
                </a:cubicBezTo>
                <a:lnTo>
                  <a:pt x="1412003" y="221426"/>
                </a:lnTo>
                <a:cubicBezTo>
                  <a:pt x="1412003" y="235014"/>
                  <a:pt x="1400988" y="246029"/>
                  <a:pt x="1387400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050" b="1" kern="1200" dirty="0">
                <a:latin typeface="Arial"/>
                <a:ea typeface="微软雅黑"/>
                <a:cs typeface="+mn-cs"/>
              </a:rPr>
              <a:t>MapReduce,1</a:t>
            </a:r>
            <a:endParaRPr lang="zh-CN" altLang="en-US" sz="105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25" name="任意多边形: 形状 24">
            <a:extLst>
              <a:ext uri="{FF2B5EF4-FFF2-40B4-BE49-F238E27FC236}">
                <a16:creationId xmlns:a16="http://schemas.microsoft.com/office/drawing/2014/main" id="{296CDF8D-27C6-4E43-A412-ECABF71E80F3}"/>
              </a:ext>
            </a:extLst>
          </p:cNvPr>
          <p:cNvSpPr/>
          <p:nvPr/>
        </p:nvSpPr>
        <p:spPr>
          <a:xfrm>
            <a:off x="1356018" y="4707774"/>
            <a:ext cx="1874133" cy="246029"/>
          </a:xfrm>
          <a:custGeom>
            <a:avLst/>
            <a:gdLst>
              <a:gd name="connsiteX0" fmla="*/ 0 w 1874133"/>
              <a:gd name="connsiteY0" fmla="*/ 24603 h 246029"/>
              <a:gd name="connsiteX1" fmla="*/ 24603 w 1874133"/>
              <a:gd name="connsiteY1" fmla="*/ 0 h 246029"/>
              <a:gd name="connsiteX2" fmla="*/ 1849530 w 1874133"/>
              <a:gd name="connsiteY2" fmla="*/ 0 h 246029"/>
              <a:gd name="connsiteX3" fmla="*/ 1874133 w 1874133"/>
              <a:gd name="connsiteY3" fmla="*/ 24603 h 246029"/>
              <a:gd name="connsiteX4" fmla="*/ 1874133 w 1874133"/>
              <a:gd name="connsiteY4" fmla="*/ 221426 h 246029"/>
              <a:gd name="connsiteX5" fmla="*/ 1849530 w 1874133"/>
              <a:gd name="connsiteY5" fmla="*/ 246029 h 246029"/>
              <a:gd name="connsiteX6" fmla="*/ 24603 w 1874133"/>
              <a:gd name="connsiteY6" fmla="*/ 246029 h 246029"/>
              <a:gd name="connsiteX7" fmla="*/ 0 w 1874133"/>
              <a:gd name="connsiteY7" fmla="*/ 221426 h 246029"/>
              <a:gd name="connsiteX8" fmla="*/ 0 w 1874133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4133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849530" y="0"/>
                </a:lnTo>
                <a:cubicBezTo>
                  <a:pt x="1863118" y="0"/>
                  <a:pt x="1874133" y="11015"/>
                  <a:pt x="1874133" y="24603"/>
                </a:cubicBezTo>
                <a:lnTo>
                  <a:pt x="1874133" y="221426"/>
                </a:lnTo>
                <a:cubicBezTo>
                  <a:pt x="1874133" y="235014"/>
                  <a:pt x="1863118" y="246029"/>
                  <a:pt x="1849530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ello,1</a:t>
            </a:r>
            <a:endParaRPr lang="zh-CN" altLang="en-US" sz="1100" b="1" kern="1200" dirty="0"/>
          </a:p>
        </p:txBody>
      </p:sp>
      <p:sp>
        <p:nvSpPr>
          <p:cNvPr id="26" name="任意多边形: 形状 25">
            <a:extLst>
              <a:ext uri="{FF2B5EF4-FFF2-40B4-BE49-F238E27FC236}">
                <a16:creationId xmlns:a16="http://schemas.microsoft.com/office/drawing/2014/main" id="{722CFC5D-532E-4CB8-9887-648F93AA2E6C}"/>
              </a:ext>
            </a:extLst>
          </p:cNvPr>
          <p:cNvSpPr/>
          <p:nvPr/>
        </p:nvSpPr>
        <p:spPr>
          <a:xfrm>
            <a:off x="1457733" y="4973515"/>
            <a:ext cx="1670703" cy="246029"/>
          </a:xfrm>
          <a:custGeom>
            <a:avLst/>
            <a:gdLst>
              <a:gd name="connsiteX0" fmla="*/ 0 w 1670703"/>
              <a:gd name="connsiteY0" fmla="*/ 24603 h 246029"/>
              <a:gd name="connsiteX1" fmla="*/ 24603 w 1670703"/>
              <a:gd name="connsiteY1" fmla="*/ 0 h 246029"/>
              <a:gd name="connsiteX2" fmla="*/ 1646100 w 1670703"/>
              <a:gd name="connsiteY2" fmla="*/ 0 h 246029"/>
              <a:gd name="connsiteX3" fmla="*/ 1670703 w 1670703"/>
              <a:gd name="connsiteY3" fmla="*/ 24603 h 246029"/>
              <a:gd name="connsiteX4" fmla="*/ 1670703 w 1670703"/>
              <a:gd name="connsiteY4" fmla="*/ 221426 h 246029"/>
              <a:gd name="connsiteX5" fmla="*/ 1646100 w 1670703"/>
              <a:gd name="connsiteY5" fmla="*/ 246029 h 246029"/>
              <a:gd name="connsiteX6" fmla="*/ 24603 w 1670703"/>
              <a:gd name="connsiteY6" fmla="*/ 246029 h 246029"/>
              <a:gd name="connsiteX7" fmla="*/ 0 w 1670703"/>
              <a:gd name="connsiteY7" fmla="*/ 221426 h 246029"/>
              <a:gd name="connsiteX8" fmla="*/ 0 w 1670703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703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646100" y="0"/>
                </a:lnTo>
                <a:cubicBezTo>
                  <a:pt x="1659688" y="0"/>
                  <a:pt x="1670703" y="11015"/>
                  <a:pt x="1670703" y="24603"/>
                </a:cubicBezTo>
                <a:lnTo>
                  <a:pt x="1670703" y="221426"/>
                </a:lnTo>
                <a:cubicBezTo>
                  <a:pt x="1670703" y="235014"/>
                  <a:pt x="1659688" y="246029"/>
                  <a:pt x="1646100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99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I,1</a:t>
            </a:r>
            <a:endParaRPr lang="zh-CN" altLang="en-US" sz="1100" b="1" kern="1200" dirty="0"/>
          </a:p>
        </p:txBody>
      </p:sp>
      <p:sp>
        <p:nvSpPr>
          <p:cNvPr id="27" name="任意多边形: 形状 26">
            <a:extLst>
              <a:ext uri="{FF2B5EF4-FFF2-40B4-BE49-F238E27FC236}">
                <a16:creationId xmlns:a16="http://schemas.microsoft.com/office/drawing/2014/main" id="{4128A72F-9C48-434C-BA4C-322D0193DD74}"/>
              </a:ext>
            </a:extLst>
          </p:cNvPr>
          <p:cNvSpPr/>
          <p:nvPr/>
        </p:nvSpPr>
        <p:spPr>
          <a:xfrm>
            <a:off x="1506255" y="5239256"/>
            <a:ext cx="1573660" cy="246029"/>
          </a:xfrm>
          <a:custGeom>
            <a:avLst/>
            <a:gdLst>
              <a:gd name="connsiteX0" fmla="*/ 0 w 1573660"/>
              <a:gd name="connsiteY0" fmla="*/ 24603 h 246029"/>
              <a:gd name="connsiteX1" fmla="*/ 24603 w 1573660"/>
              <a:gd name="connsiteY1" fmla="*/ 0 h 246029"/>
              <a:gd name="connsiteX2" fmla="*/ 1549057 w 1573660"/>
              <a:gd name="connsiteY2" fmla="*/ 0 h 246029"/>
              <a:gd name="connsiteX3" fmla="*/ 1573660 w 1573660"/>
              <a:gd name="connsiteY3" fmla="*/ 24603 h 246029"/>
              <a:gd name="connsiteX4" fmla="*/ 1573660 w 1573660"/>
              <a:gd name="connsiteY4" fmla="*/ 221426 h 246029"/>
              <a:gd name="connsiteX5" fmla="*/ 1549057 w 1573660"/>
              <a:gd name="connsiteY5" fmla="*/ 246029 h 246029"/>
              <a:gd name="connsiteX6" fmla="*/ 24603 w 1573660"/>
              <a:gd name="connsiteY6" fmla="*/ 246029 h 246029"/>
              <a:gd name="connsiteX7" fmla="*/ 0 w 1573660"/>
              <a:gd name="connsiteY7" fmla="*/ 221426 h 246029"/>
              <a:gd name="connsiteX8" fmla="*/ 0 w 1573660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3660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549057" y="0"/>
                </a:lnTo>
                <a:cubicBezTo>
                  <a:pt x="1562645" y="0"/>
                  <a:pt x="1573660" y="11015"/>
                  <a:pt x="1573660" y="24603"/>
                </a:cubicBezTo>
                <a:lnTo>
                  <a:pt x="1573660" y="221426"/>
                </a:lnTo>
                <a:cubicBezTo>
                  <a:pt x="1573660" y="235014"/>
                  <a:pt x="1562645" y="246029"/>
                  <a:pt x="1549057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Java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CE88977E-9269-4910-A639-F84215CC93A8}"/>
              </a:ext>
            </a:extLst>
          </p:cNvPr>
          <p:cNvSpPr/>
          <p:nvPr/>
        </p:nvSpPr>
        <p:spPr>
          <a:xfrm>
            <a:off x="1553080" y="5504997"/>
            <a:ext cx="1480010" cy="246029"/>
          </a:xfrm>
          <a:custGeom>
            <a:avLst/>
            <a:gdLst>
              <a:gd name="connsiteX0" fmla="*/ 0 w 1480010"/>
              <a:gd name="connsiteY0" fmla="*/ 24603 h 246029"/>
              <a:gd name="connsiteX1" fmla="*/ 24603 w 1480010"/>
              <a:gd name="connsiteY1" fmla="*/ 0 h 246029"/>
              <a:gd name="connsiteX2" fmla="*/ 1455407 w 1480010"/>
              <a:gd name="connsiteY2" fmla="*/ 0 h 246029"/>
              <a:gd name="connsiteX3" fmla="*/ 1480010 w 1480010"/>
              <a:gd name="connsiteY3" fmla="*/ 24603 h 246029"/>
              <a:gd name="connsiteX4" fmla="*/ 1480010 w 1480010"/>
              <a:gd name="connsiteY4" fmla="*/ 221426 h 246029"/>
              <a:gd name="connsiteX5" fmla="*/ 1455407 w 1480010"/>
              <a:gd name="connsiteY5" fmla="*/ 246029 h 246029"/>
              <a:gd name="connsiteX6" fmla="*/ 24603 w 1480010"/>
              <a:gd name="connsiteY6" fmla="*/ 246029 h 246029"/>
              <a:gd name="connsiteX7" fmla="*/ 0 w 1480010"/>
              <a:gd name="connsiteY7" fmla="*/ 221426 h 246029"/>
              <a:gd name="connsiteX8" fmla="*/ 0 w 1480010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80010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455407" y="0"/>
                </a:lnTo>
                <a:cubicBezTo>
                  <a:pt x="1468995" y="0"/>
                  <a:pt x="1480010" y="11015"/>
                  <a:pt x="1480010" y="24603"/>
                </a:cubicBezTo>
                <a:lnTo>
                  <a:pt x="1480010" y="221426"/>
                </a:lnTo>
                <a:cubicBezTo>
                  <a:pt x="1480010" y="235014"/>
                  <a:pt x="1468995" y="246029"/>
                  <a:pt x="1455407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like,1</a:t>
            </a:r>
            <a:endParaRPr lang="zh-CN" altLang="en-US" sz="1100" b="1" kern="1200" dirty="0"/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613B5803-2DB8-4508-82BA-7EA0FBF1FC3C}"/>
              </a:ext>
            </a:extLst>
          </p:cNvPr>
          <p:cNvSpPr/>
          <p:nvPr/>
        </p:nvSpPr>
        <p:spPr>
          <a:xfrm>
            <a:off x="1595633" y="5770738"/>
            <a:ext cx="1394904" cy="246029"/>
          </a:xfrm>
          <a:custGeom>
            <a:avLst/>
            <a:gdLst>
              <a:gd name="connsiteX0" fmla="*/ 0 w 1394904"/>
              <a:gd name="connsiteY0" fmla="*/ 24603 h 246029"/>
              <a:gd name="connsiteX1" fmla="*/ 24603 w 1394904"/>
              <a:gd name="connsiteY1" fmla="*/ 0 h 246029"/>
              <a:gd name="connsiteX2" fmla="*/ 1370301 w 1394904"/>
              <a:gd name="connsiteY2" fmla="*/ 0 h 246029"/>
              <a:gd name="connsiteX3" fmla="*/ 1394904 w 1394904"/>
              <a:gd name="connsiteY3" fmla="*/ 24603 h 246029"/>
              <a:gd name="connsiteX4" fmla="*/ 1394904 w 1394904"/>
              <a:gd name="connsiteY4" fmla="*/ 221426 h 246029"/>
              <a:gd name="connsiteX5" fmla="*/ 1370301 w 1394904"/>
              <a:gd name="connsiteY5" fmla="*/ 246029 h 246029"/>
              <a:gd name="connsiteX6" fmla="*/ 24603 w 1394904"/>
              <a:gd name="connsiteY6" fmla="*/ 246029 h 246029"/>
              <a:gd name="connsiteX7" fmla="*/ 0 w 1394904"/>
              <a:gd name="connsiteY7" fmla="*/ 221426 h 246029"/>
              <a:gd name="connsiteX8" fmla="*/ 0 w 1394904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94904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370301" y="0"/>
                </a:lnTo>
                <a:cubicBezTo>
                  <a:pt x="1383889" y="0"/>
                  <a:pt x="1394904" y="11015"/>
                  <a:pt x="1394904" y="24603"/>
                </a:cubicBezTo>
                <a:lnTo>
                  <a:pt x="1394904" y="221426"/>
                </a:lnTo>
                <a:cubicBezTo>
                  <a:pt x="1394904" y="235014"/>
                  <a:pt x="1383889" y="246029"/>
                  <a:pt x="1370301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MapReduce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32" name="标题 3">
            <a:extLst>
              <a:ext uri="{FF2B5EF4-FFF2-40B4-BE49-F238E27FC236}">
                <a16:creationId xmlns:a16="http://schemas.microsoft.com/office/drawing/2014/main" id="{4EA5887E-594B-4F9E-B713-7C204956FE2D}"/>
              </a:ext>
            </a:extLst>
          </p:cNvPr>
          <p:cNvSpPr txBox="1">
            <a:spLocks/>
          </p:cNvSpPr>
          <p:nvPr/>
        </p:nvSpPr>
        <p:spPr>
          <a:xfrm>
            <a:off x="502444" y="-514350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MapReduce</a:t>
            </a:r>
            <a:r>
              <a:rPr lang="zh-CN" altLang="en-US" dirty="0"/>
              <a:t>工作流程</a:t>
            </a:r>
          </a:p>
        </p:txBody>
      </p: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58DC52F2-CC78-4AA9-B594-19A5E7C89907}"/>
              </a:ext>
            </a:extLst>
          </p:cNvPr>
          <p:cNvGrpSpPr/>
          <p:nvPr/>
        </p:nvGrpSpPr>
        <p:grpSpPr>
          <a:xfrm>
            <a:off x="5468332" y="495654"/>
            <a:ext cx="2793511" cy="5638446"/>
            <a:chOff x="5468332" y="495654"/>
            <a:chExt cx="2793511" cy="5638446"/>
          </a:xfrm>
        </p:grpSpPr>
        <p:grpSp>
          <p:nvGrpSpPr>
            <p:cNvPr id="31" name="组合 30">
              <a:extLst>
                <a:ext uri="{FF2B5EF4-FFF2-40B4-BE49-F238E27FC236}">
                  <a16:creationId xmlns:a16="http://schemas.microsoft.com/office/drawing/2014/main" id="{EA8693D5-7024-45AA-9EB3-7C6E1D77ADE2}"/>
                </a:ext>
              </a:extLst>
            </p:cNvPr>
            <p:cNvGrpSpPr/>
            <p:nvPr/>
          </p:nvGrpSpPr>
          <p:grpSpPr>
            <a:xfrm>
              <a:off x="5468332" y="495654"/>
              <a:ext cx="2793511" cy="5638446"/>
              <a:chOff x="4965095" y="495654"/>
              <a:chExt cx="2793511" cy="5638446"/>
            </a:xfrm>
          </p:grpSpPr>
          <p:sp>
            <p:nvSpPr>
              <p:cNvPr id="35" name="矩形: 圆角 34">
                <a:extLst>
                  <a:ext uri="{FF2B5EF4-FFF2-40B4-BE49-F238E27FC236}">
                    <a16:creationId xmlns:a16="http://schemas.microsoft.com/office/drawing/2014/main" id="{160CF4E0-52B2-4A3F-8EB0-91071C5C2410}"/>
                  </a:ext>
                </a:extLst>
              </p:cNvPr>
              <p:cNvSpPr/>
              <p:nvPr/>
            </p:nvSpPr>
            <p:spPr>
              <a:xfrm>
                <a:off x="4965095" y="1130300"/>
                <a:ext cx="2793511" cy="5003800"/>
              </a:xfrm>
              <a:prstGeom prst="round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2" name="文本框 41">
                <a:extLst>
                  <a:ext uri="{FF2B5EF4-FFF2-40B4-BE49-F238E27FC236}">
                    <a16:creationId xmlns:a16="http://schemas.microsoft.com/office/drawing/2014/main" id="{8A8236DC-A948-44D4-A62A-079D0FB9C5E6}"/>
                  </a:ext>
                </a:extLst>
              </p:cNvPr>
              <p:cNvSpPr txBox="1"/>
              <p:nvPr/>
            </p:nvSpPr>
            <p:spPr>
              <a:xfrm>
                <a:off x="5473087" y="495654"/>
                <a:ext cx="177752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2800" dirty="0"/>
                  <a:t>Reduce()</a:t>
                </a:r>
                <a:endParaRPr lang="zh-CN" altLang="en-US" sz="2800" dirty="0"/>
              </a:p>
            </p:txBody>
          </p:sp>
        </p:grpSp>
        <p:sp>
          <p:nvSpPr>
            <p:cNvPr id="33" name="矩形: 圆角 32">
              <a:extLst>
                <a:ext uri="{FF2B5EF4-FFF2-40B4-BE49-F238E27FC236}">
                  <a16:creationId xmlns:a16="http://schemas.microsoft.com/office/drawing/2014/main" id="{8666965C-7A61-4CA2-ACCA-F9FD4AD30711}"/>
                </a:ext>
              </a:extLst>
            </p:cNvPr>
            <p:cNvSpPr>
              <a:spLocks/>
            </p:cNvSpPr>
            <p:nvPr/>
          </p:nvSpPr>
          <p:spPr>
            <a:xfrm>
              <a:off x="5850674" y="1634825"/>
              <a:ext cx="2028825" cy="1662932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  <p:sp>
          <p:nvSpPr>
            <p:cNvPr id="34" name="矩形: 圆角 33">
              <a:extLst>
                <a:ext uri="{FF2B5EF4-FFF2-40B4-BE49-F238E27FC236}">
                  <a16:creationId xmlns:a16="http://schemas.microsoft.com/office/drawing/2014/main" id="{ABF70D29-58A0-4284-8EAF-157BF13EF491}"/>
                </a:ext>
              </a:extLst>
            </p:cNvPr>
            <p:cNvSpPr>
              <a:spLocks/>
            </p:cNvSpPr>
            <p:nvPr/>
          </p:nvSpPr>
          <p:spPr>
            <a:xfrm>
              <a:off x="5850674" y="3961339"/>
              <a:ext cx="2028825" cy="1662932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</p:grp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8E748946-CA77-4C4C-A2B0-34DEAFE5B607}"/>
              </a:ext>
            </a:extLst>
          </p:cNvPr>
          <p:cNvSpPr/>
          <p:nvPr/>
        </p:nvSpPr>
        <p:spPr>
          <a:xfrm>
            <a:off x="3735222" y="1759884"/>
            <a:ext cx="1725341" cy="247985"/>
          </a:xfrm>
          <a:custGeom>
            <a:avLst/>
            <a:gdLst>
              <a:gd name="connsiteX0" fmla="*/ 0 w 1725341"/>
              <a:gd name="connsiteY0" fmla="*/ 24799 h 247985"/>
              <a:gd name="connsiteX1" fmla="*/ 24799 w 1725341"/>
              <a:gd name="connsiteY1" fmla="*/ 0 h 247985"/>
              <a:gd name="connsiteX2" fmla="*/ 1700543 w 1725341"/>
              <a:gd name="connsiteY2" fmla="*/ 0 h 247985"/>
              <a:gd name="connsiteX3" fmla="*/ 1725342 w 1725341"/>
              <a:gd name="connsiteY3" fmla="*/ 24799 h 247985"/>
              <a:gd name="connsiteX4" fmla="*/ 1725341 w 1725341"/>
              <a:gd name="connsiteY4" fmla="*/ 223187 h 247985"/>
              <a:gd name="connsiteX5" fmla="*/ 1700542 w 1725341"/>
              <a:gd name="connsiteY5" fmla="*/ 247986 h 247985"/>
              <a:gd name="connsiteX6" fmla="*/ 24799 w 1725341"/>
              <a:gd name="connsiteY6" fmla="*/ 247985 h 247985"/>
              <a:gd name="connsiteX7" fmla="*/ 0 w 1725341"/>
              <a:gd name="connsiteY7" fmla="*/ 223186 h 247985"/>
              <a:gd name="connsiteX8" fmla="*/ 0 w 1725341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25341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700543" y="0"/>
                </a:lnTo>
                <a:cubicBezTo>
                  <a:pt x="1714239" y="0"/>
                  <a:pt x="1725342" y="11103"/>
                  <a:pt x="1725342" y="24799"/>
                </a:cubicBezTo>
                <a:cubicBezTo>
                  <a:pt x="1725342" y="90928"/>
                  <a:pt x="1725341" y="157058"/>
                  <a:pt x="1725341" y="223187"/>
                </a:cubicBezTo>
                <a:cubicBezTo>
                  <a:pt x="1725341" y="236883"/>
                  <a:pt x="1714238" y="247986"/>
                  <a:pt x="1700542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adoop,1</a:t>
            </a:r>
            <a:endParaRPr lang="zh-CN" altLang="en-US" sz="1100" b="1" kern="1200" dirty="0"/>
          </a:p>
        </p:txBody>
      </p:sp>
      <p:sp>
        <p:nvSpPr>
          <p:cNvPr id="39" name="任意多边形: 形状 38">
            <a:extLst>
              <a:ext uri="{FF2B5EF4-FFF2-40B4-BE49-F238E27FC236}">
                <a16:creationId xmlns:a16="http://schemas.microsoft.com/office/drawing/2014/main" id="{A0AA5310-025C-4069-876A-636B91D45FA8}"/>
              </a:ext>
            </a:extLst>
          </p:cNvPr>
          <p:cNvSpPr/>
          <p:nvPr/>
        </p:nvSpPr>
        <p:spPr>
          <a:xfrm>
            <a:off x="3790924" y="2052977"/>
            <a:ext cx="1613936" cy="247985"/>
          </a:xfrm>
          <a:custGeom>
            <a:avLst/>
            <a:gdLst>
              <a:gd name="connsiteX0" fmla="*/ 0 w 1613936"/>
              <a:gd name="connsiteY0" fmla="*/ 24799 h 247985"/>
              <a:gd name="connsiteX1" fmla="*/ 24799 w 1613936"/>
              <a:gd name="connsiteY1" fmla="*/ 0 h 247985"/>
              <a:gd name="connsiteX2" fmla="*/ 1589138 w 1613936"/>
              <a:gd name="connsiteY2" fmla="*/ 0 h 247985"/>
              <a:gd name="connsiteX3" fmla="*/ 1613937 w 1613936"/>
              <a:gd name="connsiteY3" fmla="*/ 24799 h 247985"/>
              <a:gd name="connsiteX4" fmla="*/ 1613936 w 1613936"/>
              <a:gd name="connsiteY4" fmla="*/ 223187 h 247985"/>
              <a:gd name="connsiteX5" fmla="*/ 1589137 w 1613936"/>
              <a:gd name="connsiteY5" fmla="*/ 247986 h 247985"/>
              <a:gd name="connsiteX6" fmla="*/ 24799 w 1613936"/>
              <a:gd name="connsiteY6" fmla="*/ 247985 h 247985"/>
              <a:gd name="connsiteX7" fmla="*/ 0 w 1613936"/>
              <a:gd name="connsiteY7" fmla="*/ 223186 h 247985"/>
              <a:gd name="connsiteX8" fmla="*/ 0 w 1613936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13936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589138" y="0"/>
                </a:lnTo>
                <a:cubicBezTo>
                  <a:pt x="1602834" y="0"/>
                  <a:pt x="1613937" y="11103"/>
                  <a:pt x="1613937" y="24799"/>
                </a:cubicBezTo>
                <a:cubicBezTo>
                  <a:pt x="1613937" y="90928"/>
                  <a:pt x="1613936" y="157058"/>
                  <a:pt x="1613936" y="223187"/>
                </a:cubicBezTo>
                <a:cubicBezTo>
                  <a:pt x="1613936" y="236883"/>
                  <a:pt x="1602833" y="247986"/>
                  <a:pt x="1589137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99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ello,1</a:t>
            </a:r>
            <a:endParaRPr lang="zh-CN" altLang="en-US" sz="1100" b="1" kern="1200" dirty="0"/>
          </a:p>
        </p:txBody>
      </p:sp>
      <p:sp>
        <p:nvSpPr>
          <p:cNvPr id="40" name="任意多边形: 形状 39">
            <a:extLst>
              <a:ext uri="{FF2B5EF4-FFF2-40B4-BE49-F238E27FC236}">
                <a16:creationId xmlns:a16="http://schemas.microsoft.com/office/drawing/2014/main" id="{02A74A0E-1CB5-4BC1-89C8-64BCA848BE53}"/>
              </a:ext>
            </a:extLst>
          </p:cNvPr>
          <p:cNvSpPr/>
          <p:nvPr/>
        </p:nvSpPr>
        <p:spPr>
          <a:xfrm>
            <a:off x="3860598" y="2346070"/>
            <a:ext cx="1474589" cy="247985"/>
          </a:xfrm>
          <a:custGeom>
            <a:avLst/>
            <a:gdLst>
              <a:gd name="connsiteX0" fmla="*/ 0 w 1474589"/>
              <a:gd name="connsiteY0" fmla="*/ 24799 h 247985"/>
              <a:gd name="connsiteX1" fmla="*/ 24799 w 1474589"/>
              <a:gd name="connsiteY1" fmla="*/ 0 h 247985"/>
              <a:gd name="connsiteX2" fmla="*/ 1449791 w 1474589"/>
              <a:gd name="connsiteY2" fmla="*/ 0 h 247985"/>
              <a:gd name="connsiteX3" fmla="*/ 1474590 w 1474589"/>
              <a:gd name="connsiteY3" fmla="*/ 24799 h 247985"/>
              <a:gd name="connsiteX4" fmla="*/ 1474589 w 1474589"/>
              <a:gd name="connsiteY4" fmla="*/ 223187 h 247985"/>
              <a:gd name="connsiteX5" fmla="*/ 1449790 w 1474589"/>
              <a:gd name="connsiteY5" fmla="*/ 247986 h 247985"/>
              <a:gd name="connsiteX6" fmla="*/ 24799 w 1474589"/>
              <a:gd name="connsiteY6" fmla="*/ 247985 h 247985"/>
              <a:gd name="connsiteX7" fmla="*/ 0 w 1474589"/>
              <a:gd name="connsiteY7" fmla="*/ 223186 h 247985"/>
              <a:gd name="connsiteX8" fmla="*/ 0 w 1474589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74589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449791" y="0"/>
                </a:lnTo>
                <a:cubicBezTo>
                  <a:pt x="1463487" y="0"/>
                  <a:pt x="1474590" y="11103"/>
                  <a:pt x="1474590" y="24799"/>
                </a:cubicBezTo>
                <a:cubicBezTo>
                  <a:pt x="1474590" y="90928"/>
                  <a:pt x="1474589" y="157058"/>
                  <a:pt x="1474589" y="223187"/>
                </a:cubicBezTo>
                <a:cubicBezTo>
                  <a:pt x="1474589" y="236883"/>
                  <a:pt x="1463486" y="247986"/>
                  <a:pt x="1449790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I,1</a:t>
            </a:r>
            <a:endParaRPr lang="zh-CN" altLang="en-US" sz="1100" b="1" kern="1200" dirty="0"/>
          </a:p>
        </p:txBody>
      </p:sp>
      <p:sp>
        <p:nvSpPr>
          <p:cNvPr id="41" name="任意多边形: 形状 40">
            <a:extLst>
              <a:ext uri="{FF2B5EF4-FFF2-40B4-BE49-F238E27FC236}">
                <a16:creationId xmlns:a16="http://schemas.microsoft.com/office/drawing/2014/main" id="{D1C504A1-D96B-4DA2-AE09-D946E95DD478}"/>
              </a:ext>
            </a:extLst>
          </p:cNvPr>
          <p:cNvSpPr/>
          <p:nvPr/>
        </p:nvSpPr>
        <p:spPr>
          <a:xfrm>
            <a:off x="3661285" y="2639163"/>
            <a:ext cx="1873215" cy="246029"/>
          </a:xfrm>
          <a:custGeom>
            <a:avLst/>
            <a:gdLst>
              <a:gd name="connsiteX0" fmla="*/ 0 w 1873215"/>
              <a:gd name="connsiteY0" fmla="*/ 24603 h 246029"/>
              <a:gd name="connsiteX1" fmla="*/ 24603 w 1873215"/>
              <a:gd name="connsiteY1" fmla="*/ 0 h 246029"/>
              <a:gd name="connsiteX2" fmla="*/ 1848612 w 1873215"/>
              <a:gd name="connsiteY2" fmla="*/ 0 h 246029"/>
              <a:gd name="connsiteX3" fmla="*/ 1873215 w 1873215"/>
              <a:gd name="connsiteY3" fmla="*/ 24603 h 246029"/>
              <a:gd name="connsiteX4" fmla="*/ 1873215 w 1873215"/>
              <a:gd name="connsiteY4" fmla="*/ 221426 h 246029"/>
              <a:gd name="connsiteX5" fmla="*/ 1848612 w 1873215"/>
              <a:gd name="connsiteY5" fmla="*/ 246029 h 246029"/>
              <a:gd name="connsiteX6" fmla="*/ 24603 w 1873215"/>
              <a:gd name="connsiteY6" fmla="*/ 246029 h 246029"/>
              <a:gd name="connsiteX7" fmla="*/ 0 w 1873215"/>
              <a:gd name="connsiteY7" fmla="*/ 221426 h 246029"/>
              <a:gd name="connsiteX8" fmla="*/ 0 w 1873215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3215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848612" y="0"/>
                </a:lnTo>
                <a:cubicBezTo>
                  <a:pt x="1862200" y="0"/>
                  <a:pt x="1873215" y="11015"/>
                  <a:pt x="1873215" y="24603"/>
                </a:cubicBezTo>
                <a:lnTo>
                  <a:pt x="1873215" y="221426"/>
                </a:lnTo>
                <a:cubicBezTo>
                  <a:pt x="1873215" y="235014"/>
                  <a:pt x="1862200" y="246029"/>
                  <a:pt x="1848612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adoop,1</a:t>
            </a:r>
            <a:endParaRPr lang="zh-CN" altLang="en-US" sz="1100" b="1" kern="1200" dirty="0"/>
          </a:p>
        </p:txBody>
      </p:sp>
      <p:sp>
        <p:nvSpPr>
          <p:cNvPr id="43" name="任意多边形: 形状 42">
            <a:extLst>
              <a:ext uri="{FF2B5EF4-FFF2-40B4-BE49-F238E27FC236}">
                <a16:creationId xmlns:a16="http://schemas.microsoft.com/office/drawing/2014/main" id="{423B2D1B-9839-43FA-93BA-FA91CF83D05D}"/>
              </a:ext>
            </a:extLst>
          </p:cNvPr>
          <p:cNvSpPr/>
          <p:nvPr/>
        </p:nvSpPr>
        <p:spPr>
          <a:xfrm>
            <a:off x="3762134" y="2930300"/>
            <a:ext cx="1671516" cy="246029"/>
          </a:xfrm>
          <a:custGeom>
            <a:avLst/>
            <a:gdLst>
              <a:gd name="connsiteX0" fmla="*/ 0 w 1671516"/>
              <a:gd name="connsiteY0" fmla="*/ 24603 h 246029"/>
              <a:gd name="connsiteX1" fmla="*/ 24603 w 1671516"/>
              <a:gd name="connsiteY1" fmla="*/ 0 h 246029"/>
              <a:gd name="connsiteX2" fmla="*/ 1646913 w 1671516"/>
              <a:gd name="connsiteY2" fmla="*/ 0 h 246029"/>
              <a:gd name="connsiteX3" fmla="*/ 1671516 w 1671516"/>
              <a:gd name="connsiteY3" fmla="*/ 24603 h 246029"/>
              <a:gd name="connsiteX4" fmla="*/ 1671516 w 1671516"/>
              <a:gd name="connsiteY4" fmla="*/ 221426 h 246029"/>
              <a:gd name="connsiteX5" fmla="*/ 1646913 w 1671516"/>
              <a:gd name="connsiteY5" fmla="*/ 246029 h 246029"/>
              <a:gd name="connsiteX6" fmla="*/ 24603 w 1671516"/>
              <a:gd name="connsiteY6" fmla="*/ 246029 h 246029"/>
              <a:gd name="connsiteX7" fmla="*/ 0 w 1671516"/>
              <a:gd name="connsiteY7" fmla="*/ 221426 h 246029"/>
              <a:gd name="connsiteX8" fmla="*/ 0 w 1671516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1516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646913" y="0"/>
                </a:lnTo>
                <a:cubicBezTo>
                  <a:pt x="1660501" y="0"/>
                  <a:pt x="1671516" y="11015"/>
                  <a:pt x="1671516" y="24603"/>
                </a:cubicBezTo>
                <a:lnTo>
                  <a:pt x="1671516" y="221426"/>
                </a:lnTo>
                <a:cubicBezTo>
                  <a:pt x="1671516" y="235014"/>
                  <a:pt x="1660501" y="246029"/>
                  <a:pt x="1646913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99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ello,1</a:t>
            </a:r>
            <a:endParaRPr lang="zh-CN" altLang="en-US" sz="1100" b="1" kern="1200" dirty="0"/>
          </a:p>
        </p:txBody>
      </p:sp>
      <p:sp>
        <p:nvSpPr>
          <p:cNvPr id="44" name="任意多边形: 形状 43">
            <a:extLst>
              <a:ext uri="{FF2B5EF4-FFF2-40B4-BE49-F238E27FC236}">
                <a16:creationId xmlns:a16="http://schemas.microsoft.com/office/drawing/2014/main" id="{FB484DB9-73C6-4439-81D7-64073EFF15A1}"/>
              </a:ext>
            </a:extLst>
          </p:cNvPr>
          <p:cNvSpPr/>
          <p:nvPr/>
        </p:nvSpPr>
        <p:spPr>
          <a:xfrm>
            <a:off x="3809521" y="3221437"/>
            <a:ext cx="1576742" cy="246029"/>
          </a:xfrm>
          <a:custGeom>
            <a:avLst/>
            <a:gdLst>
              <a:gd name="connsiteX0" fmla="*/ 0 w 1576742"/>
              <a:gd name="connsiteY0" fmla="*/ 24603 h 246029"/>
              <a:gd name="connsiteX1" fmla="*/ 24603 w 1576742"/>
              <a:gd name="connsiteY1" fmla="*/ 0 h 246029"/>
              <a:gd name="connsiteX2" fmla="*/ 1552139 w 1576742"/>
              <a:gd name="connsiteY2" fmla="*/ 0 h 246029"/>
              <a:gd name="connsiteX3" fmla="*/ 1576742 w 1576742"/>
              <a:gd name="connsiteY3" fmla="*/ 24603 h 246029"/>
              <a:gd name="connsiteX4" fmla="*/ 1576742 w 1576742"/>
              <a:gd name="connsiteY4" fmla="*/ 221426 h 246029"/>
              <a:gd name="connsiteX5" fmla="*/ 1552139 w 1576742"/>
              <a:gd name="connsiteY5" fmla="*/ 246029 h 246029"/>
              <a:gd name="connsiteX6" fmla="*/ 24603 w 1576742"/>
              <a:gd name="connsiteY6" fmla="*/ 246029 h 246029"/>
              <a:gd name="connsiteX7" fmla="*/ 0 w 1576742"/>
              <a:gd name="connsiteY7" fmla="*/ 221426 h 246029"/>
              <a:gd name="connsiteX8" fmla="*/ 0 w 1576742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6742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552139" y="0"/>
                </a:lnTo>
                <a:cubicBezTo>
                  <a:pt x="1565727" y="0"/>
                  <a:pt x="1576742" y="11015"/>
                  <a:pt x="1576742" y="24603"/>
                </a:cubicBezTo>
                <a:lnTo>
                  <a:pt x="1576742" y="221426"/>
                </a:lnTo>
                <a:cubicBezTo>
                  <a:pt x="1576742" y="235014"/>
                  <a:pt x="1565727" y="246029"/>
                  <a:pt x="1552139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I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45" name="任意多边形: 形状 44">
            <a:extLst>
              <a:ext uri="{FF2B5EF4-FFF2-40B4-BE49-F238E27FC236}">
                <a16:creationId xmlns:a16="http://schemas.microsoft.com/office/drawing/2014/main" id="{86278F2A-28A4-4368-994D-2CFB84B3A055}"/>
              </a:ext>
            </a:extLst>
          </p:cNvPr>
          <p:cNvSpPr/>
          <p:nvPr/>
        </p:nvSpPr>
        <p:spPr>
          <a:xfrm>
            <a:off x="3660826" y="3512574"/>
            <a:ext cx="1874133" cy="246029"/>
          </a:xfrm>
          <a:custGeom>
            <a:avLst/>
            <a:gdLst>
              <a:gd name="connsiteX0" fmla="*/ 0 w 1874133"/>
              <a:gd name="connsiteY0" fmla="*/ 24603 h 246029"/>
              <a:gd name="connsiteX1" fmla="*/ 24603 w 1874133"/>
              <a:gd name="connsiteY1" fmla="*/ 0 h 246029"/>
              <a:gd name="connsiteX2" fmla="*/ 1849530 w 1874133"/>
              <a:gd name="connsiteY2" fmla="*/ 0 h 246029"/>
              <a:gd name="connsiteX3" fmla="*/ 1874133 w 1874133"/>
              <a:gd name="connsiteY3" fmla="*/ 24603 h 246029"/>
              <a:gd name="connsiteX4" fmla="*/ 1874133 w 1874133"/>
              <a:gd name="connsiteY4" fmla="*/ 221426 h 246029"/>
              <a:gd name="connsiteX5" fmla="*/ 1849530 w 1874133"/>
              <a:gd name="connsiteY5" fmla="*/ 246029 h 246029"/>
              <a:gd name="connsiteX6" fmla="*/ 24603 w 1874133"/>
              <a:gd name="connsiteY6" fmla="*/ 246029 h 246029"/>
              <a:gd name="connsiteX7" fmla="*/ 0 w 1874133"/>
              <a:gd name="connsiteY7" fmla="*/ 221426 h 246029"/>
              <a:gd name="connsiteX8" fmla="*/ 0 w 1874133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4133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849530" y="0"/>
                </a:lnTo>
                <a:cubicBezTo>
                  <a:pt x="1863118" y="0"/>
                  <a:pt x="1874133" y="11015"/>
                  <a:pt x="1874133" y="24603"/>
                </a:cubicBezTo>
                <a:lnTo>
                  <a:pt x="1874133" y="221426"/>
                </a:lnTo>
                <a:cubicBezTo>
                  <a:pt x="1874133" y="235014"/>
                  <a:pt x="1863118" y="246029"/>
                  <a:pt x="1849530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ello,1</a:t>
            </a:r>
            <a:endParaRPr lang="zh-CN" altLang="en-US" sz="1100" b="1" kern="1200" dirty="0"/>
          </a:p>
        </p:txBody>
      </p:sp>
      <p:sp>
        <p:nvSpPr>
          <p:cNvPr id="46" name="任意多边形: 形状 45">
            <a:extLst>
              <a:ext uri="{FF2B5EF4-FFF2-40B4-BE49-F238E27FC236}">
                <a16:creationId xmlns:a16="http://schemas.microsoft.com/office/drawing/2014/main" id="{C5C311A4-AC7A-4B70-9483-290EBF8D9E53}"/>
              </a:ext>
            </a:extLst>
          </p:cNvPr>
          <p:cNvSpPr/>
          <p:nvPr/>
        </p:nvSpPr>
        <p:spPr>
          <a:xfrm>
            <a:off x="3762541" y="3803713"/>
            <a:ext cx="1670703" cy="246029"/>
          </a:xfrm>
          <a:custGeom>
            <a:avLst/>
            <a:gdLst>
              <a:gd name="connsiteX0" fmla="*/ 0 w 1670703"/>
              <a:gd name="connsiteY0" fmla="*/ 24603 h 246029"/>
              <a:gd name="connsiteX1" fmla="*/ 24603 w 1670703"/>
              <a:gd name="connsiteY1" fmla="*/ 0 h 246029"/>
              <a:gd name="connsiteX2" fmla="*/ 1646100 w 1670703"/>
              <a:gd name="connsiteY2" fmla="*/ 0 h 246029"/>
              <a:gd name="connsiteX3" fmla="*/ 1670703 w 1670703"/>
              <a:gd name="connsiteY3" fmla="*/ 24603 h 246029"/>
              <a:gd name="connsiteX4" fmla="*/ 1670703 w 1670703"/>
              <a:gd name="connsiteY4" fmla="*/ 221426 h 246029"/>
              <a:gd name="connsiteX5" fmla="*/ 1646100 w 1670703"/>
              <a:gd name="connsiteY5" fmla="*/ 246029 h 246029"/>
              <a:gd name="connsiteX6" fmla="*/ 24603 w 1670703"/>
              <a:gd name="connsiteY6" fmla="*/ 246029 h 246029"/>
              <a:gd name="connsiteX7" fmla="*/ 0 w 1670703"/>
              <a:gd name="connsiteY7" fmla="*/ 221426 h 246029"/>
              <a:gd name="connsiteX8" fmla="*/ 0 w 1670703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703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646100" y="0"/>
                </a:lnTo>
                <a:cubicBezTo>
                  <a:pt x="1659688" y="0"/>
                  <a:pt x="1670703" y="11015"/>
                  <a:pt x="1670703" y="24603"/>
                </a:cubicBezTo>
                <a:lnTo>
                  <a:pt x="1670703" y="221426"/>
                </a:lnTo>
                <a:cubicBezTo>
                  <a:pt x="1670703" y="235014"/>
                  <a:pt x="1659688" y="246029"/>
                  <a:pt x="1646100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99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I,1</a:t>
            </a:r>
            <a:endParaRPr lang="zh-CN" altLang="en-US" sz="1100" b="1" kern="1200" dirty="0"/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932A16DE-D1B7-4E9C-AE43-2157C6946420}"/>
              </a:ext>
            </a:extLst>
          </p:cNvPr>
          <p:cNvSpPr txBox="1"/>
          <p:nvPr/>
        </p:nvSpPr>
        <p:spPr>
          <a:xfrm>
            <a:off x="3610972" y="572598"/>
            <a:ext cx="20288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Hash(key) mod R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108427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48413 0.074535 E" pathEditMode="relative" ptsTypes="">
                                      <p:cBhvr>
                                        <p:cTn id="12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4844 -0.07454 L 2.22222E-6 1.48148E-6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413" y="3727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6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2000" fill="hold"/>
                                        <p:tgtEl>
                                          <p:spTgt spid="3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6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" dur="2000" fill="hold"/>
                                        <p:tgtEl>
                                          <p:spTgt spid="36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3" presetClass="path" presetSubtype="0" accel="50000" decel="5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0 L 0.25 0.077643 E" pathEditMode="relative" ptsTypes="">
                                      <p:cBhvr>
                                        <p:cTn id="26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7" presetID="63" presetClass="path" presetSubtype="0" accel="50000" decel="5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0.25 -0.07755 L 2.22222E-6 -1.11111E-6 " pathEditMode="relative" rAng="0" ptsTypes="AA">
                                      <p:cBhvr>
                                        <p:cTn id="28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00" y="3866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6" presetClass="emph" presetSubtype="0" accel="50000" decel="50000" fill="hold" grpId="2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0" dur="2000" fill="hold"/>
                                        <p:tgtEl>
                                          <p:spTgt spid="6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6" presetClass="emph" presetSubtype="0" accel="50000" decel="50000" fill="hold" grpId="2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2" dur="2000" fill="hold"/>
                                        <p:tgtEl>
                                          <p:spTgt spid="39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10" presetClass="exit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63" presetClass="path" presetSubtype="0" accel="50000" decel="5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 0 L 0.251356 0.082263 E" pathEditMode="relative" ptsTypes="">
                                      <p:cBhvr>
                                        <p:cTn id="40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1" presetID="63" presetClass="path" presetSubtype="0" accel="50000" decel="5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0.25139 -0.08218 L 2.22222E-6 4.81481E-6 " pathEditMode="relative" rAng="0" ptsTypes="AA">
                                      <p:cBhvr>
                                        <p:cTn id="42" dur="2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69" y="4097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6" presetClass="emph" presetSubtype="0" accel="50000" decel="50000" fill="hold" grpId="2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44" dur="2000" fill="hold"/>
                                        <p:tgtEl>
                                          <p:spTgt spid="8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6" presetClass="emph" presetSubtype="0" accel="50000" decel="50000" fill="hold" grpId="2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46" dur="2000" fill="hold"/>
                                        <p:tgtEl>
                                          <p:spTgt spid="40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63" presetClass="path" presetSubtype="0" accel="50000" decel="5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0 0 L 0.254163 -0.049679 E" pathEditMode="relative" ptsTypes="">
                                      <p:cBhvr>
                                        <p:cTn id="54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5" presetID="63" presetClass="path" presetSubtype="0" accel="50000" decel="5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0.25417 0.04976 L 2.22222E-6 3.7037E-6 " pathEditMode="relative" rAng="0" ptsTypes="AA">
                                      <p:cBhvr>
                                        <p:cTn id="56" dur="2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708" y="-2500"/>
                                    </p:animMotion>
                                  </p:childTnLst>
                                </p:cTn>
                              </p:par>
                              <p:par>
                                <p:cTn id="57" presetID="6" presetClass="emph" presetSubtype="0" accel="50000" decel="50000" fill="hold" grpId="2" nodeType="withEffect">
                                  <p:stCondLst>
                                    <p:cond delay="600"/>
                                  </p:stCondLst>
                                  <p:childTnLst>
                                    <p:animScale>
                                      <p:cBhvr>
                                        <p:cTn id="58" dur="2000" fill="hold"/>
                                        <p:tgtEl>
                                          <p:spTgt spid="19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9" presetID="6" presetClass="emph" presetSubtype="0" accel="50000" decel="50000" fill="hold" grpId="2" nodeType="withEffect">
                                  <p:stCondLst>
                                    <p:cond delay="600"/>
                                  </p:stCondLst>
                                  <p:childTnLst>
                                    <p:animScale>
                                      <p:cBhvr>
                                        <p:cTn id="60" dur="2000" fill="hold"/>
                                        <p:tgtEl>
                                          <p:spTgt spid="41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1" presetID="10" presetClass="exit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63" presetClass="path" presetSubtype="0" accel="50000" decel="5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0 0 L 0.248116 -0.045907 E" pathEditMode="relative" ptsTypes="">
                                      <p:cBhvr>
                                        <p:cTn id="68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69" presetID="63" presetClass="path" presetSubtype="0" accel="50000" decel="5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24809 0.04583 L 2.22222E-6 1.11111E-6 " pathEditMode="relative" rAng="0" ptsTypes="AA">
                                      <p:cBhvr>
                                        <p:cTn id="70" dur="2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396" y="-2292"/>
                                    </p:animMotion>
                                  </p:childTnLst>
                                </p:cTn>
                              </p:par>
                              <p:par>
                                <p:cTn id="71" presetID="6" presetClass="emph" presetSubtype="0" accel="50000" decel="50000" fill="hold" grpId="2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72" dur="2000" fill="hold"/>
                                        <p:tgtEl>
                                          <p:spTgt spid="20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3" presetID="6" presetClass="emph" presetSubtype="0" accel="50000" decel="50000" fill="hold" grpId="2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74" dur="2000" fill="hold"/>
                                        <p:tgtEl>
                                          <p:spTgt spid="43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5" presetID="10" presetClass="exit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6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63" presetClass="path" presetSubtype="0" accel="50000" decel="5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 0 L 0.250242 -0.042253 E" pathEditMode="relative" ptsTypes="">
                                      <p:cBhvr>
                                        <p:cTn id="82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83" presetID="63" presetClass="path" presetSubtype="0" accel="50000" decel="5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25018 0.04236 L 2.22222E-6 0 " pathEditMode="relative" rAng="0" ptsTypes="AA">
                                      <p:cBhvr>
                                        <p:cTn id="84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00" y="-2130"/>
                                    </p:animMotion>
                                  </p:childTnLst>
                                </p:cTn>
                              </p:par>
                              <p:par>
                                <p:cTn id="85" presetID="6" presetClass="emph" presetSubtype="0" accel="50000" decel="50000" fill="hold" grpId="2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86" dur="2000" fill="hold"/>
                                        <p:tgtEl>
                                          <p:spTgt spid="21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7" presetID="6" presetClass="emph" presetSubtype="0" accel="50000" decel="50000" fill="hold" grpId="2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88" dur="2000" fill="hold"/>
                                        <p:tgtEl>
                                          <p:spTgt spid="44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9" presetID="10" presetClass="exit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0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2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63" presetClass="path" presetSubtype="0" accel="50000" decel="50000" fill="hold" grpId="1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0 0 L 0.25 -0.174229 E" pathEditMode="relative" ptsTypes="">
                                      <p:cBhvr>
                                        <p:cTn id="96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7" presetID="63" presetClass="path" presetSubtype="0" accel="50000" decel="50000" fill="hold" grpId="1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-0.25 0.17431 L 2.22222E-6 -2.59259E-6 " pathEditMode="relative" rAng="0" ptsTypes="AA">
                                      <p:cBhvr>
                                        <p:cTn id="98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00" y="-8727"/>
                                    </p:animMotion>
                                  </p:childTnLst>
                                </p:cTn>
                              </p:par>
                              <p:par>
                                <p:cTn id="99" presetID="6" presetClass="emph" presetSubtype="0" accel="50000" decel="50000" fill="hold" grpId="2" nodeType="withEffect">
                                  <p:stCondLst>
                                    <p:cond delay="1200"/>
                                  </p:stCondLst>
                                  <p:childTnLst>
                                    <p:animScale>
                                      <p:cBhvr>
                                        <p:cTn id="100" dur="2000" fill="hold"/>
                                        <p:tgtEl>
                                          <p:spTgt spid="25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01" presetID="6" presetClass="emph" presetSubtype="0" accel="50000" decel="50000" fill="hold" grpId="2" nodeType="withEffect">
                                  <p:stCondLst>
                                    <p:cond delay="1200"/>
                                  </p:stCondLst>
                                  <p:childTnLst>
                                    <p:animScale>
                                      <p:cBhvr>
                                        <p:cTn id="102" dur="2000" fill="hold"/>
                                        <p:tgtEl>
                                          <p:spTgt spid="45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03" presetID="10" presetClass="exit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4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2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63" presetClass="path" presetSubtype="0" accel="50000" decel="50000" fill="hold" grpId="1" nodeType="withEffect">
                                  <p:stCondLst>
                                    <p:cond delay="1400"/>
                                  </p:stCondLst>
                                  <p:childTnLst>
                                    <p:animMotion origin="layout" path="M 0 0 L 0.250174 -0.170575 E" pathEditMode="relative" ptsTypes="">
                                      <p:cBhvr>
                                        <p:cTn id="110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1" presetID="63" presetClass="path" presetSubtype="0" accel="50000" decel="50000" fill="hold" grpId="1" nodeType="withEffect">
                                  <p:stCondLst>
                                    <p:cond delay="1400"/>
                                  </p:stCondLst>
                                  <p:childTnLst>
                                    <p:animMotion origin="layout" path="M -0.25018 0.17061 L 2.22222E-6 -3.7037E-6 " pathEditMode="relative" rAng="0" ptsTypes="AA">
                                      <p:cBhvr>
                                        <p:cTn id="112" dur="2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00" y="-8542"/>
                                    </p:animMotion>
                                  </p:childTnLst>
                                </p:cTn>
                              </p:par>
                              <p:par>
                                <p:cTn id="113" presetID="6" presetClass="emph" presetSubtype="0" accel="50000" decel="50000" fill="hold" grpId="2" nodeType="withEffect">
                                  <p:stCondLst>
                                    <p:cond delay="1400"/>
                                  </p:stCondLst>
                                  <p:childTnLst>
                                    <p:animScale>
                                      <p:cBhvr>
                                        <p:cTn id="114" dur="2000" fill="hold"/>
                                        <p:tgtEl>
                                          <p:spTgt spid="26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15" presetID="6" presetClass="emph" presetSubtype="0" accel="50000" decel="50000" fill="hold" grpId="2" nodeType="withEffect">
                                  <p:stCondLst>
                                    <p:cond delay="1400"/>
                                  </p:stCondLst>
                                  <p:childTnLst>
                                    <p:animScale>
                                      <p:cBhvr>
                                        <p:cTn id="116" dur="2000" fill="hold"/>
                                        <p:tgtEl>
                                          <p:spTgt spid="46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3" grpId="2" animBg="1"/>
      <p:bldP spid="6" grpId="0" animBg="1"/>
      <p:bldP spid="6" grpId="1" animBg="1"/>
      <p:bldP spid="6" grpId="2" animBg="1"/>
      <p:bldP spid="8" grpId="0" animBg="1"/>
      <p:bldP spid="8" grpId="1" animBg="1"/>
      <p:bldP spid="8" grpId="2" animBg="1"/>
      <p:bldP spid="19" grpId="0" animBg="1"/>
      <p:bldP spid="19" grpId="1" animBg="1"/>
      <p:bldP spid="19" grpId="2" animBg="1"/>
      <p:bldP spid="20" grpId="0" animBg="1"/>
      <p:bldP spid="20" grpId="1" animBg="1"/>
      <p:bldP spid="20" grpId="2" animBg="1"/>
      <p:bldP spid="21" grpId="0" animBg="1"/>
      <p:bldP spid="21" grpId="1" animBg="1"/>
      <p:bldP spid="21" grpId="2" animBg="1"/>
      <p:bldP spid="25" grpId="0" animBg="1"/>
      <p:bldP spid="25" grpId="1" animBg="1"/>
      <p:bldP spid="25" grpId="2" animBg="1"/>
      <p:bldP spid="26" grpId="0" animBg="1"/>
      <p:bldP spid="26" grpId="1" animBg="1"/>
      <p:bldP spid="26" grpId="2" animBg="1"/>
      <p:bldP spid="36" grpId="0" animBg="1"/>
      <p:bldP spid="36" grpId="1" animBg="1"/>
      <p:bldP spid="36" grpId="2" animBg="1"/>
      <p:bldP spid="39" grpId="0" animBg="1"/>
      <p:bldP spid="39" grpId="1" animBg="1"/>
      <p:bldP spid="39" grpId="2" animBg="1"/>
      <p:bldP spid="40" grpId="0" animBg="1"/>
      <p:bldP spid="40" grpId="1" animBg="1"/>
      <p:bldP spid="40" grpId="2" animBg="1"/>
      <p:bldP spid="41" grpId="0" animBg="1"/>
      <p:bldP spid="41" grpId="1" animBg="1"/>
      <p:bldP spid="41" grpId="2" animBg="1"/>
      <p:bldP spid="43" grpId="0" animBg="1"/>
      <p:bldP spid="43" grpId="1" animBg="1"/>
      <p:bldP spid="43" grpId="2" animBg="1"/>
      <p:bldP spid="44" grpId="0" animBg="1"/>
      <p:bldP spid="44" grpId="1" animBg="1"/>
      <p:bldP spid="44" grpId="2" animBg="1"/>
      <p:bldP spid="45" grpId="0" animBg="1"/>
      <p:bldP spid="45" grpId="1" animBg="1"/>
      <p:bldP spid="45" grpId="2" animBg="1"/>
      <p:bldP spid="46" grpId="0" animBg="1"/>
      <p:bldP spid="46" grpId="1" animBg="1"/>
      <p:bldP spid="46" grpId="2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E9576B95-676C-429F-A627-D48EE8F6ECE9}"/>
              </a:ext>
            </a:extLst>
          </p:cNvPr>
          <p:cNvSpPr/>
          <p:nvPr/>
        </p:nvSpPr>
        <p:spPr>
          <a:xfrm>
            <a:off x="896332" y="1130300"/>
            <a:ext cx="2793511" cy="5003800"/>
          </a:xfrm>
          <a:prstGeom prst="round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1941C713-9BC6-41AD-AFC7-BB37386D371F}"/>
              </a:ext>
            </a:extLst>
          </p:cNvPr>
          <p:cNvSpPr txBox="1"/>
          <p:nvPr/>
        </p:nvSpPr>
        <p:spPr>
          <a:xfrm>
            <a:off x="1469876" y="495654"/>
            <a:ext cx="31021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/>
              <a:t>Map()</a:t>
            </a:r>
            <a:r>
              <a:rPr lang="zh-CN" altLang="en-US" sz="2800" dirty="0"/>
              <a:t>中间结果</a:t>
            </a:r>
          </a:p>
        </p:txBody>
      </p: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12AB1DF8-9F59-459D-861B-0997412FBF92}"/>
              </a:ext>
            </a:extLst>
          </p:cNvPr>
          <p:cNvSpPr>
            <a:spLocks/>
          </p:cNvSpPr>
          <p:nvPr/>
        </p:nvSpPr>
        <p:spPr>
          <a:xfrm>
            <a:off x="1281768" y="4590442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91A342C0-220F-4EE6-8E94-FDE79F5160AA}"/>
              </a:ext>
            </a:extLst>
          </p:cNvPr>
          <p:cNvSpPr>
            <a:spLocks/>
          </p:cNvSpPr>
          <p:nvPr/>
        </p:nvSpPr>
        <p:spPr>
          <a:xfrm>
            <a:off x="1281768" y="2860371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2900AFE4-C899-455C-AECA-CE83C79CE577}"/>
              </a:ext>
            </a:extLst>
          </p:cNvPr>
          <p:cNvSpPr>
            <a:spLocks/>
          </p:cNvSpPr>
          <p:nvPr/>
        </p:nvSpPr>
        <p:spPr>
          <a:xfrm>
            <a:off x="1281768" y="1130300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215F389F-B06C-4AA2-9B81-BC0E370C2994}"/>
              </a:ext>
            </a:extLst>
          </p:cNvPr>
          <p:cNvSpPr/>
          <p:nvPr/>
        </p:nvSpPr>
        <p:spPr>
          <a:xfrm>
            <a:off x="1592584" y="2044373"/>
            <a:ext cx="1401005" cy="247985"/>
          </a:xfrm>
          <a:custGeom>
            <a:avLst/>
            <a:gdLst>
              <a:gd name="connsiteX0" fmla="*/ 0 w 1401005"/>
              <a:gd name="connsiteY0" fmla="*/ 24799 h 247985"/>
              <a:gd name="connsiteX1" fmla="*/ 24799 w 1401005"/>
              <a:gd name="connsiteY1" fmla="*/ 0 h 247985"/>
              <a:gd name="connsiteX2" fmla="*/ 1376207 w 1401005"/>
              <a:gd name="connsiteY2" fmla="*/ 0 h 247985"/>
              <a:gd name="connsiteX3" fmla="*/ 1401006 w 1401005"/>
              <a:gd name="connsiteY3" fmla="*/ 24799 h 247985"/>
              <a:gd name="connsiteX4" fmla="*/ 1401005 w 1401005"/>
              <a:gd name="connsiteY4" fmla="*/ 223187 h 247985"/>
              <a:gd name="connsiteX5" fmla="*/ 1376206 w 1401005"/>
              <a:gd name="connsiteY5" fmla="*/ 247986 h 247985"/>
              <a:gd name="connsiteX6" fmla="*/ 24799 w 1401005"/>
              <a:gd name="connsiteY6" fmla="*/ 247985 h 247985"/>
              <a:gd name="connsiteX7" fmla="*/ 0 w 1401005"/>
              <a:gd name="connsiteY7" fmla="*/ 223186 h 247985"/>
              <a:gd name="connsiteX8" fmla="*/ 0 w 1401005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01005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376207" y="0"/>
                </a:lnTo>
                <a:cubicBezTo>
                  <a:pt x="1389903" y="0"/>
                  <a:pt x="1401006" y="11103"/>
                  <a:pt x="1401006" y="24799"/>
                </a:cubicBezTo>
                <a:cubicBezTo>
                  <a:pt x="1401006" y="90928"/>
                  <a:pt x="1401005" y="157058"/>
                  <a:pt x="1401005" y="223187"/>
                </a:cubicBezTo>
                <a:cubicBezTo>
                  <a:pt x="1401005" y="236883"/>
                  <a:pt x="1389902" y="247986"/>
                  <a:pt x="1376206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like,1</a:t>
            </a:r>
            <a:endParaRPr lang="zh-CN" altLang="en-US" sz="1100" b="1" kern="1200" dirty="0"/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F6035C0F-963C-4EDE-B572-F7FB757A0064}"/>
              </a:ext>
            </a:extLst>
          </p:cNvPr>
          <p:cNvSpPr/>
          <p:nvPr/>
        </p:nvSpPr>
        <p:spPr>
          <a:xfrm>
            <a:off x="1638365" y="2310610"/>
            <a:ext cx="1309443" cy="247985"/>
          </a:xfrm>
          <a:custGeom>
            <a:avLst/>
            <a:gdLst>
              <a:gd name="connsiteX0" fmla="*/ 0 w 1309443"/>
              <a:gd name="connsiteY0" fmla="*/ 24799 h 247985"/>
              <a:gd name="connsiteX1" fmla="*/ 24799 w 1309443"/>
              <a:gd name="connsiteY1" fmla="*/ 0 h 247985"/>
              <a:gd name="connsiteX2" fmla="*/ 1284645 w 1309443"/>
              <a:gd name="connsiteY2" fmla="*/ 0 h 247985"/>
              <a:gd name="connsiteX3" fmla="*/ 1309444 w 1309443"/>
              <a:gd name="connsiteY3" fmla="*/ 24799 h 247985"/>
              <a:gd name="connsiteX4" fmla="*/ 1309443 w 1309443"/>
              <a:gd name="connsiteY4" fmla="*/ 223187 h 247985"/>
              <a:gd name="connsiteX5" fmla="*/ 1284644 w 1309443"/>
              <a:gd name="connsiteY5" fmla="*/ 247986 h 247985"/>
              <a:gd name="connsiteX6" fmla="*/ 24799 w 1309443"/>
              <a:gd name="connsiteY6" fmla="*/ 247985 h 247985"/>
              <a:gd name="connsiteX7" fmla="*/ 0 w 1309443"/>
              <a:gd name="connsiteY7" fmla="*/ 223186 h 247985"/>
              <a:gd name="connsiteX8" fmla="*/ 0 w 1309443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09443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284645" y="0"/>
                </a:lnTo>
                <a:cubicBezTo>
                  <a:pt x="1298341" y="0"/>
                  <a:pt x="1309444" y="11103"/>
                  <a:pt x="1309444" y="24799"/>
                </a:cubicBezTo>
                <a:cubicBezTo>
                  <a:pt x="1309444" y="90928"/>
                  <a:pt x="1309443" y="157058"/>
                  <a:pt x="1309443" y="223187"/>
                </a:cubicBezTo>
                <a:cubicBezTo>
                  <a:pt x="1309443" y="236883"/>
                  <a:pt x="1298340" y="247986"/>
                  <a:pt x="1284644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World,1</a:t>
            </a:r>
            <a:endParaRPr lang="zh-CN" altLang="en-US" sz="1100" b="1" kern="1200" dirty="0"/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728C15DC-9B93-4335-B8FF-DBC73CDCC1BE}"/>
              </a:ext>
            </a:extLst>
          </p:cNvPr>
          <p:cNvSpPr/>
          <p:nvPr/>
        </p:nvSpPr>
        <p:spPr>
          <a:xfrm>
            <a:off x="1550182" y="3774926"/>
            <a:ext cx="1485807" cy="246029"/>
          </a:xfrm>
          <a:custGeom>
            <a:avLst/>
            <a:gdLst>
              <a:gd name="connsiteX0" fmla="*/ 0 w 1485807"/>
              <a:gd name="connsiteY0" fmla="*/ 24603 h 246029"/>
              <a:gd name="connsiteX1" fmla="*/ 24603 w 1485807"/>
              <a:gd name="connsiteY1" fmla="*/ 0 h 246029"/>
              <a:gd name="connsiteX2" fmla="*/ 1461204 w 1485807"/>
              <a:gd name="connsiteY2" fmla="*/ 0 h 246029"/>
              <a:gd name="connsiteX3" fmla="*/ 1485807 w 1485807"/>
              <a:gd name="connsiteY3" fmla="*/ 24603 h 246029"/>
              <a:gd name="connsiteX4" fmla="*/ 1485807 w 1485807"/>
              <a:gd name="connsiteY4" fmla="*/ 221426 h 246029"/>
              <a:gd name="connsiteX5" fmla="*/ 1461204 w 1485807"/>
              <a:gd name="connsiteY5" fmla="*/ 246029 h 246029"/>
              <a:gd name="connsiteX6" fmla="*/ 24603 w 1485807"/>
              <a:gd name="connsiteY6" fmla="*/ 246029 h 246029"/>
              <a:gd name="connsiteX7" fmla="*/ 0 w 1485807"/>
              <a:gd name="connsiteY7" fmla="*/ 221426 h 246029"/>
              <a:gd name="connsiteX8" fmla="*/ 0 w 1485807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85807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461204" y="0"/>
                </a:lnTo>
                <a:cubicBezTo>
                  <a:pt x="1474792" y="0"/>
                  <a:pt x="1485807" y="11015"/>
                  <a:pt x="1485807" y="24603"/>
                </a:cubicBezTo>
                <a:lnTo>
                  <a:pt x="1485807" y="221426"/>
                </a:lnTo>
                <a:cubicBezTo>
                  <a:pt x="1485807" y="235014"/>
                  <a:pt x="1474792" y="246029"/>
                  <a:pt x="1461204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like,1</a:t>
            </a:r>
            <a:endParaRPr lang="zh-CN" altLang="en-US" sz="1100" b="1" kern="1200" dirty="0"/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C5B9557A-4817-40A4-9B63-88927FE37BE4}"/>
              </a:ext>
            </a:extLst>
          </p:cNvPr>
          <p:cNvSpPr/>
          <p:nvPr/>
        </p:nvSpPr>
        <p:spPr>
          <a:xfrm>
            <a:off x="1587084" y="4040667"/>
            <a:ext cx="1412003" cy="246029"/>
          </a:xfrm>
          <a:custGeom>
            <a:avLst/>
            <a:gdLst>
              <a:gd name="connsiteX0" fmla="*/ 0 w 1412003"/>
              <a:gd name="connsiteY0" fmla="*/ 24603 h 246029"/>
              <a:gd name="connsiteX1" fmla="*/ 24603 w 1412003"/>
              <a:gd name="connsiteY1" fmla="*/ 0 h 246029"/>
              <a:gd name="connsiteX2" fmla="*/ 1387400 w 1412003"/>
              <a:gd name="connsiteY2" fmla="*/ 0 h 246029"/>
              <a:gd name="connsiteX3" fmla="*/ 1412003 w 1412003"/>
              <a:gd name="connsiteY3" fmla="*/ 24603 h 246029"/>
              <a:gd name="connsiteX4" fmla="*/ 1412003 w 1412003"/>
              <a:gd name="connsiteY4" fmla="*/ 221426 h 246029"/>
              <a:gd name="connsiteX5" fmla="*/ 1387400 w 1412003"/>
              <a:gd name="connsiteY5" fmla="*/ 246029 h 246029"/>
              <a:gd name="connsiteX6" fmla="*/ 24603 w 1412003"/>
              <a:gd name="connsiteY6" fmla="*/ 246029 h 246029"/>
              <a:gd name="connsiteX7" fmla="*/ 0 w 1412003"/>
              <a:gd name="connsiteY7" fmla="*/ 221426 h 246029"/>
              <a:gd name="connsiteX8" fmla="*/ 0 w 1412003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12003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387400" y="0"/>
                </a:lnTo>
                <a:cubicBezTo>
                  <a:pt x="1400988" y="0"/>
                  <a:pt x="1412003" y="11015"/>
                  <a:pt x="1412003" y="24603"/>
                </a:cubicBezTo>
                <a:lnTo>
                  <a:pt x="1412003" y="221426"/>
                </a:lnTo>
                <a:cubicBezTo>
                  <a:pt x="1412003" y="235014"/>
                  <a:pt x="1400988" y="246029"/>
                  <a:pt x="1387400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050" b="1" kern="1200" dirty="0">
                <a:latin typeface="Arial"/>
                <a:ea typeface="微软雅黑"/>
                <a:cs typeface="+mn-cs"/>
              </a:rPr>
              <a:t>MapReduce,1</a:t>
            </a:r>
            <a:endParaRPr lang="zh-CN" altLang="en-US" sz="105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27" name="任意多边形: 形状 26">
            <a:extLst>
              <a:ext uri="{FF2B5EF4-FFF2-40B4-BE49-F238E27FC236}">
                <a16:creationId xmlns:a16="http://schemas.microsoft.com/office/drawing/2014/main" id="{4128A72F-9C48-434C-BA4C-322D0193DD74}"/>
              </a:ext>
            </a:extLst>
          </p:cNvPr>
          <p:cNvSpPr/>
          <p:nvPr/>
        </p:nvSpPr>
        <p:spPr>
          <a:xfrm>
            <a:off x="1506255" y="5239256"/>
            <a:ext cx="1573660" cy="246029"/>
          </a:xfrm>
          <a:custGeom>
            <a:avLst/>
            <a:gdLst>
              <a:gd name="connsiteX0" fmla="*/ 0 w 1573660"/>
              <a:gd name="connsiteY0" fmla="*/ 24603 h 246029"/>
              <a:gd name="connsiteX1" fmla="*/ 24603 w 1573660"/>
              <a:gd name="connsiteY1" fmla="*/ 0 h 246029"/>
              <a:gd name="connsiteX2" fmla="*/ 1549057 w 1573660"/>
              <a:gd name="connsiteY2" fmla="*/ 0 h 246029"/>
              <a:gd name="connsiteX3" fmla="*/ 1573660 w 1573660"/>
              <a:gd name="connsiteY3" fmla="*/ 24603 h 246029"/>
              <a:gd name="connsiteX4" fmla="*/ 1573660 w 1573660"/>
              <a:gd name="connsiteY4" fmla="*/ 221426 h 246029"/>
              <a:gd name="connsiteX5" fmla="*/ 1549057 w 1573660"/>
              <a:gd name="connsiteY5" fmla="*/ 246029 h 246029"/>
              <a:gd name="connsiteX6" fmla="*/ 24603 w 1573660"/>
              <a:gd name="connsiteY6" fmla="*/ 246029 h 246029"/>
              <a:gd name="connsiteX7" fmla="*/ 0 w 1573660"/>
              <a:gd name="connsiteY7" fmla="*/ 221426 h 246029"/>
              <a:gd name="connsiteX8" fmla="*/ 0 w 1573660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3660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549057" y="0"/>
                </a:lnTo>
                <a:cubicBezTo>
                  <a:pt x="1562645" y="0"/>
                  <a:pt x="1573660" y="11015"/>
                  <a:pt x="1573660" y="24603"/>
                </a:cubicBezTo>
                <a:lnTo>
                  <a:pt x="1573660" y="221426"/>
                </a:lnTo>
                <a:cubicBezTo>
                  <a:pt x="1573660" y="235014"/>
                  <a:pt x="1562645" y="246029"/>
                  <a:pt x="1549057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Java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CE88977E-9269-4910-A639-F84215CC93A8}"/>
              </a:ext>
            </a:extLst>
          </p:cNvPr>
          <p:cNvSpPr/>
          <p:nvPr/>
        </p:nvSpPr>
        <p:spPr>
          <a:xfrm>
            <a:off x="1553080" y="5504997"/>
            <a:ext cx="1480010" cy="246029"/>
          </a:xfrm>
          <a:custGeom>
            <a:avLst/>
            <a:gdLst>
              <a:gd name="connsiteX0" fmla="*/ 0 w 1480010"/>
              <a:gd name="connsiteY0" fmla="*/ 24603 h 246029"/>
              <a:gd name="connsiteX1" fmla="*/ 24603 w 1480010"/>
              <a:gd name="connsiteY1" fmla="*/ 0 h 246029"/>
              <a:gd name="connsiteX2" fmla="*/ 1455407 w 1480010"/>
              <a:gd name="connsiteY2" fmla="*/ 0 h 246029"/>
              <a:gd name="connsiteX3" fmla="*/ 1480010 w 1480010"/>
              <a:gd name="connsiteY3" fmla="*/ 24603 h 246029"/>
              <a:gd name="connsiteX4" fmla="*/ 1480010 w 1480010"/>
              <a:gd name="connsiteY4" fmla="*/ 221426 h 246029"/>
              <a:gd name="connsiteX5" fmla="*/ 1455407 w 1480010"/>
              <a:gd name="connsiteY5" fmla="*/ 246029 h 246029"/>
              <a:gd name="connsiteX6" fmla="*/ 24603 w 1480010"/>
              <a:gd name="connsiteY6" fmla="*/ 246029 h 246029"/>
              <a:gd name="connsiteX7" fmla="*/ 0 w 1480010"/>
              <a:gd name="connsiteY7" fmla="*/ 221426 h 246029"/>
              <a:gd name="connsiteX8" fmla="*/ 0 w 1480010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80010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455407" y="0"/>
                </a:lnTo>
                <a:cubicBezTo>
                  <a:pt x="1468995" y="0"/>
                  <a:pt x="1480010" y="11015"/>
                  <a:pt x="1480010" y="24603"/>
                </a:cubicBezTo>
                <a:lnTo>
                  <a:pt x="1480010" y="221426"/>
                </a:lnTo>
                <a:cubicBezTo>
                  <a:pt x="1480010" y="235014"/>
                  <a:pt x="1468995" y="246029"/>
                  <a:pt x="1455407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like,1</a:t>
            </a:r>
            <a:endParaRPr lang="zh-CN" altLang="en-US" sz="1100" b="1" kern="1200" dirty="0"/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613B5803-2DB8-4508-82BA-7EA0FBF1FC3C}"/>
              </a:ext>
            </a:extLst>
          </p:cNvPr>
          <p:cNvSpPr/>
          <p:nvPr/>
        </p:nvSpPr>
        <p:spPr>
          <a:xfrm>
            <a:off x="1595633" y="5770738"/>
            <a:ext cx="1394904" cy="246029"/>
          </a:xfrm>
          <a:custGeom>
            <a:avLst/>
            <a:gdLst>
              <a:gd name="connsiteX0" fmla="*/ 0 w 1394904"/>
              <a:gd name="connsiteY0" fmla="*/ 24603 h 246029"/>
              <a:gd name="connsiteX1" fmla="*/ 24603 w 1394904"/>
              <a:gd name="connsiteY1" fmla="*/ 0 h 246029"/>
              <a:gd name="connsiteX2" fmla="*/ 1370301 w 1394904"/>
              <a:gd name="connsiteY2" fmla="*/ 0 h 246029"/>
              <a:gd name="connsiteX3" fmla="*/ 1394904 w 1394904"/>
              <a:gd name="connsiteY3" fmla="*/ 24603 h 246029"/>
              <a:gd name="connsiteX4" fmla="*/ 1394904 w 1394904"/>
              <a:gd name="connsiteY4" fmla="*/ 221426 h 246029"/>
              <a:gd name="connsiteX5" fmla="*/ 1370301 w 1394904"/>
              <a:gd name="connsiteY5" fmla="*/ 246029 h 246029"/>
              <a:gd name="connsiteX6" fmla="*/ 24603 w 1394904"/>
              <a:gd name="connsiteY6" fmla="*/ 246029 h 246029"/>
              <a:gd name="connsiteX7" fmla="*/ 0 w 1394904"/>
              <a:gd name="connsiteY7" fmla="*/ 221426 h 246029"/>
              <a:gd name="connsiteX8" fmla="*/ 0 w 1394904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94904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370301" y="0"/>
                </a:lnTo>
                <a:cubicBezTo>
                  <a:pt x="1383889" y="0"/>
                  <a:pt x="1394904" y="11015"/>
                  <a:pt x="1394904" y="24603"/>
                </a:cubicBezTo>
                <a:lnTo>
                  <a:pt x="1394904" y="221426"/>
                </a:lnTo>
                <a:cubicBezTo>
                  <a:pt x="1394904" y="235014"/>
                  <a:pt x="1383889" y="246029"/>
                  <a:pt x="1370301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MapReduce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32" name="标题 3">
            <a:extLst>
              <a:ext uri="{FF2B5EF4-FFF2-40B4-BE49-F238E27FC236}">
                <a16:creationId xmlns:a16="http://schemas.microsoft.com/office/drawing/2014/main" id="{4EA5887E-594B-4F9E-B713-7C204956FE2D}"/>
              </a:ext>
            </a:extLst>
          </p:cNvPr>
          <p:cNvSpPr txBox="1">
            <a:spLocks/>
          </p:cNvSpPr>
          <p:nvPr/>
        </p:nvSpPr>
        <p:spPr>
          <a:xfrm>
            <a:off x="502444" y="-514350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MapReduce</a:t>
            </a:r>
            <a:r>
              <a:rPr lang="zh-CN" altLang="en-US" dirty="0"/>
              <a:t>工作流程</a:t>
            </a:r>
          </a:p>
        </p:txBody>
      </p: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58DC52F2-CC78-4AA9-B594-19A5E7C89907}"/>
              </a:ext>
            </a:extLst>
          </p:cNvPr>
          <p:cNvGrpSpPr/>
          <p:nvPr/>
        </p:nvGrpSpPr>
        <p:grpSpPr>
          <a:xfrm>
            <a:off x="5468332" y="495654"/>
            <a:ext cx="2793511" cy="5638446"/>
            <a:chOff x="5468332" y="495654"/>
            <a:chExt cx="2793511" cy="5638446"/>
          </a:xfrm>
        </p:grpSpPr>
        <p:grpSp>
          <p:nvGrpSpPr>
            <p:cNvPr id="31" name="组合 30">
              <a:extLst>
                <a:ext uri="{FF2B5EF4-FFF2-40B4-BE49-F238E27FC236}">
                  <a16:creationId xmlns:a16="http://schemas.microsoft.com/office/drawing/2014/main" id="{EA8693D5-7024-45AA-9EB3-7C6E1D77ADE2}"/>
                </a:ext>
              </a:extLst>
            </p:cNvPr>
            <p:cNvGrpSpPr/>
            <p:nvPr/>
          </p:nvGrpSpPr>
          <p:grpSpPr>
            <a:xfrm>
              <a:off x="5468332" y="495654"/>
              <a:ext cx="2793511" cy="5638446"/>
              <a:chOff x="4965095" y="495654"/>
              <a:chExt cx="2793511" cy="5638446"/>
            </a:xfrm>
          </p:grpSpPr>
          <p:sp>
            <p:nvSpPr>
              <p:cNvPr id="35" name="矩形: 圆角 34">
                <a:extLst>
                  <a:ext uri="{FF2B5EF4-FFF2-40B4-BE49-F238E27FC236}">
                    <a16:creationId xmlns:a16="http://schemas.microsoft.com/office/drawing/2014/main" id="{160CF4E0-52B2-4A3F-8EB0-91071C5C2410}"/>
                  </a:ext>
                </a:extLst>
              </p:cNvPr>
              <p:cNvSpPr/>
              <p:nvPr/>
            </p:nvSpPr>
            <p:spPr>
              <a:xfrm>
                <a:off x="4965095" y="1130300"/>
                <a:ext cx="2793511" cy="5003800"/>
              </a:xfrm>
              <a:prstGeom prst="round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2" name="文本框 41">
                <a:extLst>
                  <a:ext uri="{FF2B5EF4-FFF2-40B4-BE49-F238E27FC236}">
                    <a16:creationId xmlns:a16="http://schemas.microsoft.com/office/drawing/2014/main" id="{8A8236DC-A948-44D4-A62A-079D0FB9C5E6}"/>
                  </a:ext>
                </a:extLst>
              </p:cNvPr>
              <p:cNvSpPr txBox="1"/>
              <p:nvPr/>
            </p:nvSpPr>
            <p:spPr>
              <a:xfrm>
                <a:off x="5473087" y="495654"/>
                <a:ext cx="177752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2800" dirty="0"/>
                  <a:t>Reduce()</a:t>
                </a:r>
                <a:endParaRPr lang="zh-CN" altLang="en-US" sz="2800" dirty="0"/>
              </a:p>
            </p:txBody>
          </p:sp>
        </p:grpSp>
        <p:sp>
          <p:nvSpPr>
            <p:cNvPr id="33" name="矩形: 圆角 32">
              <a:extLst>
                <a:ext uri="{FF2B5EF4-FFF2-40B4-BE49-F238E27FC236}">
                  <a16:creationId xmlns:a16="http://schemas.microsoft.com/office/drawing/2014/main" id="{8666965C-7A61-4CA2-ACCA-F9FD4AD30711}"/>
                </a:ext>
              </a:extLst>
            </p:cNvPr>
            <p:cNvSpPr>
              <a:spLocks/>
            </p:cNvSpPr>
            <p:nvPr/>
          </p:nvSpPr>
          <p:spPr>
            <a:xfrm>
              <a:off x="5850674" y="1634825"/>
              <a:ext cx="2028825" cy="1662932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  <p:sp>
          <p:nvSpPr>
            <p:cNvPr id="34" name="矩形: 圆角 33">
              <a:extLst>
                <a:ext uri="{FF2B5EF4-FFF2-40B4-BE49-F238E27FC236}">
                  <a16:creationId xmlns:a16="http://schemas.microsoft.com/office/drawing/2014/main" id="{ABF70D29-58A0-4284-8EAF-157BF13EF491}"/>
                </a:ext>
              </a:extLst>
            </p:cNvPr>
            <p:cNvSpPr>
              <a:spLocks/>
            </p:cNvSpPr>
            <p:nvPr/>
          </p:nvSpPr>
          <p:spPr>
            <a:xfrm>
              <a:off x="5850674" y="3961339"/>
              <a:ext cx="2028825" cy="1662932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</p:grp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8E748946-CA77-4C4C-A2B0-34DEAFE5B607}"/>
              </a:ext>
            </a:extLst>
          </p:cNvPr>
          <p:cNvSpPr/>
          <p:nvPr/>
        </p:nvSpPr>
        <p:spPr>
          <a:xfrm>
            <a:off x="3716957" y="1759877"/>
            <a:ext cx="1725341" cy="247985"/>
          </a:xfrm>
          <a:custGeom>
            <a:avLst/>
            <a:gdLst>
              <a:gd name="connsiteX0" fmla="*/ 0 w 1725341"/>
              <a:gd name="connsiteY0" fmla="*/ 24799 h 247985"/>
              <a:gd name="connsiteX1" fmla="*/ 24799 w 1725341"/>
              <a:gd name="connsiteY1" fmla="*/ 0 h 247985"/>
              <a:gd name="connsiteX2" fmla="*/ 1700543 w 1725341"/>
              <a:gd name="connsiteY2" fmla="*/ 0 h 247985"/>
              <a:gd name="connsiteX3" fmla="*/ 1725342 w 1725341"/>
              <a:gd name="connsiteY3" fmla="*/ 24799 h 247985"/>
              <a:gd name="connsiteX4" fmla="*/ 1725341 w 1725341"/>
              <a:gd name="connsiteY4" fmla="*/ 223187 h 247985"/>
              <a:gd name="connsiteX5" fmla="*/ 1700542 w 1725341"/>
              <a:gd name="connsiteY5" fmla="*/ 247986 h 247985"/>
              <a:gd name="connsiteX6" fmla="*/ 24799 w 1725341"/>
              <a:gd name="connsiteY6" fmla="*/ 247985 h 247985"/>
              <a:gd name="connsiteX7" fmla="*/ 0 w 1725341"/>
              <a:gd name="connsiteY7" fmla="*/ 223186 h 247985"/>
              <a:gd name="connsiteX8" fmla="*/ 0 w 1725341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25341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700543" y="0"/>
                </a:lnTo>
                <a:cubicBezTo>
                  <a:pt x="1714239" y="0"/>
                  <a:pt x="1725342" y="11103"/>
                  <a:pt x="1725342" y="24799"/>
                </a:cubicBezTo>
                <a:cubicBezTo>
                  <a:pt x="1725342" y="90928"/>
                  <a:pt x="1725341" y="157058"/>
                  <a:pt x="1725341" y="223187"/>
                </a:cubicBezTo>
                <a:cubicBezTo>
                  <a:pt x="1725341" y="236883"/>
                  <a:pt x="1714238" y="247986"/>
                  <a:pt x="1700542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adoop,1</a:t>
            </a:r>
            <a:endParaRPr lang="zh-CN" altLang="en-US" sz="1100" b="1" kern="1200" dirty="0"/>
          </a:p>
        </p:txBody>
      </p:sp>
      <p:sp>
        <p:nvSpPr>
          <p:cNvPr id="39" name="任意多边形: 形状 38">
            <a:extLst>
              <a:ext uri="{FF2B5EF4-FFF2-40B4-BE49-F238E27FC236}">
                <a16:creationId xmlns:a16="http://schemas.microsoft.com/office/drawing/2014/main" id="{A0AA5310-025C-4069-876A-636B91D45FA8}"/>
              </a:ext>
            </a:extLst>
          </p:cNvPr>
          <p:cNvSpPr/>
          <p:nvPr/>
        </p:nvSpPr>
        <p:spPr>
          <a:xfrm>
            <a:off x="3745158" y="2635251"/>
            <a:ext cx="1613936" cy="247985"/>
          </a:xfrm>
          <a:custGeom>
            <a:avLst/>
            <a:gdLst>
              <a:gd name="connsiteX0" fmla="*/ 0 w 1613936"/>
              <a:gd name="connsiteY0" fmla="*/ 24799 h 247985"/>
              <a:gd name="connsiteX1" fmla="*/ 24799 w 1613936"/>
              <a:gd name="connsiteY1" fmla="*/ 0 h 247985"/>
              <a:gd name="connsiteX2" fmla="*/ 1589138 w 1613936"/>
              <a:gd name="connsiteY2" fmla="*/ 0 h 247985"/>
              <a:gd name="connsiteX3" fmla="*/ 1613937 w 1613936"/>
              <a:gd name="connsiteY3" fmla="*/ 24799 h 247985"/>
              <a:gd name="connsiteX4" fmla="*/ 1613936 w 1613936"/>
              <a:gd name="connsiteY4" fmla="*/ 223187 h 247985"/>
              <a:gd name="connsiteX5" fmla="*/ 1589137 w 1613936"/>
              <a:gd name="connsiteY5" fmla="*/ 247986 h 247985"/>
              <a:gd name="connsiteX6" fmla="*/ 24799 w 1613936"/>
              <a:gd name="connsiteY6" fmla="*/ 247985 h 247985"/>
              <a:gd name="connsiteX7" fmla="*/ 0 w 1613936"/>
              <a:gd name="connsiteY7" fmla="*/ 223186 h 247985"/>
              <a:gd name="connsiteX8" fmla="*/ 0 w 1613936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13936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589138" y="0"/>
                </a:lnTo>
                <a:cubicBezTo>
                  <a:pt x="1602834" y="0"/>
                  <a:pt x="1613937" y="11103"/>
                  <a:pt x="1613937" y="24799"/>
                </a:cubicBezTo>
                <a:cubicBezTo>
                  <a:pt x="1613937" y="90928"/>
                  <a:pt x="1613936" y="157058"/>
                  <a:pt x="1613936" y="223187"/>
                </a:cubicBezTo>
                <a:cubicBezTo>
                  <a:pt x="1613936" y="236883"/>
                  <a:pt x="1602833" y="247986"/>
                  <a:pt x="1589137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99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ello,1</a:t>
            </a:r>
            <a:endParaRPr lang="zh-CN" altLang="en-US" sz="1100" b="1" kern="1200" dirty="0"/>
          </a:p>
        </p:txBody>
      </p:sp>
      <p:sp>
        <p:nvSpPr>
          <p:cNvPr id="40" name="任意多边形: 形状 39">
            <a:extLst>
              <a:ext uri="{FF2B5EF4-FFF2-40B4-BE49-F238E27FC236}">
                <a16:creationId xmlns:a16="http://schemas.microsoft.com/office/drawing/2014/main" id="{02A74A0E-1CB5-4BC1-89C8-64BCA848BE53}"/>
              </a:ext>
            </a:extLst>
          </p:cNvPr>
          <p:cNvSpPr/>
          <p:nvPr/>
        </p:nvSpPr>
        <p:spPr>
          <a:xfrm>
            <a:off x="3843620" y="3510618"/>
            <a:ext cx="1474589" cy="247985"/>
          </a:xfrm>
          <a:custGeom>
            <a:avLst/>
            <a:gdLst>
              <a:gd name="connsiteX0" fmla="*/ 0 w 1474589"/>
              <a:gd name="connsiteY0" fmla="*/ 24799 h 247985"/>
              <a:gd name="connsiteX1" fmla="*/ 24799 w 1474589"/>
              <a:gd name="connsiteY1" fmla="*/ 0 h 247985"/>
              <a:gd name="connsiteX2" fmla="*/ 1449791 w 1474589"/>
              <a:gd name="connsiteY2" fmla="*/ 0 h 247985"/>
              <a:gd name="connsiteX3" fmla="*/ 1474590 w 1474589"/>
              <a:gd name="connsiteY3" fmla="*/ 24799 h 247985"/>
              <a:gd name="connsiteX4" fmla="*/ 1474589 w 1474589"/>
              <a:gd name="connsiteY4" fmla="*/ 223187 h 247985"/>
              <a:gd name="connsiteX5" fmla="*/ 1449790 w 1474589"/>
              <a:gd name="connsiteY5" fmla="*/ 247986 h 247985"/>
              <a:gd name="connsiteX6" fmla="*/ 24799 w 1474589"/>
              <a:gd name="connsiteY6" fmla="*/ 247985 h 247985"/>
              <a:gd name="connsiteX7" fmla="*/ 0 w 1474589"/>
              <a:gd name="connsiteY7" fmla="*/ 223186 h 247985"/>
              <a:gd name="connsiteX8" fmla="*/ 0 w 1474589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74589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449791" y="0"/>
                </a:lnTo>
                <a:cubicBezTo>
                  <a:pt x="1463487" y="0"/>
                  <a:pt x="1474590" y="11103"/>
                  <a:pt x="1474590" y="24799"/>
                </a:cubicBezTo>
                <a:cubicBezTo>
                  <a:pt x="1474590" y="90928"/>
                  <a:pt x="1474589" y="157058"/>
                  <a:pt x="1474589" y="223187"/>
                </a:cubicBezTo>
                <a:cubicBezTo>
                  <a:pt x="1474589" y="236883"/>
                  <a:pt x="1463486" y="247986"/>
                  <a:pt x="1449790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I,1</a:t>
            </a:r>
            <a:endParaRPr lang="zh-CN" altLang="en-US" sz="1100" b="1" kern="1200" dirty="0"/>
          </a:p>
        </p:txBody>
      </p:sp>
      <p:sp>
        <p:nvSpPr>
          <p:cNvPr id="41" name="任意多边形: 形状 40">
            <a:extLst>
              <a:ext uri="{FF2B5EF4-FFF2-40B4-BE49-F238E27FC236}">
                <a16:creationId xmlns:a16="http://schemas.microsoft.com/office/drawing/2014/main" id="{D1C504A1-D96B-4DA2-AE09-D946E95DD478}"/>
              </a:ext>
            </a:extLst>
          </p:cNvPr>
          <p:cNvSpPr/>
          <p:nvPr/>
        </p:nvSpPr>
        <p:spPr>
          <a:xfrm>
            <a:off x="3642480" y="2052972"/>
            <a:ext cx="1873215" cy="246029"/>
          </a:xfrm>
          <a:custGeom>
            <a:avLst/>
            <a:gdLst>
              <a:gd name="connsiteX0" fmla="*/ 0 w 1873215"/>
              <a:gd name="connsiteY0" fmla="*/ 24603 h 246029"/>
              <a:gd name="connsiteX1" fmla="*/ 24603 w 1873215"/>
              <a:gd name="connsiteY1" fmla="*/ 0 h 246029"/>
              <a:gd name="connsiteX2" fmla="*/ 1848612 w 1873215"/>
              <a:gd name="connsiteY2" fmla="*/ 0 h 246029"/>
              <a:gd name="connsiteX3" fmla="*/ 1873215 w 1873215"/>
              <a:gd name="connsiteY3" fmla="*/ 24603 h 246029"/>
              <a:gd name="connsiteX4" fmla="*/ 1873215 w 1873215"/>
              <a:gd name="connsiteY4" fmla="*/ 221426 h 246029"/>
              <a:gd name="connsiteX5" fmla="*/ 1848612 w 1873215"/>
              <a:gd name="connsiteY5" fmla="*/ 246029 h 246029"/>
              <a:gd name="connsiteX6" fmla="*/ 24603 w 1873215"/>
              <a:gd name="connsiteY6" fmla="*/ 246029 h 246029"/>
              <a:gd name="connsiteX7" fmla="*/ 0 w 1873215"/>
              <a:gd name="connsiteY7" fmla="*/ 221426 h 246029"/>
              <a:gd name="connsiteX8" fmla="*/ 0 w 1873215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3215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848612" y="0"/>
                </a:lnTo>
                <a:cubicBezTo>
                  <a:pt x="1862200" y="0"/>
                  <a:pt x="1873215" y="11015"/>
                  <a:pt x="1873215" y="24603"/>
                </a:cubicBezTo>
                <a:lnTo>
                  <a:pt x="1873215" y="221426"/>
                </a:lnTo>
                <a:cubicBezTo>
                  <a:pt x="1873215" y="235014"/>
                  <a:pt x="1862200" y="246029"/>
                  <a:pt x="1848612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adoop,1</a:t>
            </a:r>
            <a:endParaRPr lang="zh-CN" altLang="en-US" sz="1100" b="1" kern="1200" dirty="0"/>
          </a:p>
        </p:txBody>
      </p:sp>
      <p:sp>
        <p:nvSpPr>
          <p:cNvPr id="43" name="任意多边形: 形状 42">
            <a:extLst>
              <a:ext uri="{FF2B5EF4-FFF2-40B4-BE49-F238E27FC236}">
                <a16:creationId xmlns:a16="http://schemas.microsoft.com/office/drawing/2014/main" id="{423B2D1B-9839-43FA-93BA-FA91CF83D05D}"/>
              </a:ext>
            </a:extLst>
          </p:cNvPr>
          <p:cNvSpPr/>
          <p:nvPr/>
        </p:nvSpPr>
        <p:spPr>
          <a:xfrm>
            <a:off x="3745158" y="2928344"/>
            <a:ext cx="1671516" cy="246029"/>
          </a:xfrm>
          <a:custGeom>
            <a:avLst/>
            <a:gdLst>
              <a:gd name="connsiteX0" fmla="*/ 0 w 1671516"/>
              <a:gd name="connsiteY0" fmla="*/ 24603 h 246029"/>
              <a:gd name="connsiteX1" fmla="*/ 24603 w 1671516"/>
              <a:gd name="connsiteY1" fmla="*/ 0 h 246029"/>
              <a:gd name="connsiteX2" fmla="*/ 1646913 w 1671516"/>
              <a:gd name="connsiteY2" fmla="*/ 0 h 246029"/>
              <a:gd name="connsiteX3" fmla="*/ 1671516 w 1671516"/>
              <a:gd name="connsiteY3" fmla="*/ 24603 h 246029"/>
              <a:gd name="connsiteX4" fmla="*/ 1671516 w 1671516"/>
              <a:gd name="connsiteY4" fmla="*/ 221426 h 246029"/>
              <a:gd name="connsiteX5" fmla="*/ 1646913 w 1671516"/>
              <a:gd name="connsiteY5" fmla="*/ 246029 h 246029"/>
              <a:gd name="connsiteX6" fmla="*/ 24603 w 1671516"/>
              <a:gd name="connsiteY6" fmla="*/ 246029 h 246029"/>
              <a:gd name="connsiteX7" fmla="*/ 0 w 1671516"/>
              <a:gd name="connsiteY7" fmla="*/ 221426 h 246029"/>
              <a:gd name="connsiteX8" fmla="*/ 0 w 1671516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1516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646913" y="0"/>
                </a:lnTo>
                <a:cubicBezTo>
                  <a:pt x="1660501" y="0"/>
                  <a:pt x="1671516" y="11015"/>
                  <a:pt x="1671516" y="24603"/>
                </a:cubicBezTo>
                <a:lnTo>
                  <a:pt x="1671516" y="221426"/>
                </a:lnTo>
                <a:cubicBezTo>
                  <a:pt x="1671516" y="235014"/>
                  <a:pt x="1660501" y="246029"/>
                  <a:pt x="1646913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99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ello,1</a:t>
            </a:r>
            <a:endParaRPr lang="zh-CN" altLang="en-US" sz="1100" b="1" kern="1200" dirty="0"/>
          </a:p>
        </p:txBody>
      </p:sp>
      <p:sp>
        <p:nvSpPr>
          <p:cNvPr id="44" name="任意多边形: 形状 43">
            <a:extLst>
              <a:ext uri="{FF2B5EF4-FFF2-40B4-BE49-F238E27FC236}">
                <a16:creationId xmlns:a16="http://schemas.microsoft.com/office/drawing/2014/main" id="{FB484DB9-73C6-4439-81D7-64073EFF15A1}"/>
              </a:ext>
            </a:extLst>
          </p:cNvPr>
          <p:cNvSpPr/>
          <p:nvPr/>
        </p:nvSpPr>
        <p:spPr>
          <a:xfrm>
            <a:off x="3792545" y="3219481"/>
            <a:ext cx="1576742" cy="246029"/>
          </a:xfrm>
          <a:custGeom>
            <a:avLst/>
            <a:gdLst>
              <a:gd name="connsiteX0" fmla="*/ 0 w 1576742"/>
              <a:gd name="connsiteY0" fmla="*/ 24603 h 246029"/>
              <a:gd name="connsiteX1" fmla="*/ 24603 w 1576742"/>
              <a:gd name="connsiteY1" fmla="*/ 0 h 246029"/>
              <a:gd name="connsiteX2" fmla="*/ 1552139 w 1576742"/>
              <a:gd name="connsiteY2" fmla="*/ 0 h 246029"/>
              <a:gd name="connsiteX3" fmla="*/ 1576742 w 1576742"/>
              <a:gd name="connsiteY3" fmla="*/ 24603 h 246029"/>
              <a:gd name="connsiteX4" fmla="*/ 1576742 w 1576742"/>
              <a:gd name="connsiteY4" fmla="*/ 221426 h 246029"/>
              <a:gd name="connsiteX5" fmla="*/ 1552139 w 1576742"/>
              <a:gd name="connsiteY5" fmla="*/ 246029 h 246029"/>
              <a:gd name="connsiteX6" fmla="*/ 24603 w 1576742"/>
              <a:gd name="connsiteY6" fmla="*/ 246029 h 246029"/>
              <a:gd name="connsiteX7" fmla="*/ 0 w 1576742"/>
              <a:gd name="connsiteY7" fmla="*/ 221426 h 246029"/>
              <a:gd name="connsiteX8" fmla="*/ 0 w 1576742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6742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552139" y="0"/>
                </a:lnTo>
                <a:cubicBezTo>
                  <a:pt x="1565727" y="0"/>
                  <a:pt x="1576742" y="11015"/>
                  <a:pt x="1576742" y="24603"/>
                </a:cubicBezTo>
                <a:lnTo>
                  <a:pt x="1576742" y="221426"/>
                </a:lnTo>
                <a:cubicBezTo>
                  <a:pt x="1576742" y="235014"/>
                  <a:pt x="1565727" y="246029"/>
                  <a:pt x="1552139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I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45" name="任意多边形: 形状 44">
            <a:extLst>
              <a:ext uri="{FF2B5EF4-FFF2-40B4-BE49-F238E27FC236}">
                <a16:creationId xmlns:a16="http://schemas.microsoft.com/office/drawing/2014/main" id="{86278F2A-28A4-4368-994D-2CFB84B3A055}"/>
              </a:ext>
            </a:extLst>
          </p:cNvPr>
          <p:cNvSpPr/>
          <p:nvPr/>
        </p:nvSpPr>
        <p:spPr>
          <a:xfrm>
            <a:off x="3634933" y="2344112"/>
            <a:ext cx="1874133" cy="246029"/>
          </a:xfrm>
          <a:custGeom>
            <a:avLst/>
            <a:gdLst>
              <a:gd name="connsiteX0" fmla="*/ 0 w 1874133"/>
              <a:gd name="connsiteY0" fmla="*/ 24603 h 246029"/>
              <a:gd name="connsiteX1" fmla="*/ 24603 w 1874133"/>
              <a:gd name="connsiteY1" fmla="*/ 0 h 246029"/>
              <a:gd name="connsiteX2" fmla="*/ 1849530 w 1874133"/>
              <a:gd name="connsiteY2" fmla="*/ 0 h 246029"/>
              <a:gd name="connsiteX3" fmla="*/ 1874133 w 1874133"/>
              <a:gd name="connsiteY3" fmla="*/ 24603 h 246029"/>
              <a:gd name="connsiteX4" fmla="*/ 1874133 w 1874133"/>
              <a:gd name="connsiteY4" fmla="*/ 221426 h 246029"/>
              <a:gd name="connsiteX5" fmla="*/ 1849530 w 1874133"/>
              <a:gd name="connsiteY5" fmla="*/ 246029 h 246029"/>
              <a:gd name="connsiteX6" fmla="*/ 24603 w 1874133"/>
              <a:gd name="connsiteY6" fmla="*/ 246029 h 246029"/>
              <a:gd name="connsiteX7" fmla="*/ 0 w 1874133"/>
              <a:gd name="connsiteY7" fmla="*/ 221426 h 246029"/>
              <a:gd name="connsiteX8" fmla="*/ 0 w 1874133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4133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849530" y="0"/>
                </a:lnTo>
                <a:cubicBezTo>
                  <a:pt x="1863118" y="0"/>
                  <a:pt x="1874133" y="11015"/>
                  <a:pt x="1874133" y="24603"/>
                </a:cubicBezTo>
                <a:lnTo>
                  <a:pt x="1874133" y="221426"/>
                </a:lnTo>
                <a:cubicBezTo>
                  <a:pt x="1874133" y="235014"/>
                  <a:pt x="1863118" y="246029"/>
                  <a:pt x="1849530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ello,1</a:t>
            </a:r>
            <a:endParaRPr lang="zh-CN" altLang="en-US" sz="1100" b="1" kern="1200" dirty="0"/>
          </a:p>
        </p:txBody>
      </p:sp>
      <p:sp>
        <p:nvSpPr>
          <p:cNvPr id="46" name="任意多边形: 形状 45">
            <a:extLst>
              <a:ext uri="{FF2B5EF4-FFF2-40B4-BE49-F238E27FC236}">
                <a16:creationId xmlns:a16="http://schemas.microsoft.com/office/drawing/2014/main" id="{C5C311A4-AC7A-4B70-9483-290EBF8D9E53}"/>
              </a:ext>
            </a:extLst>
          </p:cNvPr>
          <p:cNvSpPr/>
          <p:nvPr/>
        </p:nvSpPr>
        <p:spPr>
          <a:xfrm>
            <a:off x="3745565" y="3803713"/>
            <a:ext cx="1670703" cy="246029"/>
          </a:xfrm>
          <a:custGeom>
            <a:avLst/>
            <a:gdLst>
              <a:gd name="connsiteX0" fmla="*/ 0 w 1670703"/>
              <a:gd name="connsiteY0" fmla="*/ 24603 h 246029"/>
              <a:gd name="connsiteX1" fmla="*/ 24603 w 1670703"/>
              <a:gd name="connsiteY1" fmla="*/ 0 h 246029"/>
              <a:gd name="connsiteX2" fmla="*/ 1646100 w 1670703"/>
              <a:gd name="connsiteY2" fmla="*/ 0 h 246029"/>
              <a:gd name="connsiteX3" fmla="*/ 1670703 w 1670703"/>
              <a:gd name="connsiteY3" fmla="*/ 24603 h 246029"/>
              <a:gd name="connsiteX4" fmla="*/ 1670703 w 1670703"/>
              <a:gd name="connsiteY4" fmla="*/ 221426 h 246029"/>
              <a:gd name="connsiteX5" fmla="*/ 1646100 w 1670703"/>
              <a:gd name="connsiteY5" fmla="*/ 246029 h 246029"/>
              <a:gd name="connsiteX6" fmla="*/ 24603 w 1670703"/>
              <a:gd name="connsiteY6" fmla="*/ 246029 h 246029"/>
              <a:gd name="connsiteX7" fmla="*/ 0 w 1670703"/>
              <a:gd name="connsiteY7" fmla="*/ 221426 h 246029"/>
              <a:gd name="connsiteX8" fmla="*/ 0 w 1670703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703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646100" y="0"/>
                </a:lnTo>
                <a:cubicBezTo>
                  <a:pt x="1659688" y="0"/>
                  <a:pt x="1670703" y="11015"/>
                  <a:pt x="1670703" y="24603"/>
                </a:cubicBezTo>
                <a:lnTo>
                  <a:pt x="1670703" y="221426"/>
                </a:lnTo>
                <a:cubicBezTo>
                  <a:pt x="1670703" y="235014"/>
                  <a:pt x="1659688" y="246029"/>
                  <a:pt x="1646100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99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99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I,1</a:t>
            </a:r>
            <a:endParaRPr lang="zh-CN" altLang="en-US" sz="1100" b="1" kern="1200" dirty="0"/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29A904AE-DC7B-4999-8A2B-293E0A08D602}"/>
              </a:ext>
            </a:extLst>
          </p:cNvPr>
          <p:cNvSpPr txBox="1"/>
          <p:nvPr/>
        </p:nvSpPr>
        <p:spPr>
          <a:xfrm>
            <a:off x="4075395" y="572598"/>
            <a:ext cx="20288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huffle</a:t>
            </a:r>
            <a:endParaRPr lang="zh-CN" altLang="en-US" dirty="0"/>
          </a:p>
        </p:txBody>
      </p:sp>
      <p:sp>
        <p:nvSpPr>
          <p:cNvPr id="47" name="任意多边形: 形状 46">
            <a:extLst>
              <a:ext uri="{FF2B5EF4-FFF2-40B4-BE49-F238E27FC236}">
                <a16:creationId xmlns:a16="http://schemas.microsoft.com/office/drawing/2014/main" id="{73C79121-C320-4B29-B539-9FF835234826}"/>
              </a:ext>
            </a:extLst>
          </p:cNvPr>
          <p:cNvSpPr>
            <a:spLocks/>
          </p:cNvSpPr>
          <p:nvPr/>
        </p:nvSpPr>
        <p:spPr>
          <a:xfrm>
            <a:off x="6028509" y="1759877"/>
            <a:ext cx="1725341" cy="247985"/>
          </a:xfrm>
          <a:custGeom>
            <a:avLst/>
            <a:gdLst>
              <a:gd name="connsiteX0" fmla="*/ 0 w 1725341"/>
              <a:gd name="connsiteY0" fmla="*/ 24799 h 247985"/>
              <a:gd name="connsiteX1" fmla="*/ 24799 w 1725341"/>
              <a:gd name="connsiteY1" fmla="*/ 0 h 247985"/>
              <a:gd name="connsiteX2" fmla="*/ 1700543 w 1725341"/>
              <a:gd name="connsiteY2" fmla="*/ 0 h 247985"/>
              <a:gd name="connsiteX3" fmla="*/ 1725342 w 1725341"/>
              <a:gd name="connsiteY3" fmla="*/ 24799 h 247985"/>
              <a:gd name="connsiteX4" fmla="*/ 1725341 w 1725341"/>
              <a:gd name="connsiteY4" fmla="*/ 223187 h 247985"/>
              <a:gd name="connsiteX5" fmla="*/ 1700542 w 1725341"/>
              <a:gd name="connsiteY5" fmla="*/ 247986 h 247985"/>
              <a:gd name="connsiteX6" fmla="*/ 24799 w 1725341"/>
              <a:gd name="connsiteY6" fmla="*/ 247985 h 247985"/>
              <a:gd name="connsiteX7" fmla="*/ 0 w 1725341"/>
              <a:gd name="connsiteY7" fmla="*/ 223186 h 247985"/>
              <a:gd name="connsiteX8" fmla="*/ 0 w 1725341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25341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700543" y="0"/>
                </a:lnTo>
                <a:cubicBezTo>
                  <a:pt x="1714239" y="0"/>
                  <a:pt x="1725342" y="11103"/>
                  <a:pt x="1725342" y="24799"/>
                </a:cubicBezTo>
                <a:cubicBezTo>
                  <a:pt x="1725342" y="90928"/>
                  <a:pt x="1725341" y="157058"/>
                  <a:pt x="1725341" y="223187"/>
                </a:cubicBezTo>
                <a:cubicBezTo>
                  <a:pt x="1725341" y="236883"/>
                  <a:pt x="1714238" y="247986"/>
                  <a:pt x="1700542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adoop,1,1</a:t>
            </a:r>
            <a:endParaRPr lang="zh-CN" altLang="en-US" sz="1100" b="1" kern="1200" dirty="0"/>
          </a:p>
        </p:txBody>
      </p:sp>
      <p:sp>
        <p:nvSpPr>
          <p:cNvPr id="49" name="任意多边形: 形状 48">
            <a:extLst>
              <a:ext uri="{FF2B5EF4-FFF2-40B4-BE49-F238E27FC236}">
                <a16:creationId xmlns:a16="http://schemas.microsoft.com/office/drawing/2014/main" id="{9E55FE10-DDC4-4DF9-AC80-5402914C3BBE}"/>
              </a:ext>
            </a:extLst>
          </p:cNvPr>
          <p:cNvSpPr/>
          <p:nvPr/>
        </p:nvSpPr>
        <p:spPr>
          <a:xfrm>
            <a:off x="5954112" y="2221097"/>
            <a:ext cx="1874133" cy="246029"/>
          </a:xfrm>
          <a:custGeom>
            <a:avLst/>
            <a:gdLst>
              <a:gd name="connsiteX0" fmla="*/ 0 w 1874133"/>
              <a:gd name="connsiteY0" fmla="*/ 24603 h 246029"/>
              <a:gd name="connsiteX1" fmla="*/ 24603 w 1874133"/>
              <a:gd name="connsiteY1" fmla="*/ 0 h 246029"/>
              <a:gd name="connsiteX2" fmla="*/ 1849530 w 1874133"/>
              <a:gd name="connsiteY2" fmla="*/ 0 h 246029"/>
              <a:gd name="connsiteX3" fmla="*/ 1874133 w 1874133"/>
              <a:gd name="connsiteY3" fmla="*/ 24603 h 246029"/>
              <a:gd name="connsiteX4" fmla="*/ 1874133 w 1874133"/>
              <a:gd name="connsiteY4" fmla="*/ 221426 h 246029"/>
              <a:gd name="connsiteX5" fmla="*/ 1849530 w 1874133"/>
              <a:gd name="connsiteY5" fmla="*/ 246029 h 246029"/>
              <a:gd name="connsiteX6" fmla="*/ 24603 w 1874133"/>
              <a:gd name="connsiteY6" fmla="*/ 246029 h 246029"/>
              <a:gd name="connsiteX7" fmla="*/ 0 w 1874133"/>
              <a:gd name="connsiteY7" fmla="*/ 221426 h 246029"/>
              <a:gd name="connsiteX8" fmla="*/ 0 w 1874133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4133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849530" y="0"/>
                </a:lnTo>
                <a:cubicBezTo>
                  <a:pt x="1863118" y="0"/>
                  <a:pt x="1874133" y="11015"/>
                  <a:pt x="1874133" y="24603"/>
                </a:cubicBezTo>
                <a:lnTo>
                  <a:pt x="1874133" y="221426"/>
                </a:lnTo>
                <a:cubicBezTo>
                  <a:pt x="1874133" y="235014"/>
                  <a:pt x="1863118" y="246029"/>
                  <a:pt x="1849530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ello,1,1,1</a:t>
            </a:r>
            <a:endParaRPr lang="zh-CN" altLang="en-US" sz="1100" b="1" kern="1200" dirty="0"/>
          </a:p>
        </p:txBody>
      </p:sp>
      <p:sp>
        <p:nvSpPr>
          <p:cNvPr id="50" name="任意多边形: 形状 49">
            <a:extLst>
              <a:ext uri="{FF2B5EF4-FFF2-40B4-BE49-F238E27FC236}">
                <a16:creationId xmlns:a16="http://schemas.microsoft.com/office/drawing/2014/main" id="{797AF3D5-00A6-4B66-81EB-23048BB2DC9B}"/>
              </a:ext>
            </a:extLst>
          </p:cNvPr>
          <p:cNvSpPr/>
          <p:nvPr/>
        </p:nvSpPr>
        <p:spPr>
          <a:xfrm>
            <a:off x="6102807" y="2682315"/>
            <a:ext cx="1576742" cy="246029"/>
          </a:xfrm>
          <a:custGeom>
            <a:avLst/>
            <a:gdLst>
              <a:gd name="connsiteX0" fmla="*/ 0 w 1576742"/>
              <a:gd name="connsiteY0" fmla="*/ 24603 h 246029"/>
              <a:gd name="connsiteX1" fmla="*/ 24603 w 1576742"/>
              <a:gd name="connsiteY1" fmla="*/ 0 h 246029"/>
              <a:gd name="connsiteX2" fmla="*/ 1552139 w 1576742"/>
              <a:gd name="connsiteY2" fmla="*/ 0 h 246029"/>
              <a:gd name="connsiteX3" fmla="*/ 1576742 w 1576742"/>
              <a:gd name="connsiteY3" fmla="*/ 24603 h 246029"/>
              <a:gd name="connsiteX4" fmla="*/ 1576742 w 1576742"/>
              <a:gd name="connsiteY4" fmla="*/ 221426 h 246029"/>
              <a:gd name="connsiteX5" fmla="*/ 1552139 w 1576742"/>
              <a:gd name="connsiteY5" fmla="*/ 246029 h 246029"/>
              <a:gd name="connsiteX6" fmla="*/ 24603 w 1576742"/>
              <a:gd name="connsiteY6" fmla="*/ 246029 h 246029"/>
              <a:gd name="connsiteX7" fmla="*/ 0 w 1576742"/>
              <a:gd name="connsiteY7" fmla="*/ 221426 h 246029"/>
              <a:gd name="connsiteX8" fmla="*/ 0 w 1576742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6742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552139" y="0"/>
                </a:lnTo>
                <a:cubicBezTo>
                  <a:pt x="1565727" y="0"/>
                  <a:pt x="1576742" y="11015"/>
                  <a:pt x="1576742" y="24603"/>
                </a:cubicBezTo>
                <a:lnTo>
                  <a:pt x="1576742" y="221426"/>
                </a:lnTo>
                <a:cubicBezTo>
                  <a:pt x="1576742" y="235014"/>
                  <a:pt x="1565727" y="246029"/>
                  <a:pt x="1552139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I,1,1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21365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4444E-6 1.48148E-6 L 0.25278 1.48148E-6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639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52794 0 L 0 0 E" pathEditMode="relative" ptsTypes="">
                                      <p:cBhvr>
                                        <p:cTn id="14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5" presetID="6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2000" fill="hold"/>
                                        <p:tgtEl>
                                          <p:spTgt spid="36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6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" dur="2000" fill="hold"/>
                                        <p:tgtEl>
                                          <p:spTgt spid="47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2853 -0.042595 E" pathEditMode="relative" ptsTypes="">
                                      <p:cBhvr>
                                        <p:cTn id="26" dur="2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7" presetID="63" presetClass="path" presetSubtype="0" accel="50000" decel="5000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52853 0.042595 L 0 0 E" pathEditMode="relative" ptsTypes="">
                                      <p:cBhvr>
                                        <p:cTn id="28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9" presetID="6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0" dur="2000" fill="hold"/>
                                        <p:tgtEl>
                                          <p:spTgt spid="41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92106" y="100795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6" presetClass="emph" presetSubtype="0" accel="50000" decel="50000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2" dur="2000" fill="hold"/>
                                        <p:tgtEl>
                                          <p:spTgt spid="47"/>
                                        </p:tgtEl>
                                      </p:cBhvr>
                                      <p:by x="150000" y="150000"/>
                                      <p:from x="108571" y="99211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10" presetClass="exit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2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63" presetClass="path" presetSubtype="0" accel="50000" decel="5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 0 L 0.253628 -0.017937 E" pathEditMode="relative" ptsTypes="">
                                      <p:cBhvr>
                                        <p:cTn id="40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1" presetID="63" presetClass="path" presetSubtype="0" accel="50000" decel="5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0.253628 0.017937 L 0 0 E" pathEditMode="relative" ptsTypes="">
                                      <p:cBhvr>
                                        <p:cTn id="42" dur="2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3" presetID="6" presetClass="emph" presetSubtype="0" accel="50000" decel="50000" fill="hold" grpId="2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44" dur="2000" fill="hold"/>
                                        <p:tgtEl>
                                          <p:spTgt spid="45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6" presetClass="emph" presetSubtype="0" accel="50000" decel="50000" fill="hold" grpId="2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46" dur="2000" fill="hold"/>
                                        <p:tgtEl>
                                          <p:spTgt spid="49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3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63" presetClass="path" presetSubtype="0" accel="50000" decel="5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 0 L 0.255802 -0.060533 E" pathEditMode="relative" ptsTypes="">
                                      <p:cBhvr>
                                        <p:cTn id="54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5" presetID="63" presetClass="path" presetSubtype="0" accel="50000" decel="50000" fill="hold" grpId="4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0.255802 0.060533 L 0 0 E" pathEditMode="relative" ptsTypes="">
                                      <p:cBhvr>
                                        <p:cTn id="56" dur="2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7" presetID="6" presetClass="emph" presetSubtype="0" accel="50000" decel="50000" fill="hold" grpId="2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58" dur="2000" fill="hold"/>
                                        <p:tgtEl>
                                          <p:spTgt spid="39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16122" y="99211"/>
                                    </p:animScale>
                                  </p:childTnLst>
                                </p:cTn>
                              </p:par>
                              <p:par>
                                <p:cTn id="59" presetID="6" presetClass="emph" presetSubtype="0" accel="50000" decel="50000" fill="hold" grpId="5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60" dur="2000" fill="hold"/>
                                        <p:tgtEl>
                                          <p:spTgt spid="49"/>
                                        </p:tgtEl>
                                      </p:cBhvr>
                                      <p:by x="150000" y="150000"/>
                                      <p:from x="86116" y="100795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1" presetID="10" presetClass="exit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6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2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63" presetClass="path" presetSubtype="0" accel="50000" decel="5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0 L 0.252653 -0.103127 E" pathEditMode="relative" ptsTypes="">
                                      <p:cBhvr>
                                        <p:cTn id="68" dur="2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69" presetID="63" presetClass="path" presetSubtype="0" accel="50000" decel="50000" fill="hold" grpId="7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0.252653 0.103127 L 0 0 E" pathEditMode="relative" ptsTypes="">
                                      <p:cBhvr>
                                        <p:cTn id="70" dur="2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1" presetID="6" presetClass="emph" presetSubtype="0" accel="50000" decel="50000" fill="hold" grpId="2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72" dur="2000" fill="hold"/>
                                        <p:tgtEl>
                                          <p:spTgt spid="43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12122" y="100000"/>
                                    </p:animScale>
                                  </p:childTnLst>
                                </p:cTn>
                              </p:par>
                              <p:par>
                                <p:cTn id="73" presetID="6" presetClass="emph" presetSubtype="0" accel="50000" decel="50000" fill="hold" grpId="8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74" dur="2000" fill="hold"/>
                                        <p:tgtEl>
                                          <p:spTgt spid="49"/>
                                        </p:tgtEl>
                                      </p:cBhvr>
                                      <p:by x="150000" y="150000"/>
                                      <p:from x="89189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5" presetID="10" presetClass="exit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6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2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63" presetClass="path" presetSubtype="0" accel="50000" decel="5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 0 L 0.252808 -0.078327 E" pathEditMode="relative" ptsTypes="">
                                      <p:cBhvr>
                                        <p:cTn id="82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83" presetID="63" presetClass="path" presetSubtype="0" accel="50000" decel="5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0.252808 0.078327 L 0 0 E" pathEditMode="relative" ptsTypes="">
                                      <p:cBhvr>
                                        <p:cTn id="84" dur="2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85" presetID="6" presetClass="emph" presetSubtype="0" accel="50000" decel="50000" fill="hold" grpId="2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86" dur="2000" fill="hold"/>
                                        <p:tgtEl>
                                          <p:spTgt spid="44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7" presetID="6" presetClass="emph" presetSubtype="0" accel="50000" decel="50000" fill="hold" grpId="2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88" dur="2000" fill="hold"/>
                                        <p:tgtEl>
                                          <p:spTgt spid="50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9" presetID="10" presetClass="exit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0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3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2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63" presetClass="path" presetSubtype="0" accel="50000" decel="5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 0 L 0.252808 -0.120922 E" pathEditMode="relative" ptsTypes="">
                                      <p:cBhvr>
                                        <p:cTn id="96" dur="2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7" presetID="63" presetClass="path" presetSubtype="0" accel="50000" decel="50000" fill="hold" grpId="4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0.252808 0.120922 L 0 0 E" pathEditMode="relative" ptsTypes="">
                                      <p:cBhvr>
                                        <p:cTn id="98" dur="2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9" presetID="6" presetClass="emph" presetSubtype="0" accel="50000" decel="50000" fill="hold" grpId="2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100" dur="2000" fill="hold"/>
                                        <p:tgtEl>
                                          <p:spTgt spid="40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6928" y="99211"/>
                                    </p:animScale>
                                  </p:childTnLst>
                                </p:cTn>
                              </p:par>
                              <p:par>
                                <p:cTn id="101" presetID="6" presetClass="emph" presetSubtype="0" accel="50000" decel="50000" fill="hold" grpId="5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102" dur="2000" fill="hold"/>
                                        <p:tgtEl>
                                          <p:spTgt spid="50"/>
                                        </p:tgtEl>
                                      </p:cBhvr>
                                      <p:by x="150000" y="150000"/>
                                      <p:from x="93521" y="100795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03" presetID="10" presetClass="exit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4" dur="2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6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2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63" presetClass="path" presetSubtype="0" accel="50000" decel="5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 0 L 0.252808 -0.163517 E" pathEditMode="relative" ptsTypes="">
                                      <p:cBhvr>
                                        <p:cTn id="110" dur="2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1" presetID="63" presetClass="path" presetSubtype="0" accel="50000" decel="50000" fill="hold" grpId="7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0.252808 0.163517 L 0 0 E" pathEditMode="relative" ptsTypes="">
                                      <p:cBhvr>
                                        <p:cTn id="112" dur="2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3" presetID="6" presetClass="emph" presetSubtype="0" accel="50000" decel="50000" fill="hold" grpId="2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114" dur="2000" fill="hold"/>
                                        <p:tgtEl>
                                          <p:spTgt spid="46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94376" y="100000"/>
                                    </p:animScale>
                                  </p:childTnLst>
                                </p:cTn>
                              </p:par>
                              <p:par>
                                <p:cTn id="115" presetID="6" presetClass="emph" presetSubtype="0" accel="50000" decel="50000" fill="hold" grpId="8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116" dur="2000" fill="hold"/>
                                        <p:tgtEl>
                                          <p:spTgt spid="50"/>
                                        </p:tgtEl>
                                      </p:cBhvr>
                                      <p:by x="150000" y="150000"/>
                                      <p:from x="105959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6" grpId="1" animBg="1"/>
      <p:bldP spid="36" grpId="2" animBg="1"/>
      <p:bldP spid="39" grpId="0" animBg="1"/>
      <p:bldP spid="39" grpId="1" animBg="1"/>
      <p:bldP spid="39" grpId="2" animBg="1"/>
      <p:bldP spid="40" grpId="0" animBg="1"/>
      <p:bldP spid="40" grpId="1" animBg="1"/>
      <p:bldP spid="40" grpId="2" animBg="1"/>
      <p:bldP spid="41" grpId="0" animBg="1"/>
      <p:bldP spid="41" grpId="1" animBg="1"/>
      <p:bldP spid="41" grpId="2" animBg="1"/>
      <p:bldP spid="43" grpId="0" animBg="1"/>
      <p:bldP spid="43" grpId="1" animBg="1"/>
      <p:bldP spid="43" grpId="2" animBg="1"/>
      <p:bldP spid="44" grpId="0" animBg="1"/>
      <p:bldP spid="44" grpId="1" animBg="1"/>
      <p:bldP spid="44" grpId="2" animBg="1"/>
      <p:bldP spid="45" grpId="0" animBg="1"/>
      <p:bldP spid="45" grpId="1" animBg="1"/>
      <p:bldP spid="45" grpId="2" animBg="1"/>
      <p:bldP spid="46" grpId="0" animBg="1"/>
      <p:bldP spid="46" grpId="1" animBg="1"/>
      <p:bldP spid="46" grpId="2" animBg="1"/>
      <p:bldP spid="47" grpId="0" animBg="1"/>
      <p:bldP spid="47" grpId="1" animBg="1"/>
      <p:bldP spid="47" grpId="2" animBg="1"/>
      <p:bldP spid="47" grpId="3" animBg="1"/>
      <p:bldP spid="47" grpId="4" animBg="1"/>
      <p:bldP spid="47" grpId="5" animBg="1"/>
      <p:bldP spid="49" grpId="0" animBg="1"/>
      <p:bldP spid="49" grpId="1" animBg="1"/>
      <p:bldP spid="49" grpId="2" animBg="1"/>
      <p:bldP spid="49" grpId="3" animBg="1"/>
      <p:bldP spid="49" grpId="4" animBg="1"/>
      <p:bldP spid="49" grpId="5" animBg="1"/>
      <p:bldP spid="49" grpId="6" animBg="1"/>
      <p:bldP spid="49" grpId="7" animBg="1"/>
      <p:bldP spid="49" grpId="8" animBg="1"/>
      <p:bldP spid="50" grpId="0" animBg="1"/>
      <p:bldP spid="50" grpId="1" animBg="1"/>
      <p:bldP spid="50" grpId="2" animBg="1"/>
      <p:bldP spid="50" grpId="3" animBg="1"/>
      <p:bldP spid="50" grpId="4" animBg="1"/>
      <p:bldP spid="50" grpId="5" animBg="1"/>
      <p:bldP spid="50" grpId="6" animBg="1"/>
      <p:bldP spid="50" grpId="7" animBg="1"/>
      <p:bldP spid="50" grpId="8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E9576B95-676C-429F-A627-D48EE8F6ECE9}"/>
              </a:ext>
            </a:extLst>
          </p:cNvPr>
          <p:cNvSpPr/>
          <p:nvPr/>
        </p:nvSpPr>
        <p:spPr>
          <a:xfrm>
            <a:off x="896332" y="1130300"/>
            <a:ext cx="2793511" cy="5003800"/>
          </a:xfrm>
          <a:prstGeom prst="round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1941C713-9BC6-41AD-AFC7-BB37386D371F}"/>
              </a:ext>
            </a:extLst>
          </p:cNvPr>
          <p:cNvSpPr txBox="1"/>
          <p:nvPr/>
        </p:nvSpPr>
        <p:spPr>
          <a:xfrm>
            <a:off x="1469876" y="495654"/>
            <a:ext cx="31021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/>
              <a:t>Map()</a:t>
            </a:r>
            <a:r>
              <a:rPr lang="zh-CN" altLang="en-US" sz="2400" dirty="0"/>
              <a:t>中间结果</a:t>
            </a:r>
          </a:p>
        </p:txBody>
      </p: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12AB1DF8-9F59-459D-861B-0997412FBF92}"/>
              </a:ext>
            </a:extLst>
          </p:cNvPr>
          <p:cNvSpPr>
            <a:spLocks/>
          </p:cNvSpPr>
          <p:nvPr/>
        </p:nvSpPr>
        <p:spPr>
          <a:xfrm>
            <a:off x="1281768" y="4590442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91A342C0-220F-4EE6-8E94-FDE79F5160AA}"/>
              </a:ext>
            </a:extLst>
          </p:cNvPr>
          <p:cNvSpPr>
            <a:spLocks/>
          </p:cNvSpPr>
          <p:nvPr/>
        </p:nvSpPr>
        <p:spPr>
          <a:xfrm>
            <a:off x="1281768" y="2860371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2900AFE4-C899-455C-AECA-CE83C79CE577}"/>
              </a:ext>
            </a:extLst>
          </p:cNvPr>
          <p:cNvSpPr>
            <a:spLocks/>
          </p:cNvSpPr>
          <p:nvPr/>
        </p:nvSpPr>
        <p:spPr>
          <a:xfrm>
            <a:off x="1281768" y="1130300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215F389F-B06C-4AA2-9B81-BC0E370C2994}"/>
              </a:ext>
            </a:extLst>
          </p:cNvPr>
          <p:cNvSpPr/>
          <p:nvPr/>
        </p:nvSpPr>
        <p:spPr>
          <a:xfrm>
            <a:off x="1592584" y="2044373"/>
            <a:ext cx="1401005" cy="247985"/>
          </a:xfrm>
          <a:custGeom>
            <a:avLst/>
            <a:gdLst>
              <a:gd name="connsiteX0" fmla="*/ 0 w 1401005"/>
              <a:gd name="connsiteY0" fmla="*/ 24799 h 247985"/>
              <a:gd name="connsiteX1" fmla="*/ 24799 w 1401005"/>
              <a:gd name="connsiteY1" fmla="*/ 0 h 247985"/>
              <a:gd name="connsiteX2" fmla="*/ 1376207 w 1401005"/>
              <a:gd name="connsiteY2" fmla="*/ 0 h 247985"/>
              <a:gd name="connsiteX3" fmla="*/ 1401006 w 1401005"/>
              <a:gd name="connsiteY3" fmla="*/ 24799 h 247985"/>
              <a:gd name="connsiteX4" fmla="*/ 1401005 w 1401005"/>
              <a:gd name="connsiteY4" fmla="*/ 223187 h 247985"/>
              <a:gd name="connsiteX5" fmla="*/ 1376206 w 1401005"/>
              <a:gd name="connsiteY5" fmla="*/ 247986 h 247985"/>
              <a:gd name="connsiteX6" fmla="*/ 24799 w 1401005"/>
              <a:gd name="connsiteY6" fmla="*/ 247985 h 247985"/>
              <a:gd name="connsiteX7" fmla="*/ 0 w 1401005"/>
              <a:gd name="connsiteY7" fmla="*/ 223186 h 247985"/>
              <a:gd name="connsiteX8" fmla="*/ 0 w 1401005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01005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376207" y="0"/>
                </a:lnTo>
                <a:cubicBezTo>
                  <a:pt x="1389903" y="0"/>
                  <a:pt x="1401006" y="11103"/>
                  <a:pt x="1401006" y="24799"/>
                </a:cubicBezTo>
                <a:cubicBezTo>
                  <a:pt x="1401006" y="90928"/>
                  <a:pt x="1401005" y="157058"/>
                  <a:pt x="1401005" y="223187"/>
                </a:cubicBezTo>
                <a:cubicBezTo>
                  <a:pt x="1401005" y="236883"/>
                  <a:pt x="1389902" y="247986"/>
                  <a:pt x="1376206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like,1</a:t>
            </a:r>
            <a:endParaRPr lang="zh-CN" altLang="en-US" sz="1100" b="1" kern="1200" dirty="0"/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F6035C0F-963C-4EDE-B572-F7FB757A0064}"/>
              </a:ext>
            </a:extLst>
          </p:cNvPr>
          <p:cNvSpPr/>
          <p:nvPr/>
        </p:nvSpPr>
        <p:spPr>
          <a:xfrm>
            <a:off x="1638365" y="2310610"/>
            <a:ext cx="1309443" cy="247985"/>
          </a:xfrm>
          <a:custGeom>
            <a:avLst/>
            <a:gdLst>
              <a:gd name="connsiteX0" fmla="*/ 0 w 1309443"/>
              <a:gd name="connsiteY0" fmla="*/ 24799 h 247985"/>
              <a:gd name="connsiteX1" fmla="*/ 24799 w 1309443"/>
              <a:gd name="connsiteY1" fmla="*/ 0 h 247985"/>
              <a:gd name="connsiteX2" fmla="*/ 1284645 w 1309443"/>
              <a:gd name="connsiteY2" fmla="*/ 0 h 247985"/>
              <a:gd name="connsiteX3" fmla="*/ 1309444 w 1309443"/>
              <a:gd name="connsiteY3" fmla="*/ 24799 h 247985"/>
              <a:gd name="connsiteX4" fmla="*/ 1309443 w 1309443"/>
              <a:gd name="connsiteY4" fmla="*/ 223187 h 247985"/>
              <a:gd name="connsiteX5" fmla="*/ 1284644 w 1309443"/>
              <a:gd name="connsiteY5" fmla="*/ 247986 h 247985"/>
              <a:gd name="connsiteX6" fmla="*/ 24799 w 1309443"/>
              <a:gd name="connsiteY6" fmla="*/ 247985 h 247985"/>
              <a:gd name="connsiteX7" fmla="*/ 0 w 1309443"/>
              <a:gd name="connsiteY7" fmla="*/ 223186 h 247985"/>
              <a:gd name="connsiteX8" fmla="*/ 0 w 1309443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09443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284645" y="0"/>
                </a:lnTo>
                <a:cubicBezTo>
                  <a:pt x="1298341" y="0"/>
                  <a:pt x="1309444" y="11103"/>
                  <a:pt x="1309444" y="24799"/>
                </a:cubicBezTo>
                <a:cubicBezTo>
                  <a:pt x="1309444" y="90928"/>
                  <a:pt x="1309443" y="157058"/>
                  <a:pt x="1309443" y="223187"/>
                </a:cubicBezTo>
                <a:cubicBezTo>
                  <a:pt x="1309443" y="236883"/>
                  <a:pt x="1298340" y="247986"/>
                  <a:pt x="1284644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World,1</a:t>
            </a:r>
            <a:endParaRPr lang="zh-CN" altLang="en-US" sz="1100" b="1" kern="1200" dirty="0"/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728C15DC-9B93-4335-B8FF-DBC73CDCC1BE}"/>
              </a:ext>
            </a:extLst>
          </p:cNvPr>
          <p:cNvSpPr/>
          <p:nvPr/>
        </p:nvSpPr>
        <p:spPr>
          <a:xfrm>
            <a:off x="1550182" y="3774926"/>
            <a:ext cx="1485807" cy="246029"/>
          </a:xfrm>
          <a:custGeom>
            <a:avLst/>
            <a:gdLst>
              <a:gd name="connsiteX0" fmla="*/ 0 w 1485807"/>
              <a:gd name="connsiteY0" fmla="*/ 24603 h 246029"/>
              <a:gd name="connsiteX1" fmla="*/ 24603 w 1485807"/>
              <a:gd name="connsiteY1" fmla="*/ 0 h 246029"/>
              <a:gd name="connsiteX2" fmla="*/ 1461204 w 1485807"/>
              <a:gd name="connsiteY2" fmla="*/ 0 h 246029"/>
              <a:gd name="connsiteX3" fmla="*/ 1485807 w 1485807"/>
              <a:gd name="connsiteY3" fmla="*/ 24603 h 246029"/>
              <a:gd name="connsiteX4" fmla="*/ 1485807 w 1485807"/>
              <a:gd name="connsiteY4" fmla="*/ 221426 h 246029"/>
              <a:gd name="connsiteX5" fmla="*/ 1461204 w 1485807"/>
              <a:gd name="connsiteY5" fmla="*/ 246029 h 246029"/>
              <a:gd name="connsiteX6" fmla="*/ 24603 w 1485807"/>
              <a:gd name="connsiteY6" fmla="*/ 246029 h 246029"/>
              <a:gd name="connsiteX7" fmla="*/ 0 w 1485807"/>
              <a:gd name="connsiteY7" fmla="*/ 221426 h 246029"/>
              <a:gd name="connsiteX8" fmla="*/ 0 w 1485807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85807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461204" y="0"/>
                </a:lnTo>
                <a:cubicBezTo>
                  <a:pt x="1474792" y="0"/>
                  <a:pt x="1485807" y="11015"/>
                  <a:pt x="1485807" y="24603"/>
                </a:cubicBezTo>
                <a:lnTo>
                  <a:pt x="1485807" y="221426"/>
                </a:lnTo>
                <a:cubicBezTo>
                  <a:pt x="1485807" y="235014"/>
                  <a:pt x="1474792" y="246029"/>
                  <a:pt x="1461204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like,1</a:t>
            </a:r>
            <a:endParaRPr lang="zh-CN" altLang="en-US" sz="1100" b="1" kern="1200" dirty="0"/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C5B9557A-4817-40A4-9B63-88927FE37BE4}"/>
              </a:ext>
            </a:extLst>
          </p:cNvPr>
          <p:cNvSpPr/>
          <p:nvPr/>
        </p:nvSpPr>
        <p:spPr>
          <a:xfrm>
            <a:off x="1587084" y="4040667"/>
            <a:ext cx="1412003" cy="246029"/>
          </a:xfrm>
          <a:custGeom>
            <a:avLst/>
            <a:gdLst>
              <a:gd name="connsiteX0" fmla="*/ 0 w 1412003"/>
              <a:gd name="connsiteY0" fmla="*/ 24603 h 246029"/>
              <a:gd name="connsiteX1" fmla="*/ 24603 w 1412003"/>
              <a:gd name="connsiteY1" fmla="*/ 0 h 246029"/>
              <a:gd name="connsiteX2" fmla="*/ 1387400 w 1412003"/>
              <a:gd name="connsiteY2" fmla="*/ 0 h 246029"/>
              <a:gd name="connsiteX3" fmla="*/ 1412003 w 1412003"/>
              <a:gd name="connsiteY3" fmla="*/ 24603 h 246029"/>
              <a:gd name="connsiteX4" fmla="*/ 1412003 w 1412003"/>
              <a:gd name="connsiteY4" fmla="*/ 221426 h 246029"/>
              <a:gd name="connsiteX5" fmla="*/ 1387400 w 1412003"/>
              <a:gd name="connsiteY5" fmla="*/ 246029 h 246029"/>
              <a:gd name="connsiteX6" fmla="*/ 24603 w 1412003"/>
              <a:gd name="connsiteY6" fmla="*/ 246029 h 246029"/>
              <a:gd name="connsiteX7" fmla="*/ 0 w 1412003"/>
              <a:gd name="connsiteY7" fmla="*/ 221426 h 246029"/>
              <a:gd name="connsiteX8" fmla="*/ 0 w 1412003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12003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387400" y="0"/>
                </a:lnTo>
                <a:cubicBezTo>
                  <a:pt x="1400988" y="0"/>
                  <a:pt x="1412003" y="11015"/>
                  <a:pt x="1412003" y="24603"/>
                </a:cubicBezTo>
                <a:lnTo>
                  <a:pt x="1412003" y="221426"/>
                </a:lnTo>
                <a:cubicBezTo>
                  <a:pt x="1412003" y="235014"/>
                  <a:pt x="1400988" y="246029"/>
                  <a:pt x="1387400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050" b="1" kern="1200" dirty="0">
                <a:latin typeface="Arial"/>
                <a:ea typeface="微软雅黑"/>
                <a:cs typeface="+mn-cs"/>
              </a:rPr>
              <a:t>MapReduce,1</a:t>
            </a:r>
            <a:endParaRPr lang="zh-CN" altLang="en-US" sz="105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27" name="任意多边形: 形状 26">
            <a:extLst>
              <a:ext uri="{FF2B5EF4-FFF2-40B4-BE49-F238E27FC236}">
                <a16:creationId xmlns:a16="http://schemas.microsoft.com/office/drawing/2014/main" id="{4128A72F-9C48-434C-BA4C-322D0193DD74}"/>
              </a:ext>
            </a:extLst>
          </p:cNvPr>
          <p:cNvSpPr/>
          <p:nvPr/>
        </p:nvSpPr>
        <p:spPr>
          <a:xfrm>
            <a:off x="1506255" y="5239256"/>
            <a:ext cx="1573660" cy="246029"/>
          </a:xfrm>
          <a:custGeom>
            <a:avLst/>
            <a:gdLst>
              <a:gd name="connsiteX0" fmla="*/ 0 w 1573660"/>
              <a:gd name="connsiteY0" fmla="*/ 24603 h 246029"/>
              <a:gd name="connsiteX1" fmla="*/ 24603 w 1573660"/>
              <a:gd name="connsiteY1" fmla="*/ 0 h 246029"/>
              <a:gd name="connsiteX2" fmla="*/ 1549057 w 1573660"/>
              <a:gd name="connsiteY2" fmla="*/ 0 h 246029"/>
              <a:gd name="connsiteX3" fmla="*/ 1573660 w 1573660"/>
              <a:gd name="connsiteY3" fmla="*/ 24603 h 246029"/>
              <a:gd name="connsiteX4" fmla="*/ 1573660 w 1573660"/>
              <a:gd name="connsiteY4" fmla="*/ 221426 h 246029"/>
              <a:gd name="connsiteX5" fmla="*/ 1549057 w 1573660"/>
              <a:gd name="connsiteY5" fmla="*/ 246029 h 246029"/>
              <a:gd name="connsiteX6" fmla="*/ 24603 w 1573660"/>
              <a:gd name="connsiteY6" fmla="*/ 246029 h 246029"/>
              <a:gd name="connsiteX7" fmla="*/ 0 w 1573660"/>
              <a:gd name="connsiteY7" fmla="*/ 221426 h 246029"/>
              <a:gd name="connsiteX8" fmla="*/ 0 w 1573660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3660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549057" y="0"/>
                </a:lnTo>
                <a:cubicBezTo>
                  <a:pt x="1562645" y="0"/>
                  <a:pt x="1573660" y="11015"/>
                  <a:pt x="1573660" y="24603"/>
                </a:cubicBezTo>
                <a:lnTo>
                  <a:pt x="1573660" y="221426"/>
                </a:lnTo>
                <a:cubicBezTo>
                  <a:pt x="1573660" y="235014"/>
                  <a:pt x="1562645" y="246029"/>
                  <a:pt x="1549057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Java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CE88977E-9269-4910-A639-F84215CC93A8}"/>
              </a:ext>
            </a:extLst>
          </p:cNvPr>
          <p:cNvSpPr/>
          <p:nvPr/>
        </p:nvSpPr>
        <p:spPr>
          <a:xfrm>
            <a:off x="1553080" y="5504997"/>
            <a:ext cx="1480010" cy="246029"/>
          </a:xfrm>
          <a:custGeom>
            <a:avLst/>
            <a:gdLst>
              <a:gd name="connsiteX0" fmla="*/ 0 w 1480010"/>
              <a:gd name="connsiteY0" fmla="*/ 24603 h 246029"/>
              <a:gd name="connsiteX1" fmla="*/ 24603 w 1480010"/>
              <a:gd name="connsiteY1" fmla="*/ 0 h 246029"/>
              <a:gd name="connsiteX2" fmla="*/ 1455407 w 1480010"/>
              <a:gd name="connsiteY2" fmla="*/ 0 h 246029"/>
              <a:gd name="connsiteX3" fmla="*/ 1480010 w 1480010"/>
              <a:gd name="connsiteY3" fmla="*/ 24603 h 246029"/>
              <a:gd name="connsiteX4" fmla="*/ 1480010 w 1480010"/>
              <a:gd name="connsiteY4" fmla="*/ 221426 h 246029"/>
              <a:gd name="connsiteX5" fmla="*/ 1455407 w 1480010"/>
              <a:gd name="connsiteY5" fmla="*/ 246029 h 246029"/>
              <a:gd name="connsiteX6" fmla="*/ 24603 w 1480010"/>
              <a:gd name="connsiteY6" fmla="*/ 246029 h 246029"/>
              <a:gd name="connsiteX7" fmla="*/ 0 w 1480010"/>
              <a:gd name="connsiteY7" fmla="*/ 221426 h 246029"/>
              <a:gd name="connsiteX8" fmla="*/ 0 w 1480010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80010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455407" y="0"/>
                </a:lnTo>
                <a:cubicBezTo>
                  <a:pt x="1468995" y="0"/>
                  <a:pt x="1480010" y="11015"/>
                  <a:pt x="1480010" y="24603"/>
                </a:cubicBezTo>
                <a:lnTo>
                  <a:pt x="1480010" y="221426"/>
                </a:lnTo>
                <a:cubicBezTo>
                  <a:pt x="1480010" y="235014"/>
                  <a:pt x="1468995" y="246029"/>
                  <a:pt x="1455407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like,1</a:t>
            </a:r>
            <a:endParaRPr lang="zh-CN" altLang="en-US" sz="1100" b="1" kern="1200" dirty="0"/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613B5803-2DB8-4508-82BA-7EA0FBF1FC3C}"/>
              </a:ext>
            </a:extLst>
          </p:cNvPr>
          <p:cNvSpPr/>
          <p:nvPr/>
        </p:nvSpPr>
        <p:spPr>
          <a:xfrm>
            <a:off x="1595633" y="5770738"/>
            <a:ext cx="1394904" cy="246029"/>
          </a:xfrm>
          <a:custGeom>
            <a:avLst/>
            <a:gdLst>
              <a:gd name="connsiteX0" fmla="*/ 0 w 1394904"/>
              <a:gd name="connsiteY0" fmla="*/ 24603 h 246029"/>
              <a:gd name="connsiteX1" fmla="*/ 24603 w 1394904"/>
              <a:gd name="connsiteY1" fmla="*/ 0 h 246029"/>
              <a:gd name="connsiteX2" fmla="*/ 1370301 w 1394904"/>
              <a:gd name="connsiteY2" fmla="*/ 0 h 246029"/>
              <a:gd name="connsiteX3" fmla="*/ 1394904 w 1394904"/>
              <a:gd name="connsiteY3" fmla="*/ 24603 h 246029"/>
              <a:gd name="connsiteX4" fmla="*/ 1394904 w 1394904"/>
              <a:gd name="connsiteY4" fmla="*/ 221426 h 246029"/>
              <a:gd name="connsiteX5" fmla="*/ 1370301 w 1394904"/>
              <a:gd name="connsiteY5" fmla="*/ 246029 h 246029"/>
              <a:gd name="connsiteX6" fmla="*/ 24603 w 1394904"/>
              <a:gd name="connsiteY6" fmla="*/ 246029 h 246029"/>
              <a:gd name="connsiteX7" fmla="*/ 0 w 1394904"/>
              <a:gd name="connsiteY7" fmla="*/ 221426 h 246029"/>
              <a:gd name="connsiteX8" fmla="*/ 0 w 1394904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94904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370301" y="0"/>
                </a:lnTo>
                <a:cubicBezTo>
                  <a:pt x="1383889" y="0"/>
                  <a:pt x="1394904" y="11015"/>
                  <a:pt x="1394904" y="24603"/>
                </a:cubicBezTo>
                <a:lnTo>
                  <a:pt x="1394904" y="221426"/>
                </a:lnTo>
                <a:cubicBezTo>
                  <a:pt x="1394904" y="235014"/>
                  <a:pt x="1383889" y="246029"/>
                  <a:pt x="1370301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MapReduce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32" name="标题 3">
            <a:extLst>
              <a:ext uri="{FF2B5EF4-FFF2-40B4-BE49-F238E27FC236}">
                <a16:creationId xmlns:a16="http://schemas.microsoft.com/office/drawing/2014/main" id="{4EA5887E-594B-4F9E-B713-7C204956FE2D}"/>
              </a:ext>
            </a:extLst>
          </p:cNvPr>
          <p:cNvSpPr txBox="1">
            <a:spLocks/>
          </p:cNvSpPr>
          <p:nvPr/>
        </p:nvSpPr>
        <p:spPr>
          <a:xfrm>
            <a:off x="502444" y="-514350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MapReduce</a:t>
            </a:r>
            <a:r>
              <a:rPr lang="zh-CN" altLang="en-US" dirty="0"/>
              <a:t>工作流程</a:t>
            </a:r>
          </a:p>
        </p:txBody>
      </p: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58DC52F2-CC78-4AA9-B594-19A5E7C89907}"/>
              </a:ext>
            </a:extLst>
          </p:cNvPr>
          <p:cNvGrpSpPr/>
          <p:nvPr/>
        </p:nvGrpSpPr>
        <p:grpSpPr>
          <a:xfrm>
            <a:off x="5468332" y="495654"/>
            <a:ext cx="2793511" cy="5638446"/>
            <a:chOff x="5468332" y="495654"/>
            <a:chExt cx="2793511" cy="5638446"/>
          </a:xfrm>
        </p:grpSpPr>
        <p:grpSp>
          <p:nvGrpSpPr>
            <p:cNvPr id="31" name="组合 30">
              <a:extLst>
                <a:ext uri="{FF2B5EF4-FFF2-40B4-BE49-F238E27FC236}">
                  <a16:creationId xmlns:a16="http://schemas.microsoft.com/office/drawing/2014/main" id="{EA8693D5-7024-45AA-9EB3-7C6E1D77ADE2}"/>
                </a:ext>
              </a:extLst>
            </p:cNvPr>
            <p:cNvGrpSpPr/>
            <p:nvPr/>
          </p:nvGrpSpPr>
          <p:grpSpPr>
            <a:xfrm>
              <a:off x="5468332" y="495654"/>
              <a:ext cx="2793511" cy="5638446"/>
              <a:chOff x="4965095" y="495654"/>
              <a:chExt cx="2793511" cy="5638446"/>
            </a:xfrm>
          </p:grpSpPr>
          <p:sp>
            <p:nvSpPr>
              <p:cNvPr id="35" name="矩形: 圆角 34">
                <a:extLst>
                  <a:ext uri="{FF2B5EF4-FFF2-40B4-BE49-F238E27FC236}">
                    <a16:creationId xmlns:a16="http://schemas.microsoft.com/office/drawing/2014/main" id="{160CF4E0-52B2-4A3F-8EB0-91071C5C2410}"/>
                  </a:ext>
                </a:extLst>
              </p:cNvPr>
              <p:cNvSpPr/>
              <p:nvPr/>
            </p:nvSpPr>
            <p:spPr>
              <a:xfrm>
                <a:off x="4965095" y="1130300"/>
                <a:ext cx="2793511" cy="5003800"/>
              </a:xfrm>
              <a:prstGeom prst="round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2" name="文本框 41">
                <a:extLst>
                  <a:ext uri="{FF2B5EF4-FFF2-40B4-BE49-F238E27FC236}">
                    <a16:creationId xmlns:a16="http://schemas.microsoft.com/office/drawing/2014/main" id="{8A8236DC-A948-44D4-A62A-079D0FB9C5E6}"/>
                  </a:ext>
                </a:extLst>
              </p:cNvPr>
              <p:cNvSpPr txBox="1"/>
              <p:nvPr/>
            </p:nvSpPr>
            <p:spPr>
              <a:xfrm>
                <a:off x="5473087" y="495654"/>
                <a:ext cx="177752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2800" dirty="0"/>
                  <a:t>Reduce()</a:t>
                </a:r>
                <a:endParaRPr lang="zh-CN" altLang="en-US" sz="2800" dirty="0"/>
              </a:p>
            </p:txBody>
          </p:sp>
        </p:grpSp>
        <p:sp>
          <p:nvSpPr>
            <p:cNvPr id="33" name="矩形: 圆角 32">
              <a:extLst>
                <a:ext uri="{FF2B5EF4-FFF2-40B4-BE49-F238E27FC236}">
                  <a16:creationId xmlns:a16="http://schemas.microsoft.com/office/drawing/2014/main" id="{8666965C-7A61-4CA2-ACCA-F9FD4AD30711}"/>
                </a:ext>
              </a:extLst>
            </p:cNvPr>
            <p:cNvSpPr>
              <a:spLocks/>
            </p:cNvSpPr>
            <p:nvPr/>
          </p:nvSpPr>
          <p:spPr>
            <a:xfrm>
              <a:off x="5850674" y="1634825"/>
              <a:ext cx="2028825" cy="1662932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  <p:sp>
          <p:nvSpPr>
            <p:cNvPr id="34" name="矩形: 圆角 33">
              <a:extLst>
                <a:ext uri="{FF2B5EF4-FFF2-40B4-BE49-F238E27FC236}">
                  <a16:creationId xmlns:a16="http://schemas.microsoft.com/office/drawing/2014/main" id="{ABF70D29-58A0-4284-8EAF-157BF13EF491}"/>
                </a:ext>
              </a:extLst>
            </p:cNvPr>
            <p:cNvSpPr>
              <a:spLocks/>
            </p:cNvSpPr>
            <p:nvPr/>
          </p:nvSpPr>
          <p:spPr>
            <a:xfrm>
              <a:off x="5850674" y="3961339"/>
              <a:ext cx="2028825" cy="1662932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</p:grpSp>
      <p:sp>
        <p:nvSpPr>
          <p:cNvPr id="38" name="文本框 37">
            <a:extLst>
              <a:ext uri="{FF2B5EF4-FFF2-40B4-BE49-F238E27FC236}">
                <a16:creationId xmlns:a16="http://schemas.microsoft.com/office/drawing/2014/main" id="{29A904AE-DC7B-4999-8A2B-293E0A08D602}"/>
              </a:ext>
            </a:extLst>
          </p:cNvPr>
          <p:cNvSpPr txBox="1"/>
          <p:nvPr/>
        </p:nvSpPr>
        <p:spPr>
          <a:xfrm>
            <a:off x="3689843" y="581945"/>
            <a:ext cx="20288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Hash(key) mod R</a:t>
            </a:r>
            <a:endParaRPr lang="zh-CN" altLang="en-US" dirty="0"/>
          </a:p>
        </p:txBody>
      </p:sp>
      <p:sp>
        <p:nvSpPr>
          <p:cNvPr id="47" name="任意多边形: 形状 46">
            <a:extLst>
              <a:ext uri="{FF2B5EF4-FFF2-40B4-BE49-F238E27FC236}">
                <a16:creationId xmlns:a16="http://schemas.microsoft.com/office/drawing/2014/main" id="{73C79121-C320-4B29-B539-9FF835234826}"/>
              </a:ext>
            </a:extLst>
          </p:cNvPr>
          <p:cNvSpPr>
            <a:spLocks/>
          </p:cNvSpPr>
          <p:nvPr/>
        </p:nvSpPr>
        <p:spPr>
          <a:xfrm>
            <a:off x="6028509" y="1759877"/>
            <a:ext cx="1725341" cy="247985"/>
          </a:xfrm>
          <a:custGeom>
            <a:avLst/>
            <a:gdLst>
              <a:gd name="connsiteX0" fmla="*/ 0 w 1725341"/>
              <a:gd name="connsiteY0" fmla="*/ 24799 h 247985"/>
              <a:gd name="connsiteX1" fmla="*/ 24799 w 1725341"/>
              <a:gd name="connsiteY1" fmla="*/ 0 h 247985"/>
              <a:gd name="connsiteX2" fmla="*/ 1700543 w 1725341"/>
              <a:gd name="connsiteY2" fmla="*/ 0 h 247985"/>
              <a:gd name="connsiteX3" fmla="*/ 1725342 w 1725341"/>
              <a:gd name="connsiteY3" fmla="*/ 24799 h 247985"/>
              <a:gd name="connsiteX4" fmla="*/ 1725341 w 1725341"/>
              <a:gd name="connsiteY4" fmla="*/ 223187 h 247985"/>
              <a:gd name="connsiteX5" fmla="*/ 1700542 w 1725341"/>
              <a:gd name="connsiteY5" fmla="*/ 247986 h 247985"/>
              <a:gd name="connsiteX6" fmla="*/ 24799 w 1725341"/>
              <a:gd name="connsiteY6" fmla="*/ 247985 h 247985"/>
              <a:gd name="connsiteX7" fmla="*/ 0 w 1725341"/>
              <a:gd name="connsiteY7" fmla="*/ 223186 h 247985"/>
              <a:gd name="connsiteX8" fmla="*/ 0 w 1725341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25341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700543" y="0"/>
                </a:lnTo>
                <a:cubicBezTo>
                  <a:pt x="1714239" y="0"/>
                  <a:pt x="1725342" y="11103"/>
                  <a:pt x="1725342" y="24799"/>
                </a:cubicBezTo>
                <a:cubicBezTo>
                  <a:pt x="1725342" y="90928"/>
                  <a:pt x="1725341" y="157058"/>
                  <a:pt x="1725341" y="223187"/>
                </a:cubicBezTo>
                <a:cubicBezTo>
                  <a:pt x="1725341" y="236883"/>
                  <a:pt x="1714238" y="247986"/>
                  <a:pt x="1700542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adoop,1,1</a:t>
            </a:r>
            <a:endParaRPr lang="zh-CN" altLang="en-US" sz="1100" b="1" kern="1200" dirty="0"/>
          </a:p>
        </p:txBody>
      </p:sp>
      <p:sp>
        <p:nvSpPr>
          <p:cNvPr id="49" name="任意多边形: 形状 48">
            <a:extLst>
              <a:ext uri="{FF2B5EF4-FFF2-40B4-BE49-F238E27FC236}">
                <a16:creationId xmlns:a16="http://schemas.microsoft.com/office/drawing/2014/main" id="{9E55FE10-DDC4-4DF9-AC80-5402914C3BBE}"/>
              </a:ext>
            </a:extLst>
          </p:cNvPr>
          <p:cNvSpPr/>
          <p:nvPr/>
        </p:nvSpPr>
        <p:spPr>
          <a:xfrm>
            <a:off x="5954112" y="2221097"/>
            <a:ext cx="1874133" cy="246029"/>
          </a:xfrm>
          <a:custGeom>
            <a:avLst/>
            <a:gdLst>
              <a:gd name="connsiteX0" fmla="*/ 0 w 1874133"/>
              <a:gd name="connsiteY0" fmla="*/ 24603 h 246029"/>
              <a:gd name="connsiteX1" fmla="*/ 24603 w 1874133"/>
              <a:gd name="connsiteY1" fmla="*/ 0 h 246029"/>
              <a:gd name="connsiteX2" fmla="*/ 1849530 w 1874133"/>
              <a:gd name="connsiteY2" fmla="*/ 0 h 246029"/>
              <a:gd name="connsiteX3" fmla="*/ 1874133 w 1874133"/>
              <a:gd name="connsiteY3" fmla="*/ 24603 h 246029"/>
              <a:gd name="connsiteX4" fmla="*/ 1874133 w 1874133"/>
              <a:gd name="connsiteY4" fmla="*/ 221426 h 246029"/>
              <a:gd name="connsiteX5" fmla="*/ 1849530 w 1874133"/>
              <a:gd name="connsiteY5" fmla="*/ 246029 h 246029"/>
              <a:gd name="connsiteX6" fmla="*/ 24603 w 1874133"/>
              <a:gd name="connsiteY6" fmla="*/ 246029 h 246029"/>
              <a:gd name="connsiteX7" fmla="*/ 0 w 1874133"/>
              <a:gd name="connsiteY7" fmla="*/ 221426 h 246029"/>
              <a:gd name="connsiteX8" fmla="*/ 0 w 1874133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4133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849530" y="0"/>
                </a:lnTo>
                <a:cubicBezTo>
                  <a:pt x="1863118" y="0"/>
                  <a:pt x="1874133" y="11015"/>
                  <a:pt x="1874133" y="24603"/>
                </a:cubicBezTo>
                <a:lnTo>
                  <a:pt x="1874133" y="221426"/>
                </a:lnTo>
                <a:cubicBezTo>
                  <a:pt x="1874133" y="235014"/>
                  <a:pt x="1863118" y="246029"/>
                  <a:pt x="1849530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ello,1,1,1</a:t>
            </a:r>
            <a:endParaRPr lang="zh-CN" altLang="en-US" sz="1100" b="1" kern="1200" dirty="0"/>
          </a:p>
        </p:txBody>
      </p:sp>
      <p:sp>
        <p:nvSpPr>
          <p:cNvPr id="50" name="任意多边形: 形状 49">
            <a:extLst>
              <a:ext uri="{FF2B5EF4-FFF2-40B4-BE49-F238E27FC236}">
                <a16:creationId xmlns:a16="http://schemas.microsoft.com/office/drawing/2014/main" id="{797AF3D5-00A6-4B66-81EB-23048BB2DC9B}"/>
              </a:ext>
            </a:extLst>
          </p:cNvPr>
          <p:cNvSpPr/>
          <p:nvPr/>
        </p:nvSpPr>
        <p:spPr>
          <a:xfrm>
            <a:off x="6102807" y="2682315"/>
            <a:ext cx="1576742" cy="246029"/>
          </a:xfrm>
          <a:custGeom>
            <a:avLst/>
            <a:gdLst>
              <a:gd name="connsiteX0" fmla="*/ 0 w 1576742"/>
              <a:gd name="connsiteY0" fmla="*/ 24603 h 246029"/>
              <a:gd name="connsiteX1" fmla="*/ 24603 w 1576742"/>
              <a:gd name="connsiteY1" fmla="*/ 0 h 246029"/>
              <a:gd name="connsiteX2" fmla="*/ 1552139 w 1576742"/>
              <a:gd name="connsiteY2" fmla="*/ 0 h 246029"/>
              <a:gd name="connsiteX3" fmla="*/ 1576742 w 1576742"/>
              <a:gd name="connsiteY3" fmla="*/ 24603 h 246029"/>
              <a:gd name="connsiteX4" fmla="*/ 1576742 w 1576742"/>
              <a:gd name="connsiteY4" fmla="*/ 221426 h 246029"/>
              <a:gd name="connsiteX5" fmla="*/ 1552139 w 1576742"/>
              <a:gd name="connsiteY5" fmla="*/ 246029 h 246029"/>
              <a:gd name="connsiteX6" fmla="*/ 24603 w 1576742"/>
              <a:gd name="connsiteY6" fmla="*/ 246029 h 246029"/>
              <a:gd name="connsiteX7" fmla="*/ 0 w 1576742"/>
              <a:gd name="connsiteY7" fmla="*/ 221426 h 246029"/>
              <a:gd name="connsiteX8" fmla="*/ 0 w 1576742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6742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552139" y="0"/>
                </a:lnTo>
                <a:cubicBezTo>
                  <a:pt x="1565727" y="0"/>
                  <a:pt x="1576742" y="11015"/>
                  <a:pt x="1576742" y="24603"/>
                </a:cubicBezTo>
                <a:lnTo>
                  <a:pt x="1576742" y="221426"/>
                </a:lnTo>
                <a:cubicBezTo>
                  <a:pt x="1576742" y="235014"/>
                  <a:pt x="1565727" y="246029"/>
                  <a:pt x="1552139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I,1,1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37" name="任意多边形: 形状 36">
            <a:extLst>
              <a:ext uri="{FF2B5EF4-FFF2-40B4-BE49-F238E27FC236}">
                <a16:creationId xmlns:a16="http://schemas.microsoft.com/office/drawing/2014/main" id="{243E54AA-95C2-4F4B-8FD0-2D1BC9FAAD14}"/>
              </a:ext>
            </a:extLst>
          </p:cNvPr>
          <p:cNvSpPr/>
          <p:nvPr/>
        </p:nvSpPr>
        <p:spPr>
          <a:xfrm>
            <a:off x="3876193" y="3837346"/>
            <a:ext cx="1401005" cy="247985"/>
          </a:xfrm>
          <a:custGeom>
            <a:avLst/>
            <a:gdLst>
              <a:gd name="connsiteX0" fmla="*/ 0 w 1401005"/>
              <a:gd name="connsiteY0" fmla="*/ 24799 h 247985"/>
              <a:gd name="connsiteX1" fmla="*/ 24799 w 1401005"/>
              <a:gd name="connsiteY1" fmla="*/ 0 h 247985"/>
              <a:gd name="connsiteX2" fmla="*/ 1376207 w 1401005"/>
              <a:gd name="connsiteY2" fmla="*/ 0 h 247985"/>
              <a:gd name="connsiteX3" fmla="*/ 1401006 w 1401005"/>
              <a:gd name="connsiteY3" fmla="*/ 24799 h 247985"/>
              <a:gd name="connsiteX4" fmla="*/ 1401005 w 1401005"/>
              <a:gd name="connsiteY4" fmla="*/ 223187 h 247985"/>
              <a:gd name="connsiteX5" fmla="*/ 1376206 w 1401005"/>
              <a:gd name="connsiteY5" fmla="*/ 247986 h 247985"/>
              <a:gd name="connsiteX6" fmla="*/ 24799 w 1401005"/>
              <a:gd name="connsiteY6" fmla="*/ 247985 h 247985"/>
              <a:gd name="connsiteX7" fmla="*/ 0 w 1401005"/>
              <a:gd name="connsiteY7" fmla="*/ 223186 h 247985"/>
              <a:gd name="connsiteX8" fmla="*/ 0 w 1401005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01005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376207" y="0"/>
                </a:lnTo>
                <a:cubicBezTo>
                  <a:pt x="1389903" y="0"/>
                  <a:pt x="1401006" y="11103"/>
                  <a:pt x="1401006" y="24799"/>
                </a:cubicBezTo>
                <a:cubicBezTo>
                  <a:pt x="1401006" y="90928"/>
                  <a:pt x="1401005" y="157058"/>
                  <a:pt x="1401005" y="223187"/>
                </a:cubicBezTo>
                <a:cubicBezTo>
                  <a:pt x="1401005" y="236883"/>
                  <a:pt x="1389902" y="247986"/>
                  <a:pt x="1376206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like,1</a:t>
            </a:r>
            <a:endParaRPr lang="zh-CN" altLang="en-US" sz="1100" b="1" kern="1200" dirty="0"/>
          </a:p>
        </p:txBody>
      </p:sp>
      <p:sp>
        <p:nvSpPr>
          <p:cNvPr id="48" name="任意多边形: 形状 47">
            <a:extLst>
              <a:ext uri="{FF2B5EF4-FFF2-40B4-BE49-F238E27FC236}">
                <a16:creationId xmlns:a16="http://schemas.microsoft.com/office/drawing/2014/main" id="{11B71A46-FA1A-4826-99DD-14507FCCA670}"/>
              </a:ext>
            </a:extLst>
          </p:cNvPr>
          <p:cNvSpPr/>
          <p:nvPr/>
        </p:nvSpPr>
        <p:spPr>
          <a:xfrm>
            <a:off x="3921973" y="4158142"/>
            <a:ext cx="1309443" cy="247985"/>
          </a:xfrm>
          <a:custGeom>
            <a:avLst/>
            <a:gdLst>
              <a:gd name="connsiteX0" fmla="*/ 0 w 1309443"/>
              <a:gd name="connsiteY0" fmla="*/ 24799 h 247985"/>
              <a:gd name="connsiteX1" fmla="*/ 24799 w 1309443"/>
              <a:gd name="connsiteY1" fmla="*/ 0 h 247985"/>
              <a:gd name="connsiteX2" fmla="*/ 1284645 w 1309443"/>
              <a:gd name="connsiteY2" fmla="*/ 0 h 247985"/>
              <a:gd name="connsiteX3" fmla="*/ 1309444 w 1309443"/>
              <a:gd name="connsiteY3" fmla="*/ 24799 h 247985"/>
              <a:gd name="connsiteX4" fmla="*/ 1309443 w 1309443"/>
              <a:gd name="connsiteY4" fmla="*/ 223187 h 247985"/>
              <a:gd name="connsiteX5" fmla="*/ 1284644 w 1309443"/>
              <a:gd name="connsiteY5" fmla="*/ 247986 h 247985"/>
              <a:gd name="connsiteX6" fmla="*/ 24799 w 1309443"/>
              <a:gd name="connsiteY6" fmla="*/ 247985 h 247985"/>
              <a:gd name="connsiteX7" fmla="*/ 0 w 1309443"/>
              <a:gd name="connsiteY7" fmla="*/ 223186 h 247985"/>
              <a:gd name="connsiteX8" fmla="*/ 0 w 1309443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09443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284645" y="0"/>
                </a:lnTo>
                <a:cubicBezTo>
                  <a:pt x="1298341" y="0"/>
                  <a:pt x="1309444" y="11103"/>
                  <a:pt x="1309444" y="24799"/>
                </a:cubicBezTo>
                <a:cubicBezTo>
                  <a:pt x="1309444" y="90928"/>
                  <a:pt x="1309443" y="157058"/>
                  <a:pt x="1309443" y="223187"/>
                </a:cubicBezTo>
                <a:cubicBezTo>
                  <a:pt x="1309443" y="236883"/>
                  <a:pt x="1298340" y="247986"/>
                  <a:pt x="1284644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World,1</a:t>
            </a:r>
            <a:endParaRPr lang="zh-CN" altLang="en-US" sz="1100" b="1" kern="1200" dirty="0"/>
          </a:p>
        </p:txBody>
      </p:sp>
      <p:sp>
        <p:nvSpPr>
          <p:cNvPr id="51" name="任意多边形: 形状 50">
            <a:extLst>
              <a:ext uri="{FF2B5EF4-FFF2-40B4-BE49-F238E27FC236}">
                <a16:creationId xmlns:a16="http://schemas.microsoft.com/office/drawing/2014/main" id="{901F9097-26B1-4403-8C0B-E3EAC7E546B8}"/>
              </a:ext>
            </a:extLst>
          </p:cNvPr>
          <p:cNvSpPr/>
          <p:nvPr/>
        </p:nvSpPr>
        <p:spPr>
          <a:xfrm>
            <a:off x="3821633" y="4478938"/>
            <a:ext cx="1485807" cy="246029"/>
          </a:xfrm>
          <a:custGeom>
            <a:avLst/>
            <a:gdLst>
              <a:gd name="connsiteX0" fmla="*/ 0 w 1485807"/>
              <a:gd name="connsiteY0" fmla="*/ 24603 h 246029"/>
              <a:gd name="connsiteX1" fmla="*/ 24603 w 1485807"/>
              <a:gd name="connsiteY1" fmla="*/ 0 h 246029"/>
              <a:gd name="connsiteX2" fmla="*/ 1461204 w 1485807"/>
              <a:gd name="connsiteY2" fmla="*/ 0 h 246029"/>
              <a:gd name="connsiteX3" fmla="*/ 1485807 w 1485807"/>
              <a:gd name="connsiteY3" fmla="*/ 24603 h 246029"/>
              <a:gd name="connsiteX4" fmla="*/ 1485807 w 1485807"/>
              <a:gd name="connsiteY4" fmla="*/ 221426 h 246029"/>
              <a:gd name="connsiteX5" fmla="*/ 1461204 w 1485807"/>
              <a:gd name="connsiteY5" fmla="*/ 246029 h 246029"/>
              <a:gd name="connsiteX6" fmla="*/ 24603 w 1485807"/>
              <a:gd name="connsiteY6" fmla="*/ 246029 h 246029"/>
              <a:gd name="connsiteX7" fmla="*/ 0 w 1485807"/>
              <a:gd name="connsiteY7" fmla="*/ 221426 h 246029"/>
              <a:gd name="connsiteX8" fmla="*/ 0 w 1485807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85807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461204" y="0"/>
                </a:lnTo>
                <a:cubicBezTo>
                  <a:pt x="1474792" y="0"/>
                  <a:pt x="1485807" y="11015"/>
                  <a:pt x="1485807" y="24603"/>
                </a:cubicBezTo>
                <a:lnTo>
                  <a:pt x="1485807" y="221426"/>
                </a:lnTo>
                <a:cubicBezTo>
                  <a:pt x="1485807" y="235014"/>
                  <a:pt x="1474792" y="246029"/>
                  <a:pt x="1461204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like,1</a:t>
            </a:r>
            <a:endParaRPr lang="zh-CN" altLang="en-US" sz="1100" b="1" kern="1200" dirty="0"/>
          </a:p>
        </p:txBody>
      </p:sp>
      <p:sp>
        <p:nvSpPr>
          <p:cNvPr id="52" name="任意多边形: 形状 51">
            <a:extLst>
              <a:ext uri="{FF2B5EF4-FFF2-40B4-BE49-F238E27FC236}">
                <a16:creationId xmlns:a16="http://schemas.microsoft.com/office/drawing/2014/main" id="{19908520-B054-47AF-A829-670DD07C431C}"/>
              </a:ext>
            </a:extLst>
          </p:cNvPr>
          <p:cNvSpPr/>
          <p:nvPr/>
        </p:nvSpPr>
        <p:spPr>
          <a:xfrm>
            <a:off x="3851875" y="4797778"/>
            <a:ext cx="1412003" cy="246029"/>
          </a:xfrm>
          <a:custGeom>
            <a:avLst/>
            <a:gdLst>
              <a:gd name="connsiteX0" fmla="*/ 0 w 1412003"/>
              <a:gd name="connsiteY0" fmla="*/ 24603 h 246029"/>
              <a:gd name="connsiteX1" fmla="*/ 24603 w 1412003"/>
              <a:gd name="connsiteY1" fmla="*/ 0 h 246029"/>
              <a:gd name="connsiteX2" fmla="*/ 1387400 w 1412003"/>
              <a:gd name="connsiteY2" fmla="*/ 0 h 246029"/>
              <a:gd name="connsiteX3" fmla="*/ 1412003 w 1412003"/>
              <a:gd name="connsiteY3" fmla="*/ 24603 h 246029"/>
              <a:gd name="connsiteX4" fmla="*/ 1412003 w 1412003"/>
              <a:gd name="connsiteY4" fmla="*/ 221426 h 246029"/>
              <a:gd name="connsiteX5" fmla="*/ 1387400 w 1412003"/>
              <a:gd name="connsiteY5" fmla="*/ 246029 h 246029"/>
              <a:gd name="connsiteX6" fmla="*/ 24603 w 1412003"/>
              <a:gd name="connsiteY6" fmla="*/ 246029 h 246029"/>
              <a:gd name="connsiteX7" fmla="*/ 0 w 1412003"/>
              <a:gd name="connsiteY7" fmla="*/ 221426 h 246029"/>
              <a:gd name="connsiteX8" fmla="*/ 0 w 1412003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12003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387400" y="0"/>
                </a:lnTo>
                <a:cubicBezTo>
                  <a:pt x="1400988" y="0"/>
                  <a:pt x="1412003" y="11015"/>
                  <a:pt x="1412003" y="24603"/>
                </a:cubicBezTo>
                <a:lnTo>
                  <a:pt x="1412003" y="221426"/>
                </a:lnTo>
                <a:cubicBezTo>
                  <a:pt x="1412003" y="235014"/>
                  <a:pt x="1400988" y="246029"/>
                  <a:pt x="1387400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050" b="1" kern="1200" dirty="0">
                <a:latin typeface="Arial"/>
                <a:ea typeface="微软雅黑"/>
                <a:cs typeface="+mn-cs"/>
              </a:rPr>
              <a:t>MapReduce,1</a:t>
            </a:r>
            <a:endParaRPr lang="zh-CN" altLang="en-US" sz="105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53" name="任意多边形: 形状 52">
            <a:extLst>
              <a:ext uri="{FF2B5EF4-FFF2-40B4-BE49-F238E27FC236}">
                <a16:creationId xmlns:a16="http://schemas.microsoft.com/office/drawing/2014/main" id="{429DEC8B-75D1-4FE4-A23A-7517E2B7DCEA}"/>
              </a:ext>
            </a:extLst>
          </p:cNvPr>
          <p:cNvSpPr/>
          <p:nvPr/>
        </p:nvSpPr>
        <p:spPr>
          <a:xfrm>
            <a:off x="3785170" y="5116618"/>
            <a:ext cx="1573660" cy="246029"/>
          </a:xfrm>
          <a:custGeom>
            <a:avLst/>
            <a:gdLst>
              <a:gd name="connsiteX0" fmla="*/ 0 w 1573660"/>
              <a:gd name="connsiteY0" fmla="*/ 24603 h 246029"/>
              <a:gd name="connsiteX1" fmla="*/ 24603 w 1573660"/>
              <a:gd name="connsiteY1" fmla="*/ 0 h 246029"/>
              <a:gd name="connsiteX2" fmla="*/ 1549057 w 1573660"/>
              <a:gd name="connsiteY2" fmla="*/ 0 h 246029"/>
              <a:gd name="connsiteX3" fmla="*/ 1573660 w 1573660"/>
              <a:gd name="connsiteY3" fmla="*/ 24603 h 246029"/>
              <a:gd name="connsiteX4" fmla="*/ 1573660 w 1573660"/>
              <a:gd name="connsiteY4" fmla="*/ 221426 h 246029"/>
              <a:gd name="connsiteX5" fmla="*/ 1549057 w 1573660"/>
              <a:gd name="connsiteY5" fmla="*/ 246029 h 246029"/>
              <a:gd name="connsiteX6" fmla="*/ 24603 w 1573660"/>
              <a:gd name="connsiteY6" fmla="*/ 246029 h 246029"/>
              <a:gd name="connsiteX7" fmla="*/ 0 w 1573660"/>
              <a:gd name="connsiteY7" fmla="*/ 221426 h 246029"/>
              <a:gd name="connsiteX8" fmla="*/ 0 w 1573660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3660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549057" y="0"/>
                </a:lnTo>
                <a:cubicBezTo>
                  <a:pt x="1562645" y="0"/>
                  <a:pt x="1573660" y="11015"/>
                  <a:pt x="1573660" y="24603"/>
                </a:cubicBezTo>
                <a:lnTo>
                  <a:pt x="1573660" y="221426"/>
                </a:lnTo>
                <a:cubicBezTo>
                  <a:pt x="1573660" y="235014"/>
                  <a:pt x="1562645" y="246029"/>
                  <a:pt x="1549057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Java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54" name="任意多边形: 形状 53">
            <a:extLst>
              <a:ext uri="{FF2B5EF4-FFF2-40B4-BE49-F238E27FC236}">
                <a16:creationId xmlns:a16="http://schemas.microsoft.com/office/drawing/2014/main" id="{D3AD28B2-D282-4F56-B203-D73CC3BB92C2}"/>
              </a:ext>
            </a:extLst>
          </p:cNvPr>
          <p:cNvSpPr/>
          <p:nvPr/>
        </p:nvSpPr>
        <p:spPr>
          <a:xfrm>
            <a:off x="3821633" y="5435458"/>
            <a:ext cx="1480010" cy="246029"/>
          </a:xfrm>
          <a:custGeom>
            <a:avLst/>
            <a:gdLst>
              <a:gd name="connsiteX0" fmla="*/ 0 w 1480010"/>
              <a:gd name="connsiteY0" fmla="*/ 24603 h 246029"/>
              <a:gd name="connsiteX1" fmla="*/ 24603 w 1480010"/>
              <a:gd name="connsiteY1" fmla="*/ 0 h 246029"/>
              <a:gd name="connsiteX2" fmla="*/ 1455407 w 1480010"/>
              <a:gd name="connsiteY2" fmla="*/ 0 h 246029"/>
              <a:gd name="connsiteX3" fmla="*/ 1480010 w 1480010"/>
              <a:gd name="connsiteY3" fmla="*/ 24603 h 246029"/>
              <a:gd name="connsiteX4" fmla="*/ 1480010 w 1480010"/>
              <a:gd name="connsiteY4" fmla="*/ 221426 h 246029"/>
              <a:gd name="connsiteX5" fmla="*/ 1455407 w 1480010"/>
              <a:gd name="connsiteY5" fmla="*/ 246029 h 246029"/>
              <a:gd name="connsiteX6" fmla="*/ 24603 w 1480010"/>
              <a:gd name="connsiteY6" fmla="*/ 246029 h 246029"/>
              <a:gd name="connsiteX7" fmla="*/ 0 w 1480010"/>
              <a:gd name="connsiteY7" fmla="*/ 221426 h 246029"/>
              <a:gd name="connsiteX8" fmla="*/ 0 w 1480010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80010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455407" y="0"/>
                </a:lnTo>
                <a:cubicBezTo>
                  <a:pt x="1468995" y="0"/>
                  <a:pt x="1480010" y="11015"/>
                  <a:pt x="1480010" y="24603"/>
                </a:cubicBezTo>
                <a:lnTo>
                  <a:pt x="1480010" y="221426"/>
                </a:lnTo>
                <a:cubicBezTo>
                  <a:pt x="1480010" y="235014"/>
                  <a:pt x="1468995" y="246029"/>
                  <a:pt x="1455407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like,1</a:t>
            </a:r>
            <a:endParaRPr lang="zh-CN" altLang="en-US" sz="1100" b="1" kern="1200" dirty="0"/>
          </a:p>
        </p:txBody>
      </p:sp>
      <p:sp>
        <p:nvSpPr>
          <p:cNvPr id="55" name="任意多边形: 形状 54">
            <a:extLst>
              <a:ext uri="{FF2B5EF4-FFF2-40B4-BE49-F238E27FC236}">
                <a16:creationId xmlns:a16="http://schemas.microsoft.com/office/drawing/2014/main" id="{3F93E523-E83B-4E08-BAC6-6246FB1FB031}"/>
              </a:ext>
            </a:extLst>
          </p:cNvPr>
          <p:cNvSpPr/>
          <p:nvPr/>
        </p:nvSpPr>
        <p:spPr>
          <a:xfrm>
            <a:off x="3897657" y="5754296"/>
            <a:ext cx="1394904" cy="246029"/>
          </a:xfrm>
          <a:custGeom>
            <a:avLst/>
            <a:gdLst>
              <a:gd name="connsiteX0" fmla="*/ 0 w 1394904"/>
              <a:gd name="connsiteY0" fmla="*/ 24603 h 246029"/>
              <a:gd name="connsiteX1" fmla="*/ 24603 w 1394904"/>
              <a:gd name="connsiteY1" fmla="*/ 0 h 246029"/>
              <a:gd name="connsiteX2" fmla="*/ 1370301 w 1394904"/>
              <a:gd name="connsiteY2" fmla="*/ 0 h 246029"/>
              <a:gd name="connsiteX3" fmla="*/ 1394904 w 1394904"/>
              <a:gd name="connsiteY3" fmla="*/ 24603 h 246029"/>
              <a:gd name="connsiteX4" fmla="*/ 1394904 w 1394904"/>
              <a:gd name="connsiteY4" fmla="*/ 221426 h 246029"/>
              <a:gd name="connsiteX5" fmla="*/ 1370301 w 1394904"/>
              <a:gd name="connsiteY5" fmla="*/ 246029 h 246029"/>
              <a:gd name="connsiteX6" fmla="*/ 24603 w 1394904"/>
              <a:gd name="connsiteY6" fmla="*/ 246029 h 246029"/>
              <a:gd name="connsiteX7" fmla="*/ 0 w 1394904"/>
              <a:gd name="connsiteY7" fmla="*/ 221426 h 246029"/>
              <a:gd name="connsiteX8" fmla="*/ 0 w 1394904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94904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370301" y="0"/>
                </a:lnTo>
                <a:cubicBezTo>
                  <a:pt x="1383889" y="0"/>
                  <a:pt x="1394904" y="11015"/>
                  <a:pt x="1394904" y="24603"/>
                </a:cubicBezTo>
                <a:lnTo>
                  <a:pt x="1394904" y="221426"/>
                </a:lnTo>
                <a:cubicBezTo>
                  <a:pt x="1394904" y="235014"/>
                  <a:pt x="1383889" y="246029"/>
                  <a:pt x="1370301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MapReduce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43001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133 0.261443 E" pathEditMode="relative" ptsTypes="">
                                      <p:cBhvr>
                                        <p:cTn id="12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5139 -0.26135 L -8.33333E-7 3.7037E-6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69" y="1305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6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2000" fill="hold"/>
                                        <p:tgtEl>
                                          <p:spTgt spid="10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6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" dur="2000" fill="hold"/>
                                        <p:tgtEl>
                                          <p:spTgt spid="37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3" presetClass="path" presetSubtype="0" accel="50000" decel="5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0 L 0.25133 0.270206 E" pathEditMode="relative" ptsTypes="">
                                      <p:cBhvr>
                                        <p:cTn id="26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7" presetID="63" presetClass="path" presetSubtype="0" accel="50000" decel="5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0.25139 -0.27014 L -8.33333E-7 4.44444E-6 " pathEditMode="relative" rAng="0" ptsTypes="AA">
                                      <p:cBhvr>
                                        <p:cTn id="28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69" y="13495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6" presetClass="emph" presetSubtype="0" accel="50000" decel="50000" fill="hold" grpId="2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0" dur="2000" fill="hold"/>
                                        <p:tgtEl>
                                          <p:spTgt spid="17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6" presetClass="emph" presetSubtype="0" accel="50000" decel="50000" fill="hold" grpId="2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2" dur="2000" fill="hold"/>
                                        <p:tgtEl>
                                          <p:spTgt spid="48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10" presetClass="exit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63" presetClass="path" presetSubtype="0" accel="50000" decel="5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 0 L 0.25 0.104425 E" pathEditMode="relative" ptsTypes="">
                                      <p:cBhvr>
                                        <p:cTn id="40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1" presetID="63" presetClass="path" presetSubtype="0" accel="50000" decel="5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0.25 -0.10439 L -1.94444E-6 -3.33333E-6 " pathEditMode="relative" rAng="0" ptsTypes="AA">
                                      <p:cBhvr>
                                        <p:cTn id="42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00" y="5208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6" presetClass="emph" presetSubtype="0" accel="50000" decel="50000" fill="hold" grpId="2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44" dur="2000" fill="hold"/>
                                        <p:tgtEl>
                                          <p:spTgt spid="22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6" presetClass="emph" presetSubtype="0" accel="50000" decel="50000" fill="hold" grpId="2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46" dur="2000" fill="hold"/>
                                        <p:tgtEl>
                                          <p:spTgt spid="51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63" presetClass="path" presetSubtype="0" accel="50000" decel="5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0 0 L 0.249272 0.11313 E" pathEditMode="relative" ptsTypes="">
                                      <p:cBhvr>
                                        <p:cTn id="54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5" presetID="63" presetClass="path" presetSubtype="0" accel="50000" decel="5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0.24931 -0.11319 L 2.5E-6 -1.11111E-6 " pathEditMode="relative" rAng="0" ptsTypes="AA">
                                      <p:cBhvr>
                                        <p:cTn id="56" dur="2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465" y="5648"/>
                                    </p:animMotion>
                                  </p:childTnLst>
                                </p:cTn>
                              </p:par>
                              <p:par>
                                <p:cTn id="57" presetID="6" presetClass="emph" presetSubtype="0" accel="50000" decel="50000" fill="hold" grpId="2" nodeType="withEffect">
                                  <p:stCondLst>
                                    <p:cond delay="600"/>
                                  </p:stCondLst>
                                  <p:childTnLst>
                                    <p:animScale>
                                      <p:cBhvr>
                                        <p:cTn id="58" dur="2000" fill="hold"/>
                                        <p:tgtEl>
                                          <p:spTgt spid="23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9" presetID="6" presetClass="emph" presetSubtype="0" accel="50000" decel="50000" fill="hold" grpId="2" nodeType="withEffect">
                                  <p:stCondLst>
                                    <p:cond delay="600"/>
                                  </p:stCondLst>
                                  <p:childTnLst>
                                    <p:animScale>
                                      <p:cBhvr>
                                        <p:cTn id="60" dur="2000" fill="hold"/>
                                        <p:tgtEl>
                                          <p:spTgt spid="52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1" presetID="10" presetClass="exit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2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63" presetClass="path" presetSubtype="0" accel="50000" decel="5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0 0 L 0.250817 -0.017611 E" pathEditMode="relative" ptsTypes="">
                                      <p:cBhvr>
                                        <p:cTn id="68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69" presetID="63" presetClass="path" presetSubtype="0" accel="50000" decel="5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25087 0.01759 L 0 1.11111E-6 " pathEditMode="relative" rAng="0" ptsTypes="AA">
                                      <p:cBhvr>
                                        <p:cTn id="70" dur="2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35" y="-880"/>
                                    </p:animMotion>
                                  </p:childTnLst>
                                </p:cTn>
                              </p:par>
                              <p:par>
                                <p:cTn id="71" presetID="6" presetClass="emph" presetSubtype="0" accel="50000" decel="50000" fill="hold" grpId="2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72" dur="2000" fill="hold"/>
                                        <p:tgtEl>
                                          <p:spTgt spid="27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3" presetID="6" presetClass="emph" presetSubtype="0" accel="50000" decel="50000" fill="hold" grpId="2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74" dur="2000" fill="hold"/>
                                        <p:tgtEl>
                                          <p:spTgt spid="53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5" presetID="10" presetClass="exit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6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63" presetClass="path" presetSubtype="0" accel="50000" decel="5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 0 L 0.249683 -0.00874 E" pathEditMode="relative" ptsTypes="">
                                      <p:cBhvr>
                                        <p:cTn id="82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83" presetID="63" presetClass="path" presetSubtype="0" accel="50000" decel="5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24965 0.00879 L -4.72222E-6 3.33333E-6 " pathEditMode="relative" rAng="0" ptsTypes="AA">
                                      <p:cBhvr>
                                        <p:cTn id="84" dur="2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483" y="-440"/>
                                    </p:animMotion>
                                  </p:childTnLst>
                                </p:cTn>
                              </p:par>
                              <p:par>
                                <p:cTn id="85" presetID="6" presetClass="emph" presetSubtype="0" accel="50000" decel="50000" fill="hold" grpId="2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86" dur="2000" fill="hold"/>
                                        <p:tgtEl>
                                          <p:spTgt spid="28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7" presetID="6" presetClass="emph" presetSubtype="0" accel="50000" decel="50000" fill="hold" grpId="2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88" dur="2000" fill="hold"/>
                                        <p:tgtEl>
                                          <p:spTgt spid="54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9" presetID="10" presetClass="exit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0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2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63" presetClass="path" presetSubtype="0" accel="50000" decel="50000" fill="hold" grpId="1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0 0 L 0.253344 -0.002397 E" pathEditMode="relative" ptsTypes="">
                                      <p:cBhvr>
                                        <p:cTn id="96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7" presetID="63" presetClass="path" presetSubtype="0" accel="50000" decel="50000" fill="hold" grpId="1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-0.2533 0.00232 L -5.55556E-7 -4.44444E-6 " pathEditMode="relative" rAng="0" ptsTypes="AA">
                                      <p:cBhvr>
                                        <p:cTn id="98" dur="2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656" y="-116"/>
                                    </p:animMotion>
                                  </p:childTnLst>
                                </p:cTn>
                              </p:par>
                              <p:par>
                                <p:cTn id="99" presetID="6" presetClass="emph" presetSubtype="0" accel="50000" decel="50000" fill="hold" grpId="2" nodeType="withEffect">
                                  <p:stCondLst>
                                    <p:cond delay="1200"/>
                                  </p:stCondLst>
                                  <p:childTnLst>
                                    <p:animScale>
                                      <p:cBhvr>
                                        <p:cTn id="100" dur="2000" fill="hold"/>
                                        <p:tgtEl>
                                          <p:spTgt spid="29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01" presetID="6" presetClass="emph" presetSubtype="0" accel="50000" decel="50000" fill="hold" grpId="2" nodeType="withEffect">
                                  <p:stCondLst>
                                    <p:cond delay="1200"/>
                                  </p:stCondLst>
                                  <p:childTnLst>
                                    <p:animScale>
                                      <p:cBhvr>
                                        <p:cTn id="102" dur="2000" fill="hold"/>
                                        <p:tgtEl>
                                          <p:spTgt spid="55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10" grpId="2" animBg="1"/>
      <p:bldP spid="17" grpId="0" animBg="1"/>
      <p:bldP spid="17" grpId="1" animBg="1"/>
      <p:bldP spid="17" grpId="2" animBg="1"/>
      <p:bldP spid="22" grpId="0" animBg="1"/>
      <p:bldP spid="22" grpId="1" animBg="1"/>
      <p:bldP spid="22" grpId="2" animBg="1"/>
      <p:bldP spid="23" grpId="0" animBg="1"/>
      <p:bldP spid="23" grpId="1" animBg="1"/>
      <p:bldP spid="23" grpId="2" animBg="1"/>
      <p:bldP spid="27" grpId="0" animBg="1"/>
      <p:bldP spid="27" grpId="1" animBg="1"/>
      <p:bldP spid="27" grpId="2" animBg="1"/>
      <p:bldP spid="28" grpId="0" animBg="1"/>
      <p:bldP spid="28" grpId="1" animBg="1"/>
      <p:bldP spid="28" grpId="2" animBg="1"/>
      <p:bldP spid="29" grpId="0" animBg="1"/>
      <p:bldP spid="29" grpId="1" animBg="1"/>
      <p:bldP spid="29" grpId="2" animBg="1"/>
      <p:bldP spid="37" grpId="0" animBg="1"/>
      <p:bldP spid="37" grpId="1" animBg="1"/>
      <p:bldP spid="37" grpId="2" animBg="1"/>
      <p:bldP spid="48" grpId="0" animBg="1"/>
      <p:bldP spid="48" grpId="1" animBg="1"/>
      <p:bldP spid="48" grpId="2" animBg="1"/>
      <p:bldP spid="51" grpId="0" animBg="1"/>
      <p:bldP spid="51" grpId="1" animBg="1"/>
      <p:bldP spid="51" grpId="2" animBg="1"/>
      <p:bldP spid="52" grpId="0" animBg="1"/>
      <p:bldP spid="52" grpId="1" animBg="1"/>
      <p:bldP spid="52" grpId="2" animBg="1"/>
      <p:bldP spid="53" grpId="0" animBg="1"/>
      <p:bldP spid="53" grpId="1" animBg="1"/>
      <p:bldP spid="53" grpId="2" animBg="1"/>
      <p:bldP spid="54" grpId="0" animBg="1"/>
      <p:bldP spid="54" grpId="1" animBg="1"/>
      <p:bldP spid="54" grpId="2" animBg="1"/>
      <p:bldP spid="55" grpId="0" animBg="1"/>
      <p:bldP spid="55" grpId="1" animBg="1"/>
      <p:bldP spid="55" grpId="2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1257DBC8-B46F-4211-9D0A-16A270782C0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4000" y="0"/>
            <a:ext cx="12192000" cy="6858000"/>
          </a:xfrm>
          <a:prstGeom prst="rect">
            <a:avLst/>
          </a:prstGeom>
        </p:spPr>
      </p:pic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567962" y="2132856"/>
            <a:ext cx="8072404" cy="3062706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257175" indent="-257175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000" dirty="0">
                    <a:latin typeface="+mn-lt"/>
                    <a:ea typeface="+mn-ea"/>
                    <a:sym typeface="+mn-lt"/>
                  </a:rPr>
                  <a:t>MapReduce</a:t>
                </a:r>
                <a:r>
                  <a:rPr lang="zh-CN" altLang="en-US" sz="2000" dirty="0">
                    <a:latin typeface="+mn-lt"/>
                    <a:ea typeface="+mn-ea"/>
                    <a:sym typeface="+mn-lt"/>
                  </a:rPr>
                  <a:t>工作流程</a:t>
                </a:r>
                <a:endParaRPr lang="en-US" altLang="zh-CN" sz="2000" dirty="0">
                  <a:latin typeface="+mn-lt"/>
                  <a:ea typeface="+mn-ea"/>
                  <a:sym typeface="+mn-lt"/>
                </a:endParaRPr>
              </a:p>
              <a:p>
                <a:pPr marL="257175" indent="-257175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000" dirty="0"/>
                  <a:t>Hadoop</a:t>
                </a:r>
                <a:r>
                  <a:rPr lang="zh-CN" altLang="en-US" sz="2000" dirty="0"/>
                  <a:t>的部署</a:t>
                </a:r>
                <a:endParaRPr lang="en-US" altLang="zh-CN" sz="2000" dirty="0"/>
              </a:p>
              <a:p>
                <a:pPr marL="257175" indent="-257175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000" dirty="0"/>
                  <a:t>MapReduce</a:t>
                </a:r>
                <a:r>
                  <a:rPr lang="zh-CN" altLang="en-US" sz="2000" dirty="0"/>
                  <a:t>二次排序</a:t>
                </a:r>
                <a:endParaRPr lang="en-US" altLang="zh-CN" sz="20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53997"/>
              </a:xfrm>
              <a:prstGeom prst="rect">
                <a:avLst/>
              </a:prstGeom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r"/>
                <a:r>
                  <a:rPr lang="tr-TR" sz="21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endParaRPr lang="zh-CN" altLang="en-US" sz="135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E9576B95-676C-429F-A627-D48EE8F6ECE9}"/>
              </a:ext>
            </a:extLst>
          </p:cNvPr>
          <p:cNvSpPr/>
          <p:nvPr/>
        </p:nvSpPr>
        <p:spPr>
          <a:xfrm>
            <a:off x="896332" y="1130300"/>
            <a:ext cx="2793511" cy="5003800"/>
          </a:xfrm>
          <a:prstGeom prst="round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1941C713-9BC6-41AD-AFC7-BB37386D371F}"/>
              </a:ext>
            </a:extLst>
          </p:cNvPr>
          <p:cNvSpPr txBox="1"/>
          <p:nvPr/>
        </p:nvSpPr>
        <p:spPr>
          <a:xfrm>
            <a:off x="1469876" y="495654"/>
            <a:ext cx="31021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/>
              <a:t>Map()</a:t>
            </a:r>
            <a:r>
              <a:rPr lang="zh-CN" altLang="en-US" sz="2800" dirty="0"/>
              <a:t>中间结果</a:t>
            </a:r>
          </a:p>
        </p:txBody>
      </p: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12AB1DF8-9F59-459D-861B-0997412FBF92}"/>
              </a:ext>
            </a:extLst>
          </p:cNvPr>
          <p:cNvSpPr>
            <a:spLocks/>
          </p:cNvSpPr>
          <p:nvPr/>
        </p:nvSpPr>
        <p:spPr>
          <a:xfrm>
            <a:off x="1281768" y="4590442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91A342C0-220F-4EE6-8E94-FDE79F5160AA}"/>
              </a:ext>
            </a:extLst>
          </p:cNvPr>
          <p:cNvSpPr>
            <a:spLocks/>
          </p:cNvSpPr>
          <p:nvPr/>
        </p:nvSpPr>
        <p:spPr>
          <a:xfrm>
            <a:off x="1281768" y="2860371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2900AFE4-C899-455C-AECA-CE83C79CE577}"/>
              </a:ext>
            </a:extLst>
          </p:cNvPr>
          <p:cNvSpPr>
            <a:spLocks/>
          </p:cNvSpPr>
          <p:nvPr/>
        </p:nvSpPr>
        <p:spPr>
          <a:xfrm>
            <a:off x="1281768" y="1130300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32" name="标题 3">
            <a:extLst>
              <a:ext uri="{FF2B5EF4-FFF2-40B4-BE49-F238E27FC236}">
                <a16:creationId xmlns:a16="http://schemas.microsoft.com/office/drawing/2014/main" id="{4EA5887E-594B-4F9E-B713-7C204956FE2D}"/>
              </a:ext>
            </a:extLst>
          </p:cNvPr>
          <p:cNvSpPr txBox="1">
            <a:spLocks/>
          </p:cNvSpPr>
          <p:nvPr/>
        </p:nvSpPr>
        <p:spPr>
          <a:xfrm>
            <a:off x="502444" y="-514350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MapReduce</a:t>
            </a:r>
            <a:r>
              <a:rPr lang="zh-CN" altLang="en-US" dirty="0"/>
              <a:t>工作流程</a:t>
            </a:r>
          </a:p>
        </p:txBody>
      </p: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58DC52F2-CC78-4AA9-B594-19A5E7C89907}"/>
              </a:ext>
            </a:extLst>
          </p:cNvPr>
          <p:cNvGrpSpPr/>
          <p:nvPr/>
        </p:nvGrpSpPr>
        <p:grpSpPr>
          <a:xfrm>
            <a:off x="5468332" y="495654"/>
            <a:ext cx="2793511" cy="5638446"/>
            <a:chOff x="5468332" y="495654"/>
            <a:chExt cx="2793511" cy="5638446"/>
          </a:xfrm>
        </p:grpSpPr>
        <p:grpSp>
          <p:nvGrpSpPr>
            <p:cNvPr id="31" name="组合 30">
              <a:extLst>
                <a:ext uri="{FF2B5EF4-FFF2-40B4-BE49-F238E27FC236}">
                  <a16:creationId xmlns:a16="http://schemas.microsoft.com/office/drawing/2014/main" id="{EA8693D5-7024-45AA-9EB3-7C6E1D77ADE2}"/>
                </a:ext>
              </a:extLst>
            </p:cNvPr>
            <p:cNvGrpSpPr/>
            <p:nvPr/>
          </p:nvGrpSpPr>
          <p:grpSpPr>
            <a:xfrm>
              <a:off x="5468332" y="495654"/>
              <a:ext cx="2793511" cy="5638446"/>
              <a:chOff x="4965095" y="495654"/>
              <a:chExt cx="2793511" cy="5638446"/>
            </a:xfrm>
          </p:grpSpPr>
          <p:sp>
            <p:nvSpPr>
              <p:cNvPr id="35" name="矩形: 圆角 34">
                <a:extLst>
                  <a:ext uri="{FF2B5EF4-FFF2-40B4-BE49-F238E27FC236}">
                    <a16:creationId xmlns:a16="http://schemas.microsoft.com/office/drawing/2014/main" id="{160CF4E0-52B2-4A3F-8EB0-91071C5C2410}"/>
                  </a:ext>
                </a:extLst>
              </p:cNvPr>
              <p:cNvSpPr/>
              <p:nvPr/>
            </p:nvSpPr>
            <p:spPr>
              <a:xfrm>
                <a:off x="4965095" y="1130300"/>
                <a:ext cx="2793511" cy="5003800"/>
              </a:xfrm>
              <a:prstGeom prst="round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2" name="文本框 41">
                <a:extLst>
                  <a:ext uri="{FF2B5EF4-FFF2-40B4-BE49-F238E27FC236}">
                    <a16:creationId xmlns:a16="http://schemas.microsoft.com/office/drawing/2014/main" id="{8A8236DC-A948-44D4-A62A-079D0FB9C5E6}"/>
                  </a:ext>
                </a:extLst>
              </p:cNvPr>
              <p:cNvSpPr txBox="1"/>
              <p:nvPr/>
            </p:nvSpPr>
            <p:spPr>
              <a:xfrm>
                <a:off x="5473087" y="495654"/>
                <a:ext cx="177752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2800" dirty="0"/>
                  <a:t>Reduce()</a:t>
                </a:r>
                <a:endParaRPr lang="zh-CN" altLang="en-US" sz="2800" dirty="0"/>
              </a:p>
            </p:txBody>
          </p:sp>
        </p:grpSp>
        <p:sp>
          <p:nvSpPr>
            <p:cNvPr id="33" name="矩形: 圆角 32">
              <a:extLst>
                <a:ext uri="{FF2B5EF4-FFF2-40B4-BE49-F238E27FC236}">
                  <a16:creationId xmlns:a16="http://schemas.microsoft.com/office/drawing/2014/main" id="{8666965C-7A61-4CA2-ACCA-F9FD4AD30711}"/>
                </a:ext>
              </a:extLst>
            </p:cNvPr>
            <p:cNvSpPr>
              <a:spLocks/>
            </p:cNvSpPr>
            <p:nvPr/>
          </p:nvSpPr>
          <p:spPr>
            <a:xfrm>
              <a:off x="5850674" y="1634825"/>
              <a:ext cx="2028825" cy="1662932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  <p:sp>
          <p:nvSpPr>
            <p:cNvPr id="34" name="矩形: 圆角 33">
              <a:extLst>
                <a:ext uri="{FF2B5EF4-FFF2-40B4-BE49-F238E27FC236}">
                  <a16:creationId xmlns:a16="http://schemas.microsoft.com/office/drawing/2014/main" id="{ABF70D29-58A0-4284-8EAF-157BF13EF491}"/>
                </a:ext>
              </a:extLst>
            </p:cNvPr>
            <p:cNvSpPr>
              <a:spLocks/>
            </p:cNvSpPr>
            <p:nvPr/>
          </p:nvSpPr>
          <p:spPr>
            <a:xfrm>
              <a:off x="5850674" y="3961339"/>
              <a:ext cx="2028825" cy="1662932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</p:grpSp>
      <p:sp>
        <p:nvSpPr>
          <p:cNvPr id="38" name="文本框 37">
            <a:extLst>
              <a:ext uri="{FF2B5EF4-FFF2-40B4-BE49-F238E27FC236}">
                <a16:creationId xmlns:a16="http://schemas.microsoft.com/office/drawing/2014/main" id="{29A904AE-DC7B-4999-8A2B-293E0A08D602}"/>
              </a:ext>
            </a:extLst>
          </p:cNvPr>
          <p:cNvSpPr txBox="1"/>
          <p:nvPr/>
        </p:nvSpPr>
        <p:spPr>
          <a:xfrm>
            <a:off x="4075395" y="572598"/>
            <a:ext cx="20288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huffle</a:t>
            </a:r>
            <a:endParaRPr lang="zh-CN" altLang="en-US" dirty="0"/>
          </a:p>
        </p:txBody>
      </p:sp>
      <p:sp>
        <p:nvSpPr>
          <p:cNvPr id="47" name="任意多边形: 形状 46">
            <a:extLst>
              <a:ext uri="{FF2B5EF4-FFF2-40B4-BE49-F238E27FC236}">
                <a16:creationId xmlns:a16="http://schemas.microsoft.com/office/drawing/2014/main" id="{73C79121-C320-4B29-B539-9FF835234826}"/>
              </a:ext>
            </a:extLst>
          </p:cNvPr>
          <p:cNvSpPr>
            <a:spLocks/>
          </p:cNvSpPr>
          <p:nvPr/>
        </p:nvSpPr>
        <p:spPr>
          <a:xfrm>
            <a:off x="6028509" y="1759877"/>
            <a:ext cx="1725341" cy="247985"/>
          </a:xfrm>
          <a:custGeom>
            <a:avLst/>
            <a:gdLst>
              <a:gd name="connsiteX0" fmla="*/ 0 w 1725341"/>
              <a:gd name="connsiteY0" fmla="*/ 24799 h 247985"/>
              <a:gd name="connsiteX1" fmla="*/ 24799 w 1725341"/>
              <a:gd name="connsiteY1" fmla="*/ 0 h 247985"/>
              <a:gd name="connsiteX2" fmla="*/ 1700543 w 1725341"/>
              <a:gd name="connsiteY2" fmla="*/ 0 h 247985"/>
              <a:gd name="connsiteX3" fmla="*/ 1725342 w 1725341"/>
              <a:gd name="connsiteY3" fmla="*/ 24799 h 247985"/>
              <a:gd name="connsiteX4" fmla="*/ 1725341 w 1725341"/>
              <a:gd name="connsiteY4" fmla="*/ 223187 h 247985"/>
              <a:gd name="connsiteX5" fmla="*/ 1700542 w 1725341"/>
              <a:gd name="connsiteY5" fmla="*/ 247986 h 247985"/>
              <a:gd name="connsiteX6" fmla="*/ 24799 w 1725341"/>
              <a:gd name="connsiteY6" fmla="*/ 247985 h 247985"/>
              <a:gd name="connsiteX7" fmla="*/ 0 w 1725341"/>
              <a:gd name="connsiteY7" fmla="*/ 223186 h 247985"/>
              <a:gd name="connsiteX8" fmla="*/ 0 w 1725341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25341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700543" y="0"/>
                </a:lnTo>
                <a:cubicBezTo>
                  <a:pt x="1714239" y="0"/>
                  <a:pt x="1725342" y="11103"/>
                  <a:pt x="1725342" y="24799"/>
                </a:cubicBezTo>
                <a:cubicBezTo>
                  <a:pt x="1725342" y="90928"/>
                  <a:pt x="1725341" y="157058"/>
                  <a:pt x="1725341" y="223187"/>
                </a:cubicBezTo>
                <a:cubicBezTo>
                  <a:pt x="1725341" y="236883"/>
                  <a:pt x="1714238" y="247986"/>
                  <a:pt x="1700542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adoop,1,1</a:t>
            </a:r>
            <a:endParaRPr lang="zh-CN" altLang="en-US" sz="1100" b="1" kern="1200" dirty="0"/>
          </a:p>
        </p:txBody>
      </p:sp>
      <p:sp>
        <p:nvSpPr>
          <p:cNvPr id="49" name="任意多边形: 形状 48">
            <a:extLst>
              <a:ext uri="{FF2B5EF4-FFF2-40B4-BE49-F238E27FC236}">
                <a16:creationId xmlns:a16="http://schemas.microsoft.com/office/drawing/2014/main" id="{9E55FE10-DDC4-4DF9-AC80-5402914C3BBE}"/>
              </a:ext>
            </a:extLst>
          </p:cNvPr>
          <p:cNvSpPr/>
          <p:nvPr/>
        </p:nvSpPr>
        <p:spPr>
          <a:xfrm>
            <a:off x="5954112" y="2221097"/>
            <a:ext cx="1874133" cy="246029"/>
          </a:xfrm>
          <a:custGeom>
            <a:avLst/>
            <a:gdLst>
              <a:gd name="connsiteX0" fmla="*/ 0 w 1874133"/>
              <a:gd name="connsiteY0" fmla="*/ 24603 h 246029"/>
              <a:gd name="connsiteX1" fmla="*/ 24603 w 1874133"/>
              <a:gd name="connsiteY1" fmla="*/ 0 h 246029"/>
              <a:gd name="connsiteX2" fmla="*/ 1849530 w 1874133"/>
              <a:gd name="connsiteY2" fmla="*/ 0 h 246029"/>
              <a:gd name="connsiteX3" fmla="*/ 1874133 w 1874133"/>
              <a:gd name="connsiteY3" fmla="*/ 24603 h 246029"/>
              <a:gd name="connsiteX4" fmla="*/ 1874133 w 1874133"/>
              <a:gd name="connsiteY4" fmla="*/ 221426 h 246029"/>
              <a:gd name="connsiteX5" fmla="*/ 1849530 w 1874133"/>
              <a:gd name="connsiteY5" fmla="*/ 246029 h 246029"/>
              <a:gd name="connsiteX6" fmla="*/ 24603 w 1874133"/>
              <a:gd name="connsiteY6" fmla="*/ 246029 h 246029"/>
              <a:gd name="connsiteX7" fmla="*/ 0 w 1874133"/>
              <a:gd name="connsiteY7" fmla="*/ 221426 h 246029"/>
              <a:gd name="connsiteX8" fmla="*/ 0 w 1874133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4133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849530" y="0"/>
                </a:lnTo>
                <a:cubicBezTo>
                  <a:pt x="1863118" y="0"/>
                  <a:pt x="1874133" y="11015"/>
                  <a:pt x="1874133" y="24603"/>
                </a:cubicBezTo>
                <a:lnTo>
                  <a:pt x="1874133" y="221426"/>
                </a:lnTo>
                <a:cubicBezTo>
                  <a:pt x="1874133" y="235014"/>
                  <a:pt x="1863118" y="246029"/>
                  <a:pt x="1849530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ello,1,1,1</a:t>
            </a:r>
            <a:endParaRPr lang="zh-CN" altLang="en-US" sz="1100" b="1" kern="1200" dirty="0"/>
          </a:p>
        </p:txBody>
      </p:sp>
      <p:sp>
        <p:nvSpPr>
          <p:cNvPr id="50" name="任意多边形: 形状 49">
            <a:extLst>
              <a:ext uri="{FF2B5EF4-FFF2-40B4-BE49-F238E27FC236}">
                <a16:creationId xmlns:a16="http://schemas.microsoft.com/office/drawing/2014/main" id="{797AF3D5-00A6-4B66-81EB-23048BB2DC9B}"/>
              </a:ext>
            </a:extLst>
          </p:cNvPr>
          <p:cNvSpPr/>
          <p:nvPr/>
        </p:nvSpPr>
        <p:spPr>
          <a:xfrm>
            <a:off x="6102807" y="2682315"/>
            <a:ext cx="1576742" cy="246029"/>
          </a:xfrm>
          <a:custGeom>
            <a:avLst/>
            <a:gdLst>
              <a:gd name="connsiteX0" fmla="*/ 0 w 1576742"/>
              <a:gd name="connsiteY0" fmla="*/ 24603 h 246029"/>
              <a:gd name="connsiteX1" fmla="*/ 24603 w 1576742"/>
              <a:gd name="connsiteY1" fmla="*/ 0 h 246029"/>
              <a:gd name="connsiteX2" fmla="*/ 1552139 w 1576742"/>
              <a:gd name="connsiteY2" fmla="*/ 0 h 246029"/>
              <a:gd name="connsiteX3" fmla="*/ 1576742 w 1576742"/>
              <a:gd name="connsiteY3" fmla="*/ 24603 h 246029"/>
              <a:gd name="connsiteX4" fmla="*/ 1576742 w 1576742"/>
              <a:gd name="connsiteY4" fmla="*/ 221426 h 246029"/>
              <a:gd name="connsiteX5" fmla="*/ 1552139 w 1576742"/>
              <a:gd name="connsiteY5" fmla="*/ 246029 h 246029"/>
              <a:gd name="connsiteX6" fmla="*/ 24603 w 1576742"/>
              <a:gd name="connsiteY6" fmla="*/ 246029 h 246029"/>
              <a:gd name="connsiteX7" fmla="*/ 0 w 1576742"/>
              <a:gd name="connsiteY7" fmla="*/ 221426 h 246029"/>
              <a:gd name="connsiteX8" fmla="*/ 0 w 1576742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6742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552139" y="0"/>
                </a:lnTo>
                <a:cubicBezTo>
                  <a:pt x="1565727" y="0"/>
                  <a:pt x="1576742" y="11015"/>
                  <a:pt x="1576742" y="24603"/>
                </a:cubicBezTo>
                <a:lnTo>
                  <a:pt x="1576742" y="221426"/>
                </a:lnTo>
                <a:cubicBezTo>
                  <a:pt x="1576742" y="235014"/>
                  <a:pt x="1565727" y="246029"/>
                  <a:pt x="1552139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I,1,1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37" name="任意多边形: 形状 36">
            <a:extLst>
              <a:ext uri="{FF2B5EF4-FFF2-40B4-BE49-F238E27FC236}">
                <a16:creationId xmlns:a16="http://schemas.microsoft.com/office/drawing/2014/main" id="{243E54AA-95C2-4F4B-8FD0-2D1BC9FAAD14}"/>
              </a:ext>
            </a:extLst>
          </p:cNvPr>
          <p:cNvSpPr/>
          <p:nvPr/>
        </p:nvSpPr>
        <p:spPr>
          <a:xfrm>
            <a:off x="3871496" y="4797778"/>
            <a:ext cx="1401005" cy="247985"/>
          </a:xfrm>
          <a:custGeom>
            <a:avLst/>
            <a:gdLst>
              <a:gd name="connsiteX0" fmla="*/ 0 w 1401005"/>
              <a:gd name="connsiteY0" fmla="*/ 24799 h 247985"/>
              <a:gd name="connsiteX1" fmla="*/ 24799 w 1401005"/>
              <a:gd name="connsiteY1" fmla="*/ 0 h 247985"/>
              <a:gd name="connsiteX2" fmla="*/ 1376207 w 1401005"/>
              <a:gd name="connsiteY2" fmla="*/ 0 h 247985"/>
              <a:gd name="connsiteX3" fmla="*/ 1401006 w 1401005"/>
              <a:gd name="connsiteY3" fmla="*/ 24799 h 247985"/>
              <a:gd name="connsiteX4" fmla="*/ 1401005 w 1401005"/>
              <a:gd name="connsiteY4" fmla="*/ 223187 h 247985"/>
              <a:gd name="connsiteX5" fmla="*/ 1376206 w 1401005"/>
              <a:gd name="connsiteY5" fmla="*/ 247986 h 247985"/>
              <a:gd name="connsiteX6" fmla="*/ 24799 w 1401005"/>
              <a:gd name="connsiteY6" fmla="*/ 247985 h 247985"/>
              <a:gd name="connsiteX7" fmla="*/ 0 w 1401005"/>
              <a:gd name="connsiteY7" fmla="*/ 223186 h 247985"/>
              <a:gd name="connsiteX8" fmla="*/ 0 w 1401005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01005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376207" y="0"/>
                </a:lnTo>
                <a:cubicBezTo>
                  <a:pt x="1389903" y="0"/>
                  <a:pt x="1401006" y="11103"/>
                  <a:pt x="1401006" y="24799"/>
                </a:cubicBezTo>
                <a:cubicBezTo>
                  <a:pt x="1401006" y="90928"/>
                  <a:pt x="1401005" y="157058"/>
                  <a:pt x="1401005" y="223187"/>
                </a:cubicBezTo>
                <a:cubicBezTo>
                  <a:pt x="1401005" y="236883"/>
                  <a:pt x="1389902" y="247986"/>
                  <a:pt x="1376206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like,1</a:t>
            </a:r>
            <a:endParaRPr lang="zh-CN" altLang="en-US" sz="1100" b="1" kern="1200" dirty="0"/>
          </a:p>
        </p:txBody>
      </p:sp>
      <p:sp>
        <p:nvSpPr>
          <p:cNvPr id="48" name="任意多边形: 形状 47">
            <a:extLst>
              <a:ext uri="{FF2B5EF4-FFF2-40B4-BE49-F238E27FC236}">
                <a16:creationId xmlns:a16="http://schemas.microsoft.com/office/drawing/2014/main" id="{11B71A46-FA1A-4826-99DD-14507FCCA670}"/>
              </a:ext>
            </a:extLst>
          </p:cNvPr>
          <p:cNvSpPr/>
          <p:nvPr/>
        </p:nvSpPr>
        <p:spPr>
          <a:xfrm>
            <a:off x="3924366" y="5758210"/>
            <a:ext cx="1309443" cy="247985"/>
          </a:xfrm>
          <a:custGeom>
            <a:avLst/>
            <a:gdLst>
              <a:gd name="connsiteX0" fmla="*/ 0 w 1309443"/>
              <a:gd name="connsiteY0" fmla="*/ 24799 h 247985"/>
              <a:gd name="connsiteX1" fmla="*/ 24799 w 1309443"/>
              <a:gd name="connsiteY1" fmla="*/ 0 h 247985"/>
              <a:gd name="connsiteX2" fmla="*/ 1284645 w 1309443"/>
              <a:gd name="connsiteY2" fmla="*/ 0 h 247985"/>
              <a:gd name="connsiteX3" fmla="*/ 1309444 w 1309443"/>
              <a:gd name="connsiteY3" fmla="*/ 24799 h 247985"/>
              <a:gd name="connsiteX4" fmla="*/ 1309443 w 1309443"/>
              <a:gd name="connsiteY4" fmla="*/ 223187 h 247985"/>
              <a:gd name="connsiteX5" fmla="*/ 1284644 w 1309443"/>
              <a:gd name="connsiteY5" fmla="*/ 247986 h 247985"/>
              <a:gd name="connsiteX6" fmla="*/ 24799 w 1309443"/>
              <a:gd name="connsiteY6" fmla="*/ 247985 h 247985"/>
              <a:gd name="connsiteX7" fmla="*/ 0 w 1309443"/>
              <a:gd name="connsiteY7" fmla="*/ 223186 h 247985"/>
              <a:gd name="connsiteX8" fmla="*/ 0 w 1309443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09443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284645" y="0"/>
                </a:lnTo>
                <a:cubicBezTo>
                  <a:pt x="1298341" y="0"/>
                  <a:pt x="1309444" y="11103"/>
                  <a:pt x="1309444" y="24799"/>
                </a:cubicBezTo>
                <a:cubicBezTo>
                  <a:pt x="1309444" y="90928"/>
                  <a:pt x="1309443" y="157058"/>
                  <a:pt x="1309443" y="223187"/>
                </a:cubicBezTo>
                <a:cubicBezTo>
                  <a:pt x="1309443" y="236883"/>
                  <a:pt x="1298340" y="247986"/>
                  <a:pt x="1284644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World,1</a:t>
            </a:r>
            <a:endParaRPr lang="zh-CN" altLang="en-US" sz="1100" b="1" kern="1200" dirty="0"/>
          </a:p>
        </p:txBody>
      </p:sp>
      <p:sp>
        <p:nvSpPr>
          <p:cNvPr id="51" name="任意多边形: 形状 50">
            <a:extLst>
              <a:ext uri="{FF2B5EF4-FFF2-40B4-BE49-F238E27FC236}">
                <a16:creationId xmlns:a16="http://schemas.microsoft.com/office/drawing/2014/main" id="{901F9097-26B1-4403-8C0B-E3EAC7E546B8}"/>
              </a:ext>
            </a:extLst>
          </p:cNvPr>
          <p:cNvSpPr/>
          <p:nvPr/>
        </p:nvSpPr>
        <p:spPr>
          <a:xfrm>
            <a:off x="3814358" y="4478286"/>
            <a:ext cx="1485807" cy="246029"/>
          </a:xfrm>
          <a:custGeom>
            <a:avLst/>
            <a:gdLst>
              <a:gd name="connsiteX0" fmla="*/ 0 w 1485807"/>
              <a:gd name="connsiteY0" fmla="*/ 24603 h 246029"/>
              <a:gd name="connsiteX1" fmla="*/ 24603 w 1485807"/>
              <a:gd name="connsiteY1" fmla="*/ 0 h 246029"/>
              <a:gd name="connsiteX2" fmla="*/ 1461204 w 1485807"/>
              <a:gd name="connsiteY2" fmla="*/ 0 h 246029"/>
              <a:gd name="connsiteX3" fmla="*/ 1485807 w 1485807"/>
              <a:gd name="connsiteY3" fmla="*/ 24603 h 246029"/>
              <a:gd name="connsiteX4" fmla="*/ 1485807 w 1485807"/>
              <a:gd name="connsiteY4" fmla="*/ 221426 h 246029"/>
              <a:gd name="connsiteX5" fmla="*/ 1461204 w 1485807"/>
              <a:gd name="connsiteY5" fmla="*/ 246029 h 246029"/>
              <a:gd name="connsiteX6" fmla="*/ 24603 w 1485807"/>
              <a:gd name="connsiteY6" fmla="*/ 246029 h 246029"/>
              <a:gd name="connsiteX7" fmla="*/ 0 w 1485807"/>
              <a:gd name="connsiteY7" fmla="*/ 221426 h 246029"/>
              <a:gd name="connsiteX8" fmla="*/ 0 w 1485807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85807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461204" y="0"/>
                </a:lnTo>
                <a:cubicBezTo>
                  <a:pt x="1474792" y="0"/>
                  <a:pt x="1485807" y="11015"/>
                  <a:pt x="1485807" y="24603"/>
                </a:cubicBezTo>
                <a:lnTo>
                  <a:pt x="1485807" y="221426"/>
                </a:lnTo>
                <a:cubicBezTo>
                  <a:pt x="1485807" y="235014"/>
                  <a:pt x="1474792" y="246029"/>
                  <a:pt x="1461204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like,1</a:t>
            </a:r>
            <a:endParaRPr lang="zh-CN" altLang="en-US" sz="1100" b="1" kern="1200" dirty="0"/>
          </a:p>
        </p:txBody>
      </p:sp>
      <p:sp>
        <p:nvSpPr>
          <p:cNvPr id="52" name="任意多边形: 形状 51">
            <a:extLst>
              <a:ext uri="{FF2B5EF4-FFF2-40B4-BE49-F238E27FC236}">
                <a16:creationId xmlns:a16="http://schemas.microsoft.com/office/drawing/2014/main" id="{19908520-B054-47AF-A829-670DD07C431C}"/>
              </a:ext>
            </a:extLst>
          </p:cNvPr>
          <p:cNvSpPr/>
          <p:nvPr/>
        </p:nvSpPr>
        <p:spPr>
          <a:xfrm>
            <a:off x="3858339" y="5438718"/>
            <a:ext cx="1412003" cy="246029"/>
          </a:xfrm>
          <a:custGeom>
            <a:avLst/>
            <a:gdLst>
              <a:gd name="connsiteX0" fmla="*/ 0 w 1412003"/>
              <a:gd name="connsiteY0" fmla="*/ 24603 h 246029"/>
              <a:gd name="connsiteX1" fmla="*/ 24603 w 1412003"/>
              <a:gd name="connsiteY1" fmla="*/ 0 h 246029"/>
              <a:gd name="connsiteX2" fmla="*/ 1387400 w 1412003"/>
              <a:gd name="connsiteY2" fmla="*/ 0 h 246029"/>
              <a:gd name="connsiteX3" fmla="*/ 1412003 w 1412003"/>
              <a:gd name="connsiteY3" fmla="*/ 24603 h 246029"/>
              <a:gd name="connsiteX4" fmla="*/ 1412003 w 1412003"/>
              <a:gd name="connsiteY4" fmla="*/ 221426 h 246029"/>
              <a:gd name="connsiteX5" fmla="*/ 1387400 w 1412003"/>
              <a:gd name="connsiteY5" fmla="*/ 246029 h 246029"/>
              <a:gd name="connsiteX6" fmla="*/ 24603 w 1412003"/>
              <a:gd name="connsiteY6" fmla="*/ 246029 h 246029"/>
              <a:gd name="connsiteX7" fmla="*/ 0 w 1412003"/>
              <a:gd name="connsiteY7" fmla="*/ 221426 h 246029"/>
              <a:gd name="connsiteX8" fmla="*/ 0 w 1412003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12003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387400" y="0"/>
                </a:lnTo>
                <a:cubicBezTo>
                  <a:pt x="1400988" y="0"/>
                  <a:pt x="1412003" y="11015"/>
                  <a:pt x="1412003" y="24603"/>
                </a:cubicBezTo>
                <a:lnTo>
                  <a:pt x="1412003" y="221426"/>
                </a:lnTo>
                <a:cubicBezTo>
                  <a:pt x="1412003" y="235014"/>
                  <a:pt x="1400988" y="246029"/>
                  <a:pt x="1387400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050" b="1" kern="1200" dirty="0">
                <a:latin typeface="Arial"/>
                <a:ea typeface="微软雅黑"/>
                <a:cs typeface="+mn-cs"/>
              </a:rPr>
              <a:t>MapReduce,1</a:t>
            </a:r>
            <a:endParaRPr lang="zh-CN" altLang="en-US" sz="105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53" name="任意多边形: 形状 52">
            <a:extLst>
              <a:ext uri="{FF2B5EF4-FFF2-40B4-BE49-F238E27FC236}">
                <a16:creationId xmlns:a16="http://schemas.microsoft.com/office/drawing/2014/main" id="{429DEC8B-75D1-4FE4-A23A-7517E2B7DCEA}"/>
              </a:ext>
            </a:extLst>
          </p:cNvPr>
          <p:cNvSpPr/>
          <p:nvPr/>
        </p:nvSpPr>
        <p:spPr>
          <a:xfrm>
            <a:off x="3784575" y="3838324"/>
            <a:ext cx="1573660" cy="246029"/>
          </a:xfrm>
          <a:custGeom>
            <a:avLst/>
            <a:gdLst>
              <a:gd name="connsiteX0" fmla="*/ 0 w 1573660"/>
              <a:gd name="connsiteY0" fmla="*/ 24603 h 246029"/>
              <a:gd name="connsiteX1" fmla="*/ 24603 w 1573660"/>
              <a:gd name="connsiteY1" fmla="*/ 0 h 246029"/>
              <a:gd name="connsiteX2" fmla="*/ 1549057 w 1573660"/>
              <a:gd name="connsiteY2" fmla="*/ 0 h 246029"/>
              <a:gd name="connsiteX3" fmla="*/ 1573660 w 1573660"/>
              <a:gd name="connsiteY3" fmla="*/ 24603 h 246029"/>
              <a:gd name="connsiteX4" fmla="*/ 1573660 w 1573660"/>
              <a:gd name="connsiteY4" fmla="*/ 221426 h 246029"/>
              <a:gd name="connsiteX5" fmla="*/ 1549057 w 1573660"/>
              <a:gd name="connsiteY5" fmla="*/ 246029 h 246029"/>
              <a:gd name="connsiteX6" fmla="*/ 24603 w 1573660"/>
              <a:gd name="connsiteY6" fmla="*/ 246029 h 246029"/>
              <a:gd name="connsiteX7" fmla="*/ 0 w 1573660"/>
              <a:gd name="connsiteY7" fmla="*/ 221426 h 246029"/>
              <a:gd name="connsiteX8" fmla="*/ 0 w 1573660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3660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549057" y="0"/>
                </a:lnTo>
                <a:cubicBezTo>
                  <a:pt x="1562645" y="0"/>
                  <a:pt x="1573660" y="11015"/>
                  <a:pt x="1573660" y="24603"/>
                </a:cubicBezTo>
                <a:lnTo>
                  <a:pt x="1573660" y="221426"/>
                </a:lnTo>
                <a:cubicBezTo>
                  <a:pt x="1573660" y="235014"/>
                  <a:pt x="1562645" y="246029"/>
                  <a:pt x="1549057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Java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54" name="任意多边形: 形状 53">
            <a:extLst>
              <a:ext uri="{FF2B5EF4-FFF2-40B4-BE49-F238E27FC236}">
                <a16:creationId xmlns:a16="http://schemas.microsoft.com/office/drawing/2014/main" id="{D3AD28B2-D282-4F56-B203-D73CC3BB92C2}"/>
              </a:ext>
            </a:extLst>
          </p:cNvPr>
          <p:cNvSpPr/>
          <p:nvPr/>
        </p:nvSpPr>
        <p:spPr>
          <a:xfrm>
            <a:off x="3814358" y="4158794"/>
            <a:ext cx="1480010" cy="246029"/>
          </a:xfrm>
          <a:custGeom>
            <a:avLst/>
            <a:gdLst>
              <a:gd name="connsiteX0" fmla="*/ 0 w 1480010"/>
              <a:gd name="connsiteY0" fmla="*/ 24603 h 246029"/>
              <a:gd name="connsiteX1" fmla="*/ 24603 w 1480010"/>
              <a:gd name="connsiteY1" fmla="*/ 0 h 246029"/>
              <a:gd name="connsiteX2" fmla="*/ 1455407 w 1480010"/>
              <a:gd name="connsiteY2" fmla="*/ 0 h 246029"/>
              <a:gd name="connsiteX3" fmla="*/ 1480010 w 1480010"/>
              <a:gd name="connsiteY3" fmla="*/ 24603 h 246029"/>
              <a:gd name="connsiteX4" fmla="*/ 1480010 w 1480010"/>
              <a:gd name="connsiteY4" fmla="*/ 221426 h 246029"/>
              <a:gd name="connsiteX5" fmla="*/ 1455407 w 1480010"/>
              <a:gd name="connsiteY5" fmla="*/ 246029 h 246029"/>
              <a:gd name="connsiteX6" fmla="*/ 24603 w 1480010"/>
              <a:gd name="connsiteY6" fmla="*/ 246029 h 246029"/>
              <a:gd name="connsiteX7" fmla="*/ 0 w 1480010"/>
              <a:gd name="connsiteY7" fmla="*/ 221426 h 246029"/>
              <a:gd name="connsiteX8" fmla="*/ 0 w 1480010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80010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455407" y="0"/>
                </a:lnTo>
                <a:cubicBezTo>
                  <a:pt x="1468995" y="0"/>
                  <a:pt x="1480010" y="11015"/>
                  <a:pt x="1480010" y="24603"/>
                </a:cubicBezTo>
                <a:lnTo>
                  <a:pt x="1480010" y="221426"/>
                </a:lnTo>
                <a:cubicBezTo>
                  <a:pt x="1480010" y="235014"/>
                  <a:pt x="1468995" y="246029"/>
                  <a:pt x="1455407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like,1</a:t>
            </a:r>
            <a:endParaRPr lang="zh-CN" altLang="en-US" sz="1100" b="1" kern="1200" dirty="0"/>
          </a:p>
        </p:txBody>
      </p:sp>
      <p:sp>
        <p:nvSpPr>
          <p:cNvPr id="55" name="任意多边形: 形状 54">
            <a:extLst>
              <a:ext uri="{FF2B5EF4-FFF2-40B4-BE49-F238E27FC236}">
                <a16:creationId xmlns:a16="http://schemas.microsoft.com/office/drawing/2014/main" id="{3F93E523-E83B-4E08-BAC6-6246FB1FB031}"/>
              </a:ext>
            </a:extLst>
          </p:cNvPr>
          <p:cNvSpPr/>
          <p:nvPr/>
        </p:nvSpPr>
        <p:spPr>
          <a:xfrm>
            <a:off x="3866888" y="5119225"/>
            <a:ext cx="1394904" cy="246029"/>
          </a:xfrm>
          <a:custGeom>
            <a:avLst/>
            <a:gdLst>
              <a:gd name="connsiteX0" fmla="*/ 0 w 1394904"/>
              <a:gd name="connsiteY0" fmla="*/ 24603 h 246029"/>
              <a:gd name="connsiteX1" fmla="*/ 24603 w 1394904"/>
              <a:gd name="connsiteY1" fmla="*/ 0 h 246029"/>
              <a:gd name="connsiteX2" fmla="*/ 1370301 w 1394904"/>
              <a:gd name="connsiteY2" fmla="*/ 0 h 246029"/>
              <a:gd name="connsiteX3" fmla="*/ 1394904 w 1394904"/>
              <a:gd name="connsiteY3" fmla="*/ 24603 h 246029"/>
              <a:gd name="connsiteX4" fmla="*/ 1394904 w 1394904"/>
              <a:gd name="connsiteY4" fmla="*/ 221426 h 246029"/>
              <a:gd name="connsiteX5" fmla="*/ 1370301 w 1394904"/>
              <a:gd name="connsiteY5" fmla="*/ 246029 h 246029"/>
              <a:gd name="connsiteX6" fmla="*/ 24603 w 1394904"/>
              <a:gd name="connsiteY6" fmla="*/ 246029 h 246029"/>
              <a:gd name="connsiteX7" fmla="*/ 0 w 1394904"/>
              <a:gd name="connsiteY7" fmla="*/ 221426 h 246029"/>
              <a:gd name="connsiteX8" fmla="*/ 0 w 1394904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94904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370301" y="0"/>
                </a:lnTo>
                <a:cubicBezTo>
                  <a:pt x="1383889" y="0"/>
                  <a:pt x="1394904" y="11015"/>
                  <a:pt x="1394904" y="24603"/>
                </a:cubicBezTo>
                <a:lnTo>
                  <a:pt x="1394904" y="221426"/>
                </a:lnTo>
                <a:cubicBezTo>
                  <a:pt x="1394904" y="235014"/>
                  <a:pt x="1383889" y="246029"/>
                  <a:pt x="1370301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MapReduce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3A72661A-86C3-4072-848F-FBFEC1D66858}"/>
              </a:ext>
            </a:extLst>
          </p:cNvPr>
          <p:cNvSpPr/>
          <p:nvPr/>
        </p:nvSpPr>
        <p:spPr>
          <a:xfrm>
            <a:off x="6056891" y="4189068"/>
            <a:ext cx="1573660" cy="246029"/>
          </a:xfrm>
          <a:custGeom>
            <a:avLst/>
            <a:gdLst>
              <a:gd name="connsiteX0" fmla="*/ 0 w 1573660"/>
              <a:gd name="connsiteY0" fmla="*/ 24603 h 246029"/>
              <a:gd name="connsiteX1" fmla="*/ 24603 w 1573660"/>
              <a:gd name="connsiteY1" fmla="*/ 0 h 246029"/>
              <a:gd name="connsiteX2" fmla="*/ 1549057 w 1573660"/>
              <a:gd name="connsiteY2" fmla="*/ 0 h 246029"/>
              <a:gd name="connsiteX3" fmla="*/ 1573660 w 1573660"/>
              <a:gd name="connsiteY3" fmla="*/ 24603 h 246029"/>
              <a:gd name="connsiteX4" fmla="*/ 1573660 w 1573660"/>
              <a:gd name="connsiteY4" fmla="*/ 221426 h 246029"/>
              <a:gd name="connsiteX5" fmla="*/ 1549057 w 1573660"/>
              <a:gd name="connsiteY5" fmla="*/ 246029 h 246029"/>
              <a:gd name="connsiteX6" fmla="*/ 24603 w 1573660"/>
              <a:gd name="connsiteY6" fmla="*/ 246029 h 246029"/>
              <a:gd name="connsiteX7" fmla="*/ 0 w 1573660"/>
              <a:gd name="connsiteY7" fmla="*/ 221426 h 246029"/>
              <a:gd name="connsiteX8" fmla="*/ 0 w 1573660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3660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549057" y="0"/>
                </a:lnTo>
                <a:cubicBezTo>
                  <a:pt x="1562645" y="0"/>
                  <a:pt x="1573660" y="11015"/>
                  <a:pt x="1573660" y="24603"/>
                </a:cubicBezTo>
                <a:lnTo>
                  <a:pt x="1573660" y="221426"/>
                </a:lnTo>
                <a:cubicBezTo>
                  <a:pt x="1573660" y="235014"/>
                  <a:pt x="1562645" y="246029"/>
                  <a:pt x="1549057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Java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39" name="任意多边形: 形状 38">
            <a:extLst>
              <a:ext uri="{FF2B5EF4-FFF2-40B4-BE49-F238E27FC236}">
                <a16:creationId xmlns:a16="http://schemas.microsoft.com/office/drawing/2014/main" id="{CA27CE38-AFAC-4CEB-AA98-7699CE12853F}"/>
              </a:ext>
            </a:extLst>
          </p:cNvPr>
          <p:cNvSpPr/>
          <p:nvPr/>
        </p:nvSpPr>
        <p:spPr>
          <a:xfrm>
            <a:off x="6103716" y="4540125"/>
            <a:ext cx="1480010" cy="246029"/>
          </a:xfrm>
          <a:custGeom>
            <a:avLst/>
            <a:gdLst>
              <a:gd name="connsiteX0" fmla="*/ 0 w 1480010"/>
              <a:gd name="connsiteY0" fmla="*/ 24603 h 246029"/>
              <a:gd name="connsiteX1" fmla="*/ 24603 w 1480010"/>
              <a:gd name="connsiteY1" fmla="*/ 0 h 246029"/>
              <a:gd name="connsiteX2" fmla="*/ 1455407 w 1480010"/>
              <a:gd name="connsiteY2" fmla="*/ 0 h 246029"/>
              <a:gd name="connsiteX3" fmla="*/ 1480010 w 1480010"/>
              <a:gd name="connsiteY3" fmla="*/ 24603 h 246029"/>
              <a:gd name="connsiteX4" fmla="*/ 1480010 w 1480010"/>
              <a:gd name="connsiteY4" fmla="*/ 221426 h 246029"/>
              <a:gd name="connsiteX5" fmla="*/ 1455407 w 1480010"/>
              <a:gd name="connsiteY5" fmla="*/ 246029 h 246029"/>
              <a:gd name="connsiteX6" fmla="*/ 24603 w 1480010"/>
              <a:gd name="connsiteY6" fmla="*/ 246029 h 246029"/>
              <a:gd name="connsiteX7" fmla="*/ 0 w 1480010"/>
              <a:gd name="connsiteY7" fmla="*/ 221426 h 246029"/>
              <a:gd name="connsiteX8" fmla="*/ 0 w 1480010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80010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455407" y="0"/>
                </a:lnTo>
                <a:cubicBezTo>
                  <a:pt x="1468995" y="0"/>
                  <a:pt x="1480010" y="11015"/>
                  <a:pt x="1480010" y="24603"/>
                </a:cubicBezTo>
                <a:lnTo>
                  <a:pt x="1480010" y="221426"/>
                </a:lnTo>
                <a:cubicBezTo>
                  <a:pt x="1480010" y="235014"/>
                  <a:pt x="1468995" y="246029"/>
                  <a:pt x="1455407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like,1,1,1</a:t>
            </a:r>
            <a:endParaRPr lang="zh-CN" altLang="en-US" sz="1100" b="1" kern="1200" dirty="0"/>
          </a:p>
        </p:txBody>
      </p:sp>
      <p:sp>
        <p:nvSpPr>
          <p:cNvPr id="40" name="任意多边形: 形状 39">
            <a:extLst>
              <a:ext uri="{FF2B5EF4-FFF2-40B4-BE49-F238E27FC236}">
                <a16:creationId xmlns:a16="http://schemas.microsoft.com/office/drawing/2014/main" id="{D8FE8E58-BD51-4960-A5C6-8DABD73D2408}"/>
              </a:ext>
            </a:extLst>
          </p:cNvPr>
          <p:cNvSpPr/>
          <p:nvPr/>
        </p:nvSpPr>
        <p:spPr>
          <a:xfrm>
            <a:off x="6146269" y="4891182"/>
            <a:ext cx="1394904" cy="246029"/>
          </a:xfrm>
          <a:custGeom>
            <a:avLst/>
            <a:gdLst>
              <a:gd name="connsiteX0" fmla="*/ 0 w 1394904"/>
              <a:gd name="connsiteY0" fmla="*/ 24603 h 246029"/>
              <a:gd name="connsiteX1" fmla="*/ 24603 w 1394904"/>
              <a:gd name="connsiteY1" fmla="*/ 0 h 246029"/>
              <a:gd name="connsiteX2" fmla="*/ 1370301 w 1394904"/>
              <a:gd name="connsiteY2" fmla="*/ 0 h 246029"/>
              <a:gd name="connsiteX3" fmla="*/ 1394904 w 1394904"/>
              <a:gd name="connsiteY3" fmla="*/ 24603 h 246029"/>
              <a:gd name="connsiteX4" fmla="*/ 1394904 w 1394904"/>
              <a:gd name="connsiteY4" fmla="*/ 221426 h 246029"/>
              <a:gd name="connsiteX5" fmla="*/ 1370301 w 1394904"/>
              <a:gd name="connsiteY5" fmla="*/ 246029 h 246029"/>
              <a:gd name="connsiteX6" fmla="*/ 24603 w 1394904"/>
              <a:gd name="connsiteY6" fmla="*/ 246029 h 246029"/>
              <a:gd name="connsiteX7" fmla="*/ 0 w 1394904"/>
              <a:gd name="connsiteY7" fmla="*/ 221426 h 246029"/>
              <a:gd name="connsiteX8" fmla="*/ 0 w 1394904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94904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370301" y="0"/>
                </a:lnTo>
                <a:cubicBezTo>
                  <a:pt x="1383889" y="0"/>
                  <a:pt x="1394904" y="11015"/>
                  <a:pt x="1394904" y="24603"/>
                </a:cubicBezTo>
                <a:lnTo>
                  <a:pt x="1394904" y="221426"/>
                </a:lnTo>
                <a:cubicBezTo>
                  <a:pt x="1394904" y="235014"/>
                  <a:pt x="1383889" y="246029"/>
                  <a:pt x="1370301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MapReduce,1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41" name="任意多边形: 形状 40">
            <a:extLst>
              <a:ext uri="{FF2B5EF4-FFF2-40B4-BE49-F238E27FC236}">
                <a16:creationId xmlns:a16="http://schemas.microsoft.com/office/drawing/2014/main" id="{0C871A97-850E-47D8-BD7A-1E057420DA1E}"/>
              </a:ext>
            </a:extLst>
          </p:cNvPr>
          <p:cNvSpPr/>
          <p:nvPr/>
        </p:nvSpPr>
        <p:spPr>
          <a:xfrm>
            <a:off x="6189000" y="5242239"/>
            <a:ext cx="1309443" cy="247985"/>
          </a:xfrm>
          <a:custGeom>
            <a:avLst/>
            <a:gdLst>
              <a:gd name="connsiteX0" fmla="*/ 0 w 1309443"/>
              <a:gd name="connsiteY0" fmla="*/ 24799 h 247985"/>
              <a:gd name="connsiteX1" fmla="*/ 24799 w 1309443"/>
              <a:gd name="connsiteY1" fmla="*/ 0 h 247985"/>
              <a:gd name="connsiteX2" fmla="*/ 1284645 w 1309443"/>
              <a:gd name="connsiteY2" fmla="*/ 0 h 247985"/>
              <a:gd name="connsiteX3" fmla="*/ 1309444 w 1309443"/>
              <a:gd name="connsiteY3" fmla="*/ 24799 h 247985"/>
              <a:gd name="connsiteX4" fmla="*/ 1309443 w 1309443"/>
              <a:gd name="connsiteY4" fmla="*/ 223187 h 247985"/>
              <a:gd name="connsiteX5" fmla="*/ 1284644 w 1309443"/>
              <a:gd name="connsiteY5" fmla="*/ 247986 h 247985"/>
              <a:gd name="connsiteX6" fmla="*/ 24799 w 1309443"/>
              <a:gd name="connsiteY6" fmla="*/ 247985 h 247985"/>
              <a:gd name="connsiteX7" fmla="*/ 0 w 1309443"/>
              <a:gd name="connsiteY7" fmla="*/ 223186 h 247985"/>
              <a:gd name="connsiteX8" fmla="*/ 0 w 1309443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09443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284645" y="0"/>
                </a:lnTo>
                <a:cubicBezTo>
                  <a:pt x="1298341" y="0"/>
                  <a:pt x="1309444" y="11103"/>
                  <a:pt x="1309444" y="24799"/>
                </a:cubicBezTo>
                <a:cubicBezTo>
                  <a:pt x="1309444" y="90928"/>
                  <a:pt x="1309443" y="157058"/>
                  <a:pt x="1309443" y="223187"/>
                </a:cubicBezTo>
                <a:cubicBezTo>
                  <a:pt x="1309443" y="236883"/>
                  <a:pt x="1298340" y="247986"/>
                  <a:pt x="1284644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World,1</a:t>
            </a:r>
            <a:endParaRPr lang="zh-CN" altLang="en-US" sz="1100" b="1" kern="1200" dirty="0"/>
          </a:p>
        </p:txBody>
      </p:sp>
    </p:spTree>
    <p:extLst>
      <p:ext uri="{BB962C8B-B14F-4D97-AF65-F5344CB8AC3E}">
        <p14:creationId xmlns:p14="http://schemas.microsoft.com/office/powerpoint/2010/main" val="28648422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61111E-6 3.7037E-6 L 0.24843 0.05115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413" y="2546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48504 -0.051144 L 0 0 E" pathEditMode="relative" ptsTypes="">
                                      <p:cBhvr>
                                        <p:cTn id="14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5" presetID="6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2000" fill="hold"/>
                                        <p:tgtEl>
                                          <p:spTgt spid="53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6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" dur="2000" fill="hold"/>
                                        <p:tgtEl>
                                          <p:spTgt spid="36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0367 0.055604 E" pathEditMode="relative" ptsTypes="">
                                      <p:cBhvr>
                                        <p:cTn id="26" dur="2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7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50367 -0.055604 L 0 0 E" pathEditMode="relative" ptsTypes="">
                                      <p:cBhvr>
                                        <p:cTn id="28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9" presetID="6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0" dur="2000" fill="hold"/>
                                        <p:tgtEl>
                                          <p:spTgt spid="54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6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2" dur="2000" fill="hold"/>
                                        <p:tgtEl>
                                          <p:spTgt spid="39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2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005 0.009017 E" pathEditMode="relative" ptsTypes="">
                                      <p:cBhvr>
                                        <p:cTn id="40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1" presetID="63" presetClass="path" presetSubtype="0" accel="50000" decel="5000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5005 -0.009017 L 0 0 E" pathEditMode="relative" ptsTypes="">
                                      <p:cBhvr>
                                        <p:cTn id="42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3" presetID="6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4" dur="2000" fill="hold"/>
                                        <p:tgtEl>
                                          <p:spTgt spid="51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99610" y="100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6" presetClass="emph" presetSubtype="0" accel="50000" decel="50000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6" dur="2000" fill="hold"/>
                                        <p:tgtEl>
                                          <p:spTgt spid="39"/>
                                        </p:tgtEl>
                                      </p:cBhvr>
                                      <p:by x="150000" y="150000"/>
                                      <p:from x="100392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6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48439 -0.037712 E" pathEditMode="relative" ptsTypes="">
                                      <p:cBhvr>
                                        <p:cTn id="54" dur="2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5" presetID="63" presetClass="path" presetSubtype="0" accel="50000" decel="50000" fill="hold" grpId="7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48439 0.037712 L 0 0 E" pathEditMode="relative" ptsTypes="">
                                      <p:cBhvr>
                                        <p:cTn id="56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7" presetID="6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8" dur="2000" fill="hold"/>
                                        <p:tgtEl>
                                          <p:spTgt spid="37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5639" y="99211"/>
                                    </p:animScale>
                                  </p:childTnLst>
                                </p:cTn>
                              </p:par>
                              <p:par>
                                <p:cTn id="59" presetID="6" presetClass="emph" presetSubtype="0" accel="50000" decel="50000" fill="hold" grpId="8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0" dur="2000" fill="hold"/>
                                        <p:tgtEl>
                                          <p:spTgt spid="39"/>
                                        </p:tgtEl>
                                      </p:cBhvr>
                                      <p:by x="150000" y="150000"/>
                                      <p:from x="94662" y="100795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2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49276 -0.033252 E" pathEditMode="relative" ptsTypes="">
                                      <p:cBhvr>
                                        <p:cTn id="68" dur="2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69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49276 0.033252 L 0 0 E" pathEditMode="relative" ptsTypes="">
                                      <p:cBhvr>
                                        <p:cTn id="70" dur="2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1" presetID="6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2" dur="2000" fill="hold"/>
                                        <p:tgtEl>
                                          <p:spTgt spid="55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3" presetID="6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4" dur="2000" fill="hold"/>
                                        <p:tgtEl>
                                          <p:spTgt spid="40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6" dur="2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49276 -0.079839 E" pathEditMode="relative" ptsTypes="">
                                      <p:cBhvr>
                                        <p:cTn id="82" dur="2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83" presetID="63" presetClass="path" presetSubtype="0" accel="50000" decel="5000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49276 0.079839 L 0 0 E" pathEditMode="relative" ptsTypes="">
                                      <p:cBhvr>
                                        <p:cTn id="84" dur="2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85" presetID="6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6" dur="2000" fill="hold"/>
                                        <p:tgtEl>
                                          <p:spTgt spid="52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98789" y="100000"/>
                                    </p:animScale>
                                  </p:childTnLst>
                                </p:cTn>
                              </p:par>
                              <p:par>
                                <p:cTn id="87" presetID="6" presetClass="emph" presetSubtype="0" accel="50000" decel="50000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8" dur="2000" fill="hold"/>
                                        <p:tgtEl>
                                          <p:spTgt spid="40"/>
                                        </p:tgtEl>
                                      </p:cBhvr>
                                      <p:by x="150000" y="150000"/>
                                      <p:from x="101226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0" dur="2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47663 -0.075236 E" pathEditMode="relative" ptsTypes="">
                                      <p:cBhvr>
                                        <p:cTn id="96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7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47663 0.075236 L 0 0 E" pathEditMode="relative" ptsTypes="">
                                      <p:cBhvr>
                                        <p:cTn id="98" dur="2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9" presetID="6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0" dur="2000" fill="hold"/>
                                        <p:tgtEl>
                                          <p:spTgt spid="48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01" presetID="6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2" dur="2000" fill="hold"/>
                                        <p:tgtEl>
                                          <p:spTgt spid="41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37" grpId="1" animBg="1"/>
      <p:bldP spid="37" grpId="2" animBg="1"/>
      <p:bldP spid="48" grpId="0" animBg="1"/>
      <p:bldP spid="48" grpId="1" animBg="1"/>
      <p:bldP spid="48" grpId="2" animBg="1"/>
      <p:bldP spid="51" grpId="0" animBg="1"/>
      <p:bldP spid="51" grpId="1" animBg="1"/>
      <p:bldP spid="51" grpId="2" animBg="1"/>
      <p:bldP spid="52" grpId="0" animBg="1"/>
      <p:bldP spid="52" grpId="1" animBg="1"/>
      <p:bldP spid="52" grpId="2" animBg="1"/>
      <p:bldP spid="53" grpId="0" animBg="1"/>
      <p:bldP spid="53" grpId="1" animBg="1"/>
      <p:bldP spid="53" grpId="2" animBg="1"/>
      <p:bldP spid="54" grpId="0" animBg="1"/>
      <p:bldP spid="54" grpId="1" animBg="1"/>
      <p:bldP spid="54" grpId="2" animBg="1"/>
      <p:bldP spid="55" grpId="0" animBg="1"/>
      <p:bldP spid="55" grpId="1" animBg="1"/>
      <p:bldP spid="55" grpId="2" animBg="1"/>
      <p:bldP spid="36" grpId="0" animBg="1"/>
      <p:bldP spid="36" grpId="1" animBg="1"/>
      <p:bldP spid="36" grpId="2" animBg="1"/>
      <p:bldP spid="39" grpId="0" animBg="1"/>
      <p:bldP spid="39" grpId="1" animBg="1"/>
      <p:bldP spid="39" grpId="2" animBg="1"/>
      <p:bldP spid="39" grpId="3" animBg="1"/>
      <p:bldP spid="39" grpId="4" animBg="1"/>
      <p:bldP spid="39" grpId="5" animBg="1"/>
      <p:bldP spid="39" grpId="6" animBg="1"/>
      <p:bldP spid="39" grpId="7" animBg="1"/>
      <p:bldP spid="39" grpId="8" animBg="1"/>
      <p:bldP spid="40" grpId="0" animBg="1"/>
      <p:bldP spid="40" grpId="1" animBg="1"/>
      <p:bldP spid="40" grpId="2" animBg="1"/>
      <p:bldP spid="40" grpId="3" animBg="1"/>
      <p:bldP spid="40" grpId="4" animBg="1"/>
      <p:bldP spid="40" grpId="5" animBg="1"/>
      <p:bldP spid="41" grpId="0" animBg="1"/>
      <p:bldP spid="41" grpId="1" animBg="1"/>
      <p:bldP spid="41" grpId="2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>
            <a:extLst>
              <a:ext uri="{FF2B5EF4-FFF2-40B4-BE49-F238E27FC236}">
                <a16:creationId xmlns:a16="http://schemas.microsoft.com/office/drawing/2014/main" id="{667EF853-245B-4721-8848-14C025577886}"/>
              </a:ext>
            </a:extLst>
          </p:cNvPr>
          <p:cNvGrpSpPr/>
          <p:nvPr/>
        </p:nvGrpSpPr>
        <p:grpSpPr>
          <a:xfrm>
            <a:off x="-4176306" y="495654"/>
            <a:ext cx="3675668" cy="5638446"/>
            <a:chOff x="4965095" y="495654"/>
            <a:chExt cx="3675668" cy="5638446"/>
          </a:xfrm>
        </p:grpSpPr>
        <p:sp>
          <p:nvSpPr>
            <p:cNvPr id="11" name="矩形: 圆角 10">
              <a:extLst>
                <a:ext uri="{FF2B5EF4-FFF2-40B4-BE49-F238E27FC236}">
                  <a16:creationId xmlns:a16="http://schemas.microsoft.com/office/drawing/2014/main" id="{E9576B95-676C-429F-A627-D48EE8F6ECE9}"/>
                </a:ext>
              </a:extLst>
            </p:cNvPr>
            <p:cNvSpPr/>
            <p:nvPr/>
          </p:nvSpPr>
          <p:spPr>
            <a:xfrm>
              <a:off x="4965095" y="1130300"/>
              <a:ext cx="2793511" cy="5003800"/>
            </a:xfrm>
            <a:prstGeom prst="roundRect">
              <a:avLst/>
            </a:prstGeom>
            <a:solidFill>
              <a:schemeClr val="accent2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1941C713-9BC6-41AD-AFC7-BB37386D371F}"/>
                </a:ext>
              </a:extLst>
            </p:cNvPr>
            <p:cNvSpPr txBox="1"/>
            <p:nvPr/>
          </p:nvSpPr>
          <p:spPr>
            <a:xfrm>
              <a:off x="5538639" y="495654"/>
              <a:ext cx="310212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800" dirty="0"/>
                <a:t>Map()</a:t>
              </a:r>
              <a:endParaRPr lang="zh-CN" altLang="en-US" sz="2800" dirty="0"/>
            </a:p>
          </p:txBody>
        </p:sp>
      </p:grp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12AB1DF8-9F59-459D-861B-0997412FBF92}"/>
              </a:ext>
            </a:extLst>
          </p:cNvPr>
          <p:cNvSpPr>
            <a:spLocks/>
          </p:cNvSpPr>
          <p:nvPr/>
        </p:nvSpPr>
        <p:spPr>
          <a:xfrm>
            <a:off x="-3790870" y="4590442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91A342C0-220F-4EE6-8E94-FDE79F5160AA}"/>
              </a:ext>
            </a:extLst>
          </p:cNvPr>
          <p:cNvSpPr>
            <a:spLocks/>
          </p:cNvSpPr>
          <p:nvPr/>
        </p:nvSpPr>
        <p:spPr>
          <a:xfrm>
            <a:off x="-3790870" y="2860371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2900AFE4-C899-455C-AECA-CE83C79CE577}"/>
              </a:ext>
            </a:extLst>
          </p:cNvPr>
          <p:cNvSpPr>
            <a:spLocks/>
          </p:cNvSpPr>
          <p:nvPr/>
        </p:nvSpPr>
        <p:spPr>
          <a:xfrm>
            <a:off x="-3790870" y="1130300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sp>
        <p:nvSpPr>
          <p:cNvPr id="32" name="标题 3">
            <a:extLst>
              <a:ext uri="{FF2B5EF4-FFF2-40B4-BE49-F238E27FC236}">
                <a16:creationId xmlns:a16="http://schemas.microsoft.com/office/drawing/2014/main" id="{4EA5887E-594B-4F9E-B713-7C204956FE2D}"/>
              </a:ext>
            </a:extLst>
          </p:cNvPr>
          <p:cNvSpPr txBox="1">
            <a:spLocks/>
          </p:cNvSpPr>
          <p:nvPr/>
        </p:nvSpPr>
        <p:spPr>
          <a:xfrm>
            <a:off x="502444" y="-9171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MapReduce</a:t>
            </a:r>
            <a:r>
              <a:rPr lang="zh-CN" altLang="en-US" dirty="0"/>
              <a:t>工作流程</a:t>
            </a:r>
          </a:p>
        </p:txBody>
      </p: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58DC52F2-CC78-4AA9-B594-19A5E7C89907}"/>
              </a:ext>
            </a:extLst>
          </p:cNvPr>
          <p:cNvGrpSpPr/>
          <p:nvPr/>
        </p:nvGrpSpPr>
        <p:grpSpPr>
          <a:xfrm>
            <a:off x="3175245" y="495654"/>
            <a:ext cx="2793511" cy="5638446"/>
            <a:chOff x="5468332" y="495654"/>
            <a:chExt cx="2793511" cy="5638446"/>
          </a:xfrm>
        </p:grpSpPr>
        <p:grpSp>
          <p:nvGrpSpPr>
            <p:cNvPr id="31" name="组合 30">
              <a:extLst>
                <a:ext uri="{FF2B5EF4-FFF2-40B4-BE49-F238E27FC236}">
                  <a16:creationId xmlns:a16="http://schemas.microsoft.com/office/drawing/2014/main" id="{EA8693D5-7024-45AA-9EB3-7C6E1D77ADE2}"/>
                </a:ext>
              </a:extLst>
            </p:cNvPr>
            <p:cNvGrpSpPr/>
            <p:nvPr/>
          </p:nvGrpSpPr>
          <p:grpSpPr>
            <a:xfrm>
              <a:off x="5468332" y="495654"/>
              <a:ext cx="2793511" cy="5638446"/>
              <a:chOff x="4965095" y="495654"/>
              <a:chExt cx="2793511" cy="5638446"/>
            </a:xfrm>
          </p:grpSpPr>
          <p:sp>
            <p:nvSpPr>
              <p:cNvPr id="35" name="矩形: 圆角 34">
                <a:extLst>
                  <a:ext uri="{FF2B5EF4-FFF2-40B4-BE49-F238E27FC236}">
                    <a16:creationId xmlns:a16="http://schemas.microsoft.com/office/drawing/2014/main" id="{160CF4E0-52B2-4A3F-8EB0-91071C5C2410}"/>
                  </a:ext>
                </a:extLst>
              </p:cNvPr>
              <p:cNvSpPr/>
              <p:nvPr/>
            </p:nvSpPr>
            <p:spPr>
              <a:xfrm>
                <a:off x="4965095" y="1130300"/>
                <a:ext cx="2793511" cy="5003800"/>
              </a:xfrm>
              <a:prstGeom prst="round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2" name="文本框 41">
                <a:extLst>
                  <a:ext uri="{FF2B5EF4-FFF2-40B4-BE49-F238E27FC236}">
                    <a16:creationId xmlns:a16="http://schemas.microsoft.com/office/drawing/2014/main" id="{8A8236DC-A948-44D4-A62A-079D0FB9C5E6}"/>
                  </a:ext>
                </a:extLst>
              </p:cNvPr>
              <p:cNvSpPr txBox="1"/>
              <p:nvPr/>
            </p:nvSpPr>
            <p:spPr>
              <a:xfrm>
                <a:off x="5473087" y="495654"/>
                <a:ext cx="177752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2800" dirty="0"/>
                  <a:t>Reduce()</a:t>
                </a:r>
                <a:endParaRPr lang="zh-CN" altLang="en-US" sz="2800" dirty="0"/>
              </a:p>
            </p:txBody>
          </p:sp>
        </p:grpSp>
        <p:sp>
          <p:nvSpPr>
            <p:cNvPr id="33" name="矩形: 圆角 32">
              <a:extLst>
                <a:ext uri="{FF2B5EF4-FFF2-40B4-BE49-F238E27FC236}">
                  <a16:creationId xmlns:a16="http://schemas.microsoft.com/office/drawing/2014/main" id="{8666965C-7A61-4CA2-ACCA-F9FD4AD30711}"/>
                </a:ext>
              </a:extLst>
            </p:cNvPr>
            <p:cNvSpPr>
              <a:spLocks/>
            </p:cNvSpPr>
            <p:nvPr/>
          </p:nvSpPr>
          <p:spPr>
            <a:xfrm>
              <a:off x="5850674" y="1634825"/>
              <a:ext cx="2028825" cy="1662932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  <p:sp>
          <p:nvSpPr>
            <p:cNvPr id="34" name="矩形: 圆角 33">
              <a:extLst>
                <a:ext uri="{FF2B5EF4-FFF2-40B4-BE49-F238E27FC236}">
                  <a16:creationId xmlns:a16="http://schemas.microsoft.com/office/drawing/2014/main" id="{ABF70D29-58A0-4284-8EAF-157BF13EF491}"/>
                </a:ext>
              </a:extLst>
            </p:cNvPr>
            <p:cNvSpPr>
              <a:spLocks/>
            </p:cNvSpPr>
            <p:nvPr/>
          </p:nvSpPr>
          <p:spPr>
            <a:xfrm>
              <a:off x="5850674" y="3961339"/>
              <a:ext cx="2028825" cy="1662932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</p:grpSp>
      <p:sp>
        <p:nvSpPr>
          <p:cNvPr id="47" name="任意多边形: 形状 46">
            <a:extLst>
              <a:ext uri="{FF2B5EF4-FFF2-40B4-BE49-F238E27FC236}">
                <a16:creationId xmlns:a16="http://schemas.microsoft.com/office/drawing/2014/main" id="{73C79121-C320-4B29-B539-9FF835234826}"/>
              </a:ext>
            </a:extLst>
          </p:cNvPr>
          <p:cNvSpPr>
            <a:spLocks/>
          </p:cNvSpPr>
          <p:nvPr/>
        </p:nvSpPr>
        <p:spPr>
          <a:xfrm>
            <a:off x="3735422" y="1759877"/>
            <a:ext cx="1725341" cy="247985"/>
          </a:xfrm>
          <a:custGeom>
            <a:avLst/>
            <a:gdLst>
              <a:gd name="connsiteX0" fmla="*/ 0 w 1725341"/>
              <a:gd name="connsiteY0" fmla="*/ 24799 h 247985"/>
              <a:gd name="connsiteX1" fmla="*/ 24799 w 1725341"/>
              <a:gd name="connsiteY1" fmla="*/ 0 h 247985"/>
              <a:gd name="connsiteX2" fmla="*/ 1700543 w 1725341"/>
              <a:gd name="connsiteY2" fmla="*/ 0 h 247985"/>
              <a:gd name="connsiteX3" fmla="*/ 1725342 w 1725341"/>
              <a:gd name="connsiteY3" fmla="*/ 24799 h 247985"/>
              <a:gd name="connsiteX4" fmla="*/ 1725341 w 1725341"/>
              <a:gd name="connsiteY4" fmla="*/ 223187 h 247985"/>
              <a:gd name="connsiteX5" fmla="*/ 1700542 w 1725341"/>
              <a:gd name="connsiteY5" fmla="*/ 247986 h 247985"/>
              <a:gd name="connsiteX6" fmla="*/ 24799 w 1725341"/>
              <a:gd name="connsiteY6" fmla="*/ 247985 h 247985"/>
              <a:gd name="connsiteX7" fmla="*/ 0 w 1725341"/>
              <a:gd name="connsiteY7" fmla="*/ 223186 h 247985"/>
              <a:gd name="connsiteX8" fmla="*/ 0 w 1725341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25341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700543" y="0"/>
                </a:lnTo>
                <a:cubicBezTo>
                  <a:pt x="1714239" y="0"/>
                  <a:pt x="1725342" y="11103"/>
                  <a:pt x="1725342" y="24799"/>
                </a:cubicBezTo>
                <a:cubicBezTo>
                  <a:pt x="1725342" y="90928"/>
                  <a:pt x="1725341" y="157058"/>
                  <a:pt x="1725341" y="223187"/>
                </a:cubicBezTo>
                <a:cubicBezTo>
                  <a:pt x="1725341" y="236883"/>
                  <a:pt x="1714238" y="247986"/>
                  <a:pt x="1700542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adoop,1,1</a:t>
            </a:r>
            <a:endParaRPr lang="zh-CN" altLang="en-US" sz="1100" b="1" kern="1200" dirty="0"/>
          </a:p>
        </p:txBody>
      </p:sp>
      <p:sp>
        <p:nvSpPr>
          <p:cNvPr id="49" name="任意多边形: 形状 48">
            <a:extLst>
              <a:ext uri="{FF2B5EF4-FFF2-40B4-BE49-F238E27FC236}">
                <a16:creationId xmlns:a16="http://schemas.microsoft.com/office/drawing/2014/main" id="{9E55FE10-DDC4-4DF9-AC80-5402914C3BBE}"/>
              </a:ext>
            </a:extLst>
          </p:cNvPr>
          <p:cNvSpPr/>
          <p:nvPr/>
        </p:nvSpPr>
        <p:spPr>
          <a:xfrm>
            <a:off x="3661025" y="2221097"/>
            <a:ext cx="1874133" cy="246029"/>
          </a:xfrm>
          <a:custGeom>
            <a:avLst/>
            <a:gdLst>
              <a:gd name="connsiteX0" fmla="*/ 0 w 1874133"/>
              <a:gd name="connsiteY0" fmla="*/ 24603 h 246029"/>
              <a:gd name="connsiteX1" fmla="*/ 24603 w 1874133"/>
              <a:gd name="connsiteY1" fmla="*/ 0 h 246029"/>
              <a:gd name="connsiteX2" fmla="*/ 1849530 w 1874133"/>
              <a:gd name="connsiteY2" fmla="*/ 0 h 246029"/>
              <a:gd name="connsiteX3" fmla="*/ 1874133 w 1874133"/>
              <a:gd name="connsiteY3" fmla="*/ 24603 h 246029"/>
              <a:gd name="connsiteX4" fmla="*/ 1874133 w 1874133"/>
              <a:gd name="connsiteY4" fmla="*/ 221426 h 246029"/>
              <a:gd name="connsiteX5" fmla="*/ 1849530 w 1874133"/>
              <a:gd name="connsiteY5" fmla="*/ 246029 h 246029"/>
              <a:gd name="connsiteX6" fmla="*/ 24603 w 1874133"/>
              <a:gd name="connsiteY6" fmla="*/ 246029 h 246029"/>
              <a:gd name="connsiteX7" fmla="*/ 0 w 1874133"/>
              <a:gd name="connsiteY7" fmla="*/ 221426 h 246029"/>
              <a:gd name="connsiteX8" fmla="*/ 0 w 1874133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4133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849530" y="0"/>
                </a:lnTo>
                <a:cubicBezTo>
                  <a:pt x="1863118" y="0"/>
                  <a:pt x="1874133" y="11015"/>
                  <a:pt x="1874133" y="24603"/>
                </a:cubicBezTo>
                <a:lnTo>
                  <a:pt x="1874133" y="221426"/>
                </a:lnTo>
                <a:cubicBezTo>
                  <a:pt x="1874133" y="235014"/>
                  <a:pt x="1863118" y="246029"/>
                  <a:pt x="1849530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ello,1,1,1</a:t>
            </a:r>
            <a:endParaRPr lang="zh-CN" altLang="en-US" sz="1100" b="1" kern="1200" dirty="0"/>
          </a:p>
        </p:txBody>
      </p:sp>
      <p:sp>
        <p:nvSpPr>
          <p:cNvPr id="50" name="任意多边形: 形状 49">
            <a:extLst>
              <a:ext uri="{FF2B5EF4-FFF2-40B4-BE49-F238E27FC236}">
                <a16:creationId xmlns:a16="http://schemas.microsoft.com/office/drawing/2014/main" id="{797AF3D5-00A6-4B66-81EB-23048BB2DC9B}"/>
              </a:ext>
            </a:extLst>
          </p:cNvPr>
          <p:cNvSpPr/>
          <p:nvPr/>
        </p:nvSpPr>
        <p:spPr>
          <a:xfrm>
            <a:off x="3809719" y="2682315"/>
            <a:ext cx="1576742" cy="246029"/>
          </a:xfrm>
          <a:custGeom>
            <a:avLst/>
            <a:gdLst>
              <a:gd name="connsiteX0" fmla="*/ 0 w 1576742"/>
              <a:gd name="connsiteY0" fmla="*/ 24603 h 246029"/>
              <a:gd name="connsiteX1" fmla="*/ 24603 w 1576742"/>
              <a:gd name="connsiteY1" fmla="*/ 0 h 246029"/>
              <a:gd name="connsiteX2" fmla="*/ 1552139 w 1576742"/>
              <a:gd name="connsiteY2" fmla="*/ 0 h 246029"/>
              <a:gd name="connsiteX3" fmla="*/ 1576742 w 1576742"/>
              <a:gd name="connsiteY3" fmla="*/ 24603 h 246029"/>
              <a:gd name="connsiteX4" fmla="*/ 1576742 w 1576742"/>
              <a:gd name="connsiteY4" fmla="*/ 221426 h 246029"/>
              <a:gd name="connsiteX5" fmla="*/ 1552139 w 1576742"/>
              <a:gd name="connsiteY5" fmla="*/ 246029 h 246029"/>
              <a:gd name="connsiteX6" fmla="*/ 24603 w 1576742"/>
              <a:gd name="connsiteY6" fmla="*/ 246029 h 246029"/>
              <a:gd name="connsiteX7" fmla="*/ 0 w 1576742"/>
              <a:gd name="connsiteY7" fmla="*/ 221426 h 246029"/>
              <a:gd name="connsiteX8" fmla="*/ 0 w 1576742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6742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552139" y="0"/>
                </a:lnTo>
                <a:cubicBezTo>
                  <a:pt x="1565727" y="0"/>
                  <a:pt x="1576742" y="11015"/>
                  <a:pt x="1576742" y="24603"/>
                </a:cubicBezTo>
                <a:lnTo>
                  <a:pt x="1576742" y="221426"/>
                </a:lnTo>
                <a:cubicBezTo>
                  <a:pt x="1576742" y="235014"/>
                  <a:pt x="1565727" y="246029"/>
                  <a:pt x="1552139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I,1,1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3A72661A-86C3-4072-848F-FBFEC1D66858}"/>
              </a:ext>
            </a:extLst>
          </p:cNvPr>
          <p:cNvSpPr/>
          <p:nvPr/>
        </p:nvSpPr>
        <p:spPr>
          <a:xfrm>
            <a:off x="3763804" y="4189068"/>
            <a:ext cx="1573660" cy="246029"/>
          </a:xfrm>
          <a:custGeom>
            <a:avLst/>
            <a:gdLst>
              <a:gd name="connsiteX0" fmla="*/ 0 w 1573660"/>
              <a:gd name="connsiteY0" fmla="*/ 24603 h 246029"/>
              <a:gd name="connsiteX1" fmla="*/ 24603 w 1573660"/>
              <a:gd name="connsiteY1" fmla="*/ 0 h 246029"/>
              <a:gd name="connsiteX2" fmla="*/ 1549057 w 1573660"/>
              <a:gd name="connsiteY2" fmla="*/ 0 h 246029"/>
              <a:gd name="connsiteX3" fmla="*/ 1573660 w 1573660"/>
              <a:gd name="connsiteY3" fmla="*/ 24603 h 246029"/>
              <a:gd name="connsiteX4" fmla="*/ 1573660 w 1573660"/>
              <a:gd name="connsiteY4" fmla="*/ 221426 h 246029"/>
              <a:gd name="connsiteX5" fmla="*/ 1549057 w 1573660"/>
              <a:gd name="connsiteY5" fmla="*/ 246029 h 246029"/>
              <a:gd name="connsiteX6" fmla="*/ 24603 w 1573660"/>
              <a:gd name="connsiteY6" fmla="*/ 246029 h 246029"/>
              <a:gd name="connsiteX7" fmla="*/ 0 w 1573660"/>
              <a:gd name="connsiteY7" fmla="*/ 221426 h 246029"/>
              <a:gd name="connsiteX8" fmla="*/ 0 w 1573660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3660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549057" y="0"/>
                </a:lnTo>
                <a:cubicBezTo>
                  <a:pt x="1562645" y="0"/>
                  <a:pt x="1573660" y="11015"/>
                  <a:pt x="1573660" y="24603"/>
                </a:cubicBezTo>
                <a:lnTo>
                  <a:pt x="1573660" y="221426"/>
                </a:lnTo>
                <a:cubicBezTo>
                  <a:pt x="1573660" y="235014"/>
                  <a:pt x="1562645" y="246029"/>
                  <a:pt x="1549057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Java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39" name="任意多边形: 形状 38">
            <a:extLst>
              <a:ext uri="{FF2B5EF4-FFF2-40B4-BE49-F238E27FC236}">
                <a16:creationId xmlns:a16="http://schemas.microsoft.com/office/drawing/2014/main" id="{CA27CE38-AFAC-4CEB-AA98-7699CE12853F}"/>
              </a:ext>
            </a:extLst>
          </p:cNvPr>
          <p:cNvSpPr/>
          <p:nvPr/>
        </p:nvSpPr>
        <p:spPr>
          <a:xfrm>
            <a:off x="3810628" y="4540125"/>
            <a:ext cx="1480010" cy="246029"/>
          </a:xfrm>
          <a:custGeom>
            <a:avLst/>
            <a:gdLst>
              <a:gd name="connsiteX0" fmla="*/ 0 w 1480010"/>
              <a:gd name="connsiteY0" fmla="*/ 24603 h 246029"/>
              <a:gd name="connsiteX1" fmla="*/ 24603 w 1480010"/>
              <a:gd name="connsiteY1" fmla="*/ 0 h 246029"/>
              <a:gd name="connsiteX2" fmla="*/ 1455407 w 1480010"/>
              <a:gd name="connsiteY2" fmla="*/ 0 h 246029"/>
              <a:gd name="connsiteX3" fmla="*/ 1480010 w 1480010"/>
              <a:gd name="connsiteY3" fmla="*/ 24603 h 246029"/>
              <a:gd name="connsiteX4" fmla="*/ 1480010 w 1480010"/>
              <a:gd name="connsiteY4" fmla="*/ 221426 h 246029"/>
              <a:gd name="connsiteX5" fmla="*/ 1455407 w 1480010"/>
              <a:gd name="connsiteY5" fmla="*/ 246029 h 246029"/>
              <a:gd name="connsiteX6" fmla="*/ 24603 w 1480010"/>
              <a:gd name="connsiteY6" fmla="*/ 246029 h 246029"/>
              <a:gd name="connsiteX7" fmla="*/ 0 w 1480010"/>
              <a:gd name="connsiteY7" fmla="*/ 221426 h 246029"/>
              <a:gd name="connsiteX8" fmla="*/ 0 w 1480010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80010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455407" y="0"/>
                </a:lnTo>
                <a:cubicBezTo>
                  <a:pt x="1468995" y="0"/>
                  <a:pt x="1480010" y="11015"/>
                  <a:pt x="1480010" y="24603"/>
                </a:cubicBezTo>
                <a:lnTo>
                  <a:pt x="1480010" y="221426"/>
                </a:lnTo>
                <a:cubicBezTo>
                  <a:pt x="1480010" y="235014"/>
                  <a:pt x="1468995" y="246029"/>
                  <a:pt x="1455407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like,1,1,1</a:t>
            </a:r>
            <a:endParaRPr lang="zh-CN" altLang="en-US" sz="1100" b="1" kern="1200" dirty="0"/>
          </a:p>
        </p:txBody>
      </p:sp>
      <p:sp>
        <p:nvSpPr>
          <p:cNvPr id="40" name="任意多边形: 形状 39">
            <a:extLst>
              <a:ext uri="{FF2B5EF4-FFF2-40B4-BE49-F238E27FC236}">
                <a16:creationId xmlns:a16="http://schemas.microsoft.com/office/drawing/2014/main" id="{D8FE8E58-BD51-4960-A5C6-8DABD73D2408}"/>
              </a:ext>
            </a:extLst>
          </p:cNvPr>
          <p:cNvSpPr/>
          <p:nvPr/>
        </p:nvSpPr>
        <p:spPr>
          <a:xfrm>
            <a:off x="3853181" y="4891182"/>
            <a:ext cx="1394904" cy="246029"/>
          </a:xfrm>
          <a:custGeom>
            <a:avLst/>
            <a:gdLst>
              <a:gd name="connsiteX0" fmla="*/ 0 w 1394904"/>
              <a:gd name="connsiteY0" fmla="*/ 24603 h 246029"/>
              <a:gd name="connsiteX1" fmla="*/ 24603 w 1394904"/>
              <a:gd name="connsiteY1" fmla="*/ 0 h 246029"/>
              <a:gd name="connsiteX2" fmla="*/ 1370301 w 1394904"/>
              <a:gd name="connsiteY2" fmla="*/ 0 h 246029"/>
              <a:gd name="connsiteX3" fmla="*/ 1394904 w 1394904"/>
              <a:gd name="connsiteY3" fmla="*/ 24603 h 246029"/>
              <a:gd name="connsiteX4" fmla="*/ 1394904 w 1394904"/>
              <a:gd name="connsiteY4" fmla="*/ 221426 h 246029"/>
              <a:gd name="connsiteX5" fmla="*/ 1370301 w 1394904"/>
              <a:gd name="connsiteY5" fmla="*/ 246029 h 246029"/>
              <a:gd name="connsiteX6" fmla="*/ 24603 w 1394904"/>
              <a:gd name="connsiteY6" fmla="*/ 246029 h 246029"/>
              <a:gd name="connsiteX7" fmla="*/ 0 w 1394904"/>
              <a:gd name="connsiteY7" fmla="*/ 221426 h 246029"/>
              <a:gd name="connsiteX8" fmla="*/ 0 w 1394904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94904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370301" y="0"/>
                </a:lnTo>
                <a:cubicBezTo>
                  <a:pt x="1383889" y="0"/>
                  <a:pt x="1394904" y="11015"/>
                  <a:pt x="1394904" y="24603"/>
                </a:cubicBezTo>
                <a:lnTo>
                  <a:pt x="1394904" y="221426"/>
                </a:lnTo>
                <a:cubicBezTo>
                  <a:pt x="1394904" y="235014"/>
                  <a:pt x="1383889" y="246029"/>
                  <a:pt x="1370301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MapReduce,1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41" name="任意多边形: 形状 40">
            <a:extLst>
              <a:ext uri="{FF2B5EF4-FFF2-40B4-BE49-F238E27FC236}">
                <a16:creationId xmlns:a16="http://schemas.microsoft.com/office/drawing/2014/main" id="{0C871A97-850E-47D8-BD7A-1E057420DA1E}"/>
              </a:ext>
            </a:extLst>
          </p:cNvPr>
          <p:cNvSpPr/>
          <p:nvPr/>
        </p:nvSpPr>
        <p:spPr>
          <a:xfrm>
            <a:off x="3895913" y="5242239"/>
            <a:ext cx="1309443" cy="247985"/>
          </a:xfrm>
          <a:custGeom>
            <a:avLst/>
            <a:gdLst>
              <a:gd name="connsiteX0" fmla="*/ 0 w 1309443"/>
              <a:gd name="connsiteY0" fmla="*/ 24799 h 247985"/>
              <a:gd name="connsiteX1" fmla="*/ 24799 w 1309443"/>
              <a:gd name="connsiteY1" fmla="*/ 0 h 247985"/>
              <a:gd name="connsiteX2" fmla="*/ 1284645 w 1309443"/>
              <a:gd name="connsiteY2" fmla="*/ 0 h 247985"/>
              <a:gd name="connsiteX3" fmla="*/ 1309444 w 1309443"/>
              <a:gd name="connsiteY3" fmla="*/ 24799 h 247985"/>
              <a:gd name="connsiteX4" fmla="*/ 1309443 w 1309443"/>
              <a:gd name="connsiteY4" fmla="*/ 223187 h 247985"/>
              <a:gd name="connsiteX5" fmla="*/ 1284644 w 1309443"/>
              <a:gd name="connsiteY5" fmla="*/ 247986 h 247985"/>
              <a:gd name="connsiteX6" fmla="*/ 24799 w 1309443"/>
              <a:gd name="connsiteY6" fmla="*/ 247985 h 247985"/>
              <a:gd name="connsiteX7" fmla="*/ 0 w 1309443"/>
              <a:gd name="connsiteY7" fmla="*/ 223186 h 247985"/>
              <a:gd name="connsiteX8" fmla="*/ 0 w 1309443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09443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284645" y="0"/>
                </a:lnTo>
                <a:cubicBezTo>
                  <a:pt x="1298341" y="0"/>
                  <a:pt x="1309444" y="11103"/>
                  <a:pt x="1309444" y="24799"/>
                </a:cubicBezTo>
                <a:cubicBezTo>
                  <a:pt x="1309444" y="90928"/>
                  <a:pt x="1309443" y="157058"/>
                  <a:pt x="1309443" y="223187"/>
                </a:cubicBezTo>
                <a:cubicBezTo>
                  <a:pt x="1309443" y="236883"/>
                  <a:pt x="1298340" y="247986"/>
                  <a:pt x="1284644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World,1</a:t>
            </a:r>
            <a:endParaRPr lang="zh-CN" altLang="en-US" sz="1100" b="1" kern="1200" dirty="0"/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46DBA97C-C291-4E38-8B1D-ABE68D8D8E42}"/>
              </a:ext>
            </a:extLst>
          </p:cNvPr>
          <p:cNvSpPr txBox="1"/>
          <p:nvPr/>
        </p:nvSpPr>
        <p:spPr>
          <a:xfrm>
            <a:off x="-1091163" y="572598"/>
            <a:ext cx="20288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huff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836087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组合 29">
            <a:extLst>
              <a:ext uri="{FF2B5EF4-FFF2-40B4-BE49-F238E27FC236}">
                <a16:creationId xmlns:a16="http://schemas.microsoft.com/office/drawing/2014/main" id="{58DC52F2-CC78-4AA9-B594-19A5E7C89907}"/>
              </a:ext>
            </a:extLst>
          </p:cNvPr>
          <p:cNvGrpSpPr/>
          <p:nvPr/>
        </p:nvGrpSpPr>
        <p:grpSpPr>
          <a:xfrm>
            <a:off x="3175245" y="495654"/>
            <a:ext cx="2793511" cy="5638446"/>
            <a:chOff x="5468332" y="495654"/>
            <a:chExt cx="2793511" cy="5638446"/>
          </a:xfrm>
        </p:grpSpPr>
        <p:grpSp>
          <p:nvGrpSpPr>
            <p:cNvPr id="31" name="组合 30">
              <a:extLst>
                <a:ext uri="{FF2B5EF4-FFF2-40B4-BE49-F238E27FC236}">
                  <a16:creationId xmlns:a16="http://schemas.microsoft.com/office/drawing/2014/main" id="{EA8693D5-7024-45AA-9EB3-7C6E1D77ADE2}"/>
                </a:ext>
              </a:extLst>
            </p:cNvPr>
            <p:cNvGrpSpPr/>
            <p:nvPr/>
          </p:nvGrpSpPr>
          <p:grpSpPr>
            <a:xfrm>
              <a:off x="5468332" y="495654"/>
              <a:ext cx="2793511" cy="5638446"/>
              <a:chOff x="4965095" y="495654"/>
              <a:chExt cx="2793511" cy="5638446"/>
            </a:xfrm>
          </p:grpSpPr>
          <p:sp>
            <p:nvSpPr>
              <p:cNvPr id="35" name="矩形: 圆角 34">
                <a:extLst>
                  <a:ext uri="{FF2B5EF4-FFF2-40B4-BE49-F238E27FC236}">
                    <a16:creationId xmlns:a16="http://schemas.microsoft.com/office/drawing/2014/main" id="{160CF4E0-52B2-4A3F-8EB0-91071C5C2410}"/>
                  </a:ext>
                </a:extLst>
              </p:cNvPr>
              <p:cNvSpPr/>
              <p:nvPr/>
            </p:nvSpPr>
            <p:spPr>
              <a:xfrm>
                <a:off x="4965095" y="1130300"/>
                <a:ext cx="2793511" cy="5003800"/>
              </a:xfrm>
              <a:prstGeom prst="round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2" name="文本框 41">
                <a:extLst>
                  <a:ext uri="{FF2B5EF4-FFF2-40B4-BE49-F238E27FC236}">
                    <a16:creationId xmlns:a16="http://schemas.microsoft.com/office/drawing/2014/main" id="{8A8236DC-A948-44D4-A62A-079D0FB9C5E6}"/>
                  </a:ext>
                </a:extLst>
              </p:cNvPr>
              <p:cNvSpPr txBox="1"/>
              <p:nvPr/>
            </p:nvSpPr>
            <p:spPr>
              <a:xfrm>
                <a:off x="5473087" y="495654"/>
                <a:ext cx="177752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2800" dirty="0"/>
                  <a:t>Reduce()</a:t>
                </a:r>
                <a:endParaRPr lang="zh-CN" altLang="en-US" sz="2800" dirty="0"/>
              </a:p>
            </p:txBody>
          </p:sp>
        </p:grpSp>
        <p:sp>
          <p:nvSpPr>
            <p:cNvPr id="33" name="矩形: 圆角 32">
              <a:extLst>
                <a:ext uri="{FF2B5EF4-FFF2-40B4-BE49-F238E27FC236}">
                  <a16:creationId xmlns:a16="http://schemas.microsoft.com/office/drawing/2014/main" id="{8666965C-7A61-4CA2-ACCA-F9FD4AD30711}"/>
                </a:ext>
              </a:extLst>
            </p:cNvPr>
            <p:cNvSpPr>
              <a:spLocks/>
            </p:cNvSpPr>
            <p:nvPr/>
          </p:nvSpPr>
          <p:spPr>
            <a:xfrm>
              <a:off x="5850674" y="1634825"/>
              <a:ext cx="2028825" cy="1662932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  <p:sp>
          <p:nvSpPr>
            <p:cNvPr id="34" name="矩形: 圆角 33">
              <a:extLst>
                <a:ext uri="{FF2B5EF4-FFF2-40B4-BE49-F238E27FC236}">
                  <a16:creationId xmlns:a16="http://schemas.microsoft.com/office/drawing/2014/main" id="{ABF70D29-58A0-4284-8EAF-157BF13EF491}"/>
                </a:ext>
              </a:extLst>
            </p:cNvPr>
            <p:cNvSpPr>
              <a:spLocks/>
            </p:cNvSpPr>
            <p:nvPr/>
          </p:nvSpPr>
          <p:spPr>
            <a:xfrm>
              <a:off x="5850674" y="3961339"/>
              <a:ext cx="2028825" cy="1662932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</p:grpSp>
      <p:sp>
        <p:nvSpPr>
          <p:cNvPr id="47" name="任意多边形: 形状 46">
            <a:extLst>
              <a:ext uri="{FF2B5EF4-FFF2-40B4-BE49-F238E27FC236}">
                <a16:creationId xmlns:a16="http://schemas.microsoft.com/office/drawing/2014/main" id="{73C79121-C320-4B29-B539-9FF835234826}"/>
              </a:ext>
            </a:extLst>
          </p:cNvPr>
          <p:cNvSpPr>
            <a:spLocks/>
          </p:cNvSpPr>
          <p:nvPr/>
        </p:nvSpPr>
        <p:spPr>
          <a:xfrm>
            <a:off x="3735422" y="1759877"/>
            <a:ext cx="1725341" cy="247985"/>
          </a:xfrm>
          <a:custGeom>
            <a:avLst/>
            <a:gdLst>
              <a:gd name="connsiteX0" fmla="*/ 0 w 1725341"/>
              <a:gd name="connsiteY0" fmla="*/ 24799 h 247985"/>
              <a:gd name="connsiteX1" fmla="*/ 24799 w 1725341"/>
              <a:gd name="connsiteY1" fmla="*/ 0 h 247985"/>
              <a:gd name="connsiteX2" fmla="*/ 1700543 w 1725341"/>
              <a:gd name="connsiteY2" fmla="*/ 0 h 247985"/>
              <a:gd name="connsiteX3" fmla="*/ 1725342 w 1725341"/>
              <a:gd name="connsiteY3" fmla="*/ 24799 h 247985"/>
              <a:gd name="connsiteX4" fmla="*/ 1725341 w 1725341"/>
              <a:gd name="connsiteY4" fmla="*/ 223187 h 247985"/>
              <a:gd name="connsiteX5" fmla="*/ 1700542 w 1725341"/>
              <a:gd name="connsiteY5" fmla="*/ 247986 h 247985"/>
              <a:gd name="connsiteX6" fmla="*/ 24799 w 1725341"/>
              <a:gd name="connsiteY6" fmla="*/ 247985 h 247985"/>
              <a:gd name="connsiteX7" fmla="*/ 0 w 1725341"/>
              <a:gd name="connsiteY7" fmla="*/ 223186 h 247985"/>
              <a:gd name="connsiteX8" fmla="*/ 0 w 1725341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25341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700543" y="0"/>
                </a:lnTo>
                <a:cubicBezTo>
                  <a:pt x="1714239" y="0"/>
                  <a:pt x="1725342" y="11103"/>
                  <a:pt x="1725342" y="24799"/>
                </a:cubicBezTo>
                <a:cubicBezTo>
                  <a:pt x="1725342" y="90928"/>
                  <a:pt x="1725341" y="157058"/>
                  <a:pt x="1725341" y="223187"/>
                </a:cubicBezTo>
                <a:cubicBezTo>
                  <a:pt x="1725341" y="236883"/>
                  <a:pt x="1714238" y="247986"/>
                  <a:pt x="1700542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adoop,2</a:t>
            </a:r>
            <a:endParaRPr lang="zh-CN" altLang="en-US" sz="1100" b="1" kern="1200" dirty="0"/>
          </a:p>
        </p:txBody>
      </p:sp>
      <p:sp>
        <p:nvSpPr>
          <p:cNvPr id="49" name="任意多边形: 形状 48">
            <a:extLst>
              <a:ext uri="{FF2B5EF4-FFF2-40B4-BE49-F238E27FC236}">
                <a16:creationId xmlns:a16="http://schemas.microsoft.com/office/drawing/2014/main" id="{9E55FE10-DDC4-4DF9-AC80-5402914C3BBE}"/>
              </a:ext>
            </a:extLst>
          </p:cNvPr>
          <p:cNvSpPr/>
          <p:nvPr/>
        </p:nvSpPr>
        <p:spPr>
          <a:xfrm>
            <a:off x="3661025" y="2221097"/>
            <a:ext cx="1874133" cy="246029"/>
          </a:xfrm>
          <a:custGeom>
            <a:avLst/>
            <a:gdLst>
              <a:gd name="connsiteX0" fmla="*/ 0 w 1874133"/>
              <a:gd name="connsiteY0" fmla="*/ 24603 h 246029"/>
              <a:gd name="connsiteX1" fmla="*/ 24603 w 1874133"/>
              <a:gd name="connsiteY1" fmla="*/ 0 h 246029"/>
              <a:gd name="connsiteX2" fmla="*/ 1849530 w 1874133"/>
              <a:gd name="connsiteY2" fmla="*/ 0 h 246029"/>
              <a:gd name="connsiteX3" fmla="*/ 1874133 w 1874133"/>
              <a:gd name="connsiteY3" fmla="*/ 24603 h 246029"/>
              <a:gd name="connsiteX4" fmla="*/ 1874133 w 1874133"/>
              <a:gd name="connsiteY4" fmla="*/ 221426 h 246029"/>
              <a:gd name="connsiteX5" fmla="*/ 1849530 w 1874133"/>
              <a:gd name="connsiteY5" fmla="*/ 246029 h 246029"/>
              <a:gd name="connsiteX6" fmla="*/ 24603 w 1874133"/>
              <a:gd name="connsiteY6" fmla="*/ 246029 h 246029"/>
              <a:gd name="connsiteX7" fmla="*/ 0 w 1874133"/>
              <a:gd name="connsiteY7" fmla="*/ 221426 h 246029"/>
              <a:gd name="connsiteX8" fmla="*/ 0 w 1874133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4133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849530" y="0"/>
                </a:lnTo>
                <a:cubicBezTo>
                  <a:pt x="1863118" y="0"/>
                  <a:pt x="1874133" y="11015"/>
                  <a:pt x="1874133" y="24603"/>
                </a:cubicBezTo>
                <a:lnTo>
                  <a:pt x="1874133" y="221426"/>
                </a:lnTo>
                <a:cubicBezTo>
                  <a:pt x="1874133" y="235014"/>
                  <a:pt x="1863118" y="246029"/>
                  <a:pt x="1849530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ello,3</a:t>
            </a:r>
            <a:endParaRPr lang="zh-CN" altLang="en-US" sz="1100" b="1" kern="1200" dirty="0"/>
          </a:p>
        </p:txBody>
      </p:sp>
      <p:sp>
        <p:nvSpPr>
          <p:cNvPr id="50" name="任意多边形: 形状 49">
            <a:extLst>
              <a:ext uri="{FF2B5EF4-FFF2-40B4-BE49-F238E27FC236}">
                <a16:creationId xmlns:a16="http://schemas.microsoft.com/office/drawing/2014/main" id="{797AF3D5-00A6-4B66-81EB-23048BB2DC9B}"/>
              </a:ext>
            </a:extLst>
          </p:cNvPr>
          <p:cNvSpPr/>
          <p:nvPr/>
        </p:nvSpPr>
        <p:spPr>
          <a:xfrm>
            <a:off x="3809719" y="2682315"/>
            <a:ext cx="1576742" cy="246029"/>
          </a:xfrm>
          <a:custGeom>
            <a:avLst/>
            <a:gdLst>
              <a:gd name="connsiteX0" fmla="*/ 0 w 1576742"/>
              <a:gd name="connsiteY0" fmla="*/ 24603 h 246029"/>
              <a:gd name="connsiteX1" fmla="*/ 24603 w 1576742"/>
              <a:gd name="connsiteY1" fmla="*/ 0 h 246029"/>
              <a:gd name="connsiteX2" fmla="*/ 1552139 w 1576742"/>
              <a:gd name="connsiteY2" fmla="*/ 0 h 246029"/>
              <a:gd name="connsiteX3" fmla="*/ 1576742 w 1576742"/>
              <a:gd name="connsiteY3" fmla="*/ 24603 h 246029"/>
              <a:gd name="connsiteX4" fmla="*/ 1576742 w 1576742"/>
              <a:gd name="connsiteY4" fmla="*/ 221426 h 246029"/>
              <a:gd name="connsiteX5" fmla="*/ 1552139 w 1576742"/>
              <a:gd name="connsiteY5" fmla="*/ 246029 h 246029"/>
              <a:gd name="connsiteX6" fmla="*/ 24603 w 1576742"/>
              <a:gd name="connsiteY6" fmla="*/ 246029 h 246029"/>
              <a:gd name="connsiteX7" fmla="*/ 0 w 1576742"/>
              <a:gd name="connsiteY7" fmla="*/ 221426 h 246029"/>
              <a:gd name="connsiteX8" fmla="*/ 0 w 1576742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6742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552139" y="0"/>
                </a:lnTo>
                <a:cubicBezTo>
                  <a:pt x="1565727" y="0"/>
                  <a:pt x="1576742" y="11015"/>
                  <a:pt x="1576742" y="24603"/>
                </a:cubicBezTo>
                <a:lnTo>
                  <a:pt x="1576742" y="221426"/>
                </a:lnTo>
                <a:cubicBezTo>
                  <a:pt x="1576742" y="235014"/>
                  <a:pt x="1565727" y="246029"/>
                  <a:pt x="1552139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I,3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3A72661A-86C3-4072-848F-FBFEC1D66858}"/>
              </a:ext>
            </a:extLst>
          </p:cNvPr>
          <p:cNvSpPr/>
          <p:nvPr/>
        </p:nvSpPr>
        <p:spPr>
          <a:xfrm>
            <a:off x="3763804" y="4189068"/>
            <a:ext cx="1573660" cy="246029"/>
          </a:xfrm>
          <a:custGeom>
            <a:avLst/>
            <a:gdLst>
              <a:gd name="connsiteX0" fmla="*/ 0 w 1573660"/>
              <a:gd name="connsiteY0" fmla="*/ 24603 h 246029"/>
              <a:gd name="connsiteX1" fmla="*/ 24603 w 1573660"/>
              <a:gd name="connsiteY1" fmla="*/ 0 h 246029"/>
              <a:gd name="connsiteX2" fmla="*/ 1549057 w 1573660"/>
              <a:gd name="connsiteY2" fmla="*/ 0 h 246029"/>
              <a:gd name="connsiteX3" fmla="*/ 1573660 w 1573660"/>
              <a:gd name="connsiteY3" fmla="*/ 24603 h 246029"/>
              <a:gd name="connsiteX4" fmla="*/ 1573660 w 1573660"/>
              <a:gd name="connsiteY4" fmla="*/ 221426 h 246029"/>
              <a:gd name="connsiteX5" fmla="*/ 1549057 w 1573660"/>
              <a:gd name="connsiteY5" fmla="*/ 246029 h 246029"/>
              <a:gd name="connsiteX6" fmla="*/ 24603 w 1573660"/>
              <a:gd name="connsiteY6" fmla="*/ 246029 h 246029"/>
              <a:gd name="connsiteX7" fmla="*/ 0 w 1573660"/>
              <a:gd name="connsiteY7" fmla="*/ 221426 h 246029"/>
              <a:gd name="connsiteX8" fmla="*/ 0 w 1573660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3660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549057" y="0"/>
                </a:lnTo>
                <a:cubicBezTo>
                  <a:pt x="1562645" y="0"/>
                  <a:pt x="1573660" y="11015"/>
                  <a:pt x="1573660" y="24603"/>
                </a:cubicBezTo>
                <a:lnTo>
                  <a:pt x="1573660" y="221426"/>
                </a:lnTo>
                <a:cubicBezTo>
                  <a:pt x="1573660" y="235014"/>
                  <a:pt x="1562645" y="246029"/>
                  <a:pt x="1549057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 Java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39" name="任意多边形: 形状 38">
            <a:extLst>
              <a:ext uri="{FF2B5EF4-FFF2-40B4-BE49-F238E27FC236}">
                <a16:creationId xmlns:a16="http://schemas.microsoft.com/office/drawing/2014/main" id="{CA27CE38-AFAC-4CEB-AA98-7699CE12853F}"/>
              </a:ext>
            </a:extLst>
          </p:cNvPr>
          <p:cNvSpPr/>
          <p:nvPr/>
        </p:nvSpPr>
        <p:spPr>
          <a:xfrm>
            <a:off x="3810628" y="4540125"/>
            <a:ext cx="1480010" cy="246029"/>
          </a:xfrm>
          <a:custGeom>
            <a:avLst/>
            <a:gdLst>
              <a:gd name="connsiteX0" fmla="*/ 0 w 1480010"/>
              <a:gd name="connsiteY0" fmla="*/ 24603 h 246029"/>
              <a:gd name="connsiteX1" fmla="*/ 24603 w 1480010"/>
              <a:gd name="connsiteY1" fmla="*/ 0 h 246029"/>
              <a:gd name="connsiteX2" fmla="*/ 1455407 w 1480010"/>
              <a:gd name="connsiteY2" fmla="*/ 0 h 246029"/>
              <a:gd name="connsiteX3" fmla="*/ 1480010 w 1480010"/>
              <a:gd name="connsiteY3" fmla="*/ 24603 h 246029"/>
              <a:gd name="connsiteX4" fmla="*/ 1480010 w 1480010"/>
              <a:gd name="connsiteY4" fmla="*/ 221426 h 246029"/>
              <a:gd name="connsiteX5" fmla="*/ 1455407 w 1480010"/>
              <a:gd name="connsiteY5" fmla="*/ 246029 h 246029"/>
              <a:gd name="connsiteX6" fmla="*/ 24603 w 1480010"/>
              <a:gd name="connsiteY6" fmla="*/ 246029 h 246029"/>
              <a:gd name="connsiteX7" fmla="*/ 0 w 1480010"/>
              <a:gd name="connsiteY7" fmla="*/ 221426 h 246029"/>
              <a:gd name="connsiteX8" fmla="*/ 0 w 1480010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80010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455407" y="0"/>
                </a:lnTo>
                <a:cubicBezTo>
                  <a:pt x="1468995" y="0"/>
                  <a:pt x="1480010" y="11015"/>
                  <a:pt x="1480010" y="24603"/>
                </a:cubicBezTo>
                <a:lnTo>
                  <a:pt x="1480010" y="221426"/>
                </a:lnTo>
                <a:cubicBezTo>
                  <a:pt x="1480010" y="235014"/>
                  <a:pt x="1468995" y="246029"/>
                  <a:pt x="1455407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like,3</a:t>
            </a:r>
            <a:endParaRPr lang="zh-CN" altLang="en-US" sz="1100" b="1" kern="1200" dirty="0"/>
          </a:p>
        </p:txBody>
      </p:sp>
      <p:sp>
        <p:nvSpPr>
          <p:cNvPr id="40" name="任意多边形: 形状 39">
            <a:extLst>
              <a:ext uri="{FF2B5EF4-FFF2-40B4-BE49-F238E27FC236}">
                <a16:creationId xmlns:a16="http://schemas.microsoft.com/office/drawing/2014/main" id="{D8FE8E58-BD51-4960-A5C6-8DABD73D2408}"/>
              </a:ext>
            </a:extLst>
          </p:cNvPr>
          <p:cNvSpPr/>
          <p:nvPr/>
        </p:nvSpPr>
        <p:spPr>
          <a:xfrm>
            <a:off x="3853181" y="4891182"/>
            <a:ext cx="1394904" cy="246029"/>
          </a:xfrm>
          <a:custGeom>
            <a:avLst/>
            <a:gdLst>
              <a:gd name="connsiteX0" fmla="*/ 0 w 1394904"/>
              <a:gd name="connsiteY0" fmla="*/ 24603 h 246029"/>
              <a:gd name="connsiteX1" fmla="*/ 24603 w 1394904"/>
              <a:gd name="connsiteY1" fmla="*/ 0 h 246029"/>
              <a:gd name="connsiteX2" fmla="*/ 1370301 w 1394904"/>
              <a:gd name="connsiteY2" fmla="*/ 0 h 246029"/>
              <a:gd name="connsiteX3" fmla="*/ 1394904 w 1394904"/>
              <a:gd name="connsiteY3" fmla="*/ 24603 h 246029"/>
              <a:gd name="connsiteX4" fmla="*/ 1394904 w 1394904"/>
              <a:gd name="connsiteY4" fmla="*/ 221426 h 246029"/>
              <a:gd name="connsiteX5" fmla="*/ 1370301 w 1394904"/>
              <a:gd name="connsiteY5" fmla="*/ 246029 h 246029"/>
              <a:gd name="connsiteX6" fmla="*/ 24603 w 1394904"/>
              <a:gd name="connsiteY6" fmla="*/ 246029 h 246029"/>
              <a:gd name="connsiteX7" fmla="*/ 0 w 1394904"/>
              <a:gd name="connsiteY7" fmla="*/ 221426 h 246029"/>
              <a:gd name="connsiteX8" fmla="*/ 0 w 1394904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94904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370301" y="0"/>
                </a:lnTo>
                <a:cubicBezTo>
                  <a:pt x="1383889" y="0"/>
                  <a:pt x="1394904" y="11015"/>
                  <a:pt x="1394904" y="24603"/>
                </a:cubicBezTo>
                <a:lnTo>
                  <a:pt x="1394904" y="221426"/>
                </a:lnTo>
                <a:cubicBezTo>
                  <a:pt x="1394904" y="235014"/>
                  <a:pt x="1383889" y="246029"/>
                  <a:pt x="1370301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MapReduce,2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41" name="任意多边形: 形状 40">
            <a:extLst>
              <a:ext uri="{FF2B5EF4-FFF2-40B4-BE49-F238E27FC236}">
                <a16:creationId xmlns:a16="http://schemas.microsoft.com/office/drawing/2014/main" id="{0C871A97-850E-47D8-BD7A-1E057420DA1E}"/>
              </a:ext>
            </a:extLst>
          </p:cNvPr>
          <p:cNvSpPr/>
          <p:nvPr/>
        </p:nvSpPr>
        <p:spPr>
          <a:xfrm>
            <a:off x="3895913" y="5242239"/>
            <a:ext cx="1309443" cy="247985"/>
          </a:xfrm>
          <a:custGeom>
            <a:avLst/>
            <a:gdLst>
              <a:gd name="connsiteX0" fmla="*/ 0 w 1309443"/>
              <a:gd name="connsiteY0" fmla="*/ 24799 h 247985"/>
              <a:gd name="connsiteX1" fmla="*/ 24799 w 1309443"/>
              <a:gd name="connsiteY1" fmla="*/ 0 h 247985"/>
              <a:gd name="connsiteX2" fmla="*/ 1284645 w 1309443"/>
              <a:gd name="connsiteY2" fmla="*/ 0 h 247985"/>
              <a:gd name="connsiteX3" fmla="*/ 1309444 w 1309443"/>
              <a:gd name="connsiteY3" fmla="*/ 24799 h 247985"/>
              <a:gd name="connsiteX4" fmla="*/ 1309443 w 1309443"/>
              <a:gd name="connsiteY4" fmla="*/ 223187 h 247985"/>
              <a:gd name="connsiteX5" fmla="*/ 1284644 w 1309443"/>
              <a:gd name="connsiteY5" fmla="*/ 247986 h 247985"/>
              <a:gd name="connsiteX6" fmla="*/ 24799 w 1309443"/>
              <a:gd name="connsiteY6" fmla="*/ 247985 h 247985"/>
              <a:gd name="connsiteX7" fmla="*/ 0 w 1309443"/>
              <a:gd name="connsiteY7" fmla="*/ 223186 h 247985"/>
              <a:gd name="connsiteX8" fmla="*/ 0 w 1309443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09443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284645" y="0"/>
                </a:lnTo>
                <a:cubicBezTo>
                  <a:pt x="1298341" y="0"/>
                  <a:pt x="1309444" y="11103"/>
                  <a:pt x="1309444" y="24799"/>
                </a:cubicBezTo>
                <a:cubicBezTo>
                  <a:pt x="1309444" y="90928"/>
                  <a:pt x="1309443" y="157058"/>
                  <a:pt x="1309443" y="223187"/>
                </a:cubicBezTo>
                <a:cubicBezTo>
                  <a:pt x="1309443" y="236883"/>
                  <a:pt x="1298340" y="247986"/>
                  <a:pt x="1284644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 World,1</a:t>
            </a:r>
            <a:endParaRPr lang="zh-CN" altLang="en-US" sz="1100" b="1" kern="1200" dirty="0"/>
          </a:p>
        </p:txBody>
      </p: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A486BC9E-9933-4D71-9719-219C6443B83B}"/>
              </a:ext>
            </a:extLst>
          </p:cNvPr>
          <p:cNvGrpSpPr/>
          <p:nvPr/>
        </p:nvGrpSpPr>
        <p:grpSpPr>
          <a:xfrm>
            <a:off x="9144000" y="498829"/>
            <a:ext cx="2793511" cy="5638446"/>
            <a:chOff x="5468331" y="495654"/>
            <a:chExt cx="2793511" cy="5638446"/>
          </a:xfrm>
        </p:grpSpPr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654EDBA6-DD45-48B7-AFE3-BE1C7C9490C2}"/>
                </a:ext>
              </a:extLst>
            </p:cNvPr>
            <p:cNvGrpSpPr/>
            <p:nvPr/>
          </p:nvGrpSpPr>
          <p:grpSpPr>
            <a:xfrm>
              <a:off x="5468331" y="495654"/>
              <a:ext cx="2793511" cy="5638446"/>
              <a:chOff x="4965094" y="495654"/>
              <a:chExt cx="2793511" cy="5638446"/>
            </a:xfrm>
          </p:grpSpPr>
          <p:sp>
            <p:nvSpPr>
              <p:cNvPr id="19" name="矩形: 圆角 18">
                <a:extLst>
                  <a:ext uri="{FF2B5EF4-FFF2-40B4-BE49-F238E27FC236}">
                    <a16:creationId xmlns:a16="http://schemas.microsoft.com/office/drawing/2014/main" id="{B8E2B381-D096-4D20-90BE-AE1603F541A7}"/>
                  </a:ext>
                </a:extLst>
              </p:cNvPr>
              <p:cNvSpPr/>
              <p:nvPr/>
            </p:nvSpPr>
            <p:spPr>
              <a:xfrm>
                <a:off x="4965094" y="1130300"/>
                <a:ext cx="2793511" cy="5003800"/>
              </a:xfrm>
              <a:prstGeom prst="round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6FEEBF01-6E1D-4BC5-AECF-D7495163FB2F}"/>
                  </a:ext>
                </a:extLst>
              </p:cNvPr>
              <p:cNvSpPr txBox="1"/>
              <p:nvPr/>
            </p:nvSpPr>
            <p:spPr>
              <a:xfrm>
                <a:off x="5473087" y="495654"/>
                <a:ext cx="177752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2800" dirty="0"/>
                  <a:t>输出</a:t>
                </a:r>
              </a:p>
            </p:txBody>
          </p:sp>
        </p:grpSp>
        <p:sp>
          <p:nvSpPr>
            <p:cNvPr id="18" name="矩形: 圆角 17">
              <a:extLst>
                <a:ext uri="{FF2B5EF4-FFF2-40B4-BE49-F238E27FC236}">
                  <a16:creationId xmlns:a16="http://schemas.microsoft.com/office/drawing/2014/main" id="{6E172A51-4176-4E97-AF82-629DA589DC63}"/>
                </a:ext>
              </a:extLst>
            </p:cNvPr>
            <p:cNvSpPr>
              <a:spLocks/>
            </p:cNvSpPr>
            <p:nvPr/>
          </p:nvSpPr>
          <p:spPr>
            <a:xfrm>
              <a:off x="5850674" y="2134415"/>
              <a:ext cx="2028825" cy="2995571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</p:grpSp>
      <p:sp>
        <p:nvSpPr>
          <p:cNvPr id="21" name="标题 3">
            <a:extLst>
              <a:ext uri="{FF2B5EF4-FFF2-40B4-BE49-F238E27FC236}">
                <a16:creationId xmlns:a16="http://schemas.microsoft.com/office/drawing/2014/main" id="{6FAE8A1B-4B3C-429E-B031-ED6CE43831C3}"/>
              </a:ext>
            </a:extLst>
          </p:cNvPr>
          <p:cNvSpPr txBox="1">
            <a:spLocks/>
          </p:cNvSpPr>
          <p:nvPr/>
        </p:nvSpPr>
        <p:spPr>
          <a:xfrm>
            <a:off x="502444" y="-9171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MapReduce</a:t>
            </a:r>
            <a:r>
              <a:rPr lang="zh-CN" altLang="en-US" dirty="0"/>
              <a:t>工作流程</a:t>
            </a:r>
          </a:p>
        </p:txBody>
      </p:sp>
    </p:spTree>
    <p:extLst>
      <p:ext uri="{BB962C8B-B14F-4D97-AF65-F5344CB8AC3E}">
        <p14:creationId xmlns:p14="http://schemas.microsoft.com/office/powerpoint/2010/main" val="1452563193"/>
      </p:ext>
    </p:extLst>
  </p:cSld>
  <p:clrMapOvr>
    <a:masterClrMapping/>
  </p:clrMapOvr>
  <p:transition spd="slow"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组合 28">
            <a:extLst>
              <a:ext uri="{FF2B5EF4-FFF2-40B4-BE49-F238E27FC236}">
                <a16:creationId xmlns:a16="http://schemas.microsoft.com/office/drawing/2014/main" id="{03C0192D-30E2-46B6-AE70-4A7443578242}"/>
              </a:ext>
            </a:extLst>
          </p:cNvPr>
          <p:cNvGrpSpPr/>
          <p:nvPr/>
        </p:nvGrpSpPr>
        <p:grpSpPr>
          <a:xfrm>
            <a:off x="5501501" y="498829"/>
            <a:ext cx="2793511" cy="5638446"/>
            <a:chOff x="5468331" y="495654"/>
            <a:chExt cx="2793511" cy="5638446"/>
          </a:xfrm>
        </p:grpSpPr>
        <p:grpSp>
          <p:nvGrpSpPr>
            <p:cNvPr id="37" name="组合 36">
              <a:extLst>
                <a:ext uri="{FF2B5EF4-FFF2-40B4-BE49-F238E27FC236}">
                  <a16:creationId xmlns:a16="http://schemas.microsoft.com/office/drawing/2014/main" id="{DFADF8BE-2EF0-483F-9606-61534EC156AC}"/>
                </a:ext>
              </a:extLst>
            </p:cNvPr>
            <p:cNvGrpSpPr/>
            <p:nvPr/>
          </p:nvGrpSpPr>
          <p:grpSpPr>
            <a:xfrm>
              <a:off x="5468331" y="495654"/>
              <a:ext cx="2793511" cy="5638446"/>
              <a:chOff x="4965094" y="495654"/>
              <a:chExt cx="2793511" cy="5638446"/>
            </a:xfrm>
          </p:grpSpPr>
          <p:sp>
            <p:nvSpPr>
              <p:cNvPr id="44" name="矩形: 圆角 43">
                <a:extLst>
                  <a:ext uri="{FF2B5EF4-FFF2-40B4-BE49-F238E27FC236}">
                    <a16:creationId xmlns:a16="http://schemas.microsoft.com/office/drawing/2014/main" id="{CB68AA02-04C7-48AB-ABAC-650129DC3EC1}"/>
                  </a:ext>
                </a:extLst>
              </p:cNvPr>
              <p:cNvSpPr/>
              <p:nvPr/>
            </p:nvSpPr>
            <p:spPr>
              <a:xfrm>
                <a:off x="4965094" y="1130300"/>
                <a:ext cx="2793511" cy="5003800"/>
              </a:xfrm>
              <a:prstGeom prst="round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5" name="文本框 44">
                <a:extLst>
                  <a:ext uri="{FF2B5EF4-FFF2-40B4-BE49-F238E27FC236}">
                    <a16:creationId xmlns:a16="http://schemas.microsoft.com/office/drawing/2014/main" id="{4A57C18F-177D-4C02-885F-D63F073D9645}"/>
                  </a:ext>
                </a:extLst>
              </p:cNvPr>
              <p:cNvSpPr txBox="1"/>
              <p:nvPr/>
            </p:nvSpPr>
            <p:spPr>
              <a:xfrm>
                <a:off x="5473087" y="495654"/>
                <a:ext cx="177752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2800" dirty="0"/>
                  <a:t>输出</a:t>
                </a:r>
              </a:p>
            </p:txBody>
          </p:sp>
        </p:grpSp>
        <p:sp>
          <p:nvSpPr>
            <p:cNvPr id="43" name="矩形: 圆角 42">
              <a:extLst>
                <a:ext uri="{FF2B5EF4-FFF2-40B4-BE49-F238E27FC236}">
                  <a16:creationId xmlns:a16="http://schemas.microsoft.com/office/drawing/2014/main" id="{EEC2A57D-7CC8-46D1-8850-FCF8A3412737}"/>
                </a:ext>
              </a:extLst>
            </p:cNvPr>
            <p:cNvSpPr>
              <a:spLocks/>
            </p:cNvSpPr>
            <p:nvPr/>
          </p:nvSpPr>
          <p:spPr>
            <a:xfrm>
              <a:off x="5850674" y="2134415"/>
              <a:ext cx="2028825" cy="2995571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</p:grpSp>
      <p:sp>
        <p:nvSpPr>
          <p:cNvPr id="32" name="标题 3">
            <a:extLst>
              <a:ext uri="{FF2B5EF4-FFF2-40B4-BE49-F238E27FC236}">
                <a16:creationId xmlns:a16="http://schemas.microsoft.com/office/drawing/2014/main" id="{4EA5887E-594B-4F9E-B713-7C204956FE2D}"/>
              </a:ext>
            </a:extLst>
          </p:cNvPr>
          <p:cNvSpPr txBox="1">
            <a:spLocks/>
          </p:cNvSpPr>
          <p:nvPr/>
        </p:nvSpPr>
        <p:spPr>
          <a:xfrm>
            <a:off x="502444" y="-514350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MapReduce</a:t>
            </a:r>
            <a:r>
              <a:rPr lang="zh-CN" altLang="en-US" dirty="0"/>
              <a:t>工作流程</a:t>
            </a:r>
          </a:p>
        </p:txBody>
      </p: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58DC52F2-CC78-4AA9-B594-19A5E7C89907}"/>
              </a:ext>
            </a:extLst>
          </p:cNvPr>
          <p:cNvGrpSpPr/>
          <p:nvPr/>
        </p:nvGrpSpPr>
        <p:grpSpPr>
          <a:xfrm>
            <a:off x="785728" y="495654"/>
            <a:ext cx="2793511" cy="5638446"/>
            <a:chOff x="5468332" y="495654"/>
            <a:chExt cx="2793511" cy="5638446"/>
          </a:xfrm>
        </p:grpSpPr>
        <p:grpSp>
          <p:nvGrpSpPr>
            <p:cNvPr id="31" name="组合 30">
              <a:extLst>
                <a:ext uri="{FF2B5EF4-FFF2-40B4-BE49-F238E27FC236}">
                  <a16:creationId xmlns:a16="http://schemas.microsoft.com/office/drawing/2014/main" id="{EA8693D5-7024-45AA-9EB3-7C6E1D77ADE2}"/>
                </a:ext>
              </a:extLst>
            </p:cNvPr>
            <p:cNvGrpSpPr/>
            <p:nvPr/>
          </p:nvGrpSpPr>
          <p:grpSpPr>
            <a:xfrm>
              <a:off x="5468332" y="495654"/>
              <a:ext cx="2793511" cy="5638446"/>
              <a:chOff x="4965095" y="495654"/>
              <a:chExt cx="2793511" cy="5638446"/>
            </a:xfrm>
          </p:grpSpPr>
          <p:sp>
            <p:nvSpPr>
              <p:cNvPr id="35" name="矩形: 圆角 34">
                <a:extLst>
                  <a:ext uri="{FF2B5EF4-FFF2-40B4-BE49-F238E27FC236}">
                    <a16:creationId xmlns:a16="http://schemas.microsoft.com/office/drawing/2014/main" id="{160CF4E0-52B2-4A3F-8EB0-91071C5C2410}"/>
                  </a:ext>
                </a:extLst>
              </p:cNvPr>
              <p:cNvSpPr/>
              <p:nvPr/>
            </p:nvSpPr>
            <p:spPr>
              <a:xfrm>
                <a:off x="4965095" y="1130300"/>
                <a:ext cx="2793511" cy="5003800"/>
              </a:xfrm>
              <a:prstGeom prst="round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2" name="文本框 41">
                <a:extLst>
                  <a:ext uri="{FF2B5EF4-FFF2-40B4-BE49-F238E27FC236}">
                    <a16:creationId xmlns:a16="http://schemas.microsoft.com/office/drawing/2014/main" id="{8A8236DC-A948-44D4-A62A-079D0FB9C5E6}"/>
                  </a:ext>
                </a:extLst>
              </p:cNvPr>
              <p:cNvSpPr txBox="1"/>
              <p:nvPr/>
            </p:nvSpPr>
            <p:spPr>
              <a:xfrm>
                <a:off x="5473087" y="495654"/>
                <a:ext cx="177752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2800" dirty="0"/>
                  <a:t>Reduce()</a:t>
                </a:r>
                <a:endParaRPr lang="zh-CN" altLang="en-US" sz="2800" dirty="0"/>
              </a:p>
            </p:txBody>
          </p:sp>
        </p:grpSp>
        <p:sp>
          <p:nvSpPr>
            <p:cNvPr id="33" name="矩形: 圆角 32">
              <a:extLst>
                <a:ext uri="{FF2B5EF4-FFF2-40B4-BE49-F238E27FC236}">
                  <a16:creationId xmlns:a16="http://schemas.microsoft.com/office/drawing/2014/main" id="{8666965C-7A61-4CA2-ACCA-F9FD4AD30711}"/>
                </a:ext>
              </a:extLst>
            </p:cNvPr>
            <p:cNvSpPr>
              <a:spLocks/>
            </p:cNvSpPr>
            <p:nvPr/>
          </p:nvSpPr>
          <p:spPr>
            <a:xfrm>
              <a:off x="5850674" y="1634825"/>
              <a:ext cx="2028825" cy="1662932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  <p:sp>
          <p:nvSpPr>
            <p:cNvPr id="34" name="矩形: 圆角 33">
              <a:extLst>
                <a:ext uri="{FF2B5EF4-FFF2-40B4-BE49-F238E27FC236}">
                  <a16:creationId xmlns:a16="http://schemas.microsoft.com/office/drawing/2014/main" id="{ABF70D29-58A0-4284-8EAF-157BF13EF491}"/>
                </a:ext>
              </a:extLst>
            </p:cNvPr>
            <p:cNvSpPr>
              <a:spLocks/>
            </p:cNvSpPr>
            <p:nvPr/>
          </p:nvSpPr>
          <p:spPr>
            <a:xfrm>
              <a:off x="5850674" y="3961339"/>
              <a:ext cx="2028825" cy="1662932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</p:grpSp>
      <p:sp>
        <p:nvSpPr>
          <p:cNvPr id="47" name="任意多边形: 形状 46">
            <a:extLst>
              <a:ext uri="{FF2B5EF4-FFF2-40B4-BE49-F238E27FC236}">
                <a16:creationId xmlns:a16="http://schemas.microsoft.com/office/drawing/2014/main" id="{73C79121-C320-4B29-B539-9FF835234826}"/>
              </a:ext>
            </a:extLst>
          </p:cNvPr>
          <p:cNvSpPr>
            <a:spLocks/>
          </p:cNvSpPr>
          <p:nvPr/>
        </p:nvSpPr>
        <p:spPr>
          <a:xfrm>
            <a:off x="1345905" y="1759877"/>
            <a:ext cx="1725341" cy="247985"/>
          </a:xfrm>
          <a:custGeom>
            <a:avLst/>
            <a:gdLst>
              <a:gd name="connsiteX0" fmla="*/ 0 w 1725341"/>
              <a:gd name="connsiteY0" fmla="*/ 24799 h 247985"/>
              <a:gd name="connsiteX1" fmla="*/ 24799 w 1725341"/>
              <a:gd name="connsiteY1" fmla="*/ 0 h 247985"/>
              <a:gd name="connsiteX2" fmla="*/ 1700543 w 1725341"/>
              <a:gd name="connsiteY2" fmla="*/ 0 h 247985"/>
              <a:gd name="connsiteX3" fmla="*/ 1725342 w 1725341"/>
              <a:gd name="connsiteY3" fmla="*/ 24799 h 247985"/>
              <a:gd name="connsiteX4" fmla="*/ 1725341 w 1725341"/>
              <a:gd name="connsiteY4" fmla="*/ 223187 h 247985"/>
              <a:gd name="connsiteX5" fmla="*/ 1700542 w 1725341"/>
              <a:gd name="connsiteY5" fmla="*/ 247986 h 247985"/>
              <a:gd name="connsiteX6" fmla="*/ 24799 w 1725341"/>
              <a:gd name="connsiteY6" fmla="*/ 247985 h 247985"/>
              <a:gd name="connsiteX7" fmla="*/ 0 w 1725341"/>
              <a:gd name="connsiteY7" fmla="*/ 223186 h 247985"/>
              <a:gd name="connsiteX8" fmla="*/ 0 w 1725341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25341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700543" y="0"/>
                </a:lnTo>
                <a:cubicBezTo>
                  <a:pt x="1714239" y="0"/>
                  <a:pt x="1725342" y="11103"/>
                  <a:pt x="1725342" y="24799"/>
                </a:cubicBezTo>
                <a:cubicBezTo>
                  <a:pt x="1725342" y="90928"/>
                  <a:pt x="1725341" y="157058"/>
                  <a:pt x="1725341" y="223187"/>
                </a:cubicBezTo>
                <a:cubicBezTo>
                  <a:pt x="1725341" y="236883"/>
                  <a:pt x="1714238" y="247986"/>
                  <a:pt x="1700542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adoop,2</a:t>
            </a:r>
            <a:endParaRPr lang="zh-CN" altLang="en-US" sz="1100" b="1" kern="1200" dirty="0"/>
          </a:p>
        </p:txBody>
      </p:sp>
      <p:sp>
        <p:nvSpPr>
          <p:cNvPr id="49" name="任意多边形: 形状 48">
            <a:extLst>
              <a:ext uri="{FF2B5EF4-FFF2-40B4-BE49-F238E27FC236}">
                <a16:creationId xmlns:a16="http://schemas.microsoft.com/office/drawing/2014/main" id="{9E55FE10-DDC4-4DF9-AC80-5402914C3BBE}"/>
              </a:ext>
            </a:extLst>
          </p:cNvPr>
          <p:cNvSpPr/>
          <p:nvPr/>
        </p:nvSpPr>
        <p:spPr>
          <a:xfrm>
            <a:off x="1271508" y="2221097"/>
            <a:ext cx="1874133" cy="246029"/>
          </a:xfrm>
          <a:custGeom>
            <a:avLst/>
            <a:gdLst>
              <a:gd name="connsiteX0" fmla="*/ 0 w 1874133"/>
              <a:gd name="connsiteY0" fmla="*/ 24603 h 246029"/>
              <a:gd name="connsiteX1" fmla="*/ 24603 w 1874133"/>
              <a:gd name="connsiteY1" fmla="*/ 0 h 246029"/>
              <a:gd name="connsiteX2" fmla="*/ 1849530 w 1874133"/>
              <a:gd name="connsiteY2" fmla="*/ 0 h 246029"/>
              <a:gd name="connsiteX3" fmla="*/ 1874133 w 1874133"/>
              <a:gd name="connsiteY3" fmla="*/ 24603 h 246029"/>
              <a:gd name="connsiteX4" fmla="*/ 1874133 w 1874133"/>
              <a:gd name="connsiteY4" fmla="*/ 221426 h 246029"/>
              <a:gd name="connsiteX5" fmla="*/ 1849530 w 1874133"/>
              <a:gd name="connsiteY5" fmla="*/ 246029 h 246029"/>
              <a:gd name="connsiteX6" fmla="*/ 24603 w 1874133"/>
              <a:gd name="connsiteY6" fmla="*/ 246029 h 246029"/>
              <a:gd name="connsiteX7" fmla="*/ 0 w 1874133"/>
              <a:gd name="connsiteY7" fmla="*/ 221426 h 246029"/>
              <a:gd name="connsiteX8" fmla="*/ 0 w 1874133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4133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849530" y="0"/>
                </a:lnTo>
                <a:cubicBezTo>
                  <a:pt x="1863118" y="0"/>
                  <a:pt x="1874133" y="11015"/>
                  <a:pt x="1874133" y="24603"/>
                </a:cubicBezTo>
                <a:lnTo>
                  <a:pt x="1874133" y="221426"/>
                </a:lnTo>
                <a:cubicBezTo>
                  <a:pt x="1874133" y="235014"/>
                  <a:pt x="1863118" y="246029"/>
                  <a:pt x="1849530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ello,3</a:t>
            </a:r>
            <a:endParaRPr lang="zh-CN" altLang="en-US" sz="1100" b="1" kern="1200" dirty="0"/>
          </a:p>
        </p:txBody>
      </p:sp>
      <p:sp>
        <p:nvSpPr>
          <p:cNvPr id="50" name="任意多边形: 形状 49">
            <a:extLst>
              <a:ext uri="{FF2B5EF4-FFF2-40B4-BE49-F238E27FC236}">
                <a16:creationId xmlns:a16="http://schemas.microsoft.com/office/drawing/2014/main" id="{797AF3D5-00A6-4B66-81EB-23048BB2DC9B}"/>
              </a:ext>
            </a:extLst>
          </p:cNvPr>
          <p:cNvSpPr/>
          <p:nvPr/>
        </p:nvSpPr>
        <p:spPr>
          <a:xfrm>
            <a:off x="1420202" y="2682315"/>
            <a:ext cx="1576742" cy="246029"/>
          </a:xfrm>
          <a:custGeom>
            <a:avLst/>
            <a:gdLst>
              <a:gd name="connsiteX0" fmla="*/ 0 w 1576742"/>
              <a:gd name="connsiteY0" fmla="*/ 24603 h 246029"/>
              <a:gd name="connsiteX1" fmla="*/ 24603 w 1576742"/>
              <a:gd name="connsiteY1" fmla="*/ 0 h 246029"/>
              <a:gd name="connsiteX2" fmla="*/ 1552139 w 1576742"/>
              <a:gd name="connsiteY2" fmla="*/ 0 h 246029"/>
              <a:gd name="connsiteX3" fmla="*/ 1576742 w 1576742"/>
              <a:gd name="connsiteY3" fmla="*/ 24603 h 246029"/>
              <a:gd name="connsiteX4" fmla="*/ 1576742 w 1576742"/>
              <a:gd name="connsiteY4" fmla="*/ 221426 h 246029"/>
              <a:gd name="connsiteX5" fmla="*/ 1552139 w 1576742"/>
              <a:gd name="connsiteY5" fmla="*/ 246029 h 246029"/>
              <a:gd name="connsiteX6" fmla="*/ 24603 w 1576742"/>
              <a:gd name="connsiteY6" fmla="*/ 246029 h 246029"/>
              <a:gd name="connsiteX7" fmla="*/ 0 w 1576742"/>
              <a:gd name="connsiteY7" fmla="*/ 221426 h 246029"/>
              <a:gd name="connsiteX8" fmla="*/ 0 w 1576742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6742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552139" y="0"/>
                </a:lnTo>
                <a:cubicBezTo>
                  <a:pt x="1565727" y="0"/>
                  <a:pt x="1576742" y="11015"/>
                  <a:pt x="1576742" y="24603"/>
                </a:cubicBezTo>
                <a:lnTo>
                  <a:pt x="1576742" y="221426"/>
                </a:lnTo>
                <a:cubicBezTo>
                  <a:pt x="1576742" y="235014"/>
                  <a:pt x="1565727" y="246029"/>
                  <a:pt x="1552139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I,3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3A72661A-86C3-4072-848F-FBFEC1D66858}"/>
              </a:ext>
            </a:extLst>
          </p:cNvPr>
          <p:cNvSpPr/>
          <p:nvPr/>
        </p:nvSpPr>
        <p:spPr>
          <a:xfrm>
            <a:off x="1374287" y="4189068"/>
            <a:ext cx="1573660" cy="246029"/>
          </a:xfrm>
          <a:custGeom>
            <a:avLst/>
            <a:gdLst>
              <a:gd name="connsiteX0" fmla="*/ 0 w 1573660"/>
              <a:gd name="connsiteY0" fmla="*/ 24603 h 246029"/>
              <a:gd name="connsiteX1" fmla="*/ 24603 w 1573660"/>
              <a:gd name="connsiteY1" fmla="*/ 0 h 246029"/>
              <a:gd name="connsiteX2" fmla="*/ 1549057 w 1573660"/>
              <a:gd name="connsiteY2" fmla="*/ 0 h 246029"/>
              <a:gd name="connsiteX3" fmla="*/ 1573660 w 1573660"/>
              <a:gd name="connsiteY3" fmla="*/ 24603 h 246029"/>
              <a:gd name="connsiteX4" fmla="*/ 1573660 w 1573660"/>
              <a:gd name="connsiteY4" fmla="*/ 221426 h 246029"/>
              <a:gd name="connsiteX5" fmla="*/ 1549057 w 1573660"/>
              <a:gd name="connsiteY5" fmla="*/ 246029 h 246029"/>
              <a:gd name="connsiteX6" fmla="*/ 24603 w 1573660"/>
              <a:gd name="connsiteY6" fmla="*/ 246029 h 246029"/>
              <a:gd name="connsiteX7" fmla="*/ 0 w 1573660"/>
              <a:gd name="connsiteY7" fmla="*/ 221426 h 246029"/>
              <a:gd name="connsiteX8" fmla="*/ 0 w 1573660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3660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549057" y="0"/>
                </a:lnTo>
                <a:cubicBezTo>
                  <a:pt x="1562645" y="0"/>
                  <a:pt x="1573660" y="11015"/>
                  <a:pt x="1573660" y="24603"/>
                </a:cubicBezTo>
                <a:lnTo>
                  <a:pt x="1573660" y="221426"/>
                </a:lnTo>
                <a:cubicBezTo>
                  <a:pt x="1573660" y="235014"/>
                  <a:pt x="1562645" y="246029"/>
                  <a:pt x="1549057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 Java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39" name="任意多边形: 形状 38">
            <a:extLst>
              <a:ext uri="{FF2B5EF4-FFF2-40B4-BE49-F238E27FC236}">
                <a16:creationId xmlns:a16="http://schemas.microsoft.com/office/drawing/2014/main" id="{CA27CE38-AFAC-4CEB-AA98-7699CE12853F}"/>
              </a:ext>
            </a:extLst>
          </p:cNvPr>
          <p:cNvSpPr/>
          <p:nvPr/>
        </p:nvSpPr>
        <p:spPr>
          <a:xfrm>
            <a:off x="1421111" y="4540125"/>
            <a:ext cx="1480010" cy="246029"/>
          </a:xfrm>
          <a:custGeom>
            <a:avLst/>
            <a:gdLst>
              <a:gd name="connsiteX0" fmla="*/ 0 w 1480010"/>
              <a:gd name="connsiteY0" fmla="*/ 24603 h 246029"/>
              <a:gd name="connsiteX1" fmla="*/ 24603 w 1480010"/>
              <a:gd name="connsiteY1" fmla="*/ 0 h 246029"/>
              <a:gd name="connsiteX2" fmla="*/ 1455407 w 1480010"/>
              <a:gd name="connsiteY2" fmla="*/ 0 h 246029"/>
              <a:gd name="connsiteX3" fmla="*/ 1480010 w 1480010"/>
              <a:gd name="connsiteY3" fmla="*/ 24603 h 246029"/>
              <a:gd name="connsiteX4" fmla="*/ 1480010 w 1480010"/>
              <a:gd name="connsiteY4" fmla="*/ 221426 h 246029"/>
              <a:gd name="connsiteX5" fmla="*/ 1455407 w 1480010"/>
              <a:gd name="connsiteY5" fmla="*/ 246029 h 246029"/>
              <a:gd name="connsiteX6" fmla="*/ 24603 w 1480010"/>
              <a:gd name="connsiteY6" fmla="*/ 246029 h 246029"/>
              <a:gd name="connsiteX7" fmla="*/ 0 w 1480010"/>
              <a:gd name="connsiteY7" fmla="*/ 221426 h 246029"/>
              <a:gd name="connsiteX8" fmla="*/ 0 w 1480010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80010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455407" y="0"/>
                </a:lnTo>
                <a:cubicBezTo>
                  <a:pt x="1468995" y="0"/>
                  <a:pt x="1480010" y="11015"/>
                  <a:pt x="1480010" y="24603"/>
                </a:cubicBezTo>
                <a:lnTo>
                  <a:pt x="1480010" y="221426"/>
                </a:lnTo>
                <a:cubicBezTo>
                  <a:pt x="1480010" y="235014"/>
                  <a:pt x="1468995" y="246029"/>
                  <a:pt x="1455407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like,3</a:t>
            </a:r>
            <a:endParaRPr lang="zh-CN" altLang="en-US" sz="1100" b="1" kern="1200" dirty="0"/>
          </a:p>
        </p:txBody>
      </p:sp>
      <p:sp>
        <p:nvSpPr>
          <p:cNvPr id="40" name="任意多边形: 形状 39">
            <a:extLst>
              <a:ext uri="{FF2B5EF4-FFF2-40B4-BE49-F238E27FC236}">
                <a16:creationId xmlns:a16="http://schemas.microsoft.com/office/drawing/2014/main" id="{D8FE8E58-BD51-4960-A5C6-8DABD73D2408}"/>
              </a:ext>
            </a:extLst>
          </p:cNvPr>
          <p:cNvSpPr/>
          <p:nvPr/>
        </p:nvSpPr>
        <p:spPr>
          <a:xfrm>
            <a:off x="1463664" y="4891182"/>
            <a:ext cx="1394904" cy="246029"/>
          </a:xfrm>
          <a:custGeom>
            <a:avLst/>
            <a:gdLst>
              <a:gd name="connsiteX0" fmla="*/ 0 w 1394904"/>
              <a:gd name="connsiteY0" fmla="*/ 24603 h 246029"/>
              <a:gd name="connsiteX1" fmla="*/ 24603 w 1394904"/>
              <a:gd name="connsiteY1" fmla="*/ 0 h 246029"/>
              <a:gd name="connsiteX2" fmla="*/ 1370301 w 1394904"/>
              <a:gd name="connsiteY2" fmla="*/ 0 h 246029"/>
              <a:gd name="connsiteX3" fmla="*/ 1394904 w 1394904"/>
              <a:gd name="connsiteY3" fmla="*/ 24603 h 246029"/>
              <a:gd name="connsiteX4" fmla="*/ 1394904 w 1394904"/>
              <a:gd name="connsiteY4" fmla="*/ 221426 h 246029"/>
              <a:gd name="connsiteX5" fmla="*/ 1370301 w 1394904"/>
              <a:gd name="connsiteY5" fmla="*/ 246029 h 246029"/>
              <a:gd name="connsiteX6" fmla="*/ 24603 w 1394904"/>
              <a:gd name="connsiteY6" fmla="*/ 246029 h 246029"/>
              <a:gd name="connsiteX7" fmla="*/ 0 w 1394904"/>
              <a:gd name="connsiteY7" fmla="*/ 221426 h 246029"/>
              <a:gd name="connsiteX8" fmla="*/ 0 w 1394904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94904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370301" y="0"/>
                </a:lnTo>
                <a:cubicBezTo>
                  <a:pt x="1383889" y="0"/>
                  <a:pt x="1394904" y="11015"/>
                  <a:pt x="1394904" y="24603"/>
                </a:cubicBezTo>
                <a:lnTo>
                  <a:pt x="1394904" y="221426"/>
                </a:lnTo>
                <a:cubicBezTo>
                  <a:pt x="1394904" y="235014"/>
                  <a:pt x="1383889" y="246029"/>
                  <a:pt x="1370301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MapReduce,2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41" name="任意多边形: 形状 40">
            <a:extLst>
              <a:ext uri="{FF2B5EF4-FFF2-40B4-BE49-F238E27FC236}">
                <a16:creationId xmlns:a16="http://schemas.microsoft.com/office/drawing/2014/main" id="{0C871A97-850E-47D8-BD7A-1E057420DA1E}"/>
              </a:ext>
            </a:extLst>
          </p:cNvPr>
          <p:cNvSpPr/>
          <p:nvPr/>
        </p:nvSpPr>
        <p:spPr>
          <a:xfrm>
            <a:off x="1506396" y="5242239"/>
            <a:ext cx="1309443" cy="247985"/>
          </a:xfrm>
          <a:custGeom>
            <a:avLst/>
            <a:gdLst>
              <a:gd name="connsiteX0" fmla="*/ 0 w 1309443"/>
              <a:gd name="connsiteY0" fmla="*/ 24799 h 247985"/>
              <a:gd name="connsiteX1" fmla="*/ 24799 w 1309443"/>
              <a:gd name="connsiteY1" fmla="*/ 0 h 247985"/>
              <a:gd name="connsiteX2" fmla="*/ 1284645 w 1309443"/>
              <a:gd name="connsiteY2" fmla="*/ 0 h 247985"/>
              <a:gd name="connsiteX3" fmla="*/ 1309444 w 1309443"/>
              <a:gd name="connsiteY3" fmla="*/ 24799 h 247985"/>
              <a:gd name="connsiteX4" fmla="*/ 1309443 w 1309443"/>
              <a:gd name="connsiteY4" fmla="*/ 223187 h 247985"/>
              <a:gd name="connsiteX5" fmla="*/ 1284644 w 1309443"/>
              <a:gd name="connsiteY5" fmla="*/ 247986 h 247985"/>
              <a:gd name="connsiteX6" fmla="*/ 24799 w 1309443"/>
              <a:gd name="connsiteY6" fmla="*/ 247985 h 247985"/>
              <a:gd name="connsiteX7" fmla="*/ 0 w 1309443"/>
              <a:gd name="connsiteY7" fmla="*/ 223186 h 247985"/>
              <a:gd name="connsiteX8" fmla="*/ 0 w 1309443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09443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284645" y="0"/>
                </a:lnTo>
                <a:cubicBezTo>
                  <a:pt x="1298341" y="0"/>
                  <a:pt x="1309444" y="11103"/>
                  <a:pt x="1309444" y="24799"/>
                </a:cubicBezTo>
                <a:cubicBezTo>
                  <a:pt x="1309444" y="90928"/>
                  <a:pt x="1309443" y="157058"/>
                  <a:pt x="1309443" y="223187"/>
                </a:cubicBezTo>
                <a:cubicBezTo>
                  <a:pt x="1309443" y="236883"/>
                  <a:pt x="1298340" y="247986"/>
                  <a:pt x="1284644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 World,1</a:t>
            </a:r>
            <a:endParaRPr lang="zh-CN" altLang="en-US" sz="1100" b="1" kern="1200" dirty="0"/>
          </a:p>
        </p:txBody>
      </p:sp>
    </p:spTree>
    <p:extLst>
      <p:ext uri="{BB962C8B-B14F-4D97-AF65-F5344CB8AC3E}">
        <p14:creationId xmlns:p14="http://schemas.microsoft.com/office/powerpoint/2010/main" val="4340583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组合 28">
            <a:extLst>
              <a:ext uri="{FF2B5EF4-FFF2-40B4-BE49-F238E27FC236}">
                <a16:creationId xmlns:a16="http://schemas.microsoft.com/office/drawing/2014/main" id="{03C0192D-30E2-46B6-AE70-4A7443578242}"/>
              </a:ext>
            </a:extLst>
          </p:cNvPr>
          <p:cNvGrpSpPr/>
          <p:nvPr/>
        </p:nvGrpSpPr>
        <p:grpSpPr>
          <a:xfrm>
            <a:off x="3173040" y="495654"/>
            <a:ext cx="2793511" cy="5638446"/>
            <a:chOff x="5468331" y="495654"/>
            <a:chExt cx="2793511" cy="5638446"/>
          </a:xfrm>
        </p:grpSpPr>
        <p:grpSp>
          <p:nvGrpSpPr>
            <p:cNvPr id="37" name="组合 36">
              <a:extLst>
                <a:ext uri="{FF2B5EF4-FFF2-40B4-BE49-F238E27FC236}">
                  <a16:creationId xmlns:a16="http://schemas.microsoft.com/office/drawing/2014/main" id="{DFADF8BE-2EF0-483F-9606-61534EC156AC}"/>
                </a:ext>
              </a:extLst>
            </p:cNvPr>
            <p:cNvGrpSpPr/>
            <p:nvPr/>
          </p:nvGrpSpPr>
          <p:grpSpPr>
            <a:xfrm>
              <a:off x="5468331" y="495654"/>
              <a:ext cx="2793511" cy="5638446"/>
              <a:chOff x="4965094" y="495654"/>
              <a:chExt cx="2793511" cy="5638446"/>
            </a:xfrm>
          </p:grpSpPr>
          <p:sp>
            <p:nvSpPr>
              <p:cNvPr id="44" name="矩形: 圆角 43">
                <a:extLst>
                  <a:ext uri="{FF2B5EF4-FFF2-40B4-BE49-F238E27FC236}">
                    <a16:creationId xmlns:a16="http://schemas.microsoft.com/office/drawing/2014/main" id="{CB68AA02-04C7-48AB-ABAC-650129DC3EC1}"/>
                  </a:ext>
                </a:extLst>
              </p:cNvPr>
              <p:cNvSpPr/>
              <p:nvPr/>
            </p:nvSpPr>
            <p:spPr>
              <a:xfrm>
                <a:off x="4965094" y="1130300"/>
                <a:ext cx="2793511" cy="5003800"/>
              </a:xfrm>
              <a:prstGeom prst="round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5" name="文本框 44">
                <a:extLst>
                  <a:ext uri="{FF2B5EF4-FFF2-40B4-BE49-F238E27FC236}">
                    <a16:creationId xmlns:a16="http://schemas.microsoft.com/office/drawing/2014/main" id="{4A57C18F-177D-4C02-885F-D63F073D9645}"/>
                  </a:ext>
                </a:extLst>
              </p:cNvPr>
              <p:cNvSpPr txBox="1"/>
              <p:nvPr/>
            </p:nvSpPr>
            <p:spPr>
              <a:xfrm>
                <a:off x="5473087" y="495654"/>
                <a:ext cx="177752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2800" dirty="0"/>
                  <a:t>输出</a:t>
                </a:r>
              </a:p>
            </p:txBody>
          </p:sp>
        </p:grpSp>
        <p:sp>
          <p:nvSpPr>
            <p:cNvPr id="43" name="矩形: 圆角 42">
              <a:extLst>
                <a:ext uri="{FF2B5EF4-FFF2-40B4-BE49-F238E27FC236}">
                  <a16:creationId xmlns:a16="http://schemas.microsoft.com/office/drawing/2014/main" id="{EEC2A57D-7CC8-46D1-8850-FCF8A3412737}"/>
                </a:ext>
              </a:extLst>
            </p:cNvPr>
            <p:cNvSpPr>
              <a:spLocks/>
            </p:cNvSpPr>
            <p:nvPr/>
          </p:nvSpPr>
          <p:spPr>
            <a:xfrm>
              <a:off x="5850674" y="2134415"/>
              <a:ext cx="2028825" cy="2995571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</p:grp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58DC52F2-CC78-4AA9-B594-19A5E7C89907}"/>
              </a:ext>
            </a:extLst>
          </p:cNvPr>
          <p:cNvGrpSpPr/>
          <p:nvPr/>
        </p:nvGrpSpPr>
        <p:grpSpPr>
          <a:xfrm>
            <a:off x="-2917774" y="495654"/>
            <a:ext cx="2793511" cy="5638446"/>
            <a:chOff x="5468332" y="495654"/>
            <a:chExt cx="2793511" cy="5638446"/>
          </a:xfrm>
        </p:grpSpPr>
        <p:grpSp>
          <p:nvGrpSpPr>
            <p:cNvPr id="31" name="组合 30">
              <a:extLst>
                <a:ext uri="{FF2B5EF4-FFF2-40B4-BE49-F238E27FC236}">
                  <a16:creationId xmlns:a16="http://schemas.microsoft.com/office/drawing/2014/main" id="{EA8693D5-7024-45AA-9EB3-7C6E1D77ADE2}"/>
                </a:ext>
              </a:extLst>
            </p:cNvPr>
            <p:cNvGrpSpPr/>
            <p:nvPr/>
          </p:nvGrpSpPr>
          <p:grpSpPr>
            <a:xfrm>
              <a:off x="5468332" y="495654"/>
              <a:ext cx="2793511" cy="5638446"/>
              <a:chOff x="4965095" y="495654"/>
              <a:chExt cx="2793511" cy="5638446"/>
            </a:xfrm>
          </p:grpSpPr>
          <p:sp>
            <p:nvSpPr>
              <p:cNvPr id="35" name="矩形: 圆角 34">
                <a:extLst>
                  <a:ext uri="{FF2B5EF4-FFF2-40B4-BE49-F238E27FC236}">
                    <a16:creationId xmlns:a16="http://schemas.microsoft.com/office/drawing/2014/main" id="{160CF4E0-52B2-4A3F-8EB0-91071C5C2410}"/>
                  </a:ext>
                </a:extLst>
              </p:cNvPr>
              <p:cNvSpPr/>
              <p:nvPr/>
            </p:nvSpPr>
            <p:spPr>
              <a:xfrm>
                <a:off x="4965095" y="1130300"/>
                <a:ext cx="2793511" cy="5003800"/>
              </a:xfrm>
              <a:prstGeom prst="round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2" name="文本框 41">
                <a:extLst>
                  <a:ext uri="{FF2B5EF4-FFF2-40B4-BE49-F238E27FC236}">
                    <a16:creationId xmlns:a16="http://schemas.microsoft.com/office/drawing/2014/main" id="{8A8236DC-A948-44D4-A62A-079D0FB9C5E6}"/>
                  </a:ext>
                </a:extLst>
              </p:cNvPr>
              <p:cNvSpPr txBox="1"/>
              <p:nvPr/>
            </p:nvSpPr>
            <p:spPr>
              <a:xfrm>
                <a:off x="5473087" y="495654"/>
                <a:ext cx="177752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2800" dirty="0"/>
                  <a:t>Reduce()</a:t>
                </a:r>
                <a:endParaRPr lang="zh-CN" altLang="en-US" sz="2800" dirty="0"/>
              </a:p>
            </p:txBody>
          </p:sp>
        </p:grpSp>
        <p:sp>
          <p:nvSpPr>
            <p:cNvPr id="33" name="矩形: 圆角 32">
              <a:extLst>
                <a:ext uri="{FF2B5EF4-FFF2-40B4-BE49-F238E27FC236}">
                  <a16:creationId xmlns:a16="http://schemas.microsoft.com/office/drawing/2014/main" id="{8666965C-7A61-4CA2-ACCA-F9FD4AD30711}"/>
                </a:ext>
              </a:extLst>
            </p:cNvPr>
            <p:cNvSpPr>
              <a:spLocks/>
            </p:cNvSpPr>
            <p:nvPr/>
          </p:nvSpPr>
          <p:spPr>
            <a:xfrm>
              <a:off x="5850674" y="1634825"/>
              <a:ext cx="2028825" cy="1662932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  <p:sp>
          <p:nvSpPr>
            <p:cNvPr id="34" name="矩形: 圆角 33">
              <a:extLst>
                <a:ext uri="{FF2B5EF4-FFF2-40B4-BE49-F238E27FC236}">
                  <a16:creationId xmlns:a16="http://schemas.microsoft.com/office/drawing/2014/main" id="{ABF70D29-58A0-4284-8EAF-157BF13EF491}"/>
                </a:ext>
              </a:extLst>
            </p:cNvPr>
            <p:cNvSpPr>
              <a:spLocks/>
            </p:cNvSpPr>
            <p:nvPr/>
          </p:nvSpPr>
          <p:spPr>
            <a:xfrm>
              <a:off x="5850674" y="3961339"/>
              <a:ext cx="2028825" cy="1662932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</p:grpSp>
      <p:sp>
        <p:nvSpPr>
          <p:cNvPr id="47" name="任意多边形: 形状 46">
            <a:extLst>
              <a:ext uri="{FF2B5EF4-FFF2-40B4-BE49-F238E27FC236}">
                <a16:creationId xmlns:a16="http://schemas.microsoft.com/office/drawing/2014/main" id="{73C79121-C320-4B29-B539-9FF835234826}"/>
              </a:ext>
            </a:extLst>
          </p:cNvPr>
          <p:cNvSpPr>
            <a:spLocks/>
          </p:cNvSpPr>
          <p:nvPr/>
        </p:nvSpPr>
        <p:spPr>
          <a:xfrm>
            <a:off x="3709331" y="2246342"/>
            <a:ext cx="1725341" cy="247985"/>
          </a:xfrm>
          <a:custGeom>
            <a:avLst/>
            <a:gdLst>
              <a:gd name="connsiteX0" fmla="*/ 0 w 1725341"/>
              <a:gd name="connsiteY0" fmla="*/ 24799 h 247985"/>
              <a:gd name="connsiteX1" fmla="*/ 24799 w 1725341"/>
              <a:gd name="connsiteY1" fmla="*/ 0 h 247985"/>
              <a:gd name="connsiteX2" fmla="*/ 1700543 w 1725341"/>
              <a:gd name="connsiteY2" fmla="*/ 0 h 247985"/>
              <a:gd name="connsiteX3" fmla="*/ 1725342 w 1725341"/>
              <a:gd name="connsiteY3" fmla="*/ 24799 h 247985"/>
              <a:gd name="connsiteX4" fmla="*/ 1725341 w 1725341"/>
              <a:gd name="connsiteY4" fmla="*/ 223187 h 247985"/>
              <a:gd name="connsiteX5" fmla="*/ 1700542 w 1725341"/>
              <a:gd name="connsiteY5" fmla="*/ 247986 h 247985"/>
              <a:gd name="connsiteX6" fmla="*/ 24799 w 1725341"/>
              <a:gd name="connsiteY6" fmla="*/ 247985 h 247985"/>
              <a:gd name="connsiteX7" fmla="*/ 0 w 1725341"/>
              <a:gd name="connsiteY7" fmla="*/ 223186 h 247985"/>
              <a:gd name="connsiteX8" fmla="*/ 0 w 1725341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25341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700543" y="0"/>
                </a:lnTo>
                <a:cubicBezTo>
                  <a:pt x="1714239" y="0"/>
                  <a:pt x="1725342" y="11103"/>
                  <a:pt x="1725342" y="24799"/>
                </a:cubicBezTo>
                <a:cubicBezTo>
                  <a:pt x="1725342" y="90928"/>
                  <a:pt x="1725341" y="157058"/>
                  <a:pt x="1725341" y="223187"/>
                </a:cubicBezTo>
                <a:cubicBezTo>
                  <a:pt x="1725341" y="236883"/>
                  <a:pt x="1714238" y="247986"/>
                  <a:pt x="1700542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adoop,2</a:t>
            </a:r>
            <a:endParaRPr lang="zh-CN" altLang="en-US" sz="1100" b="1" kern="1200" dirty="0"/>
          </a:p>
        </p:txBody>
      </p:sp>
      <p:sp>
        <p:nvSpPr>
          <p:cNvPr id="49" name="任意多边形: 形状 48">
            <a:extLst>
              <a:ext uri="{FF2B5EF4-FFF2-40B4-BE49-F238E27FC236}">
                <a16:creationId xmlns:a16="http://schemas.microsoft.com/office/drawing/2014/main" id="{9E55FE10-DDC4-4DF9-AC80-5402914C3BBE}"/>
              </a:ext>
            </a:extLst>
          </p:cNvPr>
          <p:cNvSpPr/>
          <p:nvPr/>
        </p:nvSpPr>
        <p:spPr>
          <a:xfrm>
            <a:off x="3634934" y="2650013"/>
            <a:ext cx="1874133" cy="246029"/>
          </a:xfrm>
          <a:custGeom>
            <a:avLst/>
            <a:gdLst>
              <a:gd name="connsiteX0" fmla="*/ 0 w 1874133"/>
              <a:gd name="connsiteY0" fmla="*/ 24603 h 246029"/>
              <a:gd name="connsiteX1" fmla="*/ 24603 w 1874133"/>
              <a:gd name="connsiteY1" fmla="*/ 0 h 246029"/>
              <a:gd name="connsiteX2" fmla="*/ 1849530 w 1874133"/>
              <a:gd name="connsiteY2" fmla="*/ 0 h 246029"/>
              <a:gd name="connsiteX3" fmla="*/ 1874133 w 1874133"/>
              <a:gd name="connsiteY3" fmla="*/ 24603 h 246029"/>
              <a:gd name="connsiteX4" fmla="*/ 1874133 w 1874133"/>
              <a:gd name="connsiteY4" fmla="*/ 221426 h 246029"/>
              <a:gd name="connsiteX5" fmla="*/ 1849530 w 1874133"/>
              <a:gd name="connsiteY5" fmla="*/ 246029 h 246029"/>
              <a:gd name="connsiteX6" fmla="*/ 24603 w 1874133"/>
              <a:gd name="connsiteY6" fmla="*/ 246029 h 246029"/>
              <a:gd name="connsiteX7" fmla="*/ 0 w 1874133"/>
              <a:gd name="connsiteY7" fmla="*/ 221426 h 246029"/>
              <a:gd name="connsiteX8" fmla="*/ 0 w 1874133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4133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849530" y="0"/>
                </a:lnTo>
                <a:cubicBezTo>
                  <a:pt x="1863118" y="0"/>
                  <a:pt x="1874133" y="11015"/>
                  <a:pt x="1874133" y="24603"/>
                </a:cubicBezTo>
                <a:lnTo>
                  <a:pt x="1874133" y="221426"/>
                </a:lnTo>
                <a:cubicBezTo>
                  <a:pt x="1874133" y="235014"/>
                  <a:pt x="1863118" y="246029"/>
                  <a:pt x="1849530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ello,3</a:t>
            </a:r>
            <a:endParaRPr lang="zh-CN" altLang="en-US" sz="1100" b="1" kern="1200" dirty="0"/>
          </a:p>
        </p:txBody>
      </p:sp>
      <p:sp>
        <p:nvSpPr>
          <p:cNvPr id="50" name="任意多边形: 形状 49">
            <a:extLst>
              <a:ext uri="{FF2B5EF4-FFF2-40B4-BE49-F238E27FC236}">
                <a16:creationId xmlns:a16="http://schemas.microsoft.com/office/drawing/2014/main" id="{797AF3D5-00A6-4B66-81EB-23048BB2DC9B}"/>
              </a:ext>
            </a:extLst>
          </p:cNvPr>
          <p:cNvSpPr/>
          <p:nvPr/>
        </p:nvSpPr>
        <p:spPr>
          <a:xfrm>
            <a:off x="3783628" y="3051728"/>
            <a:ext cx="1576742" cy="246029"/>
          </a:xfrm>
          <a:custGeom>
            <a:avLst/>
            <a:gdLst>
              <a:gd name="connsiteX0" fmla="*/ 0 w 1576742"/>
              <a:gd name="connsiteY0" fmla="*/ 24603 h 246029"/>
              <a:gd name="connsiteX1" fmla="*/ 24603 w 1576742"/>
              <a:gd name="connsiteY1" fmla="*/ 0 h 246029"/>
              <a:gd name="connsiteX2" fmla="*/ 1552139 w 1576742"/>
              <a:gd name="connsiteY2" fmla="*/ 0 h 246029"/>
              <a:gd name="connsiteX3" fmla="*/ 1576742 w 1576742"/>
              <a:gd name="connsiteY3" fmla="*/ 24603 h 246029"/>
              <a:gd name="connsiteX4" fmla="*/ 1576742 w 1576742"/>
              <a:gd name="connsiteY4" fmla="*/ 221426 h 246029"/>
              <a:gd name="connsiteX5" fmla="*/ 1552139 w 1576742"/>
              <a:gd name="connsiteY5" fmla="*/ 246029 h 246029"/>
              <a:gd name="connsiteX6" fmla="*/ 24603 w 1576742"/>
              <a:gd name="connsiteY6" fmla="*/ 246029 h 246029"/>
              <a:gd name="connsiteX7" fmla="*/ 0 w 1576742"/>
              <a:gd name="connsiteY7" fmla="*/ 221426 h 246029"/>
              <a:gd name="connsiteX8" fmla="*/ 0 w 1576742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6742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552139" y="0"/>
                </a:lnTo>
                <a:cubicBezTo>
                  <a:pt x="1565727" y="0"/>
                  <a:pt x="1576742" y="11015"/>
                  <a:pt x="1576742" y="24603"/>
                </a:cubicBezTo>
                <a:lnTo>
                  <a:pt x="1576742" y="221426"/>
                </a:lnTo>
                <a:cubicBezTo>
                  <a:pt x="1576742" y="235014"/>
                  <a:pt x="1565727" y="246029"/>
                  <a:pt x="1552139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I,3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3A72661A-86C3-4072-848F-FBFEC1D66858}"/>
              </a:ext>
            </a:extLst>
          </p:cNvPr>
          <p:cNvSpPr/>
          <p:nvPr/>
        </p:nvSpPr>
        <p:spPr>
          <a:xfrm>
            <a:off x="3783628" y="3453443"/>
            <a:ext cx="1573660" cy="246029"/>
          </a:xfrm>
          <a:custGeom>
            <a:avLst/>
            <a:gdLst>
              <a:gd name="connsiteX0" fmla="*/ 0 w 1573660"/>
              <a:gd name="connsiteY0" fmla="*/ 24603 h 246029"/>
              <a:gd name="connsiteX1" fmla="*/ 24603 w 1573660"/>
              <a:gd name="connsiteY1" fmla="*/ 0 h 246029"/>
              <a:gd name="connsiteX2" fmla="*/ 1549057 w 1573660"/>
              <a:gd name="connsiteY2" fmla="*/ 0 h 246029"/>
              <a:gd name="connsiteX3" fmla="*/ 1573660 w 1573660"/>
              <a:gd name="connsiteY3" fmla="*/ 24603 h 246029"/>
              <a:gd name="connsiteX4" fmla="*/ 1573660 w 1573660"/>
              <a:gd name="connsiteY4" fmla="*/ 221426 h 246029"/>
              <a:gd name="connsiteX5" fmla="*/ 1549057 w 1573660"/>
              <a:gd name="connsiteY5" fmla="*/ 246029 h 246029"/>
              <a:gd name="connsiteX6" fmla="*/ 24603 w 1573660"/>
              <a:gd name="connsiteY6" fmla="*/ 246029 h 246029"/>
              <a:gd name="connsiteX7" fmla="*/ 0 w 1573660"/>
              <a:gd name="connsiteY7" fmla="*/ 221426 h 246029"/>
              <a:gd name="connsiteX8" fmla="*/ 0 w 1573660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3660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549057" y="0"/>
                </a:lnTo>
                <a:cubicBezTo>
                  <a:pt x="1562645" y="0"/>
                  <a:pt x="1573660" y="11015"/>
                  <a:pt x="1573660" y="24603"/>
                </a:cubicBezTo>
                <a:lnTo>
                  <a:pt x="1573660" y="221426"/>
                </a:lnTo>
                <a:cubicBezTo>
                  <a:pt x="1573660" y="235014"/>
                  <a:pt x="1562645" y="246029"/>
                  <a:pt x="1549057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 Java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39" name="任意多边形: 形状 38">
            <a:extLst>
              <a:ext uri="{FF2B5EF4-FFF2-40B4-BE49-F238E27FC236}">
                <a16:creationId xmlns:a16="http://schemas.microsoft.com/office/drawing/2014/main" id="{CA27CE38-AFAC-4CEB-AA98-7699CE12853F}"/>
              </a:ext>
            </a:extLst>
          </p:cNvPr>
          <p:cNvSpPr/>
          <p:nvPr/>
        </p:nvSpPr>
        <p:spPr>
          <a:xfrm>
            <a:off x="3830451" y="3855158"/>
            <a:ext cx="1480010" cy="246029"/>
          </a:xfrm>
          <a:custGeom>
            <a:avLst/>
            <a:gdLst>
              <a:gd name="connsiteX0" fmla="*/ 0 w 1480010"/>
              <a:gd name="connsiteY0" fmla="*/ 24603 h 246029"/>
              <a:gd name="connsiteX1" fmla="*/ 24603 w 1480010"/>
              <a:gd name="connsiteY1" fmla="*/ 0 h 246029"/>
              <a:gd name="connsiteX2" fmla="*/ 1455407 w 1480010"/>
              <a:gd name="connsiteY2" fmla="*/ 0 h 246029"/>
              <a:gd name="connsiteX3" fmla="*/ 1480010 w 1480010"/>
              <a:gd name="connsiteY3" fmla="*/ 24603 h 246029"/>
              <a:gd name="connsiteX4" fmla="*/ 1480010 w 1480010"/>
              <a:gd name="connsiteY4" fmla="*/ 221426 h 246029"/>
              <a:gd name="connsiteX5" fmla="*/ 1455407 w 1480010"/>
              <a:gd name="connsiteY5" fmla="*/ 246029 h 246029"/>
              <a:gd name="connsiteX6" fmla="*/ 24603 w 1480010"/>
              <a:gd name="connsiteY6" fmla="*/ 246029 h 246029"/>
              <a:gd name="connsiteX7" fmla="*/ 0 w 1480010"/>
              <a:gd name="connsiteY7" fmla="*/ 221426 h 246029"/>
              <a:gd name="connsiteX8" fmla="*/ 0 w 1480010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80010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455407" y="0"/>
                </a:lnTo>
                <a:cubicBezTo>
                  <a:pt x="1468995" y="0"/>
                  <a:pt x="1480010" y="11015"/>
                  <a:pt x="1480010" y="24603"/>
                </a:cubicBezTo>
                <a:lnTo>
                  <a:pt x="1480010" y="221426"/>
                </a:lnTo>
                <a:cubicBezTo>
                  <a:pt x="1480010" y="235014"/>
                  <a:pt x="1468995" y="246029"/>
                  <a:pt x="1455407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like,3</a:t>
            </a:r>
            <a:endParaRPr lang="zh-CN" altLang="en-US" sz="1100" b="1" kern="1200" dirty="0"/>
          </a:p>
        </p:txBody>
      </p:sp>
      <p:sp>
        <p:nvSpPr>
          <p:cNvPr id="40" name="任意多边形: 形状 39">
            <a:extLst>
              <a:ext uri="{FF2B5EF4-FFF2-40B4-BE49-F238E27FC236}">
                <a16:creationId xmlns:a16="http://schemas.microsoft.com/office/drawing/2014/main" id="{D8FE8E58-BD51-4960-A5C6-8DABD73D2408}"/>
              </a:ext>
            </a:extLst>
          </p:cNvPr>
          <p:cNvSpPr/>
          <p:nvPr/>
        </p:nvSpPr>
        <p:spPr>
          <a:xfrm>
            <a:off x="3873005" y="4256873"/>
            <a:ext cx="1394904" cy="246029"/>
          </a:xfrm>
          <a:custGeom>
            <a:avLst/>
            <a:gdLst>
              <a:gd name="connsiteX0" fmla="*/ 0 w 1394904"/>
              <a:gd name="connsiteY0" fmla="*/ 24603 h 246029"/>
              <a:gd name="connsiteX1" fmla="*/ 24603 w 1394904"/>
              <a:gd name="connsiteY1" fmla="*/ 0 h 246029"/>
              <a:gd name="connsiteX2" fmla="*/ 1370301 w 1394904"/>
              <a:gd name="connsiteY2" fmla="*/ 0 h 246029"/>
              <a:gd name="connsiteX3" fmla="*/ 1394904 w 1394904"/>
              <a:gd name="connsiteY3" fmla="*/ 24603 h 246029"/>
              <a:gd name="connsiteX4" fmla="*/ 1394904 w 1394904"/>
              <a:gd name="connsiteY4" fmla="*/ 221426 h 246029"/>
              <a:gd name="connsiteX5" fmla="*/ 1370301 w 1394904"/>
              <a:gd name="connsiteY5" fmla="*/ 246029 h 246029"/>
              <a:gd name="connsiteX6" fmla="*/ 24603 w 1394904"/>
              <a:gd name="connsiteY6" fmla="*/ 246029 h 246029"/>
              <a:gd name="connsiteX7" fmla="*/ 0 w 1394904"/>
              <a:gd name="connsiteY7" fmla="*/ 221426 h 246029"/>
              <a:gd name="connsiteX8" fmla="*/ 0 w 1394904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94904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370301" y="0"/>
                </a:lnTo>
                <a:cubicBezTo>
                  <a:pt x="1383889" y="0"/>
                  <a:pt x="1394904" y="11015"/>
                  <a:pt x="1394904" y="24603"/>
                </a:cubicBezTo>
                <a:lnTo>
                  <a:pt x="1394904" y="221426"/>
                </a:lnTo>
                <a:cubicBezTo>
                  <a:pt x="1394904" y="235014"/>
                  <a:pt x="1383889" y="246029"/>
                  <a:pt x="1370301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MapReduce,2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41" name="任意多边形: 形状 40">
            <a:extLst>
              <a:ext uri="{FF2B5EF4-FFF2-40B4-BE49-F238E27FC236}">
                <a16:creationId xmlns:a16="http://schemas.microsoft.com/office/drawing/2014/main" id="{0C871A97-850E-47D8-BD7A-1E057420DA1E}"/>
              </a:ext>
            </a:extLst>
          </p:cNvPr>
          <p:cNvSpPr/>
          <p:nvPr/>
        </p:nvSpPr>
        <p:spPr>
          <a:xfrm>
            <a:off x="3945575" y="4658586"/>
            <a:ext cx="1309443" cy="247985"/>
          </a:xfrm>
          <a:custGeom>
            <a:avLst/>
            <a:gdLst>
              <a:gd name="connsiteX0" fmla="*/ 0 w 1309443"/>
              <a:gd name="connsiteY0" fmla="*/ 24799 h 247985"/>
              <a:gd name="connsiteX1" fmla="*/ 24799 w 1309443"/>
              <a:gd name="connsiteY1" fmla="*/ 0 h 247985"/>
              <a:gd name="connsiteX2" fmla="*/ 1284645 w 1309443"/>
              <a:gd name="connsiteY2" fmla="*/ 0 h 247985"/>
              <a:gd name="connsiteX3" fmla="*/ 1309444 w 1309443"/>
              <a:gd name="connsiteY3" fmla="*/ 24799 h 247985"/>
              <a:gd name="connsiteX4" fmla="*/ 1309443 w 1309443"/>
              <a:gd name="connsiteY4" fmla="*/ 223187 h 247985"/>
              <a:gd name="connsiteX5" fmla="*/ 1284644 w 1309443"/>
              <a:gd name="connsiteY5" fmla="*/ 247986 h 247985"/>
              <a:gd name="connsiteX6" fmla="*/ 24799 w 1309443"/>
              <a:gd name="connsiteY6" fmla="*/ 247985 h 247985"/>
              <a:gd name="connsiteX7" fmla="*/ 0 w 1309443"/>
              <a:gd name="connsiteY7" fmla="*/ 223186 h 247985"/>
              <a:gd name="connsiteX8" fmla="*/ 0 w 1309443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09443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284645" y="0"/>
                </a:lnTo>
                <a:cubicBezTo>
                  <a:pt x="1298341" y="0"/>
                  <a:pt x="1309444" y="11103"/>
                  <a:pt x="1309444" y="24799"/>
                </a:cubicBezTo>
                <a:cubicBezTo>
                  <a:pt x="1309444" y="90928"/>
                  <a:pt x="1309443" y="157058"/>
                  <a:pt x="1309443" y="223187"/>
                </a:cubicBezTo>
                <a:cubicBezTo>
                  <a:pt x="1309443" y="236883"/>
                  <a:pt x="1298340" y="247986"/>
                  <a:pt x="1284644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 World,1</a:t>
            </a:r>
            <a:endParaRPr lang="zh-CN" altLang="en-US" sz="1100" b="1" kern="1200" dirty="0"/>
          </a:p>
        </p:txBody>
      </p:sp>
      <p:sp>
        <p:nvSpPr>
          <p:cNvPr id="21" name="标题 3">
            <a:extLst>
              <a:ext uri="{FF2B5EF4-FFF2-40B4-BE49-F238E27FC236}">
                <a16:creationId xmlns:a16="http://schemas.microsoft.com/office/drawing/2014/main" id="{7901B392-97BC-4C16-AEA5-E736066C9CA3}"/>
              </a:ext>
            </a:extLst>
          </p:cNvPr>
          <p:cNvSpPr txBox="1">
            <a:spLocks/>
          </p:cNvSpPr>
          <p:nvPr/>
        </p:nvSpPr>
        <p:spPr>
          <a:xfrm>
            <a:off x="502444" y="-9171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MapReduce</a:t>
            </a:r>
            <a:r>
              <a:rPr lang="zh-CN" altLang="en-US" dirty="0"/>
              <a:t>工作流程</a:t>
            </a:r>
          </a:p>
        </p:txBody>
      </p:sp>
    </p:spTree>
    <p:extLst>
      <p:ext uri="{BB962C8B-B14F-4D97-AF65-F5344CB8AC3E}">
        <p14:creationId xmlns:p14="http://schemas.microsoft.com/office/powerpoint/2010/main" val="26079029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组合 28">
            <a:extLst>
              <a:ext uri="{FF2B5EF4-FFF2-40B4-BE49-F238E27FC236}">
                <a16:creationId xmlns:a16="http://schemas.microsoft.com/office/drawing/2014/main" id="{03C0192D-30E2-46B6-AE70-4A7443578242}"/>
              </a:ext>
            </a:extLst>
          </p:cNvPr>
          <p:cNvGrpSpPr/>
          <p:nvPr/>
        </p:nvGrpSpPr>
        <p:grpSpPr>
          <a:xfrm>
            <a:off x="3173040" y="495654"/>
            <a:ext cx="2793511" cy="5638446"/>
            <a:chOff x="5468331" y="495654"/>
            <a:chExt cx="2793511" cy="5638446"/>
          </a:xfrm>
        </p:grpSpPr>
        <p:grpSp>
          <p:nvGrpSpPr>
            <p:cNvPr id="37" name="组合 36">
              <a:extLst>
                <a:ext uri="{FF2B5EF4-FFF2-40B4-BE49-F238E27FC236}">
                  <a16:creationId xmlns:a16="http://schemas.microsoft.com/office/drawing/2014/main" id="{DFADF8BE-2EF0-483F-9606-61534EC156AC}"/>
                </a:ext>
              </a:extLst>
            </p:cNvPr>
            <p:cNvGrpSpPr/>
            <p:nvPr/>
          </p:nvGrpSpPr>
          <p:grpSpPr>
            <a:xfrm>
              <a:off x="5468331" y="495654"/>
              <a:ext cx="2793511" cy="5638446"/>
              <a:chOff x="4965094" y="495654"/>
              <a:chExt cx="2793511" cy="5638446"/>
            </a:xfrm>
          </p:grpSpPr>
          <p:sp>
            <p:nvSpPr>
              <p:cNvPr id="44" name="矩形: 圆角 43">
                <a:extLst>
                  <a:ext uri="{FF2B5EF4-FFF2-40B4-BE49-F238E27FC236}">
                    <a16:creationId xmlns:a16="http://schemas.microsoft.com/office/drawing/2014/main" id="{CB68AA02-04C7-48AB-ABAC-650129DC3EC1}"/>
                  </a:ext>
                </a:extLst>
              </p:cNvPr>
              <p:cNvSpPr/>
              <p:nvPr/>
            </p:nvSpPr>
            <p:spPr>
              <a:xfrm>
                <a:off x="4965094" y="1130300"/>
                <a:ext cx="2793511" cy="5003800"/>
              </a:xfrm>
              <a:prstGeom prst="round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5" name="文本框 44">
                <a:extLst>
                  <a:ext uri="{FF2B5EF4-FFF2-40B4-BE49-F238E27FC236}">
                    <a16:creationId xmlns:a16="http://schemas.microsoft.com/office/drawing/2014/main" id="{4A57C18F-177D-4C02-885F-D63F073D9645}"/>
                  </a:ext>
                </a:extLst>
              </p:cNvPr>
              <p:cNvSpPr txBox="1"/>
              <p:nvPr/>
            </p:nvSpPr>
            <p:spPr>
              <a:xfrm>
                <a:off x="5473087" y="495654"/>
                <a:ext cx="177752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2800" dirty="0"/>
                  <a:t>输出</a:t>
                </a:r>
              </a:p>
            </p:txBody>
          </p:sp>
        </p:grpSp>
        <p:sp>
          <p:nvSpPr>
            <p:cNvPr id="43" name="矩形: 圆角 42">
              <a:extLst>
                <a:ext uri="{FF2B5EF4-FFF2-40B4-BE49-F238E27FC236}">
                  <a16:creationId xmlns:a16="http://schemas.microsoft.com/office/drawing/2014/main" id="{EEC2A57D-7CC8-46D1-8850-FCF8A3412737}"/>
                </a:ext>
              </a:extLst>
            </p:cNvPr>
            <p:cNvSpPr>
              <a:spLocks/>
            </p:cNvSpPr>
            <p:nvPr/>
          </p:nvSpPr>
          <p:spPr>
            <a:xfrm>
              <a:off x="5850674" y="2134415"/>
              <a:ext cx="2028825" cy="2995571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</p:grp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58DC52F2-CC78-4AA9-B594-19A5E7C89907}"/>
              </a:ext>
            </a:extLst>
          </p:cNvPr>
          <p:cNvGrpSpPr/>
          <p:nvPr/>
        </p:nvGrpSpPr>
        <p:grpSpPr>
          <a:xfrm>
            <a:off x="-2917774" y="495654"/>
            <a:ext cx="2793511" cy="5638446"/>
            <a:chOff x="5468332" y="495654"/>
            <a:chExt cx="2793511" cy="5638446"/>
          </a:xfrm>
        </p:grpSpPr>
        <p:grpSp>
          <p:nvGrpSpPr>
            <p:cNvPr id="31" name="组合 30">
              <a:extLst>
                <a:ext uri="{FF2B5EF4-FFF2-40B4-BE49-F238E27FC236}">
                  <a16:creationId xmlns:a16="http://schemas.microsoft.com/office/drawing/2014/main" id="{EA8693D5-7024-45AA-9EB3-7C6E1D77ADE2}"/>
                </a:ext>
              </a:extLst>
            </p:cNvPr>
            <p:cNvGrpSpPr/>
            <p:nvPr/>
          </p:nvGrpSpPr>
          <p:grpSpPr>
            <a:xfrm>
              <a:off x="5468332" y="495654"/>
              <a:ext cx="2793511" cy="5638446"/>
              <a:chOff x="4965095" y="495654"/>
              <a:chExt cx="2793511" cy="5638446"/>
            </a:xfrm>
          </p:grpSpPr>
          <p:sp>
            <p:nvSpPr>
              <p:cNvPr id="35" name="矩形: 圆角 34">
                <a:extLst>
                  <a:ext uri="{FF2B5EF4-FFF2-40B4-BE49-F238E27FC236}">
                    <a16:creationId xmlns:a16="http://schemas.microsoft.com/office/drawing/2014/main" id="{160CF4E0-52B2-4A3F-8EB0-91071C5C2410}"/>
                  </a:ext>
                </a:extLst>
              </p:cNvPr>
              <p:cNvSpPr/>
              <p:nvPr/>
            </p:nvSpPr>
            <p:spPr>
              <a:xfrm>
                <a:off x="4965095" y="1130300"/>
                <a:ext cx="2793511" cy="5003800"/>
              </a:xfrm>
              <a:prstGeom prst="round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2" name="文本框 41">
                <a:extLst>
                  <a:ext uri="{FF2B5EF4-FFF2-40B4-BE49-F238E27FC236}">
                    <a16:creationId xmlns:a16="http://schemas.microsoft.com/office/drawing/2014/main" id="{8A8236DC-A948-44D4-A62A-079D0FB9C5E6}"/>
                  </a:ext>
                </a:extLst>
              </p:cNvPr>
              <p:cNvSpPr txBox="1"/>
              <p:nvPr/>
            </p:nvSpPr>
            <p:spPr>
              <a:xfrm>
                <a:off x="5473087" y="495654"/>
                <a:ext cx="177752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2800" dirty="0"/>
                  <a:t>Reduce()</a:t>
                </a:r>
                <a:endParaRPr lang="zh-CN" altLang="en-US" sz="2800" dirty="0"/>
              </a:p>
            </p:txBody>
          </p:sp>
        </p:grpSp>
        <p:sp>
          <p:nvSpPr>
            <p:cNvPr id="33" name="矩形: 圆角 32">
              <a:extLst>
                <a:ext uri="{FF2B5EF4-FFF2-40B4-BE49-F238E27FC236}">
                  <a16:creationId xmlns:a16="http://schemas.microsoft.com/office/drawing/2014/main" id="{8666965C-7A61-4CA2-ACCA-F9FD4AD30711}"/>
                </a:ext>
              </a:extLst>
            </p:cNvPr>
            <p:cNvSpPr>
              <a:spLocks/>
            </p:cNvSpPr>
            <p:nvPr/>
          </p:nvSpPr>
          <p:spPr>
            <a:xfrm>
              <a:off x="5850674" y="1634825"/>
              <a:ext cx="2028825" cy="1662932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  <p:sp>
          <p:nvSpPr>
            <p:cNvPr id="34" name="矩形: 圆角 33">
              <a:extLst>
                <a:ext uri="{FF2B5EF4-FFF2-40B4-BE49-F238E27FC236}">
                  <a16:creationId xmlns:a16="http://schemas.microsoft.com/office/drawing/2014/main" id="{ABF70D29-58A0-4284-8EAF-157BF13EF491}"/>
                </a:ext>
              </a:extLst>
            </p:cNvPr>
            <p:cNvSpPr>
              <a:spLocks/>
            </p:cNvSpPr>
            <p:nvPr/>
          </p:nvSpPr>
          <p:spPr>
            <a:xfrm>
              <a:off x="5850674" y="3961339"/>
              <a:ext cx="2028825" cy="1662932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/>
            </a:p>
          </p:txBody>
        </p:sp>
      </p:grpSp>
      <p:sp>
        <p:nvSpPr>
          <p:cNvPr id="47" name="任意多边形: 形状 46">
            <a:extLst>
              <a:ext uri="{FF2B5EF4-FFF2-40B4-BE49-F238E27FC236}">
                <a16:creationId xmlns:a16="http://schemas.microsoft.com/office/drawing/2014/main" id="{73C79121-C320-4B29-B539-9FF835234826}"/>
              </a:ext>
            </a:extLst>
          </p:cNvPr>
          <p:cNvSpPr>
            <a:spLocks/>
          </p:cNvSpPr>
          <p:nvPr/>
        </p:nvSpPr>
        <p:spPr>
          <a:xfrm>
            <a:off x="3709331" y="2246342"/>
            <a:ext cx="1725341" cy="247985"/>
          </a:xfrm>
          <a:custGeom>
            <a:avLst/>
            <a:gdLst>
              <a:gd name="connsiteX0" fmla="*/ 0 w 1725341"/>
              <a:gd name="connsiteY0" fmla="*/ 24799 h 247985"/>
              <a:gd name="connsiteX1" fmla="*/ 24799 w 1725341"/>
              <a:gd name="connsiteY1" fmla="*/ 0 h 247985"/>
              <a:gd name="connsiteX2" fmla="*/ 1700543 w 1725341"/>
              <a:gd name="connsiteY2" fmla="*/ 0 h 247985"/>
              <a:gd name="connsiteX3" fmla="*/ 1725342 w 1725341"/>
              <a:gd name="connsiteY3" fmla="*/ 24799 h 247985"/>
              <a:gd name="connsiteX4" fmla="*/ 1725341 w 1725341"/>
              <a:gd name="connsiteY4" fmla="*/ 223187 h 247985"/>
              <a:gd name="connsiteX5" fmla="*/ 1700542 w 1725341"/>
              <a:gd name="connsiteY5" fmla="*/ 247986 h 247985"/>
              <a:gd name="connsiteX6" fmla="*/ 24799 w 1725341"/>
              <a:gd name="connsiteY6" fmla="*/ 247985 h 247985"/>
              <a:gd name="connsiteX7" fmla="*/ 0 w 1725341"/>
              <a:gd name="connsiteY7" fmla="*/ 223186 h 247985"/>
              <a:gd name="connsiteX8" fmla="*/ 0 w 1725341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25341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700543" y="0"/>
                </a:lnTo>
                <a:cubicBezTo>
                  <a:pt x="1714239" y="0"/>
                  <a:pt x="1725342" y="11103"/>
                  <a:pt x="1725342" y="24799"/>
                </a:cubicBezTo>
                <a:cubicBezTo>
                  <a:pt x="1725342" y="90928"/>
                  <a:pt x="1725341" y="157058"/>
                  <a:pt x="1725341" y="223187"/>
                </a:cubicBezTo>
                <a:cubicBezTo>
                  <a:pt x="1725341" y="236883"/>
                  <a:pt x="1714238" y="247986"/>
                  <a:pt x="1700542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adoop,2</a:t>
            </a:r>
            <a:endParaRPr lang="zh-CN" altLang="en-US" sz="1100" b="1" kern="1200" dirty="0"/>
          </a:p>
        </p:txBody>
      </p:sp>
      <p:sp>
        <p:nvSpPr>
          <p:cNvPr id="49" name="任意多边形: 形状 48">
            <a:extLst>
              <a:ext uri="{FF2B5EF4-FFF2-40B4-BE49-F238E27FC236}">
                <a16:creationId xmlns:a16="http://schemas.microsoft.com/office/drawing/2014/main" id="{9E55FE10-DDC4-4DF9-AC80-5402914C3BBE}"/>
              </a:ext>
            </a:extLst>
          </p:cNvPr>
          <p:cNvSpPr/>
          <p:nvPr/>
        </p:nvSpPr>
        <p:spPr>
          <a:xfrm>
            <a:off x="3634934" y="2650013"/>
            <a:ext cx="1874133" cy="246029"/>
          </a:xfrm>
          <a:custGeom>
            <a:avLst/>
            <a:gdLst>
              <a:gd name="connsiteX0" fmla="*/ 0 w 1874133"/>
              <a:gd name="connsiteY0" fmla="*/ 24603 h 246029"/>
              <a:gd name="connsiteX1" fmla="*/ 24603 w 1874133"/>
              <a:gd name="connsiteY1" fmla="*/ 0 h 246029"/>
              <a:gd name="connsiteX2" fmla="*/ 1849530 w 1874133"/>
              <a:gd name="connsiteY2" fmla="*/ 0 h 246029"/>
              <a:gd name="connsiteX3" fmla="*/ 1874133 w 1874133"/>
              <a:gd name="connsiteY3" fmla="*/ 24603 h 246029"/>
              <a:gd name="connsiteX4" fmla="*/ 1874133 w 1874133"/>
              <a:gd name="connsiteY4" fmla="*/ 221426 h 246029"/>
              <a:gd name="connsiteX5" fmla="*/ 1849530 w 1874133"/>
              <a:gd name="connsiteY5" fmla="*/ 246029 h 246029"/>
              <a:gd name="connsiteX6" fmla="*/ 24603 w 1874133"/>
              <a:gd name="connsiteY6" fmla="*/ 246029 h 246029"/>
              <a:gd name="connsiteX7" fmla="*/ 0 w 1874133"/>
              <a:gd name="connsiteY7" fmla="*/ 221426 h 246029"/>
              <a:gd name="connsiteX8" fmla="*/ 0 w 1874133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4133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849530" y="0"/>
                </a:lnTo>
                <a:cubicBezTo>
                  <a:pt x="1863118" y="0"/>
                  <a:pt x="1874133" y="11015"/>
                  <a:pt x="1874133" y="24603"/>
                </a:cubicBezTo>
                <a:lnTo>
                  <a:pt x="1874133" y="221426"/>
                </a:lnTo>
                <a:cubicBezTo>
                  <a:pt x="1874133" y="235014"/>
                  <a:pt x="1863118" y="246029"/>
                  <a:pt x="1849530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Hello,3</a:t>
            </a:r>
            <a:endParaRPr lang="zh-CN" altLang="en-US" sz="1100" b="1" kern="1200" dirty="0"/>
          </a:p>
        </p:txBody>
      </p:sp>
      <p:sp>
        <p:nvSpPr>
          <p:cNvPr id="50" name="任意多边形: 形状 49">
            <a:extLst>
              <a:ext uri="{FF2B5EF4-FFF2-40B4-BE49-F238E27FC236}">
                <a16:creationId xmlns:a16="http://schemas.microsoft.com/office/drawing/2014/main" id="{797AF3D5-00A6-4B66-81EB-23048BB2DC9B}"/>
              </a:ext>
            </a:extLst>
          </p:cNvPr>
          <p:cNvSpPr/>
          <p:nvPr/>
        </p:nvSpPr>
        <p:spPr>
          <a:xfrm>
            <a:off x="3783628" y="3051728"/>
            <a:ext cx="1576742" cy="246029"/>
          </a:xfrm>
          <a:custGeom>
            <a:avLst/>
            <a:gdLst>
              <a:gd name="connsiteX0" fmla="*/ 0 w 1576742"/>
              <a:gd name="connsiteY0" fmla="*/ 24603 h 246029"/>
              <a:gd name="connsiteX1" fmla="*/ 24603 w 1576742"/>
              <a:gd name="connsiteY1" fmla="*/ 0 h 246029"/>
              <a:gd name="connsiteX2" fmla="*/ 1552139 w 1576742"/>
              <a:gd name="connsiteY2" fmla="*/ 0 h 246029"/>
              <a:gd name="connsiteX3" fmla="*/ 1576742 w 1576742"/>
              <a:gd name="connsiteY3" fmla="*/ 24603 h 246029"/>
              <a:gd name="connsiteX4" fmla="*/ 1576742 w 1576742"/>
              <a:gd name="connsiteY4" fmla="*/ 221426 h 246029"/>
              <a:gd name="connsiteX5" fmla="*/ 1552139 w 1576742"/>
              <a:gd name="connsiteY5" fmla="*/ 246029 h 246029"/>
              <a:gd name="connsiteX6" fmla="*/ 24603 w 1576742"/>
              <a:gd name="connsiteY6" fmla="*/ 246029 h 246029"/>
              <a:gd name="connsiteX7" fmla="*/ 0 w 1576742"/>
              <a:gd name="connsiteY7" fmla="*/ 221426 h 246029"/>
              <a:gd name="connsiteX8" fmla="*/ 0 w 1576742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6742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552139" y="0"/>
                </a:lnTo>
                <a:cubicBezTo>
                  <a:pt x="1565727" y="0"/>
                  <a:pt x="1576742" y="11015"/>
                  <a:pt x="1576742" y="24603"/>
                </a:cubicBezTo>
                <a:lnTo>
                  <a:pt x="1576742" y="221426"/>
                </a:lnTo>
                <a:cubicBezTo>
                  <a:pt x="1576742" y="235014"/>
                  <a:pt x="1565727" y="246029"/>
                  <a:pt x="1552139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I,3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3A72661A-86C3-4072-848F-FBFEC1D66858}"/>
              </a:ext>
            </a:extLst>
          </p:cNvPr>
          <p:cNvSpPr/>
          <p:nvPr/>
        </p:nvSpPr>
        <p:spPr>
          <a:xfrm>
            <a:off x="3783628" y="3453443"/>
            <a:ext cx="1573660" cy="246029"/>
          </a:xfrm>
          <a:custGeom>
            <a:avLst/>
            <a:gdLst>
              <a:gd name="connsiteX0" fmla="*/ 0 w 1573660"/>
              <a:gd name="connsiteY0" fmla="*/ 24603 h 246029"/>
              <a:gd name="connsiteX1" fmla="*/ 24603 w 1573660"/>
              <a:gd name="connsiteY1" fmla="*/ 0 h 246029"/>
              <a:gd name="connsiteX2" fmla="*/ 1549057 w 1573660"/>
              <a:gd name="connsiteY2" fmla="*/ 0 h 246029"/>
              <a:gd name="connsiteX3" fmla="*/ 1573660 w 1573660"/>
              <a:gd name="connsiteY3" fmla="*/ 24603 h 246029"/>
              <a:gd name="connsiteX4" fmla="*/ 1573660 w 1573660"/>
              <a:gd name="connsiteY4" fmla="*/ 221426 h 246029"/>
              <a:gd name="connsiteX5" fmla="*/ 1549057 w 1573660"/>
              <a:gd name="connsiteY5" fmla="*/ 246029 h 246029"/>
              <a:gd name="connsiteX6" fmla="*/ 24603 w 1573660"/>
              <a:gd name="connsiteY6" fmla="*/ 246029 h 246029"/>
              <a:gd name="connsiteX7" fmla="*/ 0 w 1573660"/>
              <a:gd name="connsiteY7" fmla="*/ 221426 h 246029"/>
              <a:gd name="connsiteX8" fmla="*/ 0 w 1573660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3660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549057" y="0"/>
                </a:lnTo>
                <a:cubicBezTo>
                  <a:pt x="1562645" y="0"/>
                  <a:pt x="1573660" y="11015"/>
                  <a:pt x="1573660" y="24603"/>
                </a:cubicBezTo>
                <a:lnTo>
                  <a:pt x="1573660" y="221426"/>
                </a:lnTo>
                <a:cubicBezTo>
                  <a:pt x="1573660" y="235014"/>
                  <a:pt x="1562645" y="246029"/>
                  <a:pt x="1549057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8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 Java,1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39" name="任意多边形: 形状 38">
            <a:extLst>
              <a:ext uri="{FF2B5EF4-FFF2-40B4-BE49-F238E27FC236}">
                <a16:creationId xmlns:a16="http://schemas.microsoft.com/office/drawing/2014/main" id="{CA27CE38-AFAC-4CEB-AA98-7699CE12853F}"/>
              </a:ext>
            </a:extLst>
          </p:cNvPr>
          <p:cNvSpPr/>
          <p:nvPr/>
        </p:nvSpPr>
        <p:spPr>
          <a:xfrm>
            <a:off x="3830451" y="3855158"/>
            <a:ext cx="1480010" cy="246029"/>
          </a:xfrm>
          <a:custGeom>
            <a:avLst/>
            <a:gdLst>
              <a:gd name="connsiteX0" fmla="*/ 0 w 1480010"/>
              <a:gd name="connsiteY0" fmla="*/ 24603 h 246029"/>
              <a:gd name="connsiteX1" fmla="*/ 24603 w 1480010"/>
              <a:gd name="connsiteY1" fmla="*/ 0 h 246029"/>
              <a:gd name="connsiteX2" fmla="*/ 1455407 w 1480010"/>
              <a:gd name="connsiteY2" fmla="*/ 0 h 246029"/>
              <a:gd name="connsiteX3" fmla="*/ 1480010 w 1480010"/>
              <a:gd name="connsiteY3" fmla="*/ 24603 h 246029"/>
              <a:gd name="connsiteX4" fmla="*/ 1480010 w 1480010"/>
              <a:gd name="connsiteY4" fmla="*/ 221426 h 246029"/>
              <a:gd name="connsiteX5" fmla="*/ 1455407 w 1480010"/>
              <a:gd name="connsiteY5" fmla="*/ 246029 h 246029"/>
              <a:gd name="connsiteX6" fmla="*/ 24603 w 1480010"/>
              <a:gd name="connsiteY6" fmla="*/ 246029 h 246029"/>
              <a:gd name="connsiteX7" fmla="*/ 0 w 1480010"/>
              <a:gd name="connsiteY7" fmla="*/ 221426 h 246029"/>
              <a:gd name="connsiteX8" fmla="*/ 0 w 1480010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80010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455407" y="0"/>
                </a:lnTo>
                <a:cubicBezTo>
                  <a:pt x="1468995" y="0"/>
                  <a:pt x="1480010" y="11015"/>
                  <a:pt x="1480010" y="24603"/>
                </a:cubicBezTo>
                <a:lnTo>
                  <a:pt x="1480010" y="221426"/>
                </a:lnTo>
                <a:cubicBezTo>
                  <a:pt x="1480010" y="235014"/>
                  <a:pt x="1468995" y="246029"/>
                  <a:pt x="1455407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16" tIns="49116" rIns="49116" bIns="49116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like,3</a:t>
            </a:r>
            <a:endParaRPr lang="zh-CN" altLang="en-US" sz="1100" b="1" kern="1200" dirty="0"/>
          </a:p>
        </p:txBody>
      </p:sp>
      <p:sp>
        <p:nvSpPr>
          <p:cNvPr id="40" name="任意多边形: 形状 39">
            <a:extLst>
              <a:ext uri="{FF2B5EF4-FFF2-40B4-BE49-F238E27FC236}">
                <a16:creationId xmlns:a16="http://schemas.microsoft.com/office/drawing/2014/main" id="{D8FE8E58-BD51-4960-A5C6-8DABD73D2408}"/>
              </a:ext>
            </a:extLst>
          </p:cNvPr>
          <p:cNvSpPr/>
          <p:nvPr/>
        </p:nvSpPr>
        <p:spPr>
          <a:xfrm>
            <a:off x="3873005" y="4256873"/>
            <a:ext cx="1394904" cy="246029"/>
          </a:xfrm>
          <a:custGeom>
            <a:avLst/>
            <a:gdLst>
              <a:gd name="connsiteX0" fmla="*/ 0 w 1394904"/>
              <a:gd name="connsiteY0" fmla="*/ 24603 h 246029"/>
              <a:gd name="connsiteX1" fmla="*/ 24603 w 1394904"/>
              <a:gd name="connsiteY1" fmla="*/ 0 h 246029"/>
              <a:gd name="connsiteX2" fmla="*/ 1370301 w 1394904"/>
              <a:gd name="connsiteY2" fmla="*/ 0 h 246029"/>
              <a:gd name="connsiteX3" fmla="*/ 1394904 w 1394904"/>
              <a:gd name="connsiteY3" fmla="*/ 24603 h 246029"/>
              <a:gd name="connsiteX4" fmla="*/ 1394904 w 1394904"/>
              <a:gd name="connsiteY4" fmla="*/ 221426 h 246029"/>
              <a:gd name="connsiteX5" fmla="*/ 1370301 w 1394904"/>
              <a:gd name="connsiteY5" fmla="*/ 246029 h 246029"/>
              <a:gd name="connsiteX6" fmla="*/ 24603 w 1394904"/>
              <a:gd name="connsiteY6" fmla="*/ 246029 h 246029"/>
              <a:gd name="connsiteX7" fmla="*/ 0 w 1394904"/>
              <a:gd name="connsiteY7" fmla="*/ 221426 h 246029"/>
              <a:gd name="connsiteX8" fmla="*/ 0 w 1394904"/>
              <a:gd name="connsiteY8" fmla="*/ 24603 h 24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94904" h="246029">
                <a:moveTo>
                  <a:pt x="0" y="24603"/>
                </a:moveTo>
                <a:cubicBezTo>
                  <a:pt x="0" y="11015"/>
                  <a:pt x="11015" y="0"/>
                  <a:pt x="24603" y="0"/>
                </a:cubicBezTo>
                <a:lnTo>
                  <a:pt x="1370301" y="0"/>
                </a:lnTo>
                <a:cubicBezTo>
                  <a:pt x="1383889" y="0"/>
                  <a:pt x="1394904" y="11015"/>
                  <a:pt x="1394904" y="24603"/>
                </a:cubicBezTo>
                <a:lnTo>
                  <a:pt x="1394904" y="221426"/>
                </a:lnTo>
                <a:cubicBezTo>
                  <a:pt x="1394904" y="235014"/>
                  <a:pt x="1383889" y="246029"/>
                  <a:pt x="1370301" y="246029"/>
                </a:cubicBezTo>
                <a:lnTo>
                  <a:pt x="24603" y="246029"/>
                </a:lnTo>
                <a:cubicBezTo>
                  <a:pt x="11015" y="246029"/>
                  <a:pt x="0" y="235014"/>
                  <a:pt x="0" y="221426"/>
                </a:cubicBezTo>
                <a:lnTo>
                  <a:pt x="0" y="24603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56" tIns="26256" rIns="26256" bIns="26256" numCol="1" spcCol="1270" anchor="ctr" anchorCtr="0">
            <a:noAutofit/>
          </a:bodyPr>
          <a:lstStyle/>
          <a:p>
            <a:pPr marL="0" lvl="0" indent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>
                <a:latin typeface="Arial"/>
                <a:ea typeface="微软雅黑"/>
                <a:cs typeface="+mn-cs"/>
              </a:rPr>
              <a:t>MapReduce,2</a:t>
            </a:r>
            <a:endParaRPr lang="zh-CN" altLang="en-US" sz="1100" b="1" kern="1200" dirty="0">
              <a:latin typeface="Arial"/>
              <a:ea typeface="微软雅黑"/>
              <a:cs typeface="+mn-cs"/>
            </a:endParaRPr>
          </a:p>
        </p:txBody>
      </p:sp>
      <p:sp>
        <p:nvSpPr>
          <p:cNvPr id="41" name="任意多边形: 形状 40">
            <a:extLst>
              <a:ext uri="{FF2B5EF4-FFF2-40B4-BE49-F238E27FC236}">
                <a16:creationId xmlns:a16="http://schemas.microsoft.com/office/drawing/2014/main" id="{0C871A97-850E-47D8-BD7A-1E057420DA1E}"/>
              </a:ext>
            </a:extLst>
          </p:cNvPr>
          <p:cNvSpPr/>
          <p:nvPr/>
        </p:nvSpPr>
        <p:spPr>
          <a:xfrm>
            <a:off x="3945575" y="4658586"/>
            <a:ext cx="1309443" cy="247985"/>
          </a:xfrm>
          <a:custGeom>
            <a:avLst/>
            <a:gdLst>
              <a:gd name="connsiteX0" fmla="*/ 0 w 1309443"/>
              <a:gd name="connsiteY0" fmla="*/ 24799 h 247985"/>
              <a:gd name="connsiteX1" fmla="*/ 24799 w 1309443"/>
              <a:gd name="connsiteY1" fmla="*/ 0 h 247985"/>
              <a:gd name="connsiteX2" fmla="*/ 1284645 w 1309443"/>
              <a:gd name="connsiteY2" fmla="*/ 0 h 247985"/>
              <a:gd name="connsiteX3" fmla="*/ 1309444 w 1309443"/>
              <a:gd name="connsiteY3" fmla="*/ 24799 h 247985"/>
              <a:gd name="connsiteX4" fmla="*/ 1309443 w 1309443"/>
              <a:gd name="connsiteY4" fmla="*/ 223187 h 247985"/>
              <a:gd name="connsiteX5" fmla="*/ 1284644 w 1309443"/>
              <a:gd name="connsiteY5" fmla="*/ 247986 h 247985"/>
              <a:gd name="connsiteX6" fmla="*/ 24799 w 1309443"/>
              <a:gd name="connsiteY6" fmla="*/ 247985 h 247985"/>
              <a:gd name="connsiteX7" fmla="*/ 0 w 1309443"/>
              <a:gd name="connsiteY7" fmla="*/ 223186 h 247985"/>
              <a:gd name="connsiteX8" fmla="*/ 0 w 1309443"/>
              <a:gd name="connsiteY8" fmla="*/ 24799 h 247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09443" h="247985">
                <a:moveTo>
                  <a:pt x="0" y="24799"/>
                </a:moveTo>
                <a:cubicBezTo>
                  <a:pt x="0" y="11103"/>
                  <a:pt x="11103" y="0"/>
                  <a:pt x="24799" y="0"/>
                </a:cubicBezTo>
                <a:lnTo>
                  <a:pt x="1284645" y="0"/>
                </a:lnTo>
                <a:cubicBezTo>
                  <a:pt x="1298341" y="0"/>
                  <a:pt x="1309444" y="11103"/>
                  <a:pt x="1309444" y="24799"/>
                </a:cubicBezTo>
                <a:cubicBezTo>
                  <a:pt x="1309444" y="90928"/>
                  <a:pt x="1309443" y="157058"/>
                  <a:pt x="1309443" y="223187"/>
                </a:cubicBezTo>
                <a:cubicBezTo>
                  <a:pt x="1309443" y="236883"/>
                  <a:pt x="1298340" y="247986"/>
                  <a:pt x="1284644" y="247986"/>
                </a:cubicBezTo>
                <a:lnTo>
                  <a:pt x="24799" y="247985"/>
                </a:lnTo>
                <a:cubicBezTo>
                  <a:pt x="11103" y="247985"/>
                  <a:pt x="0" y="236882"/>
                  <a:pt x="0" y="223186"/>
                </a:cubicBezTo>
                <a:lnTo>
                  <a:pt x="0" y="24799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7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7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173" tIns="49173" rIns="49173" bIns="49173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100" b="1" kern="1200" dirty="0"/>
              <a:t> World,1</a:t>
            </a:r>
            <a:endParaRPr lang="zh-CN" altLang="en-US" sz="1100" b="1" kern="1200" dirty="0"/>
          </a:p>
        </p:txBody>
      </p:sp>
      <p:sp>
        <p:nvSpPr>
          <p:cNvPr id="21" name="标题 3">
            <a:extLst>
              <a:ext uri="{FF2B5EF4-FFF2-40B4-BE49-F238E27FC236}">
                <a16:creationId xmlns:a16="http://schemas.microsoft.com/office/drawing/2014/main" id="{7901B392-97BC-4C16-AEA5-E736066C9CA3}"/>
              </a:ext>
            </a:extLst>
          </p:cNvPr>
          <p:cNvSpPr txBox="1">
            <a:spLocks/>
          </p:cNvSpPr>
          <p:nvPr/>
        </p:nvSpPr>
        <p:spPr>
          <a:xfrm>
            <a:off x="502444" y="-9171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dirty="0"/>
              <a:t>MapReduce</a:t>
            </a:r>
            <a:r>
              <a:rPr lang="zh-CN" altLang="en-US" dirty="0"/>
              <a:t>工作流程</a:t>
            </a:r>
          </a:p>
        </p:txBody>
      </p:sp>
    </p:spTree>
    <p:extLst>
      <p:ext uri="{BB962C8B-B14F-4D97-AF65-F5344CB8AC3E}">
        <p14:creationId xmlns:p14="http://schemas.microsoft.com/office/powerpoint/2010/main" val="1316794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" dur="10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" decel="1000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37" presetClass="exit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" decel="100000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37" presetClass="exit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" decel="100000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37" presetClass="exit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" decel="1000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37" presetClass="exit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" decel="100000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37" presetClass="exit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" decel="1000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37" presetClass="exit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" decel="100000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37" presetClass="exit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" decel="1000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37" presetClass="exit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" decel="1000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49" grpId="0" animBg="1"/>
      <p:bldP spid="50" grpId="0" animBg="1"/>
      <p:bldP spid="36" grpId="0" animBg="1"/>
      <p:bldP spid="39" grpId="0" animBg="1"/>
      <p:bldP spid="40" grpId="0" animBg="1"/>
      <p:bldP spid="41" grpId="0" animBg="1"/>
      <p:bldP spid="21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400" dirty="0"/>
              <a:t>Hadoop</a:t>
            </a:r>
            <a:r>
              <a:rPr lang="zh-CN" altLang="en-US" sz="2400" dirty="0"/>
              <a:t>的部署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zh-CN" altLang="en-US" sz="1100" dirty="0"/>
              <a:t>用最少的步骤来搭建一个可以跑代码的环境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024505" y="2781772"/>
            <a:ext cx="1168104" cy="1015623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1350" spc="75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z="1350" spc="75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63182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F45B294-5C5D-4662-A329-287806412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可是我不会用</a:t>
            </a:r>
            <a:r>
              <a:rPr lang="en-US" altLang="zh-CN" dirty="0"/>
              <a:t>Linux</a:t>
            </a:r>
            <a:r>
              <a:rPr lang="zh-CN" altLang="en-US" dirty="0"/>
              <a:t>类系统啊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C4BAC71-8F38-42EA-9C67-174F5816C6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/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7B35E2C1-3505-4A9F-B1AE-003312934DA1}"/>
              </a:ext>
            </a:extLst>
          </p:cNvPr>
          <p:cNvGrpSpPr/>
          <p:nvPr/>
        </p:nvGrpSpPr>
        <p:grpSpPr>
          <a:xfrm>
            <a:off x="538758" y="1419842"/>
            <a:ext cx="8083659" cy="682416"/>
            <a:chOff x="538758" y="1329891"/>
            <a:chExt cx="8083659" cy="682416"/>
          </a:xfrm>
        </p:grpSpPr>
        <p:sp>
          <p:nvSpPr>
            <p:cNvPr id="6" name="îsľíḑê">
              <a:extLst>
                <a:ext uri="{FF2B5EF4-FFF2-40B4-BE49-F238E27FC236}">
                  <a16:creationId xmlns:a16="http://schemas.microsoft.com/office/drawing/2014/main" id="{558775C2-F41F-4C94-9329-CFBC2BEBB30F}"/>
                </a:ext>
              </a:extLst>
            </p:cNvPr>
            <p:cNvSpPr/>
            <p:nvPr/>
          </p:nvSpPr>
          <p:spPr bwMode="auto">
            <a:xfrm>
              <a:off x="557123" y="1334331"/>
              <a:ext cx="8065294" cy="677976"/>
            </a:xfrm>
            <a:prstGeom prst="homePlate">
              <a:avLst>
                <a:gd name="adj" fmla="val 35856"/>
              </a:avLst>
            </a:prstGeom>
            <a:solidFill>
              <a:schemeClr val="tx1">
                <a:lumMod val="20000"/>
                <a:lumOff val="80000"/>
                <a:alpha val="48000"/>
              </a:schemeClr>
            </a:solidFill>
            <a:ln w="25400" algn="ctr">
              <a:noFill/>
              <a:miter lim="800000"/>
              <a:headEnd/>
              <a:tailEnd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/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2C01F16C-4B6E-4A40-8C1B-AC7E89337FC0}"/>
                </a:ext>
              </a:extLst>
            </p:cNvPr>
            <p:cNvSpPr txBox="1"/>
            <p:nvPr/>
          </p:nvSpPr>
          <p:spPr>
            <a:xfrm>
              <a:off x="538758" y="1329891"/>
              <a:ext cx="804734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dirty="0"/>
                <a:t>基于命令行的操作</a:t>
              </a:r>
            </a:p>
          </p:txBody>
        </p:sp>
      </p:grpSp>
      <p:grpSp>
        <p:nvGrpSpPr>
          <p:cNvPr id="66" name="组合 65">
            <a:extLst>
              <a:ext uri="{FF2B5EF4-FFF2-40B4-BE49-F238E27FC236}">
                <a16:creationId xmlns:a16="http://schemas.microsoft.com/office/drawing/2014/main" id="{30BB28CC-3629-4A69-8607-41B2E048CA8A}"/>
              </a:ext>
            </a:extLst>
          </p:cNvPr>
          <p:cNvGrpSpPr/>
          <p:nvPr/>
        </p:nvGrpSpPr>
        <p:grpSpPr>
          <a:xfrm>
            <a:off x="674770" y="1864191"/>
            <a:ext cx="2260187" cy="1527301"/>
            <a:chOff x="674770" y="1774240"/>
            <a:chExt cx="2260187" cy="1527301"/>
          </a:xfrm>
        </p:grpSpPr>
        <p:sp>
          <p:nvSpPr>
            <p:cNvPr id="14" name="iṧliďè">
              <a:extLst>
                <a:ext uri="{FF2B5EF4-FFF2-40B4-BE49-F238E27FC236}">
                  <a16:creationId xmlns:a16="http://schemas.microsoft.com/office/drawing/2014/main" id="{65D33F67-31CB-4499-A178-EBC51978DB55}"/>
                </a:ext>
              </a:extLst>
            </p:cNvPr>
            <p:cNvSpPr/>
            <p:nvPr/>
          </p:nvSpPr>
          <p:spPr bwMode="gray">
            <a:xfrm>
              <a:off x="674772" y="2265228"/>
              <a:ext cx="2260185" cy="1036313"/>
            </a:xfrm>
            <a:prstGeom prst="rect">
              <a:avLst/>
            </a:prstGeom>
            <a:noFill/>
            <a:ln w="19050">
              <a:solidFill>
                <a:schemeClr val="bg1">
                  <a:lumMod val="9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t">
              <a:normAutofit fontScale="92500" lnSpcReduction="10000"/>
            </a:bodyPr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200" dirty="0">
                  <a:solidFill>
                    <a:schemeClr val="tx1"/>
                  </a:solidFill>
                </a:rPr>
                <a:t>cd </a:t>
              </a:r>
              <a:r>
                <a:rPr lang="zh-CN" altLang="en-US" sz="1200" dirty="0">
                  <a:solidFill>
                    <a:schemeClr val="tx1"/>
                  </a:solidFill>
                </a:rPr>
                <a:t>目录 </a:t>
              </a:r>
              <a:r>
                <a:rPr lang="en-US" altLang="zh-CN" sz="1200" dirty="0">
                  <a:solidFill>
                    <a:schemeClr val="tx1"/>
                  </a:solidFill>
                </a:rPr>
                <a:t>(..)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200" dirty="0">
                  <a:solidFill>
                    <a:schemeClr val="tx1"/>
                  </a:solidFill>
                </a:rPr>
                <a:t>基本目录：</a:t>
              </a:r>
              <a:endParaRPr lang="en-US" altLang="zh-CN" sz="1200" dirty="0">
                <a:solidFill>
                  <a:schemeClr val="tx1"/>
                </a:solidFill>
              </a:endParaRPr>
            </a:p>
            <a:p>
              <a:pPr marL="628650" lvl="1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200" dirty="0">
                  <a:solidFill>
                    <a:schemeClr val="tx1"/>
                  </a:solidFill>
                </a:rPr>
                <a:t>/</a:t>
              </a:r>
            </a:p>
            <a:p>
              <a:pPr marL="628650" lvl="1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200" dirty="0">
                  <a:solidFill>
                    <a:schemeClr val="tx1"/>
                  </a:solidFill>
                </a:rPr>
                <a:t>~</a:t>
              </a:r>
            </a:p>
          </p:txBody>
        </p:sp>
        <p:sp>
          <p:nvSpPr>
            <p:cNvPr id="15" name="íŝļïḋé">
              <a:extLst>
                <a:ext uri="{FF2B5EF4-FFF2-40B4-BE49-F238E27FC236}">
                  <a16:creationId xmlns:a16="http://schemas.microsoft.com/office/drawing/2014/main" id="{D7F8A300-3FCA-4A2D-A9AF-A5BBE8653376}"/>
                </a:ext>
              </a:extLst>
            </p:cNvPr>
            <p:cNvSpPr/>
            <p:nvPr/>
          </p:nvSpPr>
          <p:spPr bwMode="gray">
            <a:xfrm>
              <a:off x="674770" y="1774240"/>
              <a:ext cx="2260185" cy="444403"/>
            </a:xfrm>
            <a:prstGeom prst="rect">
              <a:avLst/>
            </a:prstGeom>
            <a:solidFill>
              <a:schemeClr val="dk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zh-CN" altLang="en-US">
                  <a:solidFill>
                    <a:schemeClr val="bg1"/>
                  </a:solidFill>
                </a:rPr>
                <a:t>找文件</a:t>
              </a:r>
              <a:r>
                <a:rPr lang="en-US" altLang="zh-CN">
                  <a:solidFill>
                    <a:schemeClr val="bg1"/>
                  </a:solidFill>
                </a:rPr>
                <a:t>/</a:t>
              </a:r>
              <a:r>
                <a:rPr lang="zh-CN" altLang="en-US">
                  <a:solidFill>
                    <a:schemeClr val="bg1"/>
                  </a:solidFill>
                </a:rPr>
                <a:t>目录</a:t>
              </a:r>
              <a:endParaRPr lang="en-US" altLang="zh-CN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7" name="组合 66">
            <a:extLst>
              <a:ext uri="{FF2B5EF4-FFF2-40B4-BE49-F238E27FC236}">
                <a16:creationId xmlns:a16="http://schemas.microsoft.com/office/drawing/2014/main" id="{6A0354DC-DFFA-4877-A88D-909CA94E8F60}"/>
              </a:ext>
            </a:extLst>
          </p:cNvPr>
          <p:cNvGrpSpPr/>
          <p:nvPr/>
        </p:nvGrpSpPr>
        <p:grpSpPr>
          <a:xfrm>
            <a:off x="3257176" y="1864191"/>
            <a:ext cx="2260187" cy="1527301"/>
            <a:chOff x="3257176" y="1774240"/>
            <a:chExt cx="2260187" cy="1527301"/>
          </a:xfrm>
        </p:grpSpPr>
        <p:sp>
          <p:nvSpPr>
            <p:cNvPr id="12" name="îṥḷíḍè">
              <a:extLst>
                <a:ext uri="{FF2B5EF4-FFF2-40B4-BE49-F238E27FC236}">
                  <a16:creationId xmlns:a16="http://schemas.microsoft.com/office/drawing/2014/main" id="{6BF54FA9-8668-44A2-AE2D-1C21B5D4D4F7}"/>
                </a:ext>
              </a:extLst>
            </p:cNvPr>
            <p:cNvSpPr/>
            <p:nvPr/>
          </p:nvSpPr>
          <p:spPr bwMode="gray">
            <a:xfrm>
              <a:off x="3257178" y="2265228"/>
              <a:ext cx="2260185" cy="1036313"/>
            </a:xfrm>
            <a:prstGeom prst="rect">
              <a:avLst/>
            </a:prstGeom>
            <a:noFill/>
            <a:ln w="19050">
              <a:solidFill>
                <a:schemeClr val="bg1">
                  <a:lumMod val="9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t">
              <a:normAutofit lnSpcReduction="10000"/>
            </a:bodyPr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100" dirty="0">
                  <a:solidFill>
                    <a:schemeClr val="tx1"/>
                  </a:solidFill>
                </a:rPr>
                <a:t>转到文件夹</a:t>
              </a:r>
              <a:endParaRPr lang="en-US" altLang="zh-CN" sz="1100" dirty="0">
                <a:solidFill>
                  <a:schemeClr val="tx1"/>
                </a:solidFill>
              </a:endParaRPr>
            </a:p>
            <a:p>
              <a:pPr marL="628650" lvl="1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100" dirty="0">
                  <a:solidFill>
                    <a:schemeClr val="tx1"/>
                  </a:solidFill>
                </a:rPr>
                <a:t>./</a:t>
              </a:r>
            </a:p>
            <a:p>
              <a:pPr marL="628650" lvl="1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100" dirty="0" err="1">
                  <a:solidFill>
                    <a:schemeClr val="tx1"/>
                  </a:solidFill>
                </a:rPr>
                <a:t>sh</a:t>
              </a:r>
              <a:endParaRPr lang="en-US" altLang="zh-CN" sz="1100" dirty="0">
                <a:solidFill>
                  <a:schemeClr val="tx1"/>
                </a:solidFill>
              </a:endParaRPr>
            </a:p>
            <a:p>
              <a:pPr marL="628650" lvl="1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100" dirty="0">
                  <a:solidFill>
                    <a:schemeClr val="tx1"/>
                  </a:solidFill>
                </a:rPr>
                <a:t>bash</a:t>
              </a:r>
            </a:p>
          </p:txBody>
        </p:sp>
        <p:sp>
          <p:nvSpPr>
            <p:cNvPr id="13" name="îŝľîḑé">
              <a:extLst>
                <a:ext uri="{FF2B5EF4-FFF2-40B4-BE49-F238E27FC236}">
                  <a16:creationId xmlns:a16="http://schemas.microsoft.com/office/drawing/2014/main" id="{6B5D22F3-BDEB-4670-B986-013407C9AB3A}"/>
                </a:ext>
              </a:extLst>
            </p:cNvPr>
            <p:cNvSpPr/>
            <p:nvPr/>
          </p:nvSpPr>
          <p:spPr bwMode="gray">
            <a:xfrm>
              <a:off x="3257176" y="1774240"/>
              <a:ext cx="2260185" cy="444403"/>
            </a:xfrm>
            <a:prstGeom prst="rect">
              <a:avLst/>
            </a:prstGeom>
            <a:solidFill>
              <a:schemeClr val="dk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zh-CN" altLang="en-US" dirty="0">
                  <a:solidFill>
                    <a:schemeClr val="bg1"/>
                  </a:solidFill>
                </a:rPr>
                <a:t>执行</a:t>
              </a:r>
              <a:r>
                <a:rPr lang="en-US" altLang="zh-CN" dirty="0">
                  <a:solidFill>
                    <a:schemeClr val="bg1"/>
                  </a:solidFill>
                </a:rPr>
                <a:t>/</a:t>
              </a:r>
              <a:r>
                <a:rPr lang="zh-CN" altLang="en-US" dirty="0">
                  <a:solidFill>
                    <a:schemeClr val="bg1"/>
                  </a:solidFill>
                </a:rPr>
                <a:t>打开</a:t>
              </a:r>
              <a:endParaRPr lang="en-US" altLang="zh-CN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8" name="组合 67">
            <a:extLst>
              <a:ext uri="{FF2B5EF4-FFF2-40B4-BE49-F238E27FC236}">
                <a16:creationId xmlns:a16="http://schemas.microsoft.com/office/drawing/2014/main" id="{6B823119-4BFB-4D59-8D23-11AA7B6C8BAC}"/>
              </a:ext>
            </a:extLst>
          </p:cNvPr>
          <p:cNvGrpSpPr/>
          <p:nvPr/>
        </p:nvGrpSpPr>
        <p:grpSpPr>
          <a:xfrm>
            <a:off x="5839583" y="1864191"/>
            <a:ext cx="2260187" cy="1527301"/>
            <a:chOff x="5839583" y="1774240"/>
            <a:chExt cx="2260187" cy="1527301"/>
          </a:xfrm>
        </p:grpSpPr>
        <p:sp>
          <p:nvSpPr>
            <p:cNvPr id="10" name="iṩḻíḋê">
              <a:extLst>
                <a:ext uri="{FF2B5EF4-FFF2-40B4-BE49-F238E27FC236}">
                  <a16:creationId xmlns:a16="http://schemas.microsoft.com/office/drawing/2014/main" id="{016BE53C-7C97-4072-8215-1AA55D22BC5F}"/>
                </a:ext>
              </a:extLst>
            </p:cNvPr>
            <p:cNvSpPr/>
            <p:nvPr/>
          </p:nvSpPr>
          <p:spPr bwMode="gray">
            <a:xfrm>
              <a:off x="5839585" y="2265228"/>
              <a:ext cx="2260185" cy="1036313"/>
            </a:xfrm>
            <a:prstGeom prst="rect">
              <a:avLst/>
            </a:prstGeom>
            <a:noFill/>
            <a:ln w="19050">
              <a:solidFill>
                <a:schemeClr val="bg1">
                  <a:lumMod val="9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t">
              <a:normAutofit lnSpcReduction="10000"/>
            </a:bodyPr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100" dirty="0">
                  <a:solidFill>
                    <a:schemeClr val="tx1"/>
                  </a:solidFill>
                </a:rPr>
                <a:t>cp cat </a:t>
              </a:r>
              <a:r>
                <a:rPr lang="en-US" altLang="zh-CN" sz="1100" dirty="0" err="1">
                  <a:solidFill>
                    <a:schemeClr val="tx1"/>
                  </a:solidFill>
                </a:rPr>
                <a:t>ll</a:t>
              </a:r>
              <a:r>
                <a:rPr lang="en-US" altLang="zh-CN" sz="1100" dirty="0">
                  <a:solidFill>
                    <a:schemeClr val="tx1"/>
                  </a:solidFill>
                </a:rPr>
                <a:t> ls 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100" dirty="0" err="1">
                  <a:solidFill>
                    <a:schemeClr val="tx1"/>
                  </a:solidFill>
                </a:rPr>
                <a:t>mkdir</a:t>
              </a:r>
              <a:r>
                <a:rPr lang="en-US" altLang="zh-CN" sz="1100" dirty="0">
                  <a:solidFill>
                    <a:schemeClr val="tx1"/>
                  </a:solidFill>
                </a:rPr>
                <a:t> rm find 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100" dirty="0">
                  <a:solidFill>
                    <a:schemeClr val="tx1"/>
                  </a:solidFill>
                </a:rPr>
                <a:t>mount </a:t>
              </a:r>
              <a:r>
                <a:rPr lang="en-US" altLang="zh-CN" sz="1100" dirty="0" err="1">
                  <a:solidFill>
                    <a:schemeClr val="tx1"/>
                  </a:solidFill>
                </a:rPr>
                <a:t>chmod</a:t>
              </a:r>
              <a:endParaRPr lang="en-US" altLang="zh-CN" sz="1100" dirty="0">
                <a:solidFill>
                  <a:schemeClr val="tx1"/>
                </a:solidFill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100" dirty="0">
                  <a:solidFill>
                    <a:schemeClr val="tx1"/>
                  </a:solidFill>
                </a:rPr>
                <a:t>tar apt-get</a:t>
              </a:r>
            </a:p>
          </p:txBody>
        </p:sp>
        <p:sp>
          <p:nvSpPr>
            <p:cNvPr id="11" name="îsliḍè">
              <a:extLst>
                <a:ext uri="{FF2B5EF4-FFF2-40B4-BE49-F238E27FC236}">
                  <a16:creationId xmlns:a16="http://schemas.microsoft.com/office/drawing/2014/main" id="{0120662D-08EC-45F4-BE9C-84021ADB4C9A}"/>
                </a:ext>
              </a:extLst>
            </p:cNvPr>
            <p:cNvSpPr/>
            <p:nvPr/>
          </p:nvSpPr>
          <p:spPr bwMode="gray">
            <a:xfrm>
              <a:off x="5839583" y="1774240"/>
              <a:ext cx="2260185" cy="444403"/>
            </a:xfrm>
            <a:prstGeom prst="rect">
              <a:avLst/>
            </a:prstGeom>
            <a:solidFill>
              <a:schemeClr val="dk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zh-CN" altLang="en-US" dirty="0">
                  <a:solidFill>
                    <a:schemeClr val="bg1"/>
                  </a:solidFill>
                </a:rPr>
                <a:t>其他</a:t>
              </a:r>
              <a:endParaRPr lang="en-US" altLang="zh-CN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7" name="组合 46">
            <a:extLst>
              <a:ext uri="{FF2B5EF4-FFF2-40B4-BE49-F238E27FC236}">
                <a16:creationId xmlns:a16="http://schemas.microsoft.com/office/drawing/2014/main" id="{E6C378CC-DF49-4F98-88D5-0097BE78D5DE}"/>
              </a:ext>
            </a:extLst>
          </p:cNvPr>
          <p:cNvGrpSpPr/>
          <p:nvPr/>
        </p:nvGrpSpPr>
        <p:grpSpPr>
          <a:xfrm>
            <a:off x="538758" y="3877348"/>
            <a:ext cx="8065294" cy="677976"/>
            <a:chOff x="538758" y="3787397"/>
            <a:chExt cx="8065294" cy="677976"/>
          </a:xfrm>
        </p:grpSpPr>
        <p:sp>
          <p:nvSpPr>
            <p:cNvPr id="17" name="îsľíḑê">
              <a:extLst>
                <a:ext uri="{FF2B5EF4-FFF2-40B4-BE49-F238E27FC236}">
                  <a16:creationId xmlns:a16="http://schemas.microsoft.com/office/drawing/2014/main" id="{B660A284-A5D0-4766-B465-6CE89196AC81}"/>
                </a:ext>
              </a:extLst>
            </p:cNvPr>
            <p:cNvSpPr/>
            <p:nvPr/>
          </p:nvSpPr>
          <p:spPr bwMode="auto">
            <a:xfrm>
              <a:off x="538758" y="3787397"/>
              <a:ext cx="8065294" cy="677976"/>
            </a:xfrm>
            <a:prstGeom prst="homePlate">
              <a:avLst>
                <a:gd name="adj" fmla="val 35856"/>
              </a:avLst>
            </a:prstGeom>
            <a:solidFill>
              <a:schemeClr val="tx1">
                <a:lumMod val="20000"/>
                <a:lumOff val="80000"/>
                <a:alpha val="48000"/>
              </a:schemeClr>
            </a:solidFill>
            <a:ln w="25400" algn="ctr">
              <a:noFill/>
              <a:miter lim="800000"/>
              <a:headEnd/>
              <a:tailEnd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FEC8F844-DBFA-438A-A5F6-CDA006D48375}"/>
                </a:ext>
              </a:extLst>
            </p:cNvPr>
            <p:cNvSpPr txBox="1"/>
            <p:nvPr/>
          </p:nvSpPr>
          <p:spPr>
            <a:xfrm>
              <a:off x="556706" y="3809067"/>
              <a:ext cx="804734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dirty="0"/>
                <a:t>基于窗口界面的操作</a:t>
              </a:r>
            </a:p>
          </p:txBody>
        </p:sp>
      </p:grpSp>
      <p:grpSp>
        <p:nvGrpSpPr>
          <p:cNvPr id="69" name="组合 68">
            <a:extLst>
              <a:ext uri="{FF2B5EF4-FFF2-40B4-BE49-F238E27FC236}">
                <a16:creationId xmlns:a16="http://schemas.microsoft.com/office/drawing/2014/main" id="{8C898516-D063-41E1-8FC3-0FCC6A3BDB62}"/>
              </a:ext>
            </a:extLst>
          </p:cNvPr>
          <p:cNvGrpSpPr/>
          <p:nvPr/>
        </p:nvGrpSpPr>
        <p:grpSpPr>
          <a:xfrm>
            <a:off x="656405" y="4317257"/>
            <a:ext cx="2260187" cy="1527301"/>
            <a:chOff x="656405" y="4227306"/>
            <a:chExt cx="2260187" cy="1527301"/>
          </a:xfrm>
        </p:grpSpPr>
        <p:sp>
          <p:nvSpPr>
            <p:cNvPr id="25" name="iṧliďè">
              <a:extLst>
                <a:ext uri="{FF2B5EF4-FFF2-40B4-BE49-F238E27FC236}">
                  <a16:creationId xmlns:a16="http://schemas.microsoft.com/office/drawing/2014/main" id="{E6142A89-0BFB-4CB9-AABC-1BB3EE8CD439}"/>
                </a:ext>
              </a:extLst>
            </p:cNvPr>
            <p:cNvSpPr/>
            <p:nvPr/>
          </p:nvSpPr>
          <p:spPr bwMode="gray">
            <a:xfrm>
              <a:off x="656407" y="4718294"/>
              <a:ext cx="2260185" cy="1036313"/>
            </a:xfrm>
            <a:prstGeom prst="rect">
              <a:avLst/>
            </a:prstGeom>
            <a:noFill/>
            <a:ln w="19050">
              <a:solidFill>
                <a:schemeClr val="bg1">
                  <a:lumMod val="9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t">
              <a:normAutofit/>
            </a:bodyPr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400" b="1" dirty="0">
                  <a:solidFill>
                    <a:schemeClr val="tx1"/>
                  </a:solidFill>
                </a:rPr>
                <a:t>移动鼠标</a:t>
              </a:r>
              <a:endParaRPr lang="en-US" altLang="zh-CN" sz="1400" b="1" dirty="0">
                <a:solidFill>
                  <a:schemeClr val="tx1"/>
                </a:solidFill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400" b="1" dirty="0">
                  <a:solidFill>
                    <a:schemeClr val="tx1"/>
                  </a:solidFill>
                </a:rPr>
                <a:t>双击</a:t>
              </a:r>
              <a:endParaRPr lang="en-US" altLang="zh-CN" sz="1400" b="1" dirty="0">
                <a:solidFill>
                  <a:schemeClr val="tx1"/>
                </a:solidFill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400" b="1" dirty="0">
                  <a:solidFill>
                    <a:schemeClr val="tx1"/>
                  </a:solidFill>
                </a:rPr>
                <a:t>单击</a:t>
              </a:r>
              <a:endParaRPr lang="en-US" altLang="zh-CN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26" name="íŝļïḋé">
              <a:extLst>
                <a:ext uri="{FF2B5EF4-FFF2-40B4-BE49-F238E27FC236}">
                  <a16:creationId xmlns:a16="http://schemas.microsoft.com/office/drawing/2014/main" id="{0ACC7A1A-9C29-4E61-A154-2990DF25CCA8}"/>
                </a:ext>
              </a:extLst>
            </p:cNvPr>
            <p:cNvSpPr/>
            <p:nvPr/>
          </p:nvSpPr>
          <p:spPr bwMode="gray">
            <a:xfrm>
              <a:off x="656405" y="4227306"/>
              <a:ext cx="2260185" cy="444403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zh-CN" altLang="en-US">
                  <a:solidFill>
                    <a:schemeClr val="bg1"/>
                  </a:solidFill>
                </a:rPr>
                <a:t>找文件</a:t>
              </a:r>
              <a:r>
                <a:rPr lang="en-US" altLang="zh-CN">
                  <a:solidFill>
                    <a:schemeClr val="bg1"/>
                  </a:solidFill>
                </a:rPr>
                <a:t>/</a:t>
              </a:r>
              <a:r>
                <a:rPr lang="zh-CN" altLang="en-US">
                  <a:solidFill>
                    <a:schemeClr val="bg1"/>
                  </a:solidFill>
                </a:rPr>
                <a:t>目录</a:t>
              </a:r>
              <a:endParaRPr lang="en-US" altLang="zh-CN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0" name="组合 69">
            <a:extLst>
              <a:ext uri="{FF2B5EF4-FFF2-40B4-BE49-F238E27FC236}">
                <a16:creationId xmlns:a16="http://schemas.microsoft.com/office/drawing/2014/main" id="{FBD1C571-72A4-4E5E-A017-926351B298F4}"/>
              </a:ext>
            </a:extLst>
          </p:cNvPr>
          <p:cNvGrpSpPr/>
          <p:nvPr/>
        </p:nvGrpSpPr>
        <p:grpSpPr>
          <a:xfrm>
            <a:off x="3238811" y="4317257"/>
            <a:ext cx="2260187" cy="1527301"/>
            <a:chOff x="3238811" y="4227306"/>
            <a:chExt cx="2260187" cy="1527301"/>
          </a:xfrm>
        </p:grpSpPr>
        <p:sp>
          <p:nvSpPr>
            <p:cNvPr id="23" name="îṥḷíḍè">
              <a:extLst>
                <a:ext uri="{FF2B5EF4-FFF2-40B4-BE49-F238E27FC236}">
                  <a16:creationId xmlns:a16="http://schemas.microsoft.com/office/drawing/2014/main" id="{D1B722D6-89D5-4F19-AB76-22C404AD20AB}"/>
                </a:ext>
              </a:extLst>
            </p:cNvPr>
            <p:cNvSpPr/>
            <p:nvPr/>
          </p:nvSpPr>
          <p:spPr bwMode="gray">
            <a:xfrm>
              <a:off x="3238813" y="4718294"/>
              <a:ext cx="2260185" cy="1036313"/>
            </a:xfrm>
            <a:prstGeom prst="rect">
              <a:avLst/>
            </a:prstGeom>
            <a:noFill/>
            <a:ln w="19050">
              <a:solidFill>
                <a:schemeClr val="bg1">
                  <a:lumMod val="9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t">
              <a:normAutofit/>
            </a:bodyPr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400" b="1" dirty="0">
                  <a:solidFill>
                    <a:schemeClr val="tx1"/>
                  </a:solidFill>
                </a:rPr>
                <a:t>移动鼠标</a:t>
              </a:r>
              <a:endParaRPr lang="en-US" altLang="zh-CN" sz="1400" b="1" dirty="0">
                <a:solidFill>
                  <a:schemeClr val="tx1"/>
                </a:solidFill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400" b="1" dirty="0">
                  <a:solidFill>
                    <a:schemeClr val="tx1"/>
                  </a:solidFill>
                </a:rPr>
                <a:t>双击</a:t>
              </a:r>
              <a:endParaRPr lang="en-US" altLang="zh-CN" sz="1400" b="1" dirty="0">
                <a:solidFill>
                  <a:schemeClr val="tx1"/>
                </a:solidFill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400" b="1" dirty="0">
                  <a:solidFill>
                    <a:schemeClr val="tx1"/>
                  </a:solidFill>
                </a:rPr>
                <a:t>或右键选择打开方式</a:t>
              </a:r>
              <a:endParaRPr lang="en-US" altLang="zh-CN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24" name="îŝľîḑé">
              <a:extLst>
                <a:ext uri="{FF2B5EF4-FFF2-40B4-BE49-F238E27FC236}">
                  <a16:creationId xmlns:a16="http://schemas.microsoft.com/office/drawing/2014/main" id="{4C35F94A-6DEC-4C8D-A73C-F801939F521C}"/>
                </a:ext>
              </a:extLst>
            </p:cNvPr>
            <p:cNvSpPr/>
            <p:nvPr/>
          </p:nvSpPr>
          <p:spPr bwMode="gray">
            <a:xfrm>
              <a:off x="3238811" y="4227306"/>
              <a:ext cx="2260185" cy="444403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zh-CN" altLang="en-US" dirty="0">
                  <a:solidFill>
                    <a:schemeClr val="bg1"/>
                  </a:solidFill>
                </a:rPr>
                <a:t>执行</a:t>
              </a:r>
              <a:r>
                <a:rPr lang="en-US" altLang="zh-CN" dirty="0">
                  <a:solidFill>
                    <a:schemeClr val="bg1"/>
                  </a:solidFill>
                </a:rPr>
                <a:t>/</a:t>
              </a:r>
              <a:r>
                <a:rPr lang="zh-CN" altLang="en-US" dirty="0">
                  <a:solidFill>
                    <a:schemeClr val="bg1"/>
                  </a:solidFill>
                </a:rPr>
                <a:t>打开</a:t>
              </a:r>
              <a:endParaRPr lang="en-US" altLang="zh-CN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1" name="组合 70">
            <a:extLst>
              <a:ext uri="{FF2B5EF4-FFF2-40B4-BE49-F238E27FC236}">
                <a16:creationId xmlns:a16="http://schemas.microsoft.com/office/drawing/2014/main" id="{C9FC5995-A2E3-4C75-9559-67260E06564A}"/>
              </a:ext>
            </a:extLst>
          </p:cNvPr>
          <p:cNvGrpSpPr/>
          <p:nvPr/>
        </p:nvGrpSpPr>
        <p:grpSpPr>
          <a:xfrm>
            <a:off x="5821218" y="4317257"/>
            <a:ext cx="2260187" cy="1527301"/>
            <a:chOff x="5821218" y="4227306"/>
            <a:chExt cx="2260187" cy="1527301"/>
          </a:xfrm>
        </p:grpSpPr>
        <p:sp>
          <p:nvSpPr>
            <p:cNvPr id="21" name="iṩḻíḋê">
              <a:extLst>
                <a:ext uri="{FF2B5EF4-FFF2-40B4-BE49-F238E27FC236}">
                  <a16:creationId xmlns:a16="http://schemas.microsoft.com/office/drawing/2014/main" id="{3A59D5A7-4D7F-4AF6-9C73-9F8A35E3D16F}"/>
                </a:ext>
              </a:extLst>
            </p:cNvPr>
            <p:cNvSpPr/>
            <p:nvPr/>
          </p:nvSpPr>
          <p:spPr bwMode="gray">
            <a:xfrm>
              <a:off x="5821220" y="4718294"/>
              <a:ext cx="2260185" cy="1036313"/>
            </a:xfrm>
            <a:prstGeom prst="rect">
              <a:avLst/>
            </a:prstGeom>
            <a:noFill/>
            <a:ln w="19050">
              <a:solidFill>
                <a:schemeClr val="bg1">
                  <a:lumMod val="9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t">
              <a:normAutofit fontScale="92500"/>
            </a:bodyPr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400" b="1" dirty="0">
                  <a:solidFill>
                    <a:schemeClr val="tx1"/>
                  </a:solidFill>
                </a:rPr>
                <a:t>移动！移动！移动！移动！</a:t>
              </a:r>
              <a:endParaRPr lang="en-US" altLang="zh-CN" sz="1400" b="1" dirty="0">
                <a:solidFill>
                  <a:schemeClr val="tx1"/>
                </a:solidFill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400" b="1" dirty="0">
                  <a:solidFill>
                    <a:schemeClr val="tx1"/>
                  </a:solidFill>
                </a:rPr>
                <a:t>单击！单击！单击！单击！</a:t>
              </a:r>
              <a:endParaRPr lang="en-US" altLang="zh-CN" sz="1400" b="1" dirty="0">
                <a:solidFill>
                  <a:schemeClr val="tx1"/>
                </a:solidFill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400" b="1" dirty="0">
                  <a:solidFill>
                    <a:schemeClr val="tx1"/>
                  </a:solidFill>
                </a:rPr>
                <a:t>双击！双击！双击！双击！</a:t>
              </a:r>
              <a:endParaRPr lang="en-US" altLang="zh-CN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22" name="îsliḍè">
              <a:extLst>
                <a:ext uri="{FF2B5EF4-FFF2-40B4-BE49-F238E27FC236}">
                  <a16:creationId xmlns:a16="http://schemas.microsoft.com/office/drawing/2014/main" id="{60463424-20D5-4ACB-9117-DEFC76972E01}"/>
                </a:ext>
              </a:extLst>
            </p:cNvPr>
            <p:cNvSpPr/>
            <p:nvPr/>
          </p:nvSpPr>
          <p:spPr bwMode="gray">
            <a:xfrm>
              <a:off x="5821218" y="4227306"/>
              <a:ext cx="2260185" cy="444403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zh-CN" altLang="en-US" dirty="0">
                  <a:solidFill>
                    <a:schemeClr val="bg1"/>
                  </a:solidFill>
                </a:rPr>
                <a:t>其他</a:t>
              </a:r>
              <a:endParaRPr lang="en-US" altLang="zh-CN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6" name="组合 95">
            <a:extLst>
              <a:ext uri="{FF2B5EF4-FFF2-40B4-BE49-F238E27FC236}">
                <a16:creationId xmlns:a16="http://schemas.microsoft.com/office/drawing/2014/main" id="{257660D8-EB84-4351-A235-1BEDF6B4F3DF}"/>
              </a:ext>
            </a:extLst>
          </p:cNvPr>
          <p:cNvGrpSpPr/>
          <p:nvPr/>
        </p:nvGrpSpPr>
        <p:grpSpPr>
          <a:xfrm>
            <a:off x="-10321836" y="1419842"/>
            <a:ext cx="8083659" cy="682416"/>
            <a:chOff x="538758" y="1329891"/>
            <a:chExt cx="8083659" cy="682416"/>
          </a:xfrm>
        </p:grpSpPr>
        <p:sp>
          <p:nvSpPr>
            <p:cNvPr id="97" name="îsľíḑê">
              <a:extLst>
                <a:ext uri="{FF2B5EF4-FFF2-40B4-BE49-F238E27FC236}">
                  <a16:creationId xmlns:a16="http://schemas.microsoft.com/office/drawing/2014/main" id="{D16518DE-8B49-41BC-908D-5C2AF48E5B4D}"/>
                </a:ext>
              </a:extLst>
            </p:cNvPr>
            <p:cNvSpPr/>
            <p:nvPr/>
          </p:nvSpPr>
          <p:spPr bwMode="auto">
            <a:xfrm>
              <a:off x="557123" y="1334331"/>
              <a:ext cx="8065294" cy="677976"/>
            </a:xfrm>
            <a:prstGeom prst="homePlate">
              <a:avLst>
                <a:gd name="adj" fmla="val 35856"/>
              </a:avLst>
            </a:prstGeom>
            <a:solidFill>
              <a:schemeClr val="tx1">
                <a:lumMod val="20000"/>
                <a:lumOff val="80000"/>
                <a:alpha val="48000"/>
              </a:schemeClr>
            </a:solidFill>
            <a:ln w="25400" algn="ctr">
              <a:noFill/>
              <a:miter lim="800000"/>
              <a:headEnd/>
              <a:tailEnd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/>
            </a:p>
          </p:txBody>
        </p:sp>
        <p:sp>
          <p:nvSpPr>
            <p:cNvPr id="98" name="文本框 97">
              <a:extLst>
                <a:ext uri="{FF2B5EF4-FFF2-40B4-BE49-F238E27FC236}">
                  <a16:creationId xmlns:a16="http://schemas.microsoft.com/office/drawing/2014/main" id="{07EBFE7E-CEAD-4DF7-A745-4526F401A0A3}"/>
                </a:ext>
              </a:extLst>
            </p:cNvPr>
            <p:cNvSpPr txBox="1"/>
            <p:nvPr/>
          </p:nvSpPr>
          <p:spPr>
            <a:xfrm>
              <a:off x="538758" y="1329891"/>
              <a:ext cx="804734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dirty="0"/>
                <a:t>基于命令行的操作</a:t>
              </a:r>
            </a:p>
          </p:txBody>
        </p:sp>
      </p:grpSp>
      <p:grpSp>
        <p:nvGrpSpPr>
          <p:cNvPr id="99" name="组合 98">
            <a:extLst>
              <a:ext uri="{FF2B5EF4-FFF2-40B4-BE49-F238E27FC236}">
                <a16:creationId xmlns:a16="http://schemas.microsoft.com/office/drawing/2014/main" id="{85AA53D9-DE11-400E-BCF5-EBAC0B5D819F}"/>
              </a:ext>
            </a:extLst>
          </p:cNvPr>
          <p:cNvGrpSpPr/>
          <p:nvPr/>
        </p:nvGrpSpPr>
        <p:grpSpPr>
          <a:xfrm>
            <a:off x="-10185824" y="1864191"/>
            <a:ext cx="2260187" cy="1527301"/>
            <a:chOff x="674770" y="1774240"/>
            <a:chExt cx="2260187" cy="1527301"/>
          </a:xfrm>
        </p:grpSpPr>
        <p:sp>
          <p:nvSpPr>
            <p:cNvPr id="100" name="iṧliďè">
              <a:extLst>
                <a:ext uri="{FF2B5EF4-FFF2-40B4-BE49-F238E27FC236}">
                  <a16:creationId xmlns:a16="http://schemas.microsoft.com/office/drawing/2014/main" id="{B9AE5D4B-8D12-415A-9FDD-EC15F4ECFB0A}"/>
                </a:ext>
              </a:extLst>
            </p:cNvPr>
            <p:cNvSpPr/>
            <p:nvPr/>
          </p:nvSpPr>
          <p:spPr bwMode="gray">
            <a:xfrm>
              <a:off x="674772" y="2265228"/>
              <a:ext cx="2260185" cy="1036313"/>
            </a:xfrm>
            <a:prstGeom prst="rect">
              <a:avLst/>
            </a:prstGeom>
            <a:noFill/>
            <a:ln w="19050">
              <a:solidFill>
                <a:schemeClr val="bg1">
                  <a:lumMod val="9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t">
              <a:normAutofit fontScale="92500" lnSpcReduction="10000"/>
            </a:bodyPr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200" dirty="0">
                  <a:solidFill>
                    <a:schemeClr val="tx1"/>
                  </a:solidFill>
                </a:rPr>
                <a:t>cd </a:t>
              </a:r>
              <a:r>
                <a:rPr lang="zh-CN" altLang="en-US" sz="1200" dirty="0">
                  <a:solidFill>
                    <a:schemeClr val="tx1"/>
                  </a:solidFill>
                </a:rPr>
                <a:t>目录 </a:t>
              </a:r>
              <a:r>
                <a:rPr lang="en-US" altLang="zh-CN" sz="1200" dirty="0">
                  <a:solidFill>
                    <a:schemeClr val="tx1"/>
                  </a:solidFill>
                </a:rPr>
                <a:t>(..)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200" dirty="0">
                  <a:solidFill>
                    <a:schemeClr val="tx1"/>
                  </a:solidFill>
                </a:rPr>
                <a:t>基本目录：</a:t>
              </a:r>
              <a:endParaRPr lang="en-US" altLang="zh-CN" sz="1200" dirty="0">
                <a:solidFill>
                  <a:schemeClr val="tx1"/>
                </a:solidFill>
              </a:endParaRPr>
            </a:p>
            <a:p>
              <a:pPr marL="628650" lvl="1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200" dirty="0">
                  <a:solidFill>
                    <a:schemeClr val="tx1"/>
                  </a:solidFill>
                </a:rPr>
                <a:t>/</a:t>
              </a:r>
            </a:p>
            <a:p>
              <a:pPr marL="628650" lvl="1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200" dirty="0">
                  <a:solidFill>
                    <a:schemeClr val="tx1"/>
                  </a:solidFill>
                </a:rPr>
                <a:t>~</a:t>
              </a:r>
            </a:p>
          </p:txBody>
        </p:sp>
        <p:sp>
          <p:nvSpPr>
            <p:cNvPr id="101" name="íŝļïḋé">
              <a:extLst>
                <a:ext uri="{FF2B5EF4-FFF2-40B4-BE49-F238E27FC236}">
                  <a16:creationId xmlns:a16="http://schemas.microsoft.com/office/drawing/2014/main" id="{95970D75-7BC3-4932-B525-09D9682C18FC}"/>
                </a:ext>
              </a:extLst>
            </p:cNvPr>
            <p:cNvSpPr/>
            <p:nvPr/>
          </p:nvSpPr>
          <p:spPr bwMode="gray">
            <a:xfrm>
              <a:off x="674770" y="1774240"/>
              <a:ext cx="2260185" cy="444403"/>
            </a:xfrm>
            <a:prstGeom prst="rect">
              <a:avLst/>
            </a:prstGeom>
            <a:solidFill>
              <a:schemeClr val="dk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zh-CN" altLang="en-US">
                  <a:solidFill>
                    <a:schemeClr val="bg1"/>
                  </a:solidFill>
                </a:rPr>
                <a:t>找文件</a:t>
              </a:r>
              <a:r>
                <a:rPr lang="en-US" altLang="zh-CN">
                  <a:solidFill>
                    <a:schemeClr val="bg1"/>
                  </a:solidFill>
                </a:rPr>
                <a:t>/</a:t>
              </a:r>
              <a:r>
                <a:rPr lang="zh-CN" altLang="en-US">
                  <a:solidFill>
                    <a:schemeClr val="bg1"/>
                  </a:solidFill>
                </a:rPr>
                <a:t>目录</a:t>
              </a:r>
              <a:endParaRPr lang="en-US" altLang="zh-CN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2" name="组合 101">
            <a:extLst>
              <a:ext uri="{FF2B5EF4-FFF2-40B4-BE49-F238E27FC236}">
                <a16:creationId xmlns:a16="http://schemas.microsoft.com/office/drawing/2014/main" id="{A9ADEFE1-7DF7-4176-9DB3-2985B27AA465}"/>
              </a:ext>
            </a:extLst>
          </p:cNvPr>
          <p:cNvGrpSpPr/>
          <p:nvPr/>
        </p:nvGrpSpPr>
        <p:grpSpPr>
          <a:xfrm>
            <a:off x="-7603418" y="1864191"/>
            <a:ext cx="2260187" cy="1527301"/>
            <a:chOff x="3257176" y="1774240"/>
            <a:chExt cx="2260187" cy="1527301"/>
          </a:xfrm>
        </p:grpSpPr>
        <p:sp>
          <p:nvSpPr>
            <p:cNvPr id="103" name="îṥḷíḍè">
              <a:extLst>
                <a:ext uri="{FF2B5EF4-FFF2-40B4-BE49-F238E27FC236}">
                  <a16:creationId xmlns:a16="http://schemas.microsoft.com/office/drawing/2014/main" id="{3BE8A8B3-6320-4650-ADBD-D58D29C1B78F}"/>
                </a:ext>
              </a:extLst>
            </p:cNvPr>
            <p:cNvSpPr/>
            <p:nvPr/>
          </p:nvSpPr>
          <p:spPr bwMode="gray">
            <a:xfrm>
              <a:off x="3257178" y="2265228"/>
              <a:ext cx="2260185" cy="1036313"/>
            </a:xfrm>
            <a:prstGeom prst="rect">
              <a:avLst/>
            </a:prstGeom>
            <a:noFill/>
            <a:ln w="19050">
              <a:solidFill>
                <a:schemeClr val="bg1">
                  <a:lumMod val="9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t">
              <a:normAutofit lnSpcReduction="10000"/>
            </a:bodyPr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100" dirty="0">
                  <a:solidFill>
                    <a:schemeClr val="tx1"/>
                  </a:solidFill>
                </a:rPr>
                <a:t>转到文件夹</a:t>
              </a:r>
              <a:endParaRPr lang="en-US" altLang="zh-CN" sz="1100" dirty="0">
                <a:solidFill>
                  <a:schemeClr val="tx1"/>
                </a:solidFill>
              </a:endParaRPr>
            </a:p>
            <a:p>
              <a:pPr marL="628650" lvl="1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100" dirty="0">
                  <a:solidFill>
                    <a:schemeClr val="tx1"/>
                  </a:solidFill>
                </a:rPr>
                <a:t>./</a:t>
              </a:r>
            </a:p>
            <a:p>
              <a:pPr marL="628650" lvl="1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100" dirty="0" err="1">
                  <a:solidFill>
                    <a:schemeClr val="tx1"/>
                  </a:solidFill>
                </a:rPr>
                <a:t>sh</a:t>
              </a:r>
              <a:endParaRPr lang="en-US" altLang="zh-CN" sz="1100" dirty="0">
                <a:solidFill>
                  <a:schemeClr val="tx1"/>
                </a:solidFill>
              </a:endParaRPr>
            </a:p>
            <a:p>
              <a:pPr marL="628650" lvl="1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100" dirty="0">
                  <a:solidFill>
                    <a:schemeClr val="tx1"/>
                  </a:solidFill>
                </a:rPr>
                <a:t>bash</a:t>
              </a:r>
            </a:p>
          </p:txBody>
        </p:sp>
        <p:sp>
          <p:nvSpPr>
            <p:cNvPr id="104" name="îŝľîḑé">
              <a:extLst>
                <a:ext uri="{FF2B5EF4-FFF2-40B4-BE49-F238E27FC236}">
                  <a16:creationId xmlns:a16="http://schemas.microsoft.com/office/drawing/2014/main" id="{0B158A2E-276E-4BA0-A65C-1A8DE7012E51}"/>
                </a:ext>
              </a:extLst>
            </p:cNvPr>
            <p:cNvSpPr/>
            <p:nvPr/>
          </p:nvSpPr>
          <p:spPr bwMode="gray">
            <a:xfrm>
              <a:off x="3257176" y="1774240"/>
              <a:ext cx="2260185" cy="444403"/>
            </a:xfrm>
            <a:prstGeom prst="rect">
              <a:avLst/>
            </a:prstGeom>
            <a:solidFill>
              <a:schemeClr val="dk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zh-CN" altLang="en-US" dirty="0">
                  <a:solidFill>
                    <a:schemeClr val="bg1"/>
                  </a:solidFill>
                </a:rPr>
                <a:t>执行</a:t>
              </a:r>
              <a:r>
                <a:rPr lang="en-US" altLang="zh-CN" dirty="0">
                  <a:solidFill>
                    <a:schemeClr val="bg1"/>
                  </a:solidFill>
                </a:rPr>
                <a:t>/</a:t>
              </a:r>
              <a:r>
                <a:rPr lang="zh-CN" altLang="en-US" dirty="0">
                  <a:solidFill>
                    <a:schemeClr val="bg1"/>
                  </a:solidFill>
                </a:rPr>
                <a:t>打开</a:t>
              </a:r>
              <a:endParaRPr lang="en-US" altLang="zh-CN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5" name="组合 104">
            <a:extLst>
              <a:ext uri="{FF2B5EF4-FFF2-40B4-BE49-F238E27FC236}">
                <a16:creationId xmlns:a16="http://schemas.microsoft.com/office/drawing/2014/main" id="{B3280C47-5943-47FB-804B-2DC3AB633905}"/>
              </a:ext>
            </a:extLst>
          </p:cNvPr>
          <p:cNvGrpSpPr/>
          <p:nvPr/>
        </p:nvGrpSpPr>
        <p:grpSpPr>
          <a:xfrm>
            <a:off x="-5021011" y="1864191"/>
            <a:ext cx="2260187" cy="1527301"/>
            <a:chOff x="5839583" y="1774240"/>
            <a:chExt cx="2260187" cy="1527301"/>
          </a:xfrm>
        </p:grpSpPr>
        <p:sp>
          <p:nvSpPr>
            <p:cNvPr id="106" name="iṩḻíḋê">
              <a:extLst>
                <a:ext uri="{FF2B5EF4-FFF2-40B4-BE49-F238E27FC236}">
                  <a16:creationId xmlns:a16="http://schemas.microsoft.com/office/drawing/2014/main" id="{5A70B0DE-367D-498A-9862-28461C3BDA43}"/>
                </a:ext>
              </a:extLst>
            </p:cNvPr>
            <p:cNvSpPr/>
            <p:nvPr/>
          </p:nvSpPr>
          <p:spPr bwMode="gray">
            <a:xfrm>
              <a:off x="5839585" y="2265228"/>
              <a:ext cx="2260185" cy="1036313"/>
            </a:xfrm>
            <a:prstGeom prst="rect">
              <a:avLst/>
            </a:prstGeom>
            <a:noFill/>
            <a:ln w="19050">
              <a:solidFill>
                <a:schemeClr val="bg1">
                  <a:lumMod val="9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t">
              <a:normAutofit lnSpcReduction="10000"/>
            </a:bodyPr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100" dirty="0">
                  <a:solidFill>
                    <a:schemeClr val="tx1"/>
                  </a:solidFill>
                </a:rPr>
                <a:t>cp cat </a:t>
              </a:r>
              <a:r>
                <a:rPr lang="en-US" altLang="zh-CN" sz="1100" dirty="0" err="1">
                  <a:solidFill>
                    <a:schemeClr val="tx1"/>
                  </a:solidFill>
                </a:rPr>
                <a:t>ll</a:t>
              </a:r>
              <a:r>
                <a:rPr lang="en-US" altLang="zh-CN" sz="1100" dirty="0">
                  <a:solidFill>
                    <a:schemeClr val="tx1"/>
                  </a:solidFill>
                </a:rPr>
                <a:t> ls 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100" dirty="0" err="1">
                  <a:solidFill>
                    <a:schemeClr val="tx1"/>
                  </a:solidFill>
                </a:rPr>
                <a:t>mkdir</a:t>
              </a:r>
              <a:r>
                <a:rPr lang="en-US" altLang="zh-CN" sz="1100" dirty="0">
                  <a:solidFill>
                    <a:schemeClr val="tx1"/>
                  </a:solidFill>
                </a:rPr>
                <a:t> rm find 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100" dirty="0">
                  <a:solidFill>
                    <a:schemeClr val="tx1"/>
                  </a:solidFill>
                </a:rPr>
                <a:t>mount </a:t>
              </a:r>
              <a:r>
                <a:rPr lang="en-US" altLang="zh-CN" sz="1100" dirty="0" err="1">
                  <a:solidFill>
                    <a:schemeClr val="tx1"/>
                  </a:solidFill>
                </a:rPr>
                <a:t>chmod</a:t>
              </a:r>
              <a:endParaRPr lang="en-US" altLang="zh-CN" sz="1100" dirty="0">
                <a:solidFill>
                  <a:schemeClr val="tx1"/>
                </a:solidFill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100" dirty="0">
                  <a:solidFill>
                    <a:schemeClr val="tx1"/>
                  </a:solidFill>
                </a:rPr>
                <a:t>tar apt-get</a:t>
              </a:r>
            </a:p>
          </p:txBody>
        </p:sp>
        <p:sp>
          <p:nvSpPr>
            <p:cNvPr id="107" name="îsliḍè">
              <a:extLst>
                <a:ext uri="{FF2B5EF4-FFF2-40B4-BE49-F238E27FC236}">
                  <a16:creationId xmlns:a16="http://schemas.microsoft.com/office/drawing/2014/main" id="{BA967101-AA35-448E-8861-70BA6914A3C6}"/>
                </a:ext>
              </a:extLst>
            </p:cNvPr>
            <p:cNvSpPr/>
            <p:nvPr/>
          </p:nvSpPr>
          <p:spPr bwMode="gray">
            <a:xfrm>
              <a:off x="5839583" y="1774240"/>
              <a:ext cx="2260185" cy="444403"/>
            </a:xfrm>
            <a:prstGeom prst="rect">
              <a:avLst/>
            </a:prstGeom>
            <a:solidFill>
              <a:schemeClr val="dk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zh-CN" altLang="en-US" dirty="0">
                  <a:solidFill>
                    <a:schemeClr val="bg1"/>
                  </a:solidFill>
                </a:rPr>
                <a:t>其他</a:t>
              </a:r>
              <a:endParaRPr lang="en-US" altLang="zh-CN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8" name="组合 107">
            <a:extLst>
              <a:ext uri="{FF2B5EF4-FFF2-40B4-BE49-F238E27FC236}">
                <a16:creationId xmlns:a16="http://schemas.microsoft.com/office/drawing/2014/main" id="{87F71C57-2CDE-49F6-A605-ABE1226824AD}"/>
              </a:ext>
            </a:extLst>
          </p:cNvPr>
          <p:cNvGrpSpPr/>
          <p:nvPr/>
        </p:nvGrpSpPr>
        <p:grpSpPr>
          <a:xfrm>
            <a:off x="-10321836" y="3877348"/>
            <a:ext cx="8065294" cy="677976"/>
            <a:chOff x="538758" y="3787397"/>
            <a:chExt cx="8065294" cy="677976"/>
          </a:xfrm>
        </p:grpSpPr>
        <p:sp>
          <p:nvSpPr>
            <p:cNvPr id="109" name="îsľíḑê">
              <a:extLst>
                <a:ext uri="{FF2B5EF4-FFF2-40B4-BE49-F238E27FC236}">
                  <a16:creationId xmlns:a16="http://schemas.microsoft.com/office/drawing/2014/main" id="{681A1804-940B-4501-9A8C-1ECA913522EB}"/>
                </a:ext>
              </a:extLst>
            </p:cNvPr>
            <p:cNvSpPr/>
            <p:nvPr/>
          </p:nvSpPr>
          <p:spPr bwMode="auto">
            <a:xfrm>
              <a:off x="538758" y="3787397"/>
              <a:ext cx="8065294" cy="677976"/>
            </a:xfrm>
            <a:prstGeom prst="homePlate">
              <a:avLst>
                <a:gd name="adj" fmla="val 35856"/>
              </a:avLst>
            </a:prstGeom>
            <a:solidFill>
              <a:schemeClr val="tx1">
                <a:lumMod val="20000"/>
                <a:lumOff val="80000"/>
                <a:alpha val="48000"/>
              </a:schemeClr>
            </a:solidFill>
            <a:ln w="25400" algn="ctr">
              <a:noFill/>
              <a:miter lim="800000"/>
              <a:headEnd/>
              <a:tailEnd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10" name="文本框 109">
              <a:extLst>
                <a:ext uri="{FF2B5EF4-FFF2-40B4-BE49-F238E27FC236}">
                  <a16:creationId xmlns:a16="http://schemas.microsoft.com/office/drawing/2014/main" id="{EC10F3AA-AC00-49B3-9C90-0FBF9E7DF080}"/>
                </a:ext>
              </a:extLst>
            </p:cNvPr>
            <p:cNvSpPr txBox="1"/>
            <p:nvPr/>
          </p:nvSpPr>
          <p:spPr>
            <a:xfrm>
              <a:off x="556706" y="3809067"/>
              <a:ext cx="804734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dirty="0"/>
                <a:t>基于窗口界面的操作</a:t>
              </a:r>
            </a:p>
          </p:txBody>
        </p:sp>
      </p:grpSp>
      <p:grpSp>
        <p:nvGrpSpPr>
          <p:cNvPr id="111" name="组合 110">
            <a:extLst>
              <a:ext uri="{FF2B5EF4-FFF2-40B4-BE49-F238E27FC236}">
                <a16:creationId xmlns:a16="http://schemas.microsoft.com/office/drawing/2014/main" id="{E8BC9535-AF13-441C-B712-A90AD7601BF1}"/>
              </a:ext>
            </a:extLst>
          </p:cNvPr>
          <p:cNvGrpSpPr/>
          <p:nvPr/>
        </p:nvGrpSpPr>
        <p:grpSpPr>
          <a:xfrm>
            <a:off x="-10204189" y="4317257"/>
            <a:ext cx="2260187" cy="1527301"/>
            <a:chOff x="656405" y="4227306"/>
            <a:chExt cx="2260187" cy="1527301"/>
          </a:xfrm>
        </p:grpSpPr>
        <p:sp>
          <p:nvSpPr>
            <p:cNvPr id="112" name="iṧliďè">
              <a:extLst>
                <a:ext uri="{FF2B5EF4-FFF2-40B4-BE49-F238E27FC236}">
                  <a16:creationId xmlns:a16="http://schemas.microsoft.com/office/drawing/2014/main" id="{28B1B2C6-85AD-4996-9094-E841519DA348}"/>
                </a:ext>
              </a:extLst>
            </p:cNvPr>
            <p:cNvSpPr/>
            <p:nvPr/>
          </p:nvSpPr>
          <p:spPr bwMode="gray">
            <a:xfrm>
              <a:off x="656407" y="4718294"/>
              <a:ext cx="2260185" cy="1036313"/>
            </a:xfrm>
            <a:prstGeom prst="rect">
              <a:avLst/>
            </a:prstGeom>
            <a:noFill/>
            <a:ln w="19050">
              <a:solidFill>
                <a:schemeClr val="bg1">
                  <a:lumMod val="9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t">
              <a:normAutofit/>
            </a:bodyPr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400" b="1" dirty="0">
                  <a:solidFill>
                    <a:schemeClr val="tx1"/>
                  </a:solidFill>
                </a:rPr>
                <a:t>移动鼠标</a:t>
              </a:r>
              <a:endParaRPr lang="en-US" altLang="zh-CN" sz="1400" b="1" dirty="0">
                <a:solidFill>
                  <a:schemeClr val="tx1"/>
                </a:solidFill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400" b="1" dirty="0">
                  <a:solidFill>
                    <a:schemeClr val="tx1"/>
                  </a:solidFill>
                </a:rPr>
                <a:t>双击</a:t>
              </a:r>
              <a:endParaRPr lang="en-US" altLang="zh-CN" sz="1400" b="1" dirty="0">
                <a:solidFill>
                  <a:schemeClr val="tx1"/>
                </a:solidFill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400" b="1" dirty="0">
                  <a:solidFill>
                    <a:schemeClr val="tx1"/>
                  </a:solidFill>
                </a:rPr>
                <a:t>单击</a:t>
              </a:r>
              <a:endParaRPr lang="en-US" altLang="zh-CN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113" name="íŝļïḋé">
              <a:extLst>
                <a:ext uri="{FF2B5EF4-FFF2-40B4-BE49-F238E27FC236}">
                  <a16:creationId xmlns:a16="http://schemas.microsoft.com/office/drawing/2014/main" id="{F69C35AA-1F68-4EB1-A038-F882F025914B}"/>
                </a:ext>
              </a:extLst>
            </p:cNvPr>
            <p:cNvSpPr/>
            <p:nvPr/>
          </p:nvSpPr>
          <p:spPr bwMode="gray">
            <a:xfrm>
              <a:off x="656405" y="4227306"/>
              <a:ext cx="2260185" cy="444403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zh-CN" altLang="en-US">
                  <a:solidFill>
                    <a:schemeClr val="bg1"/>
                  </a:solidFill>
                </a:rPr>
                <a:t>找文件</a:t>
              </a:r>
              <a:r>
                <a:rPr lang="en-US" altLang="zh-CN">
                  <a:solidFill>
                    <a:schemeClr val="bg1"/>
                  </a:solidFill>
                </a:rPr>
                <a:t>/</a:t>
              </a:r>
              <a:r>
                <a:rPr lang="zh-CN" altLang="en-US">
                  <a:solidFill>
                    <a:schemeClr val="bg1"/>
                  </a:solidFill>
                </a:rPr>
                <a:t>目录</a:t>
              </a:r>
              <a:endParaRPr lang="en-US" altLang="zh-CN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4" name="组合 113">
            <a:extLst>
              <a:ext uri="{FF2B5EF4-FFF2-40B4-BE49-F238E27FC236}">
                <a16:creationId xmlns:a16="http://schemas.microsoft.com/office/drawing/2014/main" id="{67F755EA-A880-4F85-ABA1-2D45F0B1F3D6}"/>
              </a:ext>
            </a:extLst>
          </p:cNvPr>
          <p:cNvGrpSpPr/>
          <p:nvPr/>
        </p:nvGrpSpPr>
        <p:grpSpPr>
          <a:xfrm>
            <a:off x="-7621783" y="4317257"/>
            <a:ext cx="2260187" cy="1527301"/>
            <a:chOff x="3238811" y="4227306"/>
            <a:chExt cx="2260187" cy="1527301"/>
          </a:xfrm>
        </p:grpSpPr>
        <p:sp>
          <p:nvSpPr>
            <p:cNvPr id="115" name="îṥḷíḍè">
              <a:extLst>
                <a:ext uri="{FF2B5EF4-FFF2-40B4-BE49-F238E27FC236}">
                  <a16:creationId xmlns:a16="http://schemas.microsoft.com/office/drawing/2014/main" id="{56D67D8C-652A-44EF-9CDB-A32CB74DD3F1}"/>
                </a:ext>
              </a:extLst>
            </p:cNvPr>
            <p:cNvSpPr/>
            <p:nvPr/>
          </p:nvSpPr>
          <p:spPr bwMode="gray">
            <a:xfrm>
              <a:off x="3238813" y="4718294"/>
              <a:ext cx="2260185" cy="1036313"/>
            </a:xfrm>
            <a:prstGeom prst="rect">
              <a:avLst/>
            </a:prstGeom>
            <a:noFill/>
            <a:ln w="19050">
              <a:solidFill>
                <a:schemeClr val="bg1">
                  <a:lumMod val="9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t">
              <a:normAutofit/>
            </a:bodyPr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400" b="1" dirty="0">
                  <a:solidFill>
                    <a:schemeClr val="tx1"/>
                  </a:solidFill>
                </a:rPr>
                <a:t>移动鼠标</a:t>
              </a:r>
              <a:endParaRPr lang="en-US" altLang="zh-CN" sz="1400" b="1" dirty="0">
                <a:solidFill>
                  <a:schemeClr val="tx1"/>
                </a:solidFill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400" b="1" dirty="0">
                  <a:solidFill>
                    <a:schemeClr val="tx1"/>
                  </a:solidFill>
                </a:rPr>
                <a:t>双击</a:t>
              </a:r>
              <a:endParaRPr lang="en-US" altLang="zh-CN" sz="1400" b="1" dirty="0">
                <a:solidFill>
                  <a:schemeClr val="tx1"/>
                </a:solidFill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400" b="1" dirty="0">
                  <a:solidFill>
                    <a:schemeClr val="tx1"/>
                  </a:solidFill>
                </a:rPr>
                <a:t>或右键选择打开方式</a:t>
              </a:r>
              <a:endParaRPr lang="en-US" altLang="zh-CN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116" name="îŝľîḑé">
              <a:extLst>
                <a:ext uri="{FF2B5EF4-FFF2-40B4-BE49-F238E27FC236}">
                  <a16:creationId xmlns:a16="http://schemas.microsoft.com/office/drawing/2014/main" id="{0BF126C0-D16B-4D4C-A8AD-11B2D80CF904}"/>
                </a:ext>
              </a:extLst>
            </p:cNvPr>
            <p:cNvSpPr/>
            <p:nvPr/>
          </p:nvSpPr>
          <p:spPr bwMode="gray">
            <a:xfrm>
              <a:off x="3238811" y="4227306"/>
              <a:ext cx="2260185" cy="444403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zh-CN" altLang="en-US" dirty="0">
                  <a:solidFill>
                    <a:schemeClr val="bg1"/>
                  </a:solidFill>
                </a:rPr>
                <a:t>执行</a:t>
              </a:r>
              <a:r>
                <a:rPr lang="en-US" altLang="zh-CN" dirty="0">
                  <a:solidFill>
                    <a:schemeClr val="bg1"/>
                  </a:solidFill>
                </a:rPr>
                <a:t>/</a:t>
              </a:r>
              <a:r>
                <a:rPr lang="zh-CN" altLang="en-US" dirty="0">
                  <a:solidFill>
                    <a:schemeClr val="bg1"/>
                  </a:solidFill>
                </a:rPr>
                <a:t>打开</a:t>
              </a:r>
              <a:endParaRPr lang="en-US" altLang="zh-CN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7" name="组合 116">
            <a:extLst>
              <a:ext uri="{FF2B5EF4-FFF2-40B4-BE49-F238E27FC236}">
                <a16:creationId xmlns:a16="http://schemas.microsoft.com/office/drawing/2014/main" id="{F8CE98E0-74A1-4F84-85DA-F76E90E666F3}"/>
              </a:ext>
            </a:extLst>
          </p:cNvPr>
          <p:cNvGrpSpPr/>
          <p:nvPr/>
        </p:nvGrpSpPr>
        <p:grpSpPr>
          <a:xfrm>
            <a:off x="-5039376" y="4317257"/>
            <a:ext cx="2260187" cy="1527301"/>
            <a:chOff x="5821218" y="4227306"/>
            <a:chExt cx="2260187" cy="1527301"/>
          </a:xfrm>
        </p:grpSpPr>
        <p:sp>
          <p:nvSpPr>
            <p:cNvPr id="118" name="iṩḻíḋê">
              <a:extLst>
                <a:ext uri="{FF2B5EF4-FFF2-40B4-BE49-F238E27FC236}">
                  <a16:creationId xmlns:a16="http://schemas.microsoft.com/office/drawing/2014/main" id="{6ABE7A61-0DE5-4FE5-98B7-01C66D1427A6}"/>
                </a:ext>
              </a:extLst>
            </p:cNvPr>
            <p:cNvSpPr/>
            <p:nvPr/>
          </p:nvSpPr>
          <p:spPr bwMode="gray">
            <a:xfrm>
              <a:off x="5821220" y="4718294"/>
              <a:ext cx="2260185" cy="1036313"/>
            </a:xfrm>
            <a:prstGeom prst="rect">
              <a:avLst/>
            </a:prstGeom>
            <a:noFill/>
            <a:ln w="19050">
              <a:solidFill>
                <a:schemeClr val="bg1">
                  <a:lumMod val="95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t">
              <a:normAutofit fontScale="92500"/>
            </a:bodyPr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400" b="1" dirty="0">
                  <a:solidFill>
                    <a:schemeClr val="tx1"/>
                  </a:solidFill>
                </a:rPr>
                <a:t>移动！移动！移动！移动！</a:t>
              </a:r>
              <a:endParaRPr lang="en-US" altLang="zh-CN" sz="1400" b="1" dirty="0">
                <a:solidFill>
                  <a:schemeClr val="tx1"/>
                </a:solidFill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400" b="1" dirty="0">
                  <a:solidFill>
                    <a:schemeClr val="tx1"/>
                  </a:solidFill>
                </a:rPr>
                <a:t>单击！单击！单击！单击！</a:t>
              </a:r>
              <a:endParaRPr lang="en-US" altLang="zh-CN" sz="1400" b="1" dirty="0">
                <a:solidFill>
                  <a:schemeClr val="tx1"/>
                </a:solidFill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400" b="1" dirty="0">
                  <a:solidFill>
                    <a:schemeClr val="tx1"/>
                  </a:solidFill>
                </a:rPr>
                <a:t>双击！双击！双击！双击！</a:t>
              </a:r>
              <a:endParaRPr lang="en-US" altLang="zh-CN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119" name="îsliḍè">
              <a:extLst>
                <a:ext uri="{FF2B5EF4-FFF2-40B4-BE49-F238E27FC236}">
                  <a16:creationId xmlns:a16="http://schemas.microsoft.com/office/drawing/2014/main" id="{BA1B8C9D-8108-4025-9720-4A99D4FB4388}"/>
                </a:ext>
              </a:extLst>
            </p:cNvPr>
            <p:cNvSpPr/>
            <p:nvPr/>
          </p:nvSpPr>
          <p:spPr bwMode="gray">
            <a:xfrm>
              <a:off x="5821218" y="4227306"/>
              <a:ext cx="2260185" cy="444403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zh-CN" altLang="en-US" dirty="0">
                  <a:solidFill>
                    <a:schemeClr val="bg1"/>
                  </a:solidFill>
                </a:rPr>
                <a:t>其他</a:t>
              </a:r>
              <a:endParaRPr lang="en-US" altLang="zh-CN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946441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0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1.187729 0 E" pathEditMode="relative" ptsTypes="">
                                      <p:cBhvr>
                                        <p:cTn id="12" dur="2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87729 0 L 0 0 E" pathEditMode="relative" ptsTypes="">
                                      <p:cBhvr>
                                        <p:cTn id="14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5" presetID="6" presetClass="emp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2000" fill="hold"/>
                                        <p:tgtEl>
                                          <p:spTgt spid="96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6" presetClass="emp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" dur="2000" fill="hold"/>
                                        <p:tgtEl>
                                          <p:spTgt spid="3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20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3" presetClass="path" presetSubtype="0" accel="50000" decel="5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0 L 1.187729 0 E" pathEditMode="relative" ptsTypes="">
                                      <p:cBhvr>
                                        <p:cTn id="26" dur="2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7" presetID="63" presetClass="path" presetSubtype="0" accel="50000" decel="5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1.187729 0 L 0 0 E" pathEditMode="relative" ptsTypes="">
                                      <p:cBhvr>
                                        <p:cTn id="28" dur="2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9" presetID="6" presetClass="emph" presetSubtype="0" accel="50000" decel="5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30" dur="2000" fill="hold"/>
                                        <p:tgtEl>
                                          <p:spTgt spid="99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6" presetClass="emph" presetSubtype="0" accel="50000" decel="5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32" dur="2000" fill="hold"/>
                                        <p:tgtEl>
                                          <p:spTgt spid="66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10" presetClass="exit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20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63" presetClass="path" presetSubtype="0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0 L 1.187729 0 E" pathEditMode="relative" ptsTypes="">
                                      <p:cBhvr>
                                        <p:cTn id="40" dur="20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1" presetID="63" presetClass="path" presetSubtype="0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187729 0 L 0 0 E" pathEditMode="relative" ptsTypes="">
                                      <p:cBhvr>
                                        <p:cTn id="42" dur="2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3" presetID="6" presetClass="emph" presetSubtype="0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44" dur="2000" fill="hold"/>
                                        <p:tgtEl>
                                          <p:spTgt spid="102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6" presetClass="emph" presetSubtype="0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46" dur="2000" fill="hold"/>
                                        <p:tgtEl>
                                          <p:spTgt spid="67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20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63" presetClass="path" presetSubtype="0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0 0 L 1.187729 0 E" pathEditMode="relative" ptsTypes="">
                                      <p:cBhvr>
                                        <p:cTn id="54" dur="20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5" presetID="63" presetClass="path" presetSubtype="0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1.187729 0 L 0 0 E" pathEditMode="relative" ptsTypes="">
                                      <p:cBhvr>
                                        <p:cTn id="56" dur="2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7" presetID="6" presetClass="emph" presetSubtype="0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58" dur="2000" fill="hold"/>
                                        <p:tgtEl>
                                          <p:spTgt spid="105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9" presetID="6" presetClass="emph" presetSubtype="0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60" dur="2000" fill="hold"/>
                                        <p:tgtEl>
                                          <p:spTgt spid="68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1" presetID="10" presetClass="exit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20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2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63" presetClass="path" presetSubtype="0" accel="50000" decel="5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 0 L 1.187729 0 E" pathEditMode="relative" ptsTypes="">
                                      <p:cBhvr>
                                        <p:cTn id="68" dur="20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69" presetID="63" presetClass="path" presetSubtype="0" accel="50000" decel="5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1.187729 0 L 0 0 E" pathEditMode="relative" ptsTypes="">
                                      <p:cBhvr>
                                        <p:cTn id="70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1" presetID="6" presetClass="emph" presetSubtype="0" accel="50000" decel="5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72" dur="2000" fill="hold"/>
                                        <p:tgtEl>
                                          <p:spTgt spid="108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3" presetID="6" presetClass="emph" presetSubtype="0" accel="50000" decel="5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74" dur="2000" fill="hold"/>
                                        <p:tgtEl>
                                          <p:spTgt spid="47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5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6" dur="20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2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63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 0 L 1.187729 0 E" pathEditMode="relative" ptsTypes="">
                                      <p:cBhvr>
                                        <p:cTn id="82" dur="20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83" presetID="63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1.187729 0 L 0 0 E" pathEditMode="relative" ptsTypes="">
                                      <p:cBhvr>
                                        <p:cTn id="84" dur="2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85" presetID="6" presetClass="emp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86" dur="2000" fill="hold"/>
                                        <p:tgtEl>
                                          <p:spTgt spid="111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7" presetID="6" presetClass="emp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88" dur="2000" fill="hold"/>
                                        <p:tgtEl>
                                          <p:spTgt spid="69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9" presetID="10" presetClass="exit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0" dur="20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2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63" presetClass="path" presetSubtype="0" accel="50000" decel="5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0 0 L 1.187729 0 E" pathEditMode="relative" ptsTypes="">
                                      <p:cBhvr>
                                        <p:cTn id="96" dur="20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7" presetID="63" presetClass="path" presetSubtype="0" accel="50000" decel="5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1.187729 0 L 0 0 E" pathEditMode="relative" ptsTypes="">
                                      <p:cBhvr>
                                        <p:cTn id="98" dur="2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9" presetID="6" presetClass="emph" presetSubtype="0" accel="50000" decel="5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Scale>
                                      <p:cBhvr>
                                        <p:cTn id="100" dur="2000" fill="hold"/>
                                        <p:tgtEl>
                                          <p:spTgt spid="114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01" presetID="6" presetClass="emph" presetSubtype="0" accel="50000" decel="5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Scale>
                                      <p:cBhvr>
                                        <p:cTn id="102" dur="2000" fill="hold"/>
                                        <p:tgtEl>
                                          <p:spTgt spid="70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03" presetID="10" presetClass="exit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4" dur="20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2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63" presetClass="path" presetSubtype="0" accel="50000" decel="5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0 0 L 1.187729 0 E" pathEditMode="relative" ptsTypes="">
                                      <p:cBhvr>
                                        <p:cTn id="110" dur="20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1" presetID="63" presetClass="path" presetSubtype="0" accel="50000" decel="5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1.187729 0 L 0 0 E" pathEditMode="relative" ptsTypes="">
                                      <p:cBhvr>
                                        <p:cTn id="112" dur="2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3" presetID="6" presetClass="emph" presetSubtype="0" accel="50000" decel="5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114" dur="2000" fill="hold"/>
                                        <p:tgtEl>
                                          <p:spTgt spid="117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15" presetID="6" presetClass="emph" presetSubtype="0" accel="50000" decel="5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116" dur="2000" fill="hold"/>
                                        <p:tgtEl>
                                          <p:spTgt spid="71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400" dirty="0"/>
              <a:t>Hadoop</a:t>
            </a:r>
            <a:r>
              <a:rPr lang="zh-CN" altLang="en-US" sz="2400" dirty="0"/>
              <a:t>的部署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/>
          </a:p>
        </p:txBody>
      </p:sp>
      <p:sp>
        <p:nvSpPr>
          <p:cNvPr id="195" name="iṧḻîďè">
            <a:extLst>
              <a:ext uri="{FF2B5EF4-FFF2-40B4-BE49-F238E27FC236}">
                <a16:creationId xmlns:a16="http://schemas.microsoft.com/office/drawing/2014/main" id="{6FC8272D-4563-47EB-B741-E738A21C2623}"/>
              </a:ext>
            </a:extLst>
          </p:cNvPr>
          <p:cNvSpPr/>
          <p:nvPr/>
        </p:nvSpPr>
        <p:spPr bwMode="auto">
          <a:xfrm>
            <a:off x="4128275" y="4366718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搞定！</a:t>
            </a:r>
            <a:endParaRPr lang="en-US" altLang="zh-CN" b="1" dirty="0"/>
          </a:p>
        </p:txBody>
      </p:sp>
      <p:sp>
        <p:nvSpPr>
          <p:cNvPr id="196" name="îŝḻiḋé">
            <a:extLst>
              <a:ext uri="{FF2B5EF4-FFF2-40B4-BE49-F238E27FC236}">
                <a16:creationId xmlns:a16="http://schemas.microsoft.com/office/drawing/2014/main" id="{C05C75D7-4258-49B9-958F-F2EEF0B840E0}"/>
              </a:ext>
            </a:extLst>
          </p:cNvPr>
          <p:cNvSpPr/>
          <p:nvPr/>
        </p:nvSpPr>
        <p:spPr bwMode="auto">
          <a:xfrm>
            <a:off x="4532614" y="3878936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测试</a:t>
            </a:r>
            <a:endParaRPr lang="en-US" altLang="zh-CN" b="1" dirty="0"/>
          </a:p>
        </p:txBody>
      </p:sp>
      <p:sp>
        <p:nvSpPr>
          <p:cNvPr id="197" name="íṥḷíďê">
            <a:extLst>
              <a:ext uri="{FF2B5EF4-FFF2-40B4-BE49-F238E27FC236}">
                <a16:creationId xmlns:a16="http://schemas.microsoft.com/office/drawing/2014/main" id="{D4FCC7AE-5767-4EC4-BB68-B94457D3AE6D}"/>
              </a:ext>
            </a:extLst>
          </p:cNvPr>
          <p:cNvSpPr/>
          <p:nvPr/>
        </p:nvSpPr>
        <p:spPr bwMode="auto">
          <a:xfrm>
            <a:off x="4928351" y="3391154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/>
              <a:t>配置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8" name="ïś1ïḓè">
            <a:extLst>
              <a:ext uri="{FF2B5EF4-FFF2-40B4-BE49-F238E27FC236}">
                <a16:creationId xmlns:a16="http://schemas.microsoft.com/office/drawing/2014/main" id="{F32E844B-E27C-4A92-9B60-95E4AD88D81F}"/>
              </a:ext>
            </a:extLst>
          </p:cNvPr>
          <p:cNvSpPr/>
          <p:nvPr/>
        </p:nvSpPr>
        <p:spPr bwMode="auto">
          <a:xfrm>
            <a:off x="5331831" y="2903372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 dirty="0"/>
              <a:t>安装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9" name="îśļïḍè">
            <a:extLst>
              <a:ext uri="{FF2B5EF4-FFF2-40B4-BE49-F238E27FC236}">
                <a16:creationId xmlns:a16="http://schemas.microsoft.com/office/drawing/2014/main" id="{F812BB55-77DE-4E23-95E6-156A22FAD363}"/>
              </a:ext>
            </a:extLst>
          </p:cNvPr>
          <p:cNvSpPr/>
          <p:nvPr/>
        </p:nvSpPr>
        <p:spPr bwMode="auto">
          <a:xfrm>
            <a:off x="5708130" y="2415589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配置</a:t>
            </a:r>
            <a:r>
              <a:rPr lang="en-US" altLang="zh-CN" b="1" dirty="0"/>
              <a:t>JAVA</a:t>
            </a:r>
          </a:p>
        </p:txBody>
      </p:sp>
      <p:sp>
        <p:nvSpPr>
          <p:cNvPr id="200" name="ï$1íḍé">
            <a:extLst>
              <a:ext uri="{FF2B5EF4-FFF2-40B4-BE49-F238E27FC236}">
                <a16:creationId xmlns:a16="http://schemas.microsoft.com/office/drawing/2014/main" id="{48245F16-84E7-4201-9485-85B5E5B15ECD}"/>
              </a:ext>
            </a:extLst>
          </p:cNvPr>
          <p:cNvSpPr/>
          <p:nvPr/>
        </p:nvSpPr>
        <p:spPr bwMode="auto">
          <a:xfrm>
            <a:off x="6098356" y="1927807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 dirty="0">
                <a:solidFill>
                  <a:schemeClr val="bg1"/>
                </a:solidFill>
              </a:rPr>
              <a:t>安装</a:t>
            </a:r>
            <a:r>
              <a:rPr lang="en-US" altLang="zh-CN" sz="1750" b="1" dirty="0">
                <a:solidFill>
                  <a:schemeClr val="bg1"/>
                </a:solidFill>
              </a:rPr>
              <a:t>JAVA</a:t>
            </a:r>
          </a:p>
        </p:txBody>
      </p:sp>
      <p:sp>
        <p:nvSpPr>
          <p:cNvPr id="201" name="îṥľïďê">
            <a:extLst>
              <a:ext uri="{FF2B5EF4-FFF2-40B4-BE49-F238E27FC236}">
                <a16:creationId xmlns:a16="http://schemas.microsoft.com/office/drawing/2014/main" id="{920DFBAA-02E5-4206-86B0-FE10F93A7509}"/>
              </a:ext>
            </a:extLst>
          </p:cNvPr>
          <p:cNvSpPr/>
          <p:nvPr/>
        </p:nvSpPr>
        <p:spPr bwMode="auto">
          <a:xfrm>
            <a:off x="3815836" y="3025429"/>
            <a:ext cx="2806439" cy="929672"/>
          </a:xfrm>
          <a:custGeom>
            <a:avLst/>
            <a:gdLst>
              <a:gd name="T0" fmla="*/ 179 w 203"/>
              <a:gd name="T1" fmla="*/ 82 h 82"/>
              <a:gd name="T2" fmla="*/ 203 w 203"/>
              <a:gd name="T3" fmla="*/ 29 h 82"/>
              <a:gd name="T4" fmla="*/ 65 w 203"/>
              <a:gd name="T5" fmla="*/ 27 h 82"/>
              <a:gd name="T6" fmla="*/ 59 w 203"/>
              <a:gd name="T7" fmla="*/ 0 h 82"/>
              <a:gd name="T8" fmla="*/ 59 w 203"/>
              <a:gd name="T9" fmla="*/ 0 h 82"/>
              <a:gd name="T10" fmla="*/ 0 w 203"/>
              <a:gd name="T11" fmla="*/ 80 h 82"/>
              <a:gd name="T12" fmla="*/ 61 w 203"/>
              <a:gd name="T13" fmla="*/ 82 h 82"/>
              <a:gd name="T14" fmla="*/ 179 w 203"/>
              <a:gd name="T15" fmla="*/ 8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3" h="82">
                <a:moveTo>
                  <a:pt x="179" y="82"/>
                </a:moveTo>
                <a:lnTo>
                  <a:pt x="203" y="29"/>
                </a:lnTo>
                <a:lnTo>
                  <a:pt x="65" y="27"/>
                </a:lnTo>
                <a:lnTo>
                  <a:pt x="59" y="0"/>
                </a:lnTo>
                <a:lnTo>
                  <a:pt x="59" y="0"/>
                </a:lnTo>
                <a:lnTo>
                  <a:pt x="0" y="80"/>
                </a:lnTo>
                <a:lnTo>
                  <a:pt x="61" y="82"/>
                </a:lnTo>
                <a:lnTo>
                  <a:pt x="179" y="8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2" name="i$ḻíḋè">
            <a:extLst>
              <a:ext uri="{FF2B5EF4-FFF2-40B4-BE49-F238E27FC236}">
                <a16:creationId xmlns:a16="http://schemas.microsoft.com/office/drawing/2014/main" id="{430BE7EB-B6F0-4F05-80EA-1F517165029F}"/>
              </a:ext>
            </a:extLst>
          </p:cNvPr>
          <p:cNvSpPr/>
          <p:nvPr/>
        </p:nvSpPr>
        <p:spPr bwMode="auto">
          <a:xfrm>
            <a:off x="5925167" y="1927807"/>
            <a:ext cx="1048730" cy="185748"/>
          </a:xfrm>
          <a:prstGeom prst="triangle">
            <a:avLst>
              <a:gd name="adj" fmla="val 14726"/>
            </a:avLst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3" name="işľiḋe">
            <a:extLst>
              <a:ext uri="{FF2B5EF4-FFF2-40B4-BE49-F238E27FC236}">
                <a16:creationId xmlns:a16="http://schemas.microsoft.com/office/drawing/2014/main" id="{E4DECB97-43D1-4D26-8C48-41447675AE79}"/>
              </a:ext>
            </a:extLst>
          </p:cNvPr>
          <p:cNvSpPr/>
          <p:nvPr/>
        </p:nvSpPr>
        <p:spPr bwMode="auto">
          <a:xfrm>
            <a:off x="2657029" y="1800983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4" name="iś1íďé">
            <a:extLst>
              <a:ext uri="{FF2B5EF4-FFF2-40B4-BE49-F238E27FC236}">
                <a16:creationId xmlns:a16="http://schemas.microsoft.com/office/drawing/2014/main" id="{6E7EA96A-F20A-4912-AC31-63A0F19E66DE}"/>
              </a:ext>
            </a:extLst>
          </p:cNvPr>
          <p:cNvSpPr/>
          <p:nvPr/>
        </p:nvSpPr>
        <p:spPr bwMode="auto">
          <a:xfrm>
            <a:off x="2247552" y="2288765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5" name="ïŝlíḋe">
            <a:extLst>
              <a:ext uri="{FF2B5EF4-FFF2-40B4-BE49-F238E27FC236}">
                <a16:creationId xmlns:a16="http://schemas.microsoft.com/office/drawing/2014/main" id="{66D30D6F-26C9-4C2C-BC01-900AC07DC57E}"/>
              </a:ext>
            </a:extLst>
          </p:cNvPr>
          <p:cNvSpPr/>
          <p:nvPr/>
        </p:nvSpPr>
        <p:spPr bwMode="auto">
          <a:xfrm>
            <a:off x="1832937" y="2776548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6" name="îSliďè">
            <a:extLst>
              <a:ext uri="{FF2B5EF4-FFF2-40B4-BE49-F238E27FC236}">
                <a16:creationId xmlns:a16="http://schemas.microsoft.com/office/drawing/2014/main" id="{2F6D5554-EACD-4DDD-892F-2E5F97A9C421}"/>
              </a:ext>
            </a:extLst>
          </p:cNvPr>
          <p:cNvSpPr/>
          <p:nvPr/>
        </p:nvSpPr>
        <p:spPr bwMode="auto">
          <a:xfrm>
            <a:off x="1423485" y="3264330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7" name="îSliďé">
            <a:extLst>
              <a:ext uri="{FF2B5EF4-FFF2-40B4-BE49-F238E27FC236}">
                <a16:creationId xmlns:a16="http://schemas.microsoft.com/office/drawing/2014/main" id="{2E278F3F-C8D8-4E2A-A3EA-29ADCF1A02AA}"/>
              </a:ext>
            </a:extLst>
          </p:cNvPr>
          <p:cNvSpPr/>
          <p:nvPr/>
        </p:nvSpPr>
        <p:spPr bwMode="auto">
          <a:xfrm>
            <a:off x="1013862" y="3752112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8" name="îs1iďé">
            <a:extLst>
              <a:ext uri="{FF2B5EF4-FFF2-40B4-BE49-F238E27FC236}">
                <a16:creationId xmlns:a16="http://schemas.microsoft.com/office/drawing/2014/main" id="{EB74D0C2-5677-4F3F-A043-44D01A3F3D48}"/>
              </a:ext>
            </a:extLst>
          </p:cNvPr>
          <p:cNvSpPr/>
          <p:nvPr/>
        </p:nvSpPr>
        <p:spPr bwMode="auto">
          <a:xfrm>
            <a:off x="604360" y="4239894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9" name="ïṣḻïḋe">
            <a:extLst>
              <a:ext uri="{FF2B5EF4-FFF2-40B4-BE49-F238E27FC236}">
                <a16:creationId xmlns:a16="http://schemas.microsoft.com/office/drawing/2014/main" id="{7709F84E-C33F-462F-B538-51CB71C9284E}"/>
              </a:ext>
            </a:extLst>
          </p:cNvPr>
          <p:cNvSpPr/>
          <p:nvPr/>
        </p:nvSpPr>
        <p:spPr bwMode="auto">
          <a:xfrm>
            <a:off x="3339923" y="2225720"/>
            <a:ext cx="283355" cy="282961"/>
          </a:xfrm>
          <a:custGeom>
            <a:avLst/>
            <a:gdLst>
              <a:gd name="T0" fmla="*/ 400 w 11264"/>
              <a:gd name="T1" fmla="*/ 7099 h 11264"/>
              <a:gd name="T2" fmla="*/ 4165 w 11264"/>
              <a:gd name="T3" fmla="*/ 7099 h 11264"/>
              <a:gd name="T4" fmla="*/ 4165 w 11264"/>
              <a:gd name="T5" fmla="*/ 10864 h 11264"/>
              <a:gd name="T6" fmla="*/ 4565 w 11264"/>
              <a:gd name="T7" fmla="*/ 11264 h 11264"/>
              <a:gd name="T8" fmla="*/ 6699 w 11264"/>
              <a:gd name="T9" fmla="*/ 11264 h 11264"/>
              <a:gd name="T10" fmla="*/ 7099 w 11264"/>
              <a:gd name="T11" fmla="*/ 10864 h 11264"/>
              <a:gd name="T12" fmla="*/ 7099 w 11264"/>
              <a:gd name="T13" fmla="*/ 7099 h 11264"/>
              <a:gd name="T14" fmla="*/ 10864 w 11264"/>
              <a:gd name="T15" fmla="*/ 7099 h 11264"/>
              <a:gd name="T16" fmla="*/ 11264 w 11264"/>
              <a:gd name="T17" fmla="*/ 6699 h 11264"/>
              <a:gd name="T18" fmla="*/ 11264 w 11264"/>
              <a:gd name="T19" fmla="*/ 4565 h 11264"/>
              <a:gd name="T20" fmla="*/ 10864 w 11264"/>
              <a:gd name="T21" fmla="*/ 4165 h 11264"/>
              <a:gd name="T22" fmla="*/ 7099 w 11264"/>
              <a:gd name="T23" fmla="*/ 4165 h 11264"/>
              <a:gd name="T24" fmla="*/ 7099 w 11264"/>
              <a:gd name="T25" fmla="*/ 400 h 11264"/>
              <a:gd name="T26" fmla="*/ 6699 w 11264"/>
              <a:gd name="T27" fmla="*/ 0 h 11264"/>
              <a:gd name="T28" fmla="*/ 4565 w 11264"/>
              <a:gd name="T29" fmla="*/ 0 h 11264"/>
              <a:gd name="T30" fmla="*/ 4165 w 11264"/>
              <a:gd name="T31" fmla="*/ 400 h 11264"/>
              <a:gd name="T32" fmla="*/ 4165 w 11264"/>
              <a:gd name="T33" fmla="*/ 4165 h 11264"/>
              <a:gd name="T34" fmla="*/ 400 w 11264"/>
              <a:gd name="T35" fmla="*/ 4165 h 11264"/>
              <a:gd name="T36" fmla="*/ 0 w 11264"/>
              <a:gd name="T37" fmla="*/ 4565 h 11264"/>
              <a:gd name="T38" fmla="*/ 0 w 11264"/>
              <a:gd name="T39" fmla="*/ 6699 h 11264"/>
              <a:gd name="T40" fmla="*/ 400 w 11264"/>
              <a:gd name="T41" fmla="*/ 7099 h 11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264" h="11264">
                <a:moveTo>
                  <a:pt x="400" y="7099"/>
                </a:moveTo>
                <a:lnTo>
                  <a:pt x="4165" y="7099"/>
                </a:lnTo>
                <a:lnTo>
                  <a:pt x="4165" y="10864"/>
                </a:lnTo>
                <a:cubicBezTo>
                  <a:pt x="4165" y="11085"/>
                  <a:pt x="4344" y="11264"/>
                  <a:pt x="4565" y="11264"/>
                </a:cubicBezTo>
                <a:lnTo>
                  <a:pt x="6699" y="11264"/>
                </a:lnTo>
                <a:cubicBezTo>
                  <a:pt x="6920" y="11264"/>
                  <a:pt x="7099" y="11085"/>
                  <a:pt x="7099" y="10864"/>
                </a:cubicBezTo>
                <a:lnTo>
                  <a:pt x="7099" y="7099"/>
                </a:lnTo>
                <a:lnTo>
                  <a:pt x="10864" y="7099"/>
                </a:lnTo>
                <a:cubicBezTo>
                  <a:pt x="11085" y="7099"/>
                  <a:pt x="11264" y="6920"/>
                  <a:pt x="11264" y="6699"/>
                </a:cubicBezTo>
                <a:lnTo>
                  <a:pt x="11264" y="4565"/>
                </a:lnTo>
                <a:cubicBezTo>
                  <a:pt x="11264" y="4344"/>
                  <a:pt x="11085" y="4165"/>
                  <a:pt x="10864" y="4165"/>
                </a:cubicBezTo>
                <a:lnTo>
                  <a:pt x="7099" y="4165"/>
                </a:lnTo>
                <a:lnTo>
                  <a:pt x="7099" y="400"/>
                </a:lnTo>
                <a:cubicBezTo>
                  <a:pt x="7099" y="179"/>
                  <a:pt x="6920" y="0"/>
                  <a:pt x="6699" y="0"/>
                </a:cubicBezTo>
                <a:lnTo>
                  <a:pt x="4565" y="0"/>
                </a:lnTo>
                <a:cubicBezTo>
                  <a:pt x="4344" y="0"/>
                  <a:pt x="4165" y="179"/>
                  <a:pt x="4165" y="400"/>
                </a:cubicBezTo>
                <a:lnTo>
                  <a:pt x="4165" y="4165"/>
                </a:lnTo>
                <a:lnTo>
                  <a:pt x="400" y="4165"/>
                </a:lnTo>
                <a:cubicBezTo>
                  <a:pt x="179" y="4165"/>
                  <a:pt x="0" y="4344"/>
                  <a:pt x="0" y="4565"/>
                </a:cubicBezTo>
                <a:lnTo>
                  <a:pt x="0" y="6699"/>
                </a:lnTo>
                <a:cubicBezTo>
                  <a:pt x="0" y="6920"/>
                  <a:pt x="179" y="7099"/>
                  <a:pt x="400" y="7099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/>
          </a:p>
        </p:txBody>
      </p:sp>
      <p:sp>
        <p:nvSpPr>
          <p:cNvPr id="210" name="îsḷïde">
            <a:extLst>
              <a:ext uri="{FF2B5EF4-FFF2-40B4-BE49-F238E27FC236}">
                <a16:creationId xmlns:a16="http://schemas.microsoft.com/office/drawing/2014/main" id="{F7027C89-1BCC-4A00-9535-016DE4C49FD7}"/>
              </a:ext>
            </a:extLst>
          </p:cNvPr>
          <p:cNvSpPr/>
          <p:nvPr/>
        </p:nvSpPr>
        <p:spPr bwMode="auto">
          <a:xfrm>
            <a:off x="2952637" y="2707851"/>
            <a:ext cx="277477" cy="283355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  <a:gd name="connsiteX107" fmla="*/ 373273 h 605239"/>
              <a:gd name="connsiteY107" fmla="*/ 373273 h 605239"/>
              <a:gd name="connsiteX108" fmla="*/ 373273 h 605239"/>
              <a:gd name="connsiteY108" fmla="*/ 373273 h 605239"/>
              <a:gd name="connsiteX109" fmla="*/ 373273 h 605239"/>
              <a:gd name="connsiteY109" fmla="*/ 373273 h 605239"/>
              <a:gd name="connsiteX110" fmla="*/ 373273 h 605239"/>
              <a:gd name="connsiteY110" fmla="*/ 373273 h 605239"/>
              <a:gd name="connsiteX111" fmla="*/ 373273 h 605239"/>
              <a:gd name="connsiteY111" fmla="*/ 373273 h 605239"/>
              <a:gd name="connsiteX112" fmla="*/ 373273 h 605239"/>
              <a:gd name="connsiteY112" fmla="*/ 373273 h 605239"/>
              <a:gd name="connsiteX113" fmla="*/ 373273 h 605239"/>
              <a:gd name="connsiteY113" fmla="*/ 373273 h 605239"/>
              <a:gd name="connsiteX114" fmla="*/ 373273 h 605239"/>
              <a:gd name="connsiteY114" fmla="*/ 373273 h 605239"/>
              <a:gd name="connsiteX115" fmla="*/ 373273 h 605239"/>
              <a:gd name="connsiteY115" fmla="*/ 373273 h 605239"/>
              <a:gd name="connsiteX116" fmla="*/ 373273 h 605239"/>
              <a:gd name="connsiteY116" fmla="*/ 373273 h 605239"/>
              <a:gd name="connsiteX117" fmla="*/ 373273 h 605239"/>
              <a:gd name="connsiteY117" fmla="*/ 373273 h 605239"/>
              <a:gd name="connsiteX118" fmla="*/ 373273 h 605239"/>
              <a:gd name="connsiteY118" fmla="*/ 373273 h 605239"/>
              <a:gd name="connsiteX119" fmla="*/ 373273 h 605239"/>
              <a:gd name="connsiteY119" fmla="*/ 373273 h 605239"/>
              <a:gd name="connsiteX120" fmla="*/ 373273 h 605239"/>
              <a:gd name="connsiteY120" fmla="*/ 373273 h 605239"/>
              <a:gd name="connsiteX121" fmla="*/ 373273 h 605239"/>
              <a:gd name="connsiteY121" fmla="*/ 373273 h 605239"/>
              <a:gd name="connsiteX122" fmla="*/ 373273 h 605239"/>
              <a:gd name="connsiteY122" fmla="*/ 373273 h 605239"/>
              <a:gd name="connsiteX123" fmla="*/ 373273 h 605239"/>
              <a:gd name="connsiteY123" fmla="*/ 373273 h 605239"/>
              <a:gd name="connsiteX124" fmla="*/ 373273 h 605239"/>
              <a:gd name="connsiteY124" fmla="*/ 373273 h 605239"/>
              <a:gd name="connsiteX125" fmla="*/ 373273 h 605239"/>
              <a:gd name="connsiteY125" fmla="*/ 373273 h 605239"/>
              <a:gd name="connsiteX126" fmla="*/ 373273 h 605239"/>
              <a:gd name="connsiteY126" fmla="*/ 373273 h 605239"/>
              <a:gd name="connsiteX127" fmla="*/ 373273 h 605239"/>
              <a:gd name="connsiteY127" fmla="*/ 373273 h 605239"/>
              <a:gd name="connsiteX128" fmla="*/ 373273 h 605239"/>
              <a:gd name="connsiteY128" fmla="*/ 373273 h 605239"/>
              <a:gd name="connsiteX129" fmla="*/ 373273 h 605239"/>
              <a:gd name="connsiteY12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593733" h="606309">
                <a:moveTo>
                  <a:pt x="353250" y="302855"/>
                </a:moveTo>
                <a:cubicBezTo>
                  <a:pt x="318468" y="302855"/>
                  <a:pt x="290232" y="331146"/>
                  <a:pt x="290232" y="365879"/>
                </a:cubicBezTo>
                <a:cubicBezTo>
                  <a:pt x="290232" y="374189"/>
                  <a:pt x="296964" y="380912"/>
                  <a:pt x="305285" y="380912"/>
                </a:cubicBezTo>
                <a:cubicBezTo>
                  <a:pt x="313607" y="380912"/>
                  <a:pt x="320338" y="374189"/>
                  <a:pt x="320338" y="365879"/>
                </a:cubicBezTo>
                <a:cubicBezTo>
                  <a:pt x="320338" y="347672"/>
                  <a:pt x="335111" y="333014"/>
                  <a:pt x="353250" y="333014"/>
                </a:cubicBezTo>
                <a:cubicBezTo>
                  <a:pt x="361665" y="333014"/>
                  <a:pt x="368397" y="326291"/>
                  <a:pt x="368397" y="317888"/>
                </a:cubicBezTo>
                <a:cubicBezTo>
                  <a:pt x="368397" y="309578"/>
                  <a:pt x="361665" y="302855"/>
                  <a:pt x="353250" y="302855"/>
                </a:cubicBezTo>
                <a:close/>
                <a:moveTo>
                  <a:pt x="353250" y="265041"/>
                </a:moveTo>
                <a:cubicBezTo>
                  <a:pt x="409163" y="265041"/>
                  <a:pt x="454229" y="310232"/>
                  <a:pt x="454229" y="365879"/>
                </a:cubicBezTo>
                <a:cubicBezTo>
                  <a:pt x="454229" y="421527"/>
                  <a:pt x="408976" y="466717"/>
                  <a:pt x="353250" y="466717"/>
                </a:cubicBezTo>
                <a:cubicBezTo>
                  <a:pt x="297525" y="466717"/>
                  <a:pt x="252271" y="421527"/>
                  <a:pt x="252271" y="365879"/>
                </a:cubicBezTo>
                <a:cubicBezTo>
                  <a:pt x="252271" y="310232"/>
                  <a:pt x="297431" y="265041"/>
                  <a:pt x="353250" y="265041"/>
                </a:cubicBezTo>
                <a:close/>
                <a:moveTo>
                  <a:pt x="427779" y="133781"/>
                </a:moveTo>
                <a:cubicBezTo>
                  <a:pt x="432818" y="131960"/>
                  <a:pt x="438547" y="132054"/>
                  <a:pt x="443784" y="134482"/>
                </a:cubicBezTo>
                <a:lnTo>
                  <a:pt x="473245" y="148209"/>
                </a:lnTo>
                <a:cubicBezTo>
                  <a:pt x="483720" y="153158"/>
                  <a:pt x="488209" y="165671"/>
                  <a:pt x="483346" y="176130"/>
                </a:cubicBezTo>
                <a:lnTo>
                  <a:pt x="470252" y="203957"/>
                </a:lnTo>
                <a:cubicBezTo>
                  <a:pt x="492231" y="219646"/>
                  <a:pt x="511123" y="240003"/>
                  <a:pt x="525526" y="264095"/>
                </a:cubicBezTo>
                <a:lnTo>
                  <a:pt x="554426" y="253636"/>
                </a:lnTo>
                <a:cubicBezTo>
                  <a:pt x="565368" y="249714"/>
                  <a:pt x="577340" y="255411"/>
                  <a:pt x="581361" y="266243"/>
                </a:cubicBezTo>
                <a:lnTo>
                  <a:pt x="592491" y="296592"/>
                </a:lnTo>
                <a:cubicBezTo>
                  <a:pt x="596419" y="307612"/>
                  <a:pt x="590714" y="319564"/>
                  <a:pt x="579865" y="323486"/>
                </a:cubicBezTo>
                <a:lnTo>
                  <a:pt x="550965" y="333945"/>
                </a:lnTo>
                <a:cubicBezTo>
                  <a:pt x="555455" y="361586"/>
                  <a:pt x="553958" y="389414"/>
                  <a:pt x="547224" y="415561"/>
                </a:cubicBezTo>
                <a:lnTo>
                  <a:pt x="575095" y="428634"/>
                </a:lnTo>
                <a:cubicBezTo>
                  <a:pt x="585570" y="433490"/>
                  <a:pt x="590059" y="445910"/>
                  <a:pt x="585102" y="456649"/>
                </a:cubicBezTo>
                <a:lnTo>
                  <a:pt x="571354" y="485970"/>
                </a:lnTo>
                <a:cubicBezTo>
                  <a:pt x="566397" y="496429"/>
                  <a:pt x="553958" y="500911"/>
                  <a:pt x="543483" y="496056"/>
                </a:cubicBezTo>
                <a:lnTo>
                  <a:pt x="515238" y="482982"/>
                </a:lnTo>
                <a:cubicBezTo>
                  <a:pt x="499526" y="504833"/>
                  <a:pt x="479137" y="523510"/>
                  <a:pt x="455007" y="537704"/>
                </a:cubicBezTo>
                <a:lnTo>
                  <a:pt x="465763" y="567026"/>
                </a:lnTo>
                <a:cubicBezTo>
                  <a:pt x="469784" y="578045"/>
                  <a:pt x="463986" y="589997"/>
                  <a:pt x="453137" y="593919"/>
                </a:cubicBezTo>
                <a:lnTo>
                  <a:pt x="422741" y="605032"/>
                </a:lnTo>
                <a:cubicBezTo>
                  <a:pt x="411798" y="609047"/>
                  <a:pt x="399827" y="603258"/>
                  <a:pt x="395805" y="592425"/>
                </a:cubicBezTo>
                <a:lnTo>
                  <a:pt x="385050" y="562823"/>
                </a:lnTo>
                <a:cubicBezTo>
                  <a:pt x="357646" y="567212"/>
                  <a:pt x="330056" y="565718"/>
                  <a:pt x="304149" y="558995"/>
                </a:cubicBezTo>
                <a:lnTo>
                  <a:pt x="290682" y="587756"/>
                </a:lnTo>
                <a:cubicBezTo>
                  <a:pt x="285725" y="598215"/>
                  <a:pt x="273192" y="602697"/>
                  <a:pt x="262717" y="597841"/>
                </a:cubicBezTo>
                <a:lnTo>
                  <a:pt x="233350" y="584114"/>
                </a:lnTo>
                <a:cubicBezTo>
                  <a:pt x="222875" y="579165"/>
                  <a:pt x="218385" y="566652"/>
                  <a:pt x="223249" y="556193"/>
                </a:cubicBezTo>
                <a:lnTo>
                  <a:pt x="236810" y="527338"/>
                </a:lnTo>
                <a:cubicBezTo>
                  <a:pt x="215112" y="511650"/>
                  <a:pt x="196407" y="491480"/>
                  <a:pt x="182284" y="467668"/>
                </a:cubicBezTo>
                <a:lnTo>
                  <a:pt x="152169" y="478687"/>
                </a:lnTo>
                <a:cubicBezTo>
                  <a:pt x="141133" y="482609"/>
                  <a:pt x="129161" y="476912"/>
                  <a:pt x="125233" y="466080"/>
                </a:cubicBezTo>
                <a:lnTo>
                  <a:pt x="114104" y="435731"/>
                </a:lnTo>
                <a:cubicBezTo>
                  <a:pt x="110082" y="424712"/>
                  <a:pt x="115881" y="412759"/>
                  <a:pt x="126730" y="408837"/>
                </a:cubicBezTo>
                <a:lnTo>
                  <a:pt x="156845" y="397818"/>
                </a:lnTo>
                <a:cubicBezTo>
                  <a:pt x="153852" y="379422"/>
                  <a:pt x="153478" y="361026"/>
                  <a:pt x="155629" y="342910"/>
                </a:cubicBezTo>
                <a:lnTo>
                  <a:pt x="158622" y="343097"/>
                </a:lnTo>
                <a:cubicBezTo>
                  <a:pt x="181162" y="344030"/>
                  <a:pt x="200522" y="327408"/>
                  <a:pt x="203141" y="305370"/>
                </a:cubicBezTo>
                <a:cubicBezTo>
                  <a:pt x="207723" y="303876"/>
                  <a:pt x="212119" y="302195"/>
                  <a:pt x="216515" y="300515"/>
                </a:cubicBezTo>
                <a:cubicBezTo>
                  <a:pt x="220349" y="304063"/>
                  <a:pt x="224745" y="306958"/>
                  <a:pt x="229609" y="308919"/>
                </a:cubicBezTo>
                <a:cubicBezTo>
                  <a:pt x="219227" y="330957"/>
                  <a:pt x="214831" y="355983"/>
                  <a:pt x="217824" y="381943"/>
                </a:cubicBezTo>
                <a:cubicBezTo>
                  <a:pt x="226709" y="456462"/>
                  <a:pt x="294329" y="509876"/>
                  <a:pt x="368963" y="501192"/>
                </a:cubicBezTo>
                <a:cubicBezTo>
                  <a:pt x="443691" y="492320"/>
                  <a:pt x="497188" y="424899"/>
                  <a:pt x="488490" y="350287"/>
                </a:cubicBezTo>
                <a:cubicBezTo>
                  <a:pt x="479605" y="275675"/>
                  <a:pt x="411985" y="222260"/>
                  <a:pt x="337351" y="231038"/>
                </a:cubicBezTo>
                <a:cubicBezTo>
                  <a:pt x="324632" y="232532"/>
                  <a:pt x="312473" y="235707"/>
                  <a:pt x="301156" y="240376"/>
                </a:cubicBezTo>
                <a:cubicBezTo>
                  <a:pt x="299660" y="236268"/>
                  <a:pt x="297509" y="232345"/>
                  <a:pt x="294797" y="228890"/>
                </a:cubicBezTo>
                <a:cubicBezTo>
                  <a:pt x="297041" y="224688"/>
                  <a:pt x="299005" y="220393"/>
                  <a:pt x="300782" y="216097"/>
                </a:cubicBezTo>
                <a:cubicBezTo>
                  <a:pt x="311164" y="215817"/>
                  <a:pt x="320891" y="211802"/>
                  <a:pt x="328466" y="204891"/>
                </a:cubicBezTo>
                <a:cubicBezTo>
                  <a:pt x="336977" y="197141"/>
                  <a:pt x="341934" y="186589"/>
                  <a:pt x="342402" y="175103"/>
                </a:cubicBezTo>
                <a:lnTo>
                  <a:pt x="342776" y="166978"/>
                </a:lnTo>
                <a:cubicBezTo>
                  <a:pt x="363164" y="165764"/>
                  <a:pt x="383460" y="167912"/>
                  <a:pt x="402820" y="172768"/>
                </a:cubicBezTo>
                <a:lnTo>
                  <a:pt x="415913" y="144567"/>
                </a:lnTo>
                <a:cubicBezTo>
                  <a:pt x="418392" y="139338"/>
                  <a:pt x="422741" y="135602"/>
                  <a:pt x="427779" y="133781"/>
                </a:cubicBezTo>
                <a:close/>
                <a:moveTo>
                  <a:pt x="159906" y="88589"/>
                </a:moveTo>
                <a:cubicBezTo>
                  <a:pt x="142487" y="87818"/>
                  <a:pt x="124764" y="93678"/>
                  <a:pt x="110828" y="106378"/>
                </a:cubicBezTo>
                <a:cubicBezTo>
                  <a:pt x="96145" y="119731"/>
                  <a:pt x="88663" y="138127"/>
                  <a:pt x="88663" y="156523"/>
                </a:cubicBezTo>
                <a:cubicBezTo>
                  <a:pt x="88663" y="172958"/>
                  <a:pt x="94555" y="189393"/>
                  <a:pt x="106526" y="202467"/>
                </a:cubicBezTo>
                <a:cubicBezTo>
                  <a:pt x="131965" y="230294"/>
                  <a:pt x="175081" y="232162"/>
                  <a:pt x="202764" y="206762"/>
                </a:cubicBezTo>
                <a:cubicBezTo>
                  <a:pt x="217448" y="193409"/>
                  <a:pt x="224930" y="175013"/>
                  <a:pt x="224930" y="156523"/>
                </a:cubicBezTo>
                <a:cubicBezTo>
                  <a:pt x="224930" y="140088"/>
                  <a:pt x="219132" y="123653"/>
                  <a:pt x="207160" y="110580"/>
                </a:cubicBezTo>
                <a:cubicBezTo>
                  <a:pt x="194441" y="96760"/>
                  <a:pt x="177325" y="89359"/>
                  <a:pt x="159906" y="88589"/>
                </a:cubicBezTo>
                <a:close/>
                <a:moveTo>
                  <a:pt x="153289" y="17"/>
                </a:moveTo>
                <a:lnTo>
                  <a:pt x="173678" y="951"/>
                </a:lnTo>
                <a:cubicBezTo>
                  <a:pt x="180786" y="1325"/>
                  <a:pt x="186304" y="7114"/>
                  <a:pt x="186304" y="14118"/>
                </a:cubicBezTo>
                <a:lnTo>
                  <a:pt x="186304" y="14771"/>
                </a:lnTo>
                <a:lnTo>
                  <a:pt x="185462" y="34755"/>
                </a:lnTo>
                <a:cubicBezTo>
                  <a:pt x="201923" y="38677"/>
                  <a:pt x="217729" y="45774"/>
                  <a:pt x="231851" y="56232"/>
                </a:cubicBezTo>
                <a:lnTo>
                  <a:pt x="246535" y="42786"/>
                </a:lnTo>
                <a:cubicBezTo>
                  <a:pt x="251866" y="37930"/>
                  <a:pt x="260283" y="38303"/>
                  <a:pt x="265240" y="43626"/>
                </a:cubicBezTo>
                <a:lnTo>
                  <a:pt x="279082" y="58660"/>
                </a:lnTo>
                <a:cubicBezTo>
                  <a:pt x="281420" y="61275"/>
                  <a:pt x="282542" y="64450"/>
                  <a:pt x="282542" y="67625"/>
                </a:cubicBezTo>
                <a:cubicBezTo>
                  <a:pt x="282542" y="71173"/>
                  <a:pt x="281233" y="74722"/>
                  <a:pt x="278334" y="77337"/>
                </a:cubicBezTo>
                <a:lnTo>
                  <a:pt x="263744" y="90690"/>
                </a:lnTo>
                <a:cubicBezTo>
                  <a:pt x="273096" y="105537"/>
                  <a:pt x="278988" y="121973"/>
                  <a:pt x="281420" y="138781"/>
                </a:cubicBezTo>
                <a:lnTo>
                  <a:pt x="301061" y="139621"/>
                </a:lnTo>
                <a:cubicBezTo>
                  <a:pt x="308169" y="139995"/>
                  <a:pt x="313593" y="145878"/>
                  <a:pt x="313593" y="152788"/>
                </a:cubicBezTo>
                <a:lnTo>
                  <a:pt x="313593" y="153442"/>
                </a:lnTo>
                <a:lnTo>
                  <a:pt x="312751" y="173892"/>
                </a:lnTo>
                <a:cubicBezTo>
                  <a:pt x="312377" y="181083"/>
                  <a:pt x="306298" y="186779"/>
                  <a:pt x="298910" y="186405"/>
                </a:cubicBezTo>
                <a:lnTo>
                  <a:pt x="279456" y="185565"/>
                </a:lnTo>
                <a:cubicBezTo>
                  <a:pt x="275622" y="202093"/>
                  <a:pt x="268327" y="218061"/>
                  <a:pt x="257758" y="232162"/>
                </a:cubicBezTo>
                <a:lnTo>
                  <a:pt x="270852" y="246449"/>
                </a:lnTo>
                <a:cubicBezTo>
                  <a:pt x="273190" y="249064"/>
                  <a:pt x="274312" y="252145"/>
                  <a:pt x="274312" y="255414"/>
                </a:cubicBezTo>
                <a:cubicBezTo>
                  <a:pt x="274312" y="258869"/>
                  <a:pt x="273003" y="262511"/>
                  <a:pt x="270104" y="265126"/>
                </a:cubicBezTo>
                <a:lnTo>
                  <a:pt x="255046" y="278946"/>
                </a:lnTo>
                <a:cubicBezTo>
                  <a:pt x="249621" y="283802"/>
                  <a:pt x="241297" y="283428"/>
                  <a:pt x="236340" y="278106"/>
                </a:cubicBezTo>
                <a:lnTo>
                  <a:pt x="223247" y="263724"/>
                </a:lnTo>
                <a:cubicBezTo>
                  <a:pt x="208282" y="272970"/>
                  <a:pt x="191635" y="278853"/>
                  <a:pt x="174800" y="281187"/>
                </a:cubicBezTo>
                <a:lnTo>
                  <a:pt x="173958" y="300610"/>
                </a:lnTo>
                <a:cubicBezTo>
                  <a:pt x="173584" y="307801"/>
                  <a:pt x="167505" y="313590"/>
                  <a:pt x="160117" y="313217"/>
                </a:cubicBezTo>
                <a:lnTo>
                  <a:pt x="139634" y="312283"/>
                </a:lnTo>
                <a:cubicBezTo>
                  <a:pt x="132526" y="311909"/>
                  <a:pt x="127102" y="306120"/>
                  <a:pt x="127102" y="299116"/>
                </a:cubicBezTo>
                <a:lnTo>
                  <a:pt x="127102" y="298463"/>
                </a:lnTo>
                <a:lnTo>
                  <a:pt x="128037" y="279039"/>
                </a:lnTo>
                <a:cubicBezTo>
                  <a:pt x="111577" y="275211"/>
                  <a:pt x="95771" y="267834"/>
                  <a:pt x="81648" y="257281"/>
                </a:cubicBezTo>
                <a:lnTo>
                  <a:pt x="67058" y="270635"/>
                </a:lnTo>
                <a:cubicBezTo>
                  <a:pt x="61727" y="275491"/>
                  <a:pt x="53403" y="275117"/>
                  <a:pt x="48353" y="269701"/>
                </a:cubicBezTo>
                <a:lnTo>
                  <a:pt x="34511" y="254667"/>
                </a:lnTo>
                <a:cubicBezTo>
                  <a:pt x="32173" y="252052"/>
                  <a:pt x="31051" y="248970"/>
                  <a:pt x="31051" y="245702"/>
                </a:cubicBezTo>
                <a:cubicBezTo>
                  <a:pt x="31051" y="242247"/>
                  <a:pt x="32453" y="238605"/>
                  <a:pt x="35259" y="235990"/>
                </a:cubicBezTo>
                <a:lnTo>
                  <a:pt x="50036" y="222544"/>
                </a:lnTo>
                <a:cubicBezTo>
                  <a:pt x="40777" y="207696"/>
                  <a:pt x="35072" y="191261"/>
                  <a:pt x="32640" y="174639"/>
                </a:cubicBezTo>
                <a:lnTo>
                  <a:pt x="12626" y="173705"/>
                </a:lnTo>
                <a:cubicBezTo>
                  <a:pt x="5518" y="173332"/>
                  <a:pt x="0" y="167542"/>
                  <a:pt x="0" y="160539"/>
                </a:cubicBezTo>
                <a:lnTo>
                  <a:pt x="0" y="159885"/>
                </a:lnTo>
                <a:lnTo>
                  <a:pt x="842" y="139621"/>
                </a:lnTo>
                <a:cubicBezTo>
                  <a:pt x="1216" y="132431"/>
                  <a:pt x="7388" y="126642"/>
                  <a:pt x="14683" y="127015"/>
                </a:cubicBezTo>
                <a:lnTo>
                  <a:pt x="34885" y="127949"/>
                </a:lnTo>
                <a:cubicBezTo>
                  <a:pt x="38813" y="111514"/>
                  <a:pt x="46015" y="95826"/>
                  <a:pt x="56490" y="81819"/>
                </a:cubicBezTo>
                <a:lnTo>
                  <a:pt x="42741" y="66878"/>
                </a:lnTo>
                <a:cubicBezTo>
                  <a:pt x="40403" y="64263"/>
                  <a:pt x="39281" y="61182"/>
                  <a:pt x="39281" y="57913"/>
                </a:cubicBezTo>
                <a:cubicBezTo>
                  <a:pt x="39281" y="54458"/>
                  <a:pt x="40684" y="50816"/>
                  <a:pt x="43490" y="48202"/>
                </a:cubicBezTo>
                <a:lnTo>
                  <a:pt x="58641" y="34381"/>
                </a:lnTo>
                <a:cubicBezTo>
                  <a:pt x="63972" y="29526"/>
                  <a:pt x="72296" y="29899"/>
                  <a:pt x="77346" y="35315"/>
                </a:cubicBezTo>
                <a:lnTo>
                  <a:pt x="90627" y="50256"/>
                </a:lnTo>
                <a:cubicBezTo>
                  <a:pt x="105591" y="41011"/>
                  <a:pt x="121864" y="35128"/>
                  <a:pt x="138512" y="32794"/>
                </a:cubicBezTo>
                <a:lnTo>
                  <a:pt x="139447" y="12624"/>
                </a:lnTo>
                <a:cubicBezTo>
                  <a:pt x="139821" y="5433"/>
                  <a:pt x="145901" y="-356"/>
                  <a:pt x="153289" y="1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1" name="îṣḻïḓè">
            <a:extLst>
              <a:ext uri="{FF2B5EF4-FFF2-40B4-BE49-F238E27FC236}">
                <a16:creationId xmlns:a16="http://schemas.microsoft.com/office/drawing/2014/main" id="{30C8A656-A69C-4844-9B4C-38593487F7D6}"/>
              </a:ext>
            </a:extLst>
          </p:cNvPr>
          <p:cNvSpPr/>
          <p:nvPr/>
        </p:nvSpPr>
        <p:spPr bwMode="auto">
          <a:xfrm>
            <a:off x="2573400" y="3190456"/>
            <a:ext cx="283355" cy="282804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81741" h="580612">
                <a:moveTo>
                  <a:pt x="291612" y="187916"/>
                </a:moveTo>
                <a:cubicBezTo>
                  <a:pt x="304876" y="187916"/>
                  <a:pt x="315648" y="198758"/>
                  <a:pt x="315648" y="212088"/>
                </a:cubicBezTo>
                <a:lnTo>
                  <a:pt x="315648" y="491836"/>
                </a:lnTo>
                <a:lnTo>
                  <a:pt x="331227" y="473974"/>
                </a:lnTo>
                <a:cubicBezTo>
                  <a:pt x="339863" y="463932"/>
                  <a:pt x="355086" y="462866"/>
                  <a:pt x="365145" y="471574"/>
                </a:cubicBezTo>
                <a:cubicBezTo>
                  <a:pt x="375116" y="480372"/>
                  <a:pt x="376184" y="495657"/>
                  <a:pt x="367460" y="505699"/>
                </a:cubicBezTo>
                <a:lnTo>
                  <a:pt x="309773" y="572348"/>
                </a:lnTo>
                <a:cubicBezTo>
                  <a:pt x="305143" y="577502"/>
                  <a:pt x="298556" y="580612"/>
                  <a:pt x="291612" y="580612"/>
                </a:cubicBezTo>
                <a:cubicBezTo>
                  <a:pt x="284579" y="580612"/>
                  <a:pt x="278080" y="577680"/>
                  <a:pt x="273451" y="572348"/>
                </a:cubicBezTo>
                <a:lnTo>
                  <a:pt x="215764" y="505699"/>
                </a:lnTo>
                <a:cubicBezTo>
                  <a:pt x="207039" y="495657"/>
                  <a:pt x="208108" y="480372"/>
                  <a:pt x="218078" y="471574"/>
                </a:cubicBezTo>
                <a:cubicBezTo>
                  <a:pt x="228049" y="462866"/>
                  <a:pt x="243272" y="463932"/>
                  <a:pt x="252085" y="473974"/>
                </a:cubicBezTo>
                <a:lnTo>
                  <a:pt x="267486" y="491747"/>
                </a:lnTo>
                <a:lnTo>
                  <a:pt x="267486" y="212088"/>
                </a:lnTo>
                <a:cubicBezTo>
                  <a:pt x="267486" y="198758"/>
                  <a:pt x="278258" y="187916"/>
                  <a:pt x="291612" y="187916"/>
                </a:cubicBezTo>
                <a:close/>
                <a:moveTo>
                  <a:pt x="329499" y="0"/>
                </a:moveTo>
                <a:cubicBezTo>
                  <a:pt x="426248" y="0"/>
                  <a:pt x="465322" y="80426"/>
                  <a:pt x="473332" y="108153"/>
                </a:cubicBezTo>
                <a:cubicBezTo>
                  <a:pt x="535280" y="120684"/>
                  <a:pt x="581474" y="175693"/>
                  <a:pt x="581741" y="241190"/>
                </a:cubicBezTo>
                <a:cubicBezTo>
                  <a:pt x="581741" y="315840"/>
                  <a:pt x="521306" y="376537"/>
                  <a:pt x="446987" y="376537"/>
                </a:cubicBezTo>
                <a:lnTo>
                  <a:pt x="372756" y="376537"/>
                </a:lnTo>
                <a:cubicBezTo>
                  <a:pt x="359316" y="376537"/>
                  <a:pt x="348546" y="365606"/>
                  <a:pt x="348546" y="352276"/>
                </a:cubicBezTo>
                <a:cubicBezTo>
                  <a:pt x="348546" y="338857"/>
                  <a:pt x="359316" y="327926"/>
                  <a:pt x="372756" y="327926"/>
                </a:cubicBezTo>
                <a:lnTo>
                  <a:pt x="446987" y="327926"/>
                </a:lnTo>
                <a:cubicBezTo>
                  <a:pt x="494605" y="327926"/>
                  <a:pt x="533322" y="289090"/>
                  <a:pt x="533322" y="241190"/>
                </a:cubicBezTo>
                <a:cubicBezTo>
                  <a:pt x="533322" y="195334"/>
                  <a:pt x="497720" y="157298"/>
                  <a:pt x="452238" y="154632"/>
                </a:cubicBezTo>
                <a:cubicBezTo>
                  <a:pt x="440934" y="153921"/>
                  <a:pt x="431589" y="145478"/>
                  <a:pt x="429809" y="134192"/>
                </a:cubicBezTo>
                <a:cubicBezTo>
                  <a:pt x="421709" y="84692"/>
                  <a:pt x="379609" y="48789"/>
                  <a:pt x="329677" y="48789"/>
                </a:cubicBezTo>
                <a:cubicBezTo>
                  <a:pt x="279567" y="48789"/>
                  <a:pt x="238001" y="84781"/>
                  <a:pt x="229457" y="134192"/>
                </a:cubicBezTo>
                <a:cubicBezTo>
                  <a:pt x="226520" y="151521"/>
                  <a:pt x="212190" y="162807"/>
                  <a:pt x="192964" y="151077"/>
                </a:cubicBezTo>
                <a:cubicBezTo>
                  <a:pt x="178011" y="141834"/>
                  <a:pt x="160922" y="136947"/>
                  <a:pt x="143299" y="136947"/>
                </a:cubicBezTo>
                <a:cubicBezTo>
                  <a:pt x="90964" y="136947"/>
                  <a:pt x="48419" y="179693"/>
                  <a:pt x="48419" y="232303"/>
                </a:cubicBezTo>
                <a:cubicBezTo>
                  <a:pt x="48419" y="284913"/>
                  <a:pt x="90964" y="327748"/>
                  <a:pt x="143299" y="327748"/>
                </a:cubicBezTo>
                <a:lnTo>
                  <a:pt x="218776" y="327748"/>
                </a:lnTo>
                <a:cubicBezTo>
                  <a:pt x="232216" y="327748"/>
                  <a:pt x="242986" y="338590"/>
                  <a:pt x="242986" y="352009"/>
                </a:cubicBezTo>
                <a:cubicBezTo>
                  <a:pt x="242986" y="365429"/>
                  <a:pt x="232216" y="376271"/>
                  <a:pt x="218776" y="376271"/>
                </a:cubicBezTo>
                <a:lnTo>
                  <a:pt x="143299" y="376271"/>
                </a:lnTo>
                <a:cubicBezTo>
                  <a:pt x="64262" y="376271"/>
                  <a:pt x="0" y="311574"/>
                  <a:pt x="0" y="232214"/>
                </a:cubicBezTo>
                <a:cubicBezTo>
                  <a:pt x="0" y="152854"/>
                  <a:pt x="64262" y="88158"/>
                  <a:pt x="143210" y="88158"/>
                </a:cubicBezTo>
                <a:cubicBezTo>
                  <a:pt x="159231" y="88158"/>
                  <a:pt x="174896" y="90735"/>
                  <a:pt x="189849" y="95978"/>
                </a:cubicBezTo>
                <a:cubicBezTo>
                  <a:pt x="198749" y="73050"/>
                  <a:pt x="238891" y="0"/>
                  <a:pt x="329499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2" name="iş1iḑe">
            <a:extLst>
              <a:ext uri="{FF2B5EF4-FFF2-40B4-BE49-F238E27FC236}">
                <a16:creationId xmlns:a16="http://schemas.microsoft.com/office/drawing/2014/main" id="{79D5FAF9-096B-4C61-A299-6A26A276E128}"/>
              </a:ext>
            </a:extLst>
          </p:cNvPr>
          <p:cNvSpPr/>
          <p:nvPr/>
        </p:nvSpPr>
        <p:spPr bwMode="auto">
          <a:xfrm>
            <a:off x="2169241" y="3672722"/>
            <a:ext cx="283355" cy="282927"/>
          </a:xfrm>
          <a:custGeom>
            <a:avLst/>
            <a:gdLst>
              <a:gd name="connsiteX0" fmla="*/ 303820 w 607639"/>
              <a:gd name="connsiteY0" fmla="*/ 278099 h 606722"/>
              <a:gd name="connsiteX1" fmla="*/ 329118 w 607639"/>
              <a:gd name="connsiteY1" fmla="*/ 303362 h 606722"/>
              <a:gd name="connsiteX2" fmla="*/ 303820 w 607639"/>
              <a:gd name="connsiteY2" fmla="*/ 328625 h 606722"/>
              <a:gd name="connsiteX3" fmla="*/ 278522 w 607639"/>
              <a:gd name="connsiteY3" fmla="*/ 303362 h 606722"/>
              <a:gd name="connsiteX4" fmla="*/ 303820 w 607639"/>
              <a:gd name="connsiteY4" fmla="*/ 278099 h 606722"/>
              <a:gd name="connsiteX5" fmla="*/ 303775 w 607639"/>
              <a:gd name="connsiteY5" fmla="*/ 252735 h 606722"/>
              <a:gd name="connsiteX6" fmla="*/ 253140 w 607639"/>
              <a:gd name="connsiteY6" fmla="*/ 303317 h 606722"/>
              <a:gd name="connsiteX7" fmla="*/ 303775 w 607639"/>
              <a:gd name="connsiteY7" fmla="*/ 353900 h 606722"/>
              <a:gd name="connsiteX8" fmla="*/ 354410 w 607639"/>
              <a:gd name="connsiteY8" fmla="*/ 303317 h 606722"/>
              <a:gd name="connsiteX9" fmla="*/ 303775 w 607639"/>
              <a:gd name="connsiteY9" fmla="*/ 252735 h 606722"/>
              <a:gd name="connsiteX10" fmla="*/ 303775 w 607639"/>
              <a:gd name="connsiteY10" fmla="*/ 202241 h 606722"/>
              <a:gd name="connsiteX11" fmla="*/ 405045 w 607639"/>
              <a:gd name="connsiteY11" fmla="*/ 303317 h 606722"/>
              <a:gd name="connsiteX12" fmla="*/ 303775 w 607639"/>
              <a:gd name="connsiteY12" fmla="*/ 404482 h 606722"/>
              <a:gd name="connsiteX13" fmla="*/ 202593 w 607639"/>
              <a:gd name="connsiteY13" fmla="*/ 303317 h 606722"/>
              <a:gd name="connsiteX14" fmla="*/ 303775 w 607639"/>
              <a:gd name="connsiteY14" fmla="*/ 202241 h 606722"/>
              <a:gd name="connsiteX15" fmla="*/ 303775 w 607639"/>
              <a:gd name="connsiteY15" fmla="*/ 151703 h 606722"/>
              <a:gd name="connsiteX16" fmla="*/ 151932 w 607639"/>
              <a:gd name="connsiteY16" fmla="*/ 303317 h 606722"/>
              <a:gd name="connsiteX17" fmla="*/ 303775 w 607639"/>
              <a:gd name="connsiteY17" fmla="*/ 455019 h 606722"/>
              <a:gd name="connsiteX18" fmla="*/ 455707 w 607639"/>
              <a:gd name="connsiteY18" fmla="*/ 303317 h 606722"/>
              <a:gd name="connsiteX19" fmla="*/ 303775 w 607639"/>
              <a:gd name="connsiteY19" fmla="*/ 151703 h 606722"/>
              <a:gd name="connsiteX20" fmla="*/ 253131 w 607639"/>
              <a:gd name="connsiteY20" fmla="*/ 0 h 606722"/>
              <a:gd name="connsiteX21" fmla="*/ 354419 w 607639"/>
              <a:gd name="connsiteY21" fmla="*/ 0 h 606722"/>
              <a:gd name="connsiteX22" fmla="*/ 379786 w 607639"/>
              <a:gd name="connsiteY22" fmla="*/ 25239 h 606722"/>
              <a:gd name="connsiteX23" fmla="*/ 379786 w 607639"/>
              <a:gd name="connsiteY23" fmla="*/ 62387 h 606722"/>
              <a:gd name="connsiteX24" fmla="*/ 420639 w 607639"/>
              <a:gd name="connsiteY24" fmla="*/ 79451 h 606722"/>
              <a:gd name="connsiteX25" fmla="*/ 446985 w 607639"/>
              <a:gd name="connsiteY25" fmla="*/ 53145 h 606722"/>
              <a:gd name="connsiteX26" fmla="*/ 482854 w 607639"/>
              <a:gd name="connsiteY26" fmla="*/ 53145 h 606722"/>
              <a:gd name="connsiteX27" fmla="*/ 554414 w 607639"/>
              <a:gd name="connsiteY27" fmla="*/ 124597 h 606722"/>
              <a:gd name="connsiteX28" fmla="*/ 554414 w 607639"/>
              <a:gd name="connsiteY28" fmla="*/ 160323 h 606722"/>
              <a:gd name="connsiteX29" fmla="*/ 528069 w 607639"/>
              <a:gd name="connsiteY29" fmla="*/ 186629 h 606722"/>
              <a:gd name="connsiteX30" fmla="*/ 545158 w 607639"/>
              <a:gd name="connsiteY30" fmla="*/ 227510 h 606722"/>
              <a:gd name="connsiteX31" fmla="*/ 582273 w 607639"/>
              <a:gd name="connsiteY31" fmla="*/ 227510 h 606722"/>
              <a:gd name="connsiteX32" fmla="*/ 607639 w 607639"/>
              <a:gd name="connsiteY32" fmla="*/ 252749 h 606722"/>
              <a:gd name="connsiteX33" fmla="*/ 607639 w 607639"/>
              <a:gd name="connsiteY33" fmla="*/ 353884 h 606722"/>
              <a:gd name="connsiteX34" fmla="*/ 582273 w 607639"/>
              <a:gd name="connsiteY34" fmla="*/ 379212 h 606722"/>
              <a:gd name="connsiteX35" fmla="*/ 545158 w 607639"/>
              <a:gd name="connsiteY35" fmla="*/ 379212 h 606722"/>
              <a:gd name="connsiteX36" fmla="*/ 528069 w 607639"/>
              <a:gd name="connsiteY36" fmla="*/ 420004 h 606722"/>
              <a:gd name="connsiteX37" fmla="*/ 554414 w 607639"/>
              <a:gd name="connsiteY37" fmla="*/ 446310 h 606722"/>
              <a:gd name="connsiteX38" fmla="*/ 554414 w 607639"/>
              <a:gd name="connsiteY38" fmla="*/ 482125 h 606722"/>
              <a:gd name="connsiteX39" fmla="*/ 482854 w 607639"/>
              <a:gd name="connsiteY39" fmla="*/ 553577 h 606722"/>
              <a:gd name="connsiteX40" fmla="*/ 446985 w 607639"/>
              <a:gd name="connsiteY40" fmla="*/ 553577 h 606722"/>
              <a:gd name="connsiteX41" fmla="*/ 420639 w 607639"/>
              <a:gd name="connsiteY41" fmla="*/ 527271 h 606722"/>
              <a:gd name="connsiteX42" fmla="*/ 379786 w 607639"/>
              <a:gd name="connsiteY42" fmla="*/ 544246 h 606722"/>
              <a:gd name="connsiteX43" fmla="*/ 379786 w 607639"/>
              <a:gd name="connsiteY43" fmla="*/ 581394 h 606722"/>
              <a:gd name="connsiteX44" fmla="*/ 354419 w 607639"/>
              <a:gd name="connsiteY44" fmla="*/ 606722 h 606722"/>
              <a:gd name="connsiteX45" fmla="*/ 253131 w 607639"/>
              <a:gd name="connsiteY45" fmla="*/ 606722 h 606722"/>
              <a:gd name="connsiteX46" fmla="*/ 227854 w 607639"/>
              <a:gd name="connsiteY46" fmla="*/ 581394 h 606722"/>
              <a:gd name="connsiteX47" fmla="*/ 227854 w 607639"/>
              <a:gd name="connsiteY47" fmla="*/ 544246 h 606722"/>
              <a:gd name="connsiteX48" fmla="*/ 186911 w 607639"/>
              <a:gd name="connsiteY48" fmla="*/ 527271 h 606722"/>
              <a:gd name="connsiteX49" fmla="*/ 160566 w 607639"/>
              <a:gd name="connsiteY49" fmla="*/ 553577 h 606722"/>
              <a:gd name="connsiteX50" fmla="*/ 124786 w 607639"/>
              <a:gd name="connsiteY50" fmla="*/ 553577 h 606722"/>
              <a:gd name="connsiteX51" fmla="*/ 53225 w 607639"/>
              <a:gd name="connsiteY51" fmla="*/ 482125 h 606722"/>
              <a:gd name="connsiteX52" fmla="*/ 53225 w 607639"/>
              <a:gd name="connsiteY52" fmla="*/ 446310 h 606722"/>
              <a:gd name="connsiteX53" fmla="*/ 79482 w 607639"/>
              <a:gd name="connsiteY53" fmla="*/ 420004 h 606722"/>
              <a:gd name="connsiteX54" fmla="*/ 62482 w 607639"/>
              <a:gd name="connsiteY54" fmla="*/ 379212 h 606722"/>
              <a:gd name="connsiteX55" fmla="*/ 25278 w 607639"/>
              <a:gd name="connsiteY55" fmla="*/ 379212 h 606722"/>
              <a:gd name="connsiteX56" fmla="*/ 0 w 607639"/>
              <a:gd name="connsiteY56" fmla="*/ 353884 h 606722"/>
              <a:gd name="connsiteX57" fmla="*/ 0 w 607639"/>
              <a:gd name="connsiteY57" fmla="*/ 252749 h 606722"/>
              <a:gd name="connsiteX58" fmla="*/ 25278 w 607639"/>
              <a:gd name="connsiteY58" fmla="*/ 227510 h 606722"/>
              <a:gd name="connsiteX59" fmla="*/ 62482 w 607639"/>
              <a:gd name="connsiteY59" fmla="*/ 227510 h 606722"/>
              <a:gd name="connsiteX60" fmla="*/ 79482 w 607639"/>
              <a:gd name="connsiteY60" fmla="*/ 186629 h 606722"/>
              <a:gd name="connsiteX61" fmla="*/ 53225 w 607639"/>
              <a:gd name="connsiteY61" fmla="*/ 160323 h 606722"/>
              <a:gd name="connsiteX62" fmla="*/ 53225 w 607639"/>
              <a:gd name="connsiteY62" fmla="*/ 124597 h 606722"/>
              <a:gd name="connsiteX63" fmla="*/ 124786 w 607639"/>
              <a:gd name="connsiteY63" fmla="*/ 53145 h 606722"/>
              <a:gd name="connsiteX64" fmla="*/ 160566 w 607639"/>
              <a:gd name="connsiteY64" fmla="*/ 53145 h 606722"/>
              <a:gd name="connsiteX65" fmla="*/ 186911 w 607639"/>
              <a:gd name="connsiteY65" fmla="*/ 79451 h 606722"/>
              <a:gd name="connsiteX66" fmla="*/ 227854 w 607639"/>
              <a:gd name="connsiteY66" fmla="*/ 62387 h 606722"/>
              <a:gd name="connsiteX67" fmla="*/ 227854 w 607639"/>
              <a:gd name="connsiteY67" fmla="*/ 25239 h 606722"/>
              <a:gd name="connsiteX68" fmla="*/ 253131 w 607639"/>
              <a:gd name="connsiteY68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07639" h="606722">
                <a:moveTo>
                  <a:pt x="303820" y="278099"/>
                </a:moveTo>
                <a:cubicBezTo>
                  <a:pt x="317792" y="278099"/>
                  <a:pt x="329118" y="289410"/>
                  <a:pt x="329118" y="303362"/>
                </a:cubicBezTo>
                <a:cubicBezTo>
                  <a:pt x="329118" y="317314"/>
                  <a:pt x="317792" y="328625"/>
                  <a:pt x="303820" y="328625"/>
                </a:cubicBezTo>
                <a:cubicBezTo>
                  <a:pt x="289848" y="328625"/>
                  <a:pt x="278522" y="317314"/>
                  <a:pt x="278522" y="303362"/>
                </a:cubicBezTo>
                <a:cubicBezTo>
                  <a:pt x="278522" y="289410"/>
                  <a:pt x="289848" y="278099"/>
                  <a:pt x="303820" y="278099"/>
                </a:cubicBezTo>
                <a:close/>
                <a:moveTo>
                  <a:pt x="303775" y="252735"/>
                </a:moveTo>
                <a:cubicBezTo>
                  <a:pt x="275921" y="252735"/>
                  <a:pt x="253140" y="275492"/>
                  <a:pt x="253140" y="303317"/>
                </a:cubicBezTo>
                <a:cubicBezTo>
                  <a:pt x="253140" y="331231"/>
                  <a:pt x="275921" y="353900"/>
                  <a:pt x="303775" y="353900"/>
                </a:cubicBezTo>
                <a:cubicBezTo>
                  <a:pt x="331718" y="353900"/>
                  <a:pt x="354410" y="331231"/>
                  <a:pt x="354410" y="303317"/>
                </a:cubicBezTo>
                <a:cubicBezTo>
                  <a:pt x="354410" y="275492"/>
                  <a:pt x="331718" y="252735"/>
                  <a:pt x="303775" y="252735"/>
                </a:cubicBezTo>
                <a:close/>
                <a:moveTo>
                  <a:pt x="303775" y="202241"/>
                </a:moveTo>
                <a:cubicBezTo>
                  <a:pt x="359660" y="202241"/>
                  <a:pt x="405045" y="247579"/>
                  <a:pt x="405045" y="303317"/>
                </a:cubicBezTo>
                <a:cubicBezTo>
                  <a:pt x="405045" y="359144"/>
                  <a:pt x="359660" y="404482"/>
                  <a:pt x="303775" y="404482"/>
                </a:cubicBezTo>
                <a:cubicBezTo>
                  <a:pt x="247978" y="404482"/>
                  <a:pt x="202593" y="359144"/>
                  <a:pt x="202593" y="303317"/>
                </a:cubicBezTo>
                <a:cubicBezTo>
                  <a:pt x="202593" y="247579"/>
                  <a:pt x="247978" y="202241"/>
                  <a:pt x="303775" y="202241"/>
                </a:cubicBezTo>
                <a:close/>
                <a:moveTo>
                  <a:pt x="303775" y="151703"/>
                </a:moveTo>
                <a:cubicBezTo>
                  <a:pt x="220021" y="151703"/>
                  <a:pt x="151932" y="219689"/>
                  <a:pt x="151932" y="303317"/>
                </a:cubicBezTo>
                <a:cubicBezTo>
                  <a:pt x="151932" y="387033"/>
                  <a:pt x="220021" y="455019"/>
                  <a:pt x="303775" y="455019"/>
                </a:cubicBezTo>
                <a:cubicBezTo>
                  <a:pt x="387618" y="455019"/>
                  <a:pt x="455707" y="387033"/>
                  <a:pt x="455707" y="303317"/>
                </a:cubicBezTo>
                <a:cubicBezTo>
                  <a:pt x="455707" y="219689"/>
                  <a:pt x="387618" y="151703"/>
                  <a:pt x="303775" y="151703"/>
                </a:cubicBezTo>
                <a:close/>
                <a:moveTo>
                  <a:pt x="253131" y="0"/>
                </a:moveTo>
                <a:lnTo>
                  <a:pt x="354419" y="0"/>
                </a:lnTo>
                <a:cubicBezTo>
                  <a:pt x="368482" y="0"/>
                  <a:pt x="379786" y="11287"/>
                  <a:pt x="379786" y="25239"/>
                </a:cubicBezTo>
                <a:lnTo>
                  <a:pt x="379786" y="62387"/>
                </a:lnTo>
                <a:cubicBezTo>
                  <a:pt x="393849" y="66831"/>
                  <a:pt x="407555" y="72519"/>
                  <a:pt x="420639" y="79451"/>
                </a:cubicBezTo>
                <a:lnTo>
                  <a:pt x="446985" y="53145"/>
                </a:lnTo>
                <a:cubicBezTo>
                  <a:pt x="456953" y="43191"/>
                  <a:pt x="472974" y="43191"/>
                  <a:pt x="482854" y="53145"/>
                </a:cubicBezTo>
                <a:lnTo>
                  <a:pt x="554414" y="124597"/>
                </a:lnTo>
                <a:cubicBezTo>
                  <a:pt x="564294" y="134462"/>
                  <a:pt x="564294" y="150459"/>
                  <a:pt x="554414" y="160323"/>
                </a:cubicBezTo>
                <a:lnTo>
                  <a:pt x="528069" y="186629"/>
                </a:lnTo>
                <a:cubicBezTo>
                  <a:pt x="535011" y="199782"/>
                  <a:pt x="540707" y="213468"/>
                  <a:pt x="545158" y="227510"/>
                </a:cubicBezTo>
                <a:lnTo>
                  <a:pt x="582273" y="227510"/>
                </a:lnTo>
                <a:cubicBezTo>
                  <a:pt x="596336" y="227510"/>
                  <a:pt x="607639" y="238796"/>
                  <a:pt x="607639" y="252749"/>
                </a:cubicBezTo>
                <a:lnTo>
                  <a:pt x="607639" y="353884"/>
                </a:lnTo>
                <a:cubicBezTo>
                  <a:pt x="607639" y="367926"/>
                  <a:pt x="596247" y="379212"/>
                  <a:pt x="582273" y="379212"/>
                </a:cubicBezTo>
                <a:lnTo>
                  <a:pt x="545158" y="379212"/>
                </a:lnTo>
                <a:cubicBezTo>
                  <a:pt x="540707" y="393254"/>
                  <a:pt x="535011" y="406940"/>
                  <a:pt x="528069" y="420004"/>
                </a:cubicBezTo>
                <a:lnTo>
                  <a:pt x="554414" y="446310"/>
                </a:lnTo>
                <a:cubicBezTo>
                  <a:pt x="564294" y="456263"/>
                  <a:pt x="564294" y="472260"/>
                  <a:pt x="554414" y="482125"/>
                </a:cubicBezTo>
                <a:lnTo>
                  <a:pt x="482854" y="553577"/>
                </a:lnTo>
                <a:cubicBezTo>
                  <a:pt x="472974" y="563442"/>
                  <a:pt x="456953" y="563442"/>
                  <a:pt x="446985" y="553577"/>
                </a:cubicBezTo>
                <a:lnTo>
                  <a:pt x="420639" y="527271"/>
                </a:lnTo>
                <a:cubicBezTo>
                  <a:pt x="407555" y="534203"/>
                  <a:pt x="393849" y="539802"/>
                  <a:pt x="379786" y="544246"/>
                </a:cubicBezTo>
                <a:lnTo>
                  <a:pt x="379786" y="581394"/>
                </a:lnTo>
                <a:cubicBezTo>
                  <a:pt x="379786" y="595435"/>
                  <a:pt x="368393" y="606722"/>
                  <a:pt x="354419" y="606722"/>
                </a:cubicBezTo>
                <a:lnTo>
                  <a:pt x="253131" y="606722"/>
                </a:lnTo>
                <a:cubicBezTo>
                  <a:pt x="239157" y="606722"/>
                  <a:pt x="227854" y="595435"/>
                  <a:pt x="227854" y="581394"/>
                </a:cubicBezTo>
                <a:lnTo>
                  <a:pt x="227854" y="544246"/>
                </a:lnTo>
                <a:cubicBezTo>
                  <a:pt x="213791" y="539802"/>
                  <a:pt x="200084" y="534203"/>
                  <a:pt x="186911" y="527271"/>
                </a:cubicBezTo>
                <a:lnTo>
                  <a:pt x="160566" y="553577"/>
                </a:lnTo>
                <a:cubicBezTo>
                  <a:pt x="150686" y="563442"/>
                  <a:pt x="134665" y="563442"/>
                  <a:pt x="124786" y="553577"/>
                </a:cubicBezTo>
                <a:lnTo>
                  <a:pt x="53225" y="482125"/>
                </a:lnTo>
                <a:cubicBezTo>
                  <a:pt x="43257" y="472260"/>
                  <a:pt x="43257" y="456263"/>
                  <a:pt x="53225" y="446310"/>
                </a:cubicBezTo>
                <a:lnTo>
                  <a:pt x="79482" y="420004"/>
                </a:lnTo>
                <a:cubicBezTo>
                  <a:pt x="72629" y="406940"/>
                  <a:pt x="66932" y="393254"/>
                  <a:pt x="62482" y="379212"/>
                </a:cubicBezTo>
                <a:lnTo>
                  <a:pt x="25278" y="379212"/>
                </a:lnTo>
                <a:cubicBezTo>
                  <a:pt x="11304" y="379212"/>
                  <a:pt x="0" y="367926"/>
                  <a:pt x="0" y="353884"/>
                </a:cubicBezTo>
                <a:lnTo>
                  <a:pt x="0" y="252749"/>
                </a:lnTo>
                <a:cubicBezTo>
                  <a:pt x="0" y="238796"/>
                  <a:pt x="11304" y="227510"/>
                  <a:pt x="25278" y="227510"/>
                </a:cubicBezTo>
                <a:lnTo>
                  <a:pt x="62482" y="227510"/>
                </a:lnTo>
                <a:cubicBezTo>
                  <a:pt x="66932" y="213468"/>
                  <a:pt x="72629" y="199782"/>
                  <a:pt x="79482" y="186629"/>
                </a:cubicBezTo>
                <a:lnTo>
                  <a:pt x="53225" y="160323"/>
                </a:lnTo>
                <a:cubicBezTo>
                  <a:pt x="43257" y="150459"/>
                  <a:pt x="43257" y="134462"/>
                  <a:pt x="53225" y="124597"/>
                </a:cubicBezTo>
                <a:lnTo>
                  <a:pt x="124786" y="53145"/>
                </a:lnTo>
                <a:cubicBezTo>
                  <a:pt x="134665" y="43191"/>
                  <a:pt x="150686" y="43191"/>
                  <a:pt x="160566" y="53145"/>
                </a:cubicBezTo>
                <a:lnTo>
                  <a:pt x="186911" y="79451"/>
                </a:lnTo>
                <a:cubicBezTo>
                  <a:pt x="200084" y="72519"/>
                  <a:pt x="213791" y="66831"/>
                  <a:pt x="227854" y="62387"/>
                </a:cubicBezTo>
                <a:lnTo>
                  <a:pt x="227854" y="25239"/>
                </a:lnTo>
                <a:cubicBezTo>
                  <a:pt x="227854" y="11287"/>
                  <a:pt x="239157" y="0"/>
                  <a:pt x="25313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3" name="ïṧľíďê">
            <a:extLst>
              <a:ext uri="{FF2B5EF4-FFF2-40B4-BE49-F238E27FC236}">
                <a16:creationId xmlns:a16="http://schemas.microsoft.com/office/drawing/2014/main" id="{83AC56C8-BB22-4DB6-8372-AA84DFFA3A81}"/>
              </a:ext>
            </a:extLst>
          </p:cNvPr>
          <p:cNvSpPr/>
          <p:nvPr/>
        </p:nvSpPr>
        <p:spPr bwMode="auto">
          <a:xfrm>
            <a:off x="1774182" y="4155069"/>
            <a:ext cx="283355" cy="282891"/>
          </a:xfrm>
          <a:custGeom>
            <a:avLst/>
            <a:gdLst>
              <a:gd name="connsiteX0" fmla="*/ 380418 w 604181"/>
              <a:gd name="connsiteY0" fmla="*/ 268007 h 603193"/>
              <a:gd name="connsiteX1" fmla="*/ 519220 w 604181"/>
              <a:gd name="connsiteY1" fmla="*/ 339187 h 603193"/>
              <a:gd name="connsiteX2" fmla="*/ 519220 w 604181"/>
              <a:gd name="connsiteY2" fmla="*/ 355820 h 603193"/>
              <a:gd name="connsiteX3" fmla="*/ 380418 w 604181"/>
              <a:gd name="connsiteY3" fmla="*/ 426850 h 603193"/>
              <a:gd name="connsiteX4" fmla="*/ 380418 w 604181"/>
              <a:gd name="connsiteY4" fmla="*/ 406320 h 603193"/>
              <a:gd name="connsiteX5" fmla="*/ 498212 w 604181"/>
              <a:gd name="connsiteY5" fmla="*/ 347728 h 603193"/>
              <a:gd name="connsiteX6" fmla="*/ 498212 w 604181"/>
              <a:gd name="connsiteY6" fmla="*/ 347129 h 603193"/>
              <a:gd name="connsiteX7" fmla="*/ 380418 w 604181"/>
              <a:gd name="connsiteY7" fmla="*/ 288687 h 603193"/>
              <a:gd name="connsiteX8" fmla="*/ 216565 w 604181"/>
              <a:gd name="connsiteY8" fmla="*/ 268007 h 603193"/>
              <a:gd name="connsiteX9" fmla="*/ 216565 w 604181"/>
              <a:gd name="connsiteY9" fmla="*/ 288687 h 603193"/>
              <a:gd name="connsiteX10" fmla="*/ 99664 w 604181"/>
              <a:gd name="connsiteY10" fmla="*/ 347129 h 603193"/>
              <a:gd name="connsiteX11" fmla="*/ 99664 w 604181"/>
              <a:gd name="connsiteY11" fmla="*/ 347728 h 603193"/>
              <a:gd name="connsiteX12" fmla="*/ 216565 w 604181"/>
              <a:gd name="connsiteY12" fmla="*/ 406320 h 603193"/>
              <a:gd name="connsiteX13" fmla="*/ 216565 w 604181"/>
              <a:gd name="connsiteY13" fmla="*/ 426850 h 603193"/>
              <a:gd name="connsiteX14" fmla="*/ 77904 w 604181"/>
              <a:gd name="connsiteY14" fmla="*/ 355521 h 603193"/>
              <a:gd name="connsiteX15" fmla="*/ 77904 w 604181"/>
              <a:gd name="connsiteY15" fmla="*/ 339486 h 603193"/>
              <a:gd name="connsiteX16" fmla="*/ 338273 w 604181"/>
              <a:gd name="connsiteY16" fmla="*/ 222493 h 603193"/>
              <a:gd name="connsiteX17" fmla="*/ 358684 w 604181"/>
              <a:gd name="connsiteY17" fmla="*/ 222493 h 603193"/>
              <a:gd name="connsiteX18" fmla="*/ 253179 w 604181"/>
              <a:gd name="connsiteY18" fmla="*/ 482103 h 603193"/>
              <a:gd name="connsiteX19" fmla="*/ 233219 w 604181"/>
              <a:gd name="connsiteY19" fmla="*/ 482103 h 603193"/>
              <a:gd name="connsiteX20" fmla="*/ 28813 w 604181"/>
              <a:gd name="connsiteY20" fmla="*/ 128849 h 603193"/>
              <a:gd name="connsiteX21" fmla="*/ 28813 w 604181"/>
              <a:gd name="connsiteY21" fmla="*/ 557497 h 603193"/>
              <a:gd name="connsiteX22" fmla="*/ 45921 w 604181"/>
              <a:gd name="connsiteY22" fmla="*/ 574427 h 603193"/>
              <a:gd name="connsiteX23" fmla="*/ 558410 w 604181"/>
              <a:gd name="connsiteY23" fmla="*/ 574427 h 603193"/>
              <a:gd name="connsiteX24" fmla="*/ 575368 w 604181"/>
              <a:gd name="connsiteY24" fmla="*/ 557497 h 603193"/>
              <a:gd name="connsiteX25" fmla="*/ 575368 w 604181"/>
              <a:gd name="connsiteY25" fmla="*/ 128849 h 603193"/>
              <a:gd name="connsiteX26" fmla="*/ 502734 w 604181"/>
              <a:gd name="connsiteY26" fmla="*/ 43149 h 603193"/>
              <a:gd name="connsiteX27" fmla="*/ 502734 w 604181"/>
              <a:gd name="connsiteY27" fmla="*/ 77309 h 603193"/>
              <a:gd name="connsiteX28" fmla="*/ 537100 w 604181"/>
              <a:gd name="connsiteY28" fmla="*/ 77309 h 603193"/>
              <a:gd name="connsiteX29" fmla="*/ 537100 w 604181"/>
              <a:gd name="connsiteY29" fmla="*/ 43149 h 603193"/>
              <a:gd name="connsiteX30" fmla="*/ 423197 w 604181"/>
              <a:gd name="connsiteY30" fmla="*/ 43149 h 603193"/>
              <a:gd name="connsiteX31" fmla="*/ 423197 w 604181"/>
              <a:gd name="connsiteY31" fmla="*/ 77309 h 603193"/>
              <a:gd name="connsiteX32" fmla="*/ 457563 w 604181"/>
              <a:gd name="connsiteY32" fmla="*/ 77309 h 603193"/>
              <a:gd name="connsiteX33" fmla="*/ 457563 w 604181"/>
              <a:gd name="connsiteY33" fmla="*/ 43149 h 603193"/>
              <a:gd name="connsiteX34" fmla="*/ 45921 w 604181"/>
              <a:gd name="connsiteY34" fmla="*/ 0 h 603193"/>
              <a:gd name="connsiteX35" fmla="*/ 558410 w 604181"/>
              <a:gd name="connsiteY35" fmla="*/ 0 h 603193"/>
              <a:gd name="connsiteX36" fmla="*/ 604181 w 604181"/>
              <a:gd name="connsiteY36" fmla="*/ 45846 h 603193"/>
              <a:gd name="connsiteX37" fmla="*/ 604181 w 604181"/>
              <a:gd name="connsiteY37" fmla="*/ 557497 h 603193"/>
              <a:gd name="connsiteX38" fmla="*/ 558410 w 604181"/>
              <a:gd name="connsiteY38" fmla="*/ 603193 h 603193"/>
              <a:gd name="connsiteX39" fmla="*/ 45921 w 604181"/>
              <a:gd name="connsiteY39" fmla="*/ 603193 h 603193"/>
              <a:gd name="connsiteX40" fmla="*/ 0 w 604181"/>
              <a:gd name="connsiteY40" fmla="*/ 557497 h 603193"/>
              <a:gd name="connsiteX41" fmla="*/ 0 w 604181"/>
              <a:gd name="connsiteY41" fmla="*/ 45846 h 603193"/>
              <a:gd name="connsiteX42" fmla="*/ 45921 w 604181"/>
              <a:gd name="connsiteY42" fmla="*/ 0 h 603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04181" h="603193">
                <a:moveTo>
                  <a:pt x="380418" y="268007"/>
                </a:moveTo>
                <a:lnTo>
                  <a:pt x="519220" y="339187"/>
                </a:lnTo>
                <a:lnTo>
                  <a:pt x="519220" y="355820"/>
                </a:lnTo>
                <a:lnTo>
                  <a:pt x="380418" y="426850"/>
                </a:lnTo>
                <a:lnTo>
                  <a:pt x="380418" y="406320"/>
                </a:lnTo>
                <a:lnTo>
                  <a:pt x="498212" y="347728"/>
                </a:lnTo>
                <a:lnTo>
                  <a:pt x="498212" y="347129"/>
                </a:lnTo>
                <a:lnTo>
                  <a:pt x="380418" y="288687"/>
                </a:lnTo>
                <a:close/>
                <a:moveTo>
                  <a:pt x="216565" y="268007"/>
                </a:moveTo>
                <a:lnTo>
                  <a:pt x="216565" y="288687"/>
                </a:lnTo>
                <a:lnTo>
                  <a:pt x="99664" y="347129"/>
                </a:lnTo>
                <a:lnTo>
                  <a:pt x="99664" y="347728"/>
                </a:lnTo>
                <a:lnTo>
                  <a:pt x="216565" y="406320"/>
                </a:lnTo>
                <a:lnTo>
                  <a:pt x="216565" y="426850"/>
                </a:lnTo>
                <a:lnTo>
                  <a:pt x="77904" y="355521"/>
                </a:lnTo>
                <a:lnTo>
                  <a:pt x="77904" y="339486"/>
                </a:lnTo>
                <a:close/>
                <a:moveTo>
                  <a:pt x="338273" y="222493"/>
                </a:moveTo>
                <a:lnTo>
                  <a:pt x="358684" y="222493"/>
                </a:lnTo>
                <a:lnTo>
                  <a:pt x="253179" y="482103"/>
                </a:lnTo>
                <a:lnTo>
                  <a:pt x="233219" y="482103"/>
                </a:lnTo>
                <a:close/>
                <a:moveTo>
                  <a:pt x="28813" y="128849"/>
                </a:moveTo>
                <a:lnTo>
                  <a:pt x="28813" y="557497"/>
                </a:lnTo>
                <a:cubicBezTo>
                  <a:pt x="28813" y="566786"/>
                  <a:pt x="36467" y="574427"/>
                  <a:pt x="45921" y="574427"/>
                </a:cubicBezTo>
                <a:lnTo>
                  <a:pt x="558410" y="574427"/>
                </a:lnTo>
                <a:cubicBezTo>
                  <a:pt x="567714" y="574427"/>
                  <a:pt x="575368" y="566786"/>
                  <a:pt x="575368" y="557497"/>
                </a:cubicBezTo>
                <a:lnTo>
                  <a:pt x="575368" y="128849"/>
                </a:lnTo>
                <a:close/>
                <a:moveTo>
                  <a:pt x="502734" y="43149"/>
                </a:moveTo>
                <a:lnTo>
                  <a:pt x="502734" y="77309"/>
                </a:lnTo>
                <a:lnTo>
                  <a:pt x="537100" y="77309"/>
                </a:lnTo>
                <a:lnTo>
                  <a:pt x="537100" y="43149"/>
                </a:lnTo>
                <a:close/>
                <a:moveTo>
                  <a:pt x="423197" y="43149"/>
                </a:moveTo>
                <a:lnTo>
                  <a:pt x="423197" y="77309"/>
                </a:lnTo>
                <a:lnTo>
                  <a:pt x="457563" y="77309"/>
                </a:lnTo>
                <a:lnTo>
                  <a:pt x="457563" y="43149"/>
                </a:lnTo>
                <a:close/>
                <a:moveTo>
                  <a:pt x="45921" y="0"/>
                </a:moveTo>
                <a:lnTo>
                  <a:pt x="558410" y="0"/>
                </a:lnTo>
                <a:cubicBezTo>
                  <a:pt x="583621" y="0"/>
                  <a:pt x="604181" y="20526"/>
                  <a:pt x="604181" y="45846"/>
                </a:cubicBezTo>
                <a:lnTo>
                  <a:pt x="604181" y="557497"/>
                </a:lnTo>
                <a:cubicBezTo>
                  <a:pt x="604181" y="582667"/>
                  <a:pt x="583621" y="603193"/>
                  <a:pt x="558410" y="603193"/>
                </a:cubicBezTo>
                <a:lnTo>
                  <a:pt x="45921" y="603193"/>
                </a:lnTo>
                <a:cubicBezTo>
                  <a:pt x="20560" y="603193"/>
                  <a:pt x="0" y="582667"/>
                  <a:pt x="0" y="557497"/>
                </a:cubicBezTo>
                <a:lnTo>
                  <a:pt x="0" y="45846"/>
                </a:lnTo>
                <a:cubicBezTo>
                  <a:pt x="0" y="20526"/>
                  <a:pt x="20560" y="0"/>
                  <a:pt x="4592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4" name="îṣḻîḍé">
            <a:extLst>
              <a:ext uri="{FF2B5EF4-FFF2-40B4-BE49-F238E27FC236}">
                <a16:creationId xmlns:a16="http://schemas.microsoft.com/office/drawing/2014/main" id="{716A4AAF-66FE-4462-901E-658C29D84AD8}"/>
              </a:ext>
            </a:extLst>
          </p:cNvPr>
          <p:cNvSpPr/>
          <p:nvPr/>
        </p:nvSpPr>
        <p:spPr bwMode="auto">
          <a:xfrm>
            <a:off x="1369843" y="4637380"/>
            <a:ext cx="283355" cy="282926"/>
          </a:xfrm>
          <a:custGeom>
            <a:avLst/>
            <a:gdLst>
              <a:gd name="T0" fmla="*/ 6624 w 7154"/>
              <a:gd name="T1" fmla="*/ 2037 h 7154"/>
              <a:gd name="T2" fmla="*/ 6106 w 7154"/>
              <a:gd name="T3" fmla="*/ 1048 h 7154"/>
              <a:gd name="T4" fmla="*/ 5117 w 7154"/>
              <a:gd name="T5" fmla="*/ 530 h 7154"/>
              <a:gd name="T6" fmla="*/ 4643 w 7154"/>
              <a:gd name="T7" fmla="*/ 334 h 7154"/>
              <a:gd name="T8" fmla="*/ 3577 w 7154"/>
              <a:gd name="T9" fmla="*/ 0 h 7154"/>
              <a:gd name="T10" fmla="*/ 2511 w 7154"/>
              <a:gd name="T11" fmla="*/ 334 h 7154"/>
              <a:gd name="T12" fmla="*/ 2037 w 7154"/>
              <a:gd name="T13" fmla="*/ 530 h 7154"/>
              <a:gd name="T14" fmla="*/ 1048 w 7154"/>
              <a:gd name="T15" fmla="*/ 1048 h 7154"/>
              <a:gd name="T16" fmla="*/ 530 w 7154"/>
              <a:gd name="T17" fmla="*/ 2037 h 7154"/>
              <a:gd name="T18" fmla="*/ 334 w 7154"/>
              <a:gd name="T19" fmla="*/ 2511 h 7154"/>
              <a:gd name="T20" fmla="*/ 0 w 7154"/>
              <a:gd name="T21" fmla="*/ 3577 h 7154"/>
              <a:gd name="T22" fmla="*/ 334 w 7154"/>
              <a:gd name="T23" fmla="*/ 4643 h 7154"/>
              <a:gd name="T24" fmla="*/ 530 w 7154"/>
              <a:gd name="T25" fmla="*/ 5117 h 7154"/>
              <a:gd name="T26" fmla="*/ 1048 w 7154"/>
              <a:gd name="T27" fmla="*/ 6106 h 7154"/>
              <a:gd name="T28" fmla="*/ 2037 w 7154"/>
              <a:gd name="T29" fmla="*/ 6624 h 7154"/>
              <a:gd name="T30" fmla="*/ 2511 w 7154"/>
              <a:gd name="T31" fmla="*/ 6820 h 7154"/>
              <a:gd name="T32" fmla="*/ 3577 w 7154"/>
              <a:gd name="T33" fmla="*/ 7154 h 7154"/>
              <a:gd name="T34" fmla="*/ 4643 w 7154"/>
              <a:gd name="T35" fmla="*/ 6820 h 7154"/>
              <a:gd name="T36" fmla="*/ 5117 w 7154"/>
              <a:gd name="T37" fmla="*/ 6624 h 7154"/>
              <a:gd name="T38" fmla="*/ 6106 w 7154"/>
              <a:gd name="T39" fmla="*/ 6106 h 7154"/>
              <a:gd name="T40" fmla="*/ 6624 w 7154"/>
              <a:gd name="T41" fmla="*/ 5117 h 7154"/>
              <a:gd name="T42" fmla="*/ 6820 w 7154"/>
              <a:gd name="T43" fmla="*/ 4643 h 7154"/>
              <a:gd name="T44" fmla="*/ 7154 w 7154"/>
              <a:gd name="T45" fmla="*/ 3577 h 7154"/>
              <a:gd name="T46" fmla="*/ 6820 w 7154"/>
              <a:gd name="T47" fmla="*/ 2511 h 7154"/>
              <a:gd name="T48" fmla="*/ 6624 w 7154"/>
              <a:gd name="T49" fmla="*/ 2037 h 7154"/>
              <a:gd name="T50" fmla="*/ 5857 w 7154"/>
              <a:gd name="T51" fmla="*/ 2406 h 7154"/>
              <a:gd name="T52" fmla="*/ 3286 w 7154"/>
              <a:gd name="T53" fmla="*/ 4976 h 7154"/>
              <a:gd name="T54" fmla="*/ 2875 w 7154"/>
              <a:gd name="T55" fmla="*/ 5387 h 7154"/>
              <a:gd name="T56" fmla="*/ 2464 w 7154"/>
              <a:gd name="T57" fmla="*/ 5387 h 7154"/>
              <a:gd name="T58" fmla="*/ 2053 w 7154"/>
              <a:gd name="T59" fmla="*/ 4976 h 7154"/>
              <a:gd name="T60" fmla="*/ 1297 w 7154"/>
              <a:gd name="T61" fmla="*/ 4221 h 7154"/>
              <a:gd name="T62" fmla="*/ 1297 w 7154"/>
              <a:gd name="T63" fmla="*/ 3809 h 7154"/>
              <a:gd name="T64" fmla="*/ 1708 w 7154"/>
              <a:gd name="T65" fmla="*/ 3398 h 7154"/>
              <a:gd name="T66" fmla="*/ 2120 w 7154"/>
              <a:gd name="T67" fmla="*/ 3398 h 7154"/>
              <a:gd name="T68" fmla="*/ 2669 w 7154"/>
              <a:gd name="T69" fmla="*/ 3948 h 7154"/>
              <a:gd name="T70" fmla="*/ 5034 w 7154"/>
              <a:gd name="T71" fmla="*/ 1583 h 7154"/>
              <a:gd name="T72" fmla="*/ 5445 w 7154"/>
              <a:gd name="T73" fmla="*/ 1583 h 7154"/>
              <a:gd name="T74" fmla="*/ 5857 w 7154"/>
              <a:gd name="T75" fmla="*/ 1994 h 7154"/>
              <a:gd name="T76" fmla="*/ 5857 w 7154"/>
              <a:gd name="T77" fmla="*/ 2406 h 7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154" h="7154">
                <a:moveTo>
                  <a:pt x="6624" y="2037"/>
                </a:moveTo>
                <a:cubicBezTo>
                  <a:pt x="6580" y="1703"/>
                  <a:pt x="6403" y="1345"/>
                  <a:pt x="6106" y="1048"/>
                </a:cubicBezTo>
                <a:cubicBezTo>
                  <a:pt x="5809" y="751"/>
                  <a:pt x="5451" y="574"/>
                  <a:pt x="5117" y="530"/>
                </a:cubicBezTo>
                <a:cubicBezTo>
                  <a:pt x="4966" y="510"/>
                  <a:pt x="4764" y="427"/>
                  <a:pt x="4643" y="334"/>
                </a:cubicBezTo>
                <a:cubicBezTo>
                  <a:pt x="4375" y="128"/>
                  <a:pt x="3997" y="0"/>
                  <a:pt x="3577" y="0"/>
                </a:cubicBezTo>
                <a:cubicBezTo>
                  <a:pt x="3157" y="0"/>
                  <a:pt x="2779" y="128"/>
                  <a:pt x="2511" y="334"/>
                </a:cubicBezTo>
                <a:cubicBezTo>
                  <a:pt x="2390" y="427"/>
                  <a:pt x="2188" y="510"/>
                  <a:pt x="2037" y="530"/>
                </a:cubicBezTo>
                <a:cubicBezTo>
                  <a:pt x="1702" y="574"/>
                  <a:pt x="1345" y="751"/>
                  <a:pt x="1048" y="1048"/>
                </a:cubicBezTo>
                <a:cubicBezTo>
                  <a:pt x="751" y="1345"/>
                  <a:pt x="574" y="1703"/>
                  <a:pt x="530" y="2037"/>
                </a:cubicBezTo>
                <a:cubicBezTo>
                  <a:pt x="510" y="2188"/>
                  <a:pt x="427" y="2390"/>
                  <a:pt x="334" y="2511"/>
                </a:cubicBezTo>
                <a:cubicBezTo>
                  <a:pt x="128" y="2779"/>
                  <a:pt x="0" y="3157"/>
                  <a:pt x="0" y="3577"/>
                </a:cubicBezTo>
                <a:cubicBezTo>
                  <a:pt x="0" y="3997"/>
                  <a:pt x="128" y="4375"/>
                  <a:pt x="334" y="4643"/>
                </a:cubicBezTo>
                <a:cubicBezTo>
                  <a:pt x="427" y="4764"/>
                  <a:pt x="510" y="4966"/>
                  <a:pt x="530" y="5117"/>
                </a:cubicBezTo>
                <a:cubicBezTo>
                  <a:pt x="574" y="5451"/>
                  <a:pt x="751" y="5809"/>
                  <a:pt x="1048" y="6106"/>
                </a:cubicBezTo>
                <a:cubicBezTo>
                  <a:pt x="1345" y="6403"/>
                  <a:pt x="1702" y="6580"/>
                  <a:pt x="2037" y="6624"/>
                </a:cubicBezTo>
                <a:cubicBezTo>
                  <a:pt x="2188" y="6644"/>
                  <a:pt x="2390" y="6727"/>
                  <a:pt x="2511" y="6820"/>
                </a:cubicBezTo>
                <a:cubicBezTo>
                  <a:pt x="2779" y="7025"/>
                  <a:pt x="3157" y="7154"/>
                  <a:pt x="3577" y="7154"/>
                </a:cubicBezTo>
                <a:cubicBezTo>
                  <a:pt x="3997" y="7154"/>
                  <a:pt x="4375" y="7025"/>
                  <a:pt x="4643" y="6820"/>
                </a:cubicBezTo>
                <a:cubicBezTo>
                  <a:pt x="4764" y="6727"/>
                  <a:pt x="4966" y="6644"/>
                  <a:pt x="5117" y="6624"/>
                </a:cubicBezTo>
                <a:cubicBezTo>
                  <a:pt x="5451" y="6580"/>
                  <a:pt x="5809" y="6403"/>
                  <a:pt x="6106" y="6106"/>
                </a:cubicBezTo>
                <a:cubicBezTo>
                  <a:pt x="6403" y="5809"/>
                  <a:pt x="6580" y="5451"/>
                  <a:pt x="6624" y="5117"/>
                </a:cubicBezTo>
                <a:cubicBezTo>
                  <a:pt x="6644" y="4966"/>
                  <a:pt x="6727" y="4764"/>
                  <a:pt x="6820" y="4643"/>
                </a:cubicBezTo>
                <a:cubicBezTo>
                  <a:pt x="7026" y="4375"/>
                  <a:pt x="7154" y="3997"/>
                  <a:pt x="7154" y="3577"/>
                </a:cubicBezTo>
                <a:cubicBezTo>
                  <a:pt x="7154" y="3157"/>
                  <a:pt x="7026" y="2779"/>
                  <a:pt x="6820" y="2511"/>
                </a:cubicBezTo>
                <a:cubicBezTo>
                  <a:pt x="6727" y="2390"/>
                  <a:pt x="6644" y="2188"/>
                  <a:pt x="6624" y="2037"/>
                </a:cubicBezTo>
                <a:close/>
                <a:moveTo>
                  <a:pt x="5857" y="2406"/>
                </a:moveTo>
                <a:lnTo>
                  <a:pt x="3286" y="4976"/>
                </a:lnTo>
                <a:lnTo>
                  <a:pt x="2875" y="5387"/>
                </a:lnTo>
                <a:cubicBezTo>
                  <a:pt x="2762" y="5501"/>
                  <a:pt x="2577" y="5501"/>
                  <a:pt x="2464" y="5387"/>
                </a:cubicBezTo>
                <a:lnTo>
                  <a:pt x="2053" y="4976"/>
                </a:lnTo>
                <a:lnTo>
                  <a:pt x="1297" y="4221"/>
                </a:lnTo>
                <a:cubicBezTo>
                  <a:pt x="1183" y="4107"/>
                  <a:pt x="1183" y="3923"/>
                  <a:pt x="1297" y="3809"/>
                </a:cubicBezTo>
                <a:lnTo>
                  <a:pt x="1708" y="3398"/>
                </a:lnTo>
                <a:cubicBezTo>
                  <a:pt x="1822" y="3285"/>
                  <a:pt x="2006" y="3285"/>
                  <a:pt x="2120" y="3398"/>
                </a:cubicBezTo>
                <a:lnTo>
                  <a:pt x="2669" y="3948"/>
                </a:lnTo>
                <a:lnTo>
                  <a:pt x="5034" y="1583"/>
                </a:lnTo>
                <a:cubicBezTo>
                  <a:pt x="5148" y="1470"/>
                  <a:pt x="5332" y="1470"/>
                  <a:pt x="5445" y="1583"/>
                </a:cubicBezTo>
                <a:lnTo>
                  <a:pt x="5857" y="1994"/>
                </a:lnTo>
                <a:cubicBezTo>
                  <a:pt x="5970" y="2108"/>
                  <a:pt x="5970" y="2292"/>
                  <a:pt x="5857" y="2406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5" name="iṧḷiḑé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2707911" y="3654019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按分布模式进行配置</a:t>
            </a:r>
            <a:endParaRPr lang="en-US" altLang="zh-CN" sz="1100" dirty="0"/>
          </a:p>
        </p:txBody>
      </p:sp>
      <p:sp>
        <p:nvSpPr>
          <p:cNvPr id="216" name="îṧḻiḑe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2298288" y="4141801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运行第一个实例</a:t>
            </a:r>
            <a:endParaRPr lang="en-US" altLang="zh-CN" sz="1100" dirty="0"/>
          </a:p>
        </p:txBody>
      </p:sp>
      <p:sp>
        <p:nvSpPr>
          <p:cNvPr id="217" name="îṣľïd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1888786" y="4629583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开心</a:t>
            </a:r>
            <a:r>
              <a:rPr lang="en-US" altLang="zh-CN" sz="1100" dirty="0" err="1"/>
              <a:t>ing</a:t>
            </a:r>
            <a:r>
              <a:rPr lang="en-US" altLang="zh-CN" sz="1100" dirty="0"/>
              <a:t>~</a:t>
            </a:r>
          </a:p>
        </p:txBody>
      </p:sp>
      <p:sp>
        <p:nvSpPr>
          <p:cNvPr id="218" name="íṧ1îd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117364" y="3166237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 解压</a:t>
            </a:r>
            <a:endParaRPr lang="en-US" altLang="zh-CN" sz="1100" dirty="0"/>
          </a:p>
        </p:txBody>
      </p:sp>
      <p:sp>
        <p:nvSpPr>
          <p:cNvPr id="219" name="îs1ïḋ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531978" y="2678454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配置环境变量 使之生效</a:t>
            </a:r>
            <a:endParaRPr lang="en-US" altLang="zh-CN" sz="1100" dirty="0"/>
          </a:p>
        </p:txBody>
      </p:sp>
      <p:sp>
        <p:nvSpPr>
          <p:cNvPr id="220" name="íšliḓ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941456" y="2190672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>
                <a:solidFill>
                  <a:schemeClr val="bg1"/>
                </a:solidFill>
              </a:rPr>
              <a:t>在官网下载安装包</a:t>
            </a:r>
            <a:r>
              <a:rPr lang="en-US" altLang="zh-CN" sz="1100" dirty="0">
                <a:solidFill>
                  <a:schemeClr val="bg1"/>
                </a:solidFill>
              </a:rPr>
              <a:t> </a:t>
            </a:r>
            <a:r>
              <a:rPr lang="zh-CN" altLang="en-US" sz="1100" dirty="0">
                <a:solidFill>
                  <a:schemeClr val="bg1"/>
                </a:solidFill>
              </a:rPr>
              <a:t>解压</a:t>
            </a: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71" name="灯片编号占位符 3">
            <a:extLst>
              <a:ext uri="{FF2B5EF4-FFF2-40B4-BE49-F238E27FC236}">
                <a16:creationId xmlns:a16="http://schemas.microsoft.com/office/drawing/2014/main" id="{45602043-65AD-4298-87C5-BD283DC4C507}"/>
              </a:ext>
            </a:extLst>
          </p:cNvPr>
          <p:cNvSpPr txBox="1">
            <a:spLocks/>
          </p:cNvSpPr>
          <p:nvPr/>
        </p:nvSpPr>
        <p:spPr>
          <a:xfrm flipV="1">
            <a:off x="6674217" y="10529036"/>
            <a:ext cx="1697990" cy="160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 dirty="0"/>
          </a:p>
        </p:txBody>
      </p:sp>
      <p:sp>
        <p:nvSpPr>
          <p:cNvPr id="72" name="íSľîḍe">
            <a:extLst>
              <a:ext uri="{FF2B5EF4-FFF2-40B4-BE49-F238E27FC236}">
                <a16:creationId xmlns:a16="http://schemas.microsoft.com/office/drawing/2014/main" id="{70CF1F38-C474-4520-A782-8A51FA00AAEB}"/>
              </a:ext>
            </a:extLst>
          </p:cNvPr>
          <p:cNvSpPr/>
          <p:nvPr/>
        </p:nvSpPr>
        <p:spPr>
          <a:xfrm flipV="1">
            <a:off x="2294983" y="7190854"/>
            <a:ext cx="839225" cy="839225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下载</a:t>
            </a:r>
          </a:p>
        </p:txBody>
      </p:sp>
      <p:sp>
        <p:nvSpPr>
          <p:cNvPr id="73" name="îṩḷïḍé">
            <a:extLst>
              <a:ext uri="{FF2B5EF4-FFF2-40B4-BE49-F238E27FC236}">
                <a16:creationId xmlns:a16="http://schemas.microsoft.com/office/drawing/2014/main" id="{2940F126-F157-4EC3-A0BC-0F390961BD6D}"/>
              </a:ext>
            </a:extLst>
          </p:cNvPr>
          <p:cNvSpPr>
            <a:spLocks/>
          </p:cNvSpPr>
          <p:nvPr/>
        </p:nvSpPr>
        <p:spPr bwMode="auto">
          <a:xfrm flipV="1">
            <a:off x="2506554" y="7679345"/>
            <a:ext cx="413942" cy="413942"/>
          </a:xfrm>
          <a:custGeom>
            <a:avLst/>
            <a:gdLst>
              <a:gd name="connsiteX0" fmla="*/ 39602 w 536368"/>
              <a:gd name="connsiteY0" fmla="*/ 407445 h 587881"/>
              <a:gd name="connsiteX1" fmla="*/ 79294 w 536368"/>
              <a:gd name="connsiteY1" fmla="*/ 446999 h 587881"/>
              <a:gd name="connsiteX2" fmla="*/ 79294 w 536368"/>
              <a:gd name="connsiteY2" fmla="*/ 508685 h 587881"/>
              <a:gd name="connsiteX3" fmla="*/ 457074 w 536368"/>
              <a:gd name="connsiteY3" fmla="*/ 508685 h 587881"/>
              <a:gd name="connsiteX4" fmla="*/ 457074 w 536368"/>
              <a:gd name="connsiteY4" fmla="*/ 446999 h 587881"/>
              <a:gd name="connsiteX5" fmla="*/ 496677 w 536368"/>
              <a:gd name="connsiteY5" fmla="*/ 407445 h 587881"/>
              <a:gd name="connsiteX6" fmla="*/ 536368 w 536368"/>
              <a:gd name="connsiteY6" fmla="*/ 446999 h 587881"/>
              <a:gd name="connsiteX7" fmla="*/ 536368 w 536368"/>
              <a:gd name="connsiteY7" fmla="*/ 548238 h 587881"/>
              <a:gd name="connsiteX8" fmla="*/ 496677 w 536368"/>
              <a:gd name="connsiteY8" fmla="*/ 587881 h 587881"/>
              <a:gd name="connsiteX9" fmla="*/ 39602 w 536368"/>
              <a:gd name="connsiteY9" fmla="*/ 587881 h 587881"/>
              <a:gd name="connsiteX10" fmla="*/ 0 w 536368"/>
              <a:gd name="connsiteY10" fmla="*/ 548238 h 587881"/>
              <a:gd name="connsiteX11" fmla="*/ 0 w 536368"/>
              <a:gd name="connsiteY11" fmla="*/ 446999 h 587881"/>
              <a:gd name="connsiteX12" fmla="*/ 39602 w 536368"/>
              <a:gd name="connsiteY12" fmla="*/ 407445 h 587881"/>
              <a:gd name="connsiteX13" fmla="*/ 223430 w 536368"/>
              <a:gd name="connsiteY13" fmla="*/ 0 h 587881"/>
              <a:gd name="connsiteX14" fmla="*/ 312886 w 536368"/>
              <a:gd name="connsiteY14" fmla="*/ 0 h 587881"/>
              <a:gd name="connsiteX15" fmla="*/ 343773 w 536368"/>
              <a:gd name="connsiteY15" fmla="*/ 30926 h 587881"/>
              <a:gd name="connsiteX16" fmla="*/ 343773 w 536368"/>
              <a:gd name="connsiteY16" fmla="*/ 286685 h 587881"/>
              <a:gd name="connsiteX17" fmla="*/ 409018 w 536368"/>
              <a:gd name="connsiteY17" fmla="*/ 286685 h 587881"/>
              <a:gd name="connsiteX18" fmla="*/ 422103 w 536368"/>
              <a:gd name="connsiteY18" fmla="*/ 295394 h 587881"/>
              <a:gd name="connsiteX19" fmla="*/ 418988 w 536368"/>
              <a:gd name="connsiteY19" fmla="*/ 310857 h 587881"/>
              <a:gd name="connsiteX20" fmla="*/ 280130 w 536368"/>
              <a:gd name="connsiteY20" fmla="*/ 449489 h 587881"/>
              <a:gd name="connsiteX21" fmla="*/ 256186 w 536368"/>
              <a:gd name="connsiteY21" fmla="*/ 449489 h 587881"/>
              <a:gd name="connsiteX22" fmla="*/ 117239 w 536368"/>
              <a:gd name="connsiteY22" fmla="*/ 310857 h 587881"/>
              <a:gd name="connsiteX23" fmla="*/ 114213 w 536368"/>
              <a:gd name="connsiteY23" fmla="*/ 295394 h 587881"/>
              <a:gd name="connsiteX24" fmla="*/ 127297 w 536368"/>
              <a:gd name="connsiteY24" fmla="*/ 286685 h 587881"/>
              <a:gd name="connsiteX25" fmla="*/ 192543 w 536368"/>
              <a:gd name="connsiteY25" fmla="*/ 286685 h 587881"/>
              <a:gd name="connsiteX26" fmla="*/ 192543 w 536368"/>
              <a:gd name="connsiteY26" fmla="*/ 30926 h 587881"/>
              <a:gd name="connsiteX27" fmla="*/ 223430 w 536368"/>
              <a:gd name="connsiteY27" fmla="*/ 0 h 587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536368" h="587881">
                <a:moveTo>
                  <a:pt x="39602" y="407445"/>
                </a:moveTo>
                <a:cubicBezTo>
                  <a:pt x="61495" y="407445"/>
                  <a:pt x="79294" y="425133"/>
                  <a:pt x="79294" y="446999"/>
                </a:cubicBezTo>
                <a:lnTo>
                  <a:pt x="79294" y="508685"/>
                </a:lnTo>
                <a:lnTo>
                  <a:pt x="457074" y="508685"/>
                </a:lnTo>
                <a:lnTo>
                  <a:pt x="457074" y="446999"/>
                </a:lnTo>
                <a:cubicBezTo>
                  <a:pt x="457074" y="425133"/>
                  <a:pt x="474873" y="407445"/>
                  <a:pt x="496677" y="407445"/>
                </a:cubicBezTo>
                <a:cubicBezTo>
                  <a:pt x="518569" y="407445"/>
                  <a:pt x="536368" y="425133"/>
                  <a:pt x="536368" y="446999"/>
                </a:cubicBezTo>
                <a:lnTo>
                  <a:pt x="536368" y="548238"/>
                </a:lnTo>
                <a:cubicBezTo>
                  <a:pt x="536368" y="570104"/>
                  <a:pt x="518569" y="587881"/>
                  <a:pt x="496677" y="587881"/>
                </a:cubicBezTo>
                <a:lnTo>
                  <a:pt x="39602" y="587881"/>
                </a:lnTo>
                <a:cubicBezTo>
                  <a:pt x="17710" y="587881"/>
                  <a:pt x="0" y="570104"/>
                  <a:pt x="0" y="548238"/>
                </a:cubicBezTo>
                <a:lnTo>
                  <a:pt x="0" y="446999"/>
                </a:lnTo>
                <a:cubicBezTo>
                  <a:pt x="0" y="425133"/>
                  <a:pt x="17710" y="407445"/>
                  <a:pt x="39602" y="407445"/>
                </a:cubicBezTo>
                <a:close/>
                <a:moveTo>
                  <a:pt x="223430" y="0"/>
                </a:moveTo>
                <a:lnTo>
                  <a:pt x="312886" y="0"/>
                </a:lnTo>
                <a:cubicBezTo>
                  <a:pt x="329976" y="0"/>
                  <a:pt x="343773" y="13863"/>
                  <a:pt x="343773" y="30926"/>
                </a:cubicBezTo>
                <a:lnTo>
                  <a:pt x="343773" y="286685"/>
                </a:lnTo>
                <a:lnTo>
                  <a:pt x="409018" y="286685"/>
                </a:lnTo>
                <a:cubicBezTo>
                  <a:pt x="414715" y="286685"/>
                  <a:pt x="419878" y="290151"/>
                  <a:pt x="422103" y="295394"/>
                </a:cubicBezTo>
                <a:cubicBezTo>
                  <a:pt x="424239" y="300726"/>
                  <a:pt x="423082" y="306769"/>
                  <a:pt x="418988" y="310857"/>
                </a:cubicBezTo>
                <a:lnTo>
                  <a:pt x="280130" y="449489"/>
                </a:lnTo>
                <a:cubicBezTo>
                  <a:pt x="273543" y="456065"/>
                  <a:pt x="262773" y="456065"/>
                  <a:pt x="256186" y="449489"/>
                </a:cubicBezTo>
                <a:lnTo>
                  <a:pt x="117239" y="310857"/>
                </a:lnTo>
                <a:cubicBezTo>
                  <a:pt x="113233" y="306769"/>
                  <a:pt x="111987" y="300726"/>
                  <a:pt x="114213" y="295394"/>
                </a:cubicBezTo>
                <a:cubicBezTo>
                  <a:pt x="116438" y="290151"/>
                  <a:pt x="121511" y="286685"/>
                  <a:pt x="127297" y="286685"/>
                </a:cubicBezTo>
                <a:lnTo>
                  <a:pt x="192543" y="286685"/>
                </a:lnTo>
                <a:lnTo>
                  <a:pt x="192543" y="30926"/>
                </a:lnTo>
                <a:cubicBezTo>
                  <a:pt x="192543" y="13863"/>
                  <a:pt x="206339" y="0"/>
                  <a:pt x="223430" y="0"/>
                </a:cubicBezTo>
                <a:close/>
              </a:path>
            </a:pathLst>
          </a:cu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sz="2400" b="1"/>
          </a:p>
        </p:txBody>
      </p:sp>
      <p:sp>
        <p:nvSpPr>
          <p:cNvPr id="74" name="íṩ1íďê">
            <a:extLst>
              <a:ext uri="{FF2B5EF4-FFF2-40B4-BE49-F238E27FC236}">
                <a16:creationId xmlns:a16="http://schemas.microsoft.com/office/drawing/2014/main" id="{24AF47C6-B9B0-4332-918D-A9C55BDE9EFE}"/>
              </a:ext>
            </a:extLst>
          </p:cNvPr>
          <p:cNvSpPr/>
          <p:nvPr/>
        </p:nvSpPr>
        <p:spPr>
          <a:xfrm flipV="1">
            <a:off x="1328429" y="8336946"/>
            <a:ext cx="839225" cy="839225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官网</a:t>
            </a:r>
          </a:p>
        </p:txBody>
      </p:sp>
      <p:sp>
        <p:nvSpPr>
          <p:cNvPr id="75" name="íŝḻíḍê">
            <a:extLst>
              <a:ext uri="{FF2B5EF4-FFF2-40B4-BE49-F238E27FC236}">
                <a16:creationId xmlns:a16="http://schemas.microsoft.com/office/drawing/2014/main" id="{D93C367C-1A21-4AD5-BD03-42FEFF076FC5}"/>
              </a:ext>
            </a:extLst>
          </p:cNvPr>
          <p:cNvSpPr>
            <a:spLocks/>
          </p:cNvSpPr>
          <p:nvPr/>
        </p:nvSpPr>
        <p:spPr bwMode="auto">
          <a:xfrm flipV="1">
            <a:off x="1547569" y="8860728"/>
            <a:ext cx="413942" cy="413942"/>
          </a:xfrm>
          <a:custGeom>
            <a:avLst/>
            <a:gdLst>
              <a:gd name="connsiteX0" fmla="*/ 454514 w 613046"/>
              <a:gd name="connsiteY0" fmla="*/ 373741 h 610326"/>
              <a:gd name="connsiteX1" fmla="*/ 595797 w 613046"/>
              <a:gd name="connsiteY1" fmla="*/ 511272 h 610326"/>
              <a:gd name="connsiteX2" fmla="*/ 595797 w 613046"/>
              <a:gd name="connsiteY2" fmla="*/ 593135 h 610326"/>
              <a:gd name="connsiteX3" fmla="*/ 513656 w 613046"/>
              <a:gd name="connsiteY3" fmla="*/ 593135 h 610326"/>
              <a:gd name="connsiteX4" fmla="*/ 372373 w 613046"/>
              <a:gd name="connsiteY4" fmla="*/ 452330 h 610326"/>
              <a:gd name="connsiteX5" fmla="*/ 454514 w 613046"/>
              <a:gd name="connsiteY5" fmla="*/ 373741 h 610326"/>
              <a:gd name="connsiteX6" fmla="*/ 231364 w 613046"/>
              <a:gd name="connsiteY6" fmla="*/ 94462 h 610326"/>
              <a:gd name="connsiteX7" fmla="*/ 231364 w 613046"/>
              <a:gd name="connsiteY7" fmla="*/ 133729 h 610326"/>
              <a:gd name="connsiteX8" fmla="*/ 135499 w 613046"/>
              <a:gd name="connsiteY8" fmla="*/ 228625 h 610326"/>
              <a:gd name="connsiteX9" fmla="*/ 95831 w 613046"/>
              <a:gd name="connsiteY9" fmla="*/ 228625 h 610326"/>
              <a:gd name="connsiteX10" fmla="*/ 231364 w 613046"/>
              <a:gd name="connsiteY10" fmla="*/ 94462 h 610326"/>
              <a:gd name="connsiteX11" fmla="*/ 230271 w 613046"/>
              <a:gd name="connsiteY11" fmla="*/ 55689 h 610326"/>
              <a:gd name="connsiteX12" fmla="*/ 55923 w 613046"/>
              <a:gd name="connsiteY12" fmla="*/ 229310 h 610326"/>
              <a:gd name="connsiteX13" fmla="*/ 230271 w 613046"/>
              <a:gd name="connsiteY13" fmla="*/ 399655 h 610326"/>
              <a:gd name="connsiteX14" fmla="*/ 401329 w 613046"/>
              <a:gd name="connsiteY14" fmla="*/ 229310 h 610326"/>
              <a:gd name="connsiteX15" fmla="*/ 230271 w 613046"/>
              <a:gd name="connsiteY15" fmla="*/ 55689 h 610326"/>
              <a:gd name="connsiteX16" fmla="*/ 230271 w 613046"/>
              <a:gd name="connsiteY16" fmla="*/ 0 h 610326"/>
              <a:gd name="connsiteX17" fmla="*/ 457252 w 613046"/>
              <a:gd name="connsiteY17" fmla="*/ 229310 h 610326"/>
              <a:gd name="connsiteX18" fmla="*/ 230271 w 613046"/>
              <a:gd name="connsiteY18" fmla="*/ 458620 h 610326"/>
              <a:gd name="connsiteX19" fmla="*/ 0 w 613046"/>
              <a:gd name="connsiteY19" fmla="*/ 229310 h 610326"/>
              <a:gd name="connsiteX20" fmla="*/ 230271 w 613046"/>
              <a:gd name="connsiteY20" fmla="*/ 0 h 610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613046" h="610326">
                <a:moveTo>
                  <a:pt x="454514" y="373741"/>
                </a:moveTo>
                <a:cubicBezTo>
                  <a:pt x="454514" y="373741"/>
                  <a:pt x="454514" y="373741"/>
                  <a:pt x="595797" y="511272"/>
                </a:cubicBezTo>
                <a:cubicBezTo>
                  <a:pt x="618796" y="534194"/>
                  <a:pt x="618796" y="570214"/>
                  <a:pt x="595797" y="593135"/>
                </a:cubicBezTo>
                <a:cubicBezTo>
                  <a:pt x="572797" y="616057"/>
                  <a:pt x="536655" y="616057"/>
                  <a:pt x="513656" y="593135"/>
                </a:cubicBezTo>
                <a:cubicBezTo>
                  <a:pt x="513656" y="593135"/>
                  <a:pt x="513656" y="593135"/>
                  <a:pt x="372373" y="452330"/>
                </a:cubicBezTo>
                <a:cubicBezTo>
                  <a:pt x="405229" y="432683"/>
                  <a:pt x="434800" y="406487"/>
                  <a:pt x="454514" y="373741"/>
                </a:cubicBezTo>
                <a:close/>
                <a:moveTo>
                  <a:pt x="231364" y="94462"/>
                </a:moveTo>
                <a:cubicBezTo>
                  <a:pt x="231364" y="94462"/>
                  <a:pt x="231364" y="94462"/>
                  <a:pt x="231364" y="133729"/>
                </a:cubicBezTo>
                <a:cubicBezTo>
                  <a:pt x="178473" y="133729"/>
                  <a:pt x="135499" y="176269"/>
                  <a:pt x="135499" y="228625"/>
                </a:cubicBezTo>
                <a:cubicBezTo>
                  <a:pt x="135499" y="228625"/>
                  <a:pt x="135499" y="228625"/>
                  <a:pt x="95831" y="228625"/>
                </a:cubicBezTo>
                <a:cubicBezTo>
                  <a:pt x="95831" y="153363"/>
                  <a:pt x="155333" y="94462"/>
                  <a:pt x="231364" y="94462"/>
                </a:cubicBezTo>
                <a:close/>
                <a:moveTo>
                  <a:pt x="230271" y="55689"/>
                </a:moveTo>
                <a:cubicBezTo>
                  <a:pt x="134873" y="55689"/>
                  <a:pt x="55923" y="134310"/>
                  <a:pt x="55923" y="229310"/>
                </a:cubicBezTo>
                <a:cubicBezTo>
                  <a:pt x="55923" y="324310"/>
                  <a:pt x="134873" y="399655"/>
                  <a:pt x="230271" y="399655"/>
                </a:cubicBezTo>
                <a:cubicBezTo>
                  <a:pt x="322379" y="399655"/>
                  <a:pt x="401329" y="324310"/>
                  <a:pt x="401329" y="229310"/>
                </a:cubicBezTo>
                <a:cubicBezTo>
                  <a:pt x="401329" y="134310"/>
                  <a:pt x="322379" y="55689"/>
                  <a:pt x="230271" y="55689"/>
                </a:cubicBezTo>
                <a:close/>
                <a:moveTo>
                  <a:pt x="230271" y="0"/>
                </a:moveTo>
                <a:cubicBezTo>
                  <a:pt x="355275" y="0"/>
                  <a:pt x="457252" y="101551"/>
                  <a:pt x="457252" y="229310"/>
                </a:cubicBezTo>
                <a:cubicBezTo>
                  <a:pt x="457252" y="353792"/>
                  <a:pt x="355275" y="458620"/>
                  <a:pt x="230271" y="458620"/>
                </a:cubicBezTo>
                <a:cubicBezTo>
                  <a:pt x="101977" y="458620"/>
                  <a:pt x="0" y="353792"/>
                  <a:pt x="0" y="229310"/>
                </a:cubicBezTo>
                <a:cubicBezTo>
                  <a:pt x="0" y="101551"/>
                  <a:pt x="101977" y="0"/>
                  <a:pt x="230271" y="0"/>
                </a:cubicBezTo>
                <a:close/>
              </a:path>
            </a:pathLst>
          </a:cu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sz="2400" b="1"/>
          </a:p>
        </p:txBody>
      </p:sp>
      <p:cxnSp>
        <p:nvCxnSpPr>
          <p:cNvPr id="76" name="肘形连接符 18">
            <a:extLst>
              <a:ext uri="{FF2B5EF4-FFF2-40B4-BE49-F238E27FC236}">
                <a16:creationId xmlns:a16="http://schemas.microsoft.com/office/drawing/2014/main" id="{3BE2E37E-3243-4006-AFC1-CF00CE17AA1B}"/>
              </a:ext>
            </a:extLst>
          </p:cNvPr>
          <p:cNvCxnSpPr>
            <a:stCxn id="72" idx="2"/>
          </p:cNvCxnSpPr>
          <p:nvPr/>
        </p:nvCxnSpPr>
        <p:spPr>
          <a:xfrm rot="10800000" flipV="1">
            <a:off x="1779015" y="7610466"/>
            <a:ext cx="515968" cy="1469794"/>
          </a:xfrm>
          <a:prstGeom prst="bentConnector2">
            <a:avLst/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肘形连接符 19">
            <a:extLst>
              <a:ext uri="{FF2B5EF4-FFF2-40B4-BE49-F238E27FC236}">
                <a16:creationId xmlns:a16="http://schemas.microsoft.com/office/drawing/2014/main" id="{C777AEF9-CD9C-442C-82F5-0BF57BED0CBC}"/>
              </a:ext>
            </a:extLst>
          </p:cNvPr>
          <p:cNvCxnSpPr>
            <a:cxnSpLocks/>
            <a:endCxn id="72" idx="6"/>
          </p:cNvCxnSpPr>
          <p:nvPr/>
        </p:nvCxnSpPr>
        <p:spPr>
          <a:xfrm rot="10800000">
            <a:off x="3134208" y="7610466"/>
            <a:ext cx="964002" cy="848670"/>
          </a:xfrm>
          <a:prstGeom prst="bentConnector3">
            <a:avLst>
              <a:gd name="adj1" fmla="val 50000"/>
            </a:avLst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肘形连接符 20">
            <a:extLst>
              <a:ext uri="{FF2B5EF4-FFF2-40B4-BE49-F238E27FC236}">
                <a16:creationId xmlns:a16="http://schemas.microsoft.com/office/drawing/2014/main" id="{C6C133EC-AAA3-4859-B347-848E88CC81DE}"/>
              </a:ext>
            </a:extLst>
          </p:cNvPr>
          <p:cNvCxnSpPr/>
          <p:nvPr/>
        </p:nvCxnSpPr>
        <p:spPr>
          <a:xfrm rot="16200000" flipV="1">
            <a:off x="2684433" y="9006566"/>
            <a:ext cx="112078" cy="5553"/>
          </a:xfrm>
          <a:prstGeom prst="bentConnector3">
            <a:avLst>
              <a:gd name="adj1" fmla="val 50000"/>
            </a:avLst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肘形连接符 21">
            <a:extLst>
              <a:ext uri="{FF2B5EF4-FFF2-40B4-BE49-F238E27FC236}">
                <a16:creationId xmlns:a16="http://schemas.microsoft.com/office/drawing/2014/main" id="{5BBD131B-2E9B-405C-9CE1-E1C618044D00}"/>
              </a:ext>
            </a:extLst>
          </p:cNvPr>
          <p:cNvCxnSpPr>
            <a:cxnSpLocks/>
            <a:endCxn id="94" idx="6"/>
          </p:cNvCxnSpPr>
          <p:nvPr/>
        </p:nvCxnSpPr>
        <p:spPr>
          <a:xfrm rot="10800000">
            <a:off x="5058649" y="7610466"/>
            <a:ext cx="989504" cy="848670"/>
          </a:xfrm>
          <a:prstGeom prst="bentConnector3">
            <a:avLst>
              <a:gd name="adj1" fmla="val 50000"/>
            </a:avLst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肘形连接符 22">
            <a:extLst>
              <a:ext uri="{FF2B5EF4-FFF2-40B4-BE49-F238E27FC236}">
                <a16:creationId xmlns:a16="http://schemas.microsoft.com/office/drawing/2014/main" id="{E9E7FE9C-4883-4E89-B237-4BD0BF1F659B}"/>
              </a:ext>
            </a:extLst>
          </p:cNvPr>
          <p:cNvCxnSpPr>
            <a:cxnSpLocks/>
            <a:endCxn id="92" idx="6"/>
          </p:cNvCxnSpPr>
          <p:nvPr/>
        </p:nvCxnSpPr>
        <p:spPr>
          <a:xfrm rot="10800000">
            <a:off x="4079105" y="8756558"/>
            <a:ext cx="984251" cy="855578"/>
          </a:xfrm>
          <a:prstGeom prst="bentConnector3">
            <a:avLst>
              <a:gd name="adj1" fmla="val 50000"/>
            </a:avLst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直接连接符 80">
            <a:extLst>
              <a:ext uri="{FF2B5EF4-FFF2-40B4-BE49-F238E27FC236}">
                <a16:creationId xmlns:a16="http://schemas.microsoft.com/office/drawing/2014/main" id="{8045E20E-B6DF-4C85-8C99-AEA5FF7A5A16}"/>
              </a:ext>
            </a:extLst>
          </p:cNvPr>
          <p:cNvCxnSpPr>
            <a:cxnSpLocks/>
          </p:cNvCxnSpPr>
          <p:nvPr/>
        </p:nvCxnSpPr>
        <p:spPr>
          <a:xfrm flipV="1">
            <a:off x="7223522" y="8459137"/>
            <a:ext cx="603613" cy="1"/>
          </a:xfrm>
          <a:prstGeom prst="line">
            <a:avLst/>
          </a:prstGeom>
          <a:ln w="28575" cmpd="sng">
            <a:solidFill>
              <a:schemeClr val="bg1">
                <a:lumMod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íšḷíḍê">
            <a:extLst>
              <a:ext uri="{FF2B5EF4-FFF2-40B4-BE49-F238E27FC236}">
                <a16:creationId xmlns:a16="http://schemas.microsoft.com/office/drawing/2014/main" id="{B331A006-9315-4B7A-A7A5-86FF5BFFC24F}"/>
              </a:ext>
            </a:extLst>
          </p:cNvPr>
          <p:cNvSpPr txBox="1"/>
          <p:nvPr/>
        </p:nvSpPr>
        <p:spPr>
          <a:xfrm>
            <a:off x="2402698" y="6857293"/>
            <a:ext cx="4592987" cy="34574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SzPct val="25000"/>
            </a:pPr>
            <a:r>
              <a:rPr lang="zh-CN" altLang="en-US" sz="2000" b="1" i="1" dirty="0"/>
              <a:t>安装</a:t>
            </a:r>
            <a:r>
              <a:rPr lang="en-US" altLang="zh-CN" sz="2000" b="1" i="1" dirty="0"/>
              <a:t>JAVA</a:t>
            </a:r>
            <a:r>
              <a:rPr lang="zh-CN" altLang="en-US" sz="2000" b="1" i="1" dirty="0"/>
              <a:t>的步骤</a:t>
            </a:r>
            <a:endParaRPr lang="en-US" sz="2000" b="1" i="1" dirty="0"/>
          </a:p>
        </p:txBody>
      </p:sp>
      <p:grpSp>
        <p:nvGrpSpPr>
          <p:cNvPr id="83" name="îšlïḍe">
            <a:extLst>
              <a:ext uri="{FF2B5EF4-FFF2-40B4-BE49-F238E27FC236}">
                <a16:creationId xmlns:a16="http://schemas.microsoft.com/office/drawing/2014/main" id="{5CECE8D0-3903-4D21-A012-92618E24CB76}"/>
              </a:ext>
            </a:extLst>
          </p:cNvPr>
          <p:cNvGrpSpPr/>
          <p:nvPr/>
        </p:nvGrpSpPr>
        <p:grpSpPr>
          <a:xfrm flipV="1">
            <a:off x="1416964" y="9645684"/>
            <a:ext cx="1515642" cy="660746"/>
            <a:chOff x="8563614" y="4934816"/>
            <a:chExt cx="2955286" cy="1008290"/>
          </a:xfrm>
        </p:grpSpPr>
        <p:sp>
          <p:nvSpPr>
            <p:cNvPr id="84" name="íšľiḋé">
              <a:extLst>
                <a:ext uri="{FF2B5EF4-FFF2-40B4-BE49-F238E27FC236}">
                  <a16:creationId xmlns:a16="http://schemas.microsoft.com/office/drawing/2014/main" id="{45D83BD0-EC05-43C0-A236-BAC508D7D9FA}"/>
                </a:ext>
              </a:extLst>
            </p:cNvPr>
            <p:cNvSpPr txBox="1"/>
            <p:nvPr/>
          </p:nvSpPr>
          <p:spPr bwMode="auto">
            <a:xfrm>
              <a:off x="8563614" y="4934816"/>
              <a:ext cx="2955286" cy="480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b="1" dirty="0"/>
                <a:t>搜索 下载</a:t>
              </a:r>
              <a:endParaRPr lang="en-US" altLang="zh-CN" b="1" dirty="0"/>
            </a:p>
          </p:txBody>
        </p:sp>
        <p:sp>
          <p:nvSpPr>
            <p:cNvPr id="85" name="íṧḷidé">
              <a:extLst>
                <a:ext uri="{FF2B5EF4-FFF2-40B4-BE49-F238E27FC236}">
                  <a16:creationId xmlns:a16="http://schemas.microsoft.com/office/drawing/2014/main" id="{CA2EBA28-0426-448C-BD12-43FA41FDBADE}"/>
                </a:ext>
              </a:extLst>
            </p:cNvPr>
            <p:cNvSpPr/>
            <p:nvPr/>
          </p:nvSpPr>
          <p:spPr bwMode="auto">
            <a:xfrm>
              <a:off x="8563614" y="5415115"/>
              <a:ext cx="2955286" cy="5279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zh-CN" altLang="en-US" sz="1100" dirty="0"/>
                <a:t>在</a:t>
              </a:r>
              <a:r>
                <a:rPr lang="en-US" altLang="zh-CN" sz="1100" dirty="0"/>
                <a:t>Ubuntu</a:t>
              </a:r>
              <a:r>
                <a:rPr lang="zh-CN" altLang="en-US" sz="1100" dirty="0"/>
                <a:t>中直接使用浏览器</a:t>
              </a:r>
              <a:endParaRPr lang="en-US" altLang="zh-CN" sz="1100" dirty="0"/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Or</a:t>
              </a:r>
              <a:r>
                <a:rPr lang="zh-CN" altLang="en-US" sz="1100" dirty="0"/>
                <a:t>把下好的拖进</a:t>
              </a:r>
              <a:r>
                <a:rPr lang="en-US" altLang="zh-CN" sz="1100" dirty="0"/>
                <a:t>Ubuntu(</a:t>
              </a:r>
              <a:r>
                <a:rPr lang="zh-CN" altLang="en-US" sz="1100" dirty="0"/>
                <a:t>虚拟机</a:t>
              </a:r>
              <a:r>
                <a:rPr lang="en-US" altLang="zh-CN" sz="1100" dirty="0"/>
                <a:t>)</a:t>
              </a:r>
            </a:p>
          </p:txBody>
        </p:sp>
      </p:grpSp>
      <p:grpSp>
        <p:nvGrpSpPr>
          <p:cNvPr id="86" name="î$ļíḋé">
            <a:extLst>
              <a:ext uri="{FF2B5EF4-FFF2-40B4-BE49-F238E27FC236}">
                <a16:creationId xmlns:a16="http://schemas.microsoft.com/office/drawing/2014/main" id="{2B6D4098-DDDE-43CF-BAEE-A42E9A56D52D}"/>
              </a:ext>
            </a:extLst>
          </p:cNvPr>
          <p:cNvGrpSpPr/>
          <p:nvPr/>
        </p:nvGrpSpPr>
        <p:grpSpPr>
          <a:xfrm flipV="1">
            <a:off x="3593973" y="9645682"/>
            <a:ext cx="1515644" cy="660749"/>
            <a:chOff x="8737934" y="4934814"/>
            <a:chExt cx="2955288" cy="1008293"/>
          </a:xfrm>
        </p:grpSpPr>
        <p:sp>
          <p:nvSpPr>
            <p:cNvPr id="87" name="ïṡ1îḑê">
              <a:extLst>
                <a:ext uri="{FF2B5EF4-FFF2-40B4-BE49-F238E27FC236}">
                  <a16:creationId xmlns:a16="http://schemas.microsoft.com/office/drawing/2014/main" id="{96B6664D-8424-4C0E-B6B3-BB8969D109E1}"/>
                </a:ext>
              </a:extLst>
            </p:cNvPr>
            <p:cNvSpPr txBox="1"/>
            <p:nvPr/>
          </p:nvSpPr>
          <p:spPr bwMode="auto">
            <a:xfrm>
              <a:off x="8737934" y="4934814"/>
              <a:ext cx="2955285" cy="480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b="1" dirty="0"/>
                <a:t>解压</a:t>
              </a:r>
              <a:endParaRPr lang="en-US" altLang="zh-CN" b="1" dirty="0"/>
            </a:p>
          </p:txBody>
        </p:sp>
        <p:sp>
          <p:nvSpPr>
            <p:cNvPr id="88" name="iṩliḋe">
              <a:extLst>
                <a:ext uri="{FF2B5EF4-FFF2-40B4-BE49-F238E27FC236}">
                  <a16:creationId xmlns:a16="http://schemas.microsoft.com/office/drawing/2014/main" id="{CB75B739-5BC1-46C7-B4A0-E955D1CD6C98}"/>
                </a:ext>
              </a:extLst>
            </p:cNvPr>
            <p:cNvSpPr/>
            <p:nvPr/>
          </p:nvSpPr>
          <p:spPr bwMode="auto">
            <a:xfrm>
              <a:off x="8737934" y="5415115"/>
              <a:ext cx="2955288" cy="527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solidFill>
                    <a:schemeClr val="accent3"/>
                  </a:solidFill>
                </a:rPr>
                <a:t>tar -</a:t>
              </a:r>
              <a:r>
                <a:rPr lang="en-US" altLang="zh-CN" sz="1100" dirty="0" err="1">
                  <a:solidFill>
                    <a:schemeClr val="accent3"/>
                  </a:solidFill>
                </a:rPr>
                <a:t>zxvf</a:t>
              </a:r>
              <a:r>
                <a:rPr lang="en-US" altLang="zh-CN" sz="1100" dirty="0">
                  <a:solidFill>
                    <a:schemeClr val="accent3"/>
                  </a:solidFill>
                </a:rPr>
                <a:t> java-jdk*****.jar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solidFill>
                    <a:schemeClr val="accent1"/>
                  </a:solidFill>
                </a:rPr>
                <a:t>or</a:t>
              </a:r>
              <a:r>
                <a:rPr lang="zh-CN" altLang="en-US" sz="1100" dirty="0">
                  <a:solidFill>
                    <a:schemeClr val="accent1"/>
                  </a:solidFill>
                </a:rPr>
                <a:t>左键！右键！</a:t>
              </a:r>
              <a:endParaRPr lang="en-US" altLang="zh-CN" sz="11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89" name="ïṩľïdé">
            <a:extLst>
              <a:ext uri="{FF2B5EF4-FFF2-40B4-BE49-F238E27FC236}">
                <a16:creationId xmlns:a16="http://schemas.microsoft.com/office/drawing/2014/main" id="{22607B68-BD41-4B7E-B732-45353D86FC2C}"/>
              </a:ext>
            </a:extLst>
          </p:cNvPr>
          <p:cNvGrpSpPr/>
          <p:nvPr/>
        </p:nvGrpSpPr>
        <p:grpSpPr>
          <a:xfrm flipV="1">
            <a:off x="5738035" y="9280826"/>
            <a:ext cx="1884441" cy="829821"/>
            <a:chOff x="9219108" y="5109917"/>
            <a:chExt cx="2955286" cy="833191"/>
          </a:xfrm>
        </p:grpSpPr>
        <p:sp>
          <p:nvSpPr>
            <p:cNvPr id="90" name="îŝļïḋê">
              <a:extLst>
                <a:ext uri="{FF2B5EF4-FFF2-40B4-BE49-F238E27FC236}">
                  <a16:creationId xmlns:a16="http://schemas.microsoft.com/office/drawing/2014/main" id="{28887F52-CE91-438C-969C-F26D7EEDC69A}"/>
                </a:ext>
              </a:extLst>
            </p:cNvPr>
            <p:cNvSpPr txBox="1"/>
            <p:nvPr/>
          </p:nvSpPr>
          <p:spPr bwMode="auto">
            <a:xfrm>
              <a:off x="9219108" y="5109917"/>
              <a:ext cx="2955286" cy="305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b="1" dirty="0"/>
                <a:t>配置</a:t>
              </a:r>
              <a:endParaRPr lang="en-US" altLang="zh-CN" b="1" dirty="0"/>
            </a:p>
          </p:txBody>
        </p:sp>
        <p:sp>
          <p:nvSpPr>
            <p:cNvPr id="91" name="ïṥlîḑê">
              <a:extLst>
                <a:ext uri="{FF2B5EF4-FFF2-40B4-BE49-F238E27FC236}">
                  <a16:creationId xmlns:a16="http://schemas.microsoft.com/office/drawing/2014/main" id="{8BC61B03-CF18-4C12-998D-D98C54199D18}"/>
                </a:ext>
              </a:extLst>
            </p:cNvPr>
            <p:cNvSpPr/>
            <p:nvPr/>
          </p:nvSpPr>
          <p:spPr bwMode="auto">
            <a:xfrm>
              <a:off x="9219108" y="5415117"/>
              <a:ext cx="2955286" cy="5279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800" dirty="0"/>
                <a:t>vim /</a:t>
              </a:r>
              <a:r>
                <a:rPr lang="en-US" altLang="zh-CN" sz="800" dirty="0" err="1"/>
                <a:t>etc</a:t>
              </a:r>
              <a:r>
                <a:rPr lang="en-US" altLang="zh-CN" sz="800" dirty="0"/>
                <a:t>/profile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800" dirty="0"/>
                <a:t>export JAVA_HOME=/jdk1.7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800" dirty="0"/>
                <a:t>export PATH=$PATH:$JAVA_HOME/bin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800" dirty="0"/>
                <a:t>source /</a:t>
              </a:r>
              <a:r>
                <a:rPr lang="en-US" altLang="zh-CN" sz="800" dirty="0" err="1"/>
                <a:t>etc</a:t>
              </a:r>
              <a:r>
                <a:rPr lang="en-US" altLang="zh-CN" sz="800" dirty="0"/>
                <a:t>/profile</a:t>
              </a:r>
            </a:p>
          </p:txBody>
        </p:sp>
      </p:grpSp>
      <p:sp>
        <p:nvSpPr>
          <p:cNvPr id="92" name="išlïḓe">
            <a:extLst>
              <a:ext uri="{FF2B5EF4-FFF2-40B4-BE49-F238E27FC236}">
                <a16:creationId xmlns:a16="http://schemas.microsoft.com/office/drawing/2014/main" id="{30B98885-2A4D-472D-8770-7D78B0CF1C09}"/>
              </a:ext>
            </a:extLst>
          </p:cNvPr>
          <p:cNvSpPr/>
          <p:nvPr/>
        </p:nvSpPr>
        <p:spPr>
          <a:xfrm flipV="1">
            <a:off x="3239879" y="8336946"/>
            <a:ext cx="839225" cy="839225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解压</a:t>
            </a:r>
          </a:p>
        </p:txBody>
      </p:sp>
      <p:pic>
        <p:nvPicPr>
          <p:cNvPr id="93" name="图形 92">
            <a:extLst>
              <a:ext uri="{FF2B5EF4-FFF2-40B4-BE49-F238E27FC236}">
                <a16:creationId xmlns:a16="http://schemas.microsoft.com/office/drawing/2014/main" id="{3C0A24E2-3EF2-4CE5-9EE1-144823DF1CB4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V="1">
            <a:off x="3454387" y="8841784"/>
            <a:ext cx="413942" cy="413942"/>
          </a:xfrm>
          <a:prstGeom prst="rect">
            <a:avLst/>
          </a:prstGeom>
        </p:spPr>
      </p:pic>
      <p:sp>
        <p:nvSpPr>
          <p:cNvPr id="94" name="íṣ1ídè">
            <a:extLst>
              <a:ext uri="{FF2B5EF4-FFF2-40B4-BE49-F238E27FC236}">
                <a16:creationId xmlns:a16="http://schemas.microsoft.com/office/drawing/2014/main" id="{72F0363B-33F2-4A22-B7B2-A4C317895EDD}"/>
              </a:ext>
            </a:extLst>
          </p:cNvPr>
          <p:cNvSpPr/>
          <p:nvPr/>
        </p:nvSpPr>
        <p:spPr>
          <a:xfrm flipV="1">
            <a:off x="4219424" y="7190854"/>
            <a:ext cx="839225" cy="839225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解压</a:t>
            </a:r>
          </a:p>
        </p:txBody>
      </p:sp>
      <p:pic>
        <p:nvPicPr>
          <p:cNvPr id="95" name="图形 94">
            <a:extLst>
              <a:ext uri="{FF2B5EF4-FFF2-40B4-BE49-F238E27FC236}">
                <a16:creationId xmlns:a16="http://schemas.microsoft.com/office/drawing/2014/main" id="{FA5C1B09-09DE-4E83-A117-9B4D921C7445}"/>
              </a:ext>
            </a:extLst>
          </p:cNvPr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V="1">
            <a:off x="4438394" y="7689995"/>
            <a:ext cx="413942" cy="413942"/>
          </a:xfrm>
          <a:prstGeom prst="rect">
            <a:avLst/>
          </a:prstGeom>
        </p:spPr>
      </p:pic>
      <p:sp>
        <p:nvSpPr>
          <p:cNvPr id="96" name="islíďê">
            <a:extLst>
              <a:ext uri="{FF2B5EF4-FFF2-40B4-BE49-F238E27FC236}">
                <a16:creationId xmlns:a16="http://schemas.microsoft.com/office/drawing/2014/main" id="{7A5C2AE6-9DBF-4CA3-80E3-AE1EDD13F30A}"/>
              </a:ext>
            </a:extLst>
          </p:cNvPr>
          <p:cNvSpPr>
            <a:spLocks/>
          </p:cNvSpPr>
          <p:nvPr/>
        </p:nvSpPr>
        <p:spPr>
          <a:xfrm flipV="1">
            <a:off x="6174880" y="7184571"/>
            <a:ext cx="839225" cy="839225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配置</a:t>
            </a:r>
          </a:p>
        </p:txBody>
      </p:sp>
      <p:pic>
        <p:nvPicPr>
          <p:cNvPr id="97" name="图形 96">
            <a:extLst>
              <a:ext uri="{FF2B5EF4-FFF2-40B4-BE49-F238E27FC236}">
                <a16:creationId xmlns:a16="http://schemas.microsoft.com/office/drawing/2014/main" id="{4CA69D7F-70A3-4001-85F2-460B737A7314}"/>
              </a:ext>
            </a:extLst>
          </p:cNvPr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V="1">
            <a:off x="6401592" y="7695715"/>
            <a:ext cx="413942" cy="413942"/>
          </a:xfrm>
          <a:prstGeom prst="rect">
            <a:avLst/>
          </a:prstGeom>
        </p:spPr>
      </p:pic>
      <p:sp>
        <p:nvSpPr>
          <p:cNvPr id="98" name="íṥľíďê">
            <a:extLst>
              <a:ext uri="{FF2B5EF4-FFF2-40B4-BE49-F238E27FC236}">
                <a16:creationId xmlns:a16="http://schemas.microsoft.com/office/drawing/2014/main" id="{ABEF916C-FD8E-4EC9-B5DE-B6260EDB9C9C}"/>
              </a:ext>
            </a:extLst>
          </p:cNvPr>
          <p:cNvSpPr/>
          <p:nvPr/>
        </p:nvSpPr>
        <p:spPr>
          <a:xfrm flipV="1">
            <a:off x="5182559" y="8336946"/>
            <a:ext cx="839225" cy="839225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配置</a:t>
            </a:r>
          </a:p>
        </p:txBody>
      </p:sp>
      <p:pic>
        <p:nvPicPr>
          <p:cNvPr id="99" name="图形 98">
            <a:extLst>
              <a:ext uri="{FF2B5EF4-FFF2-40B4-BE49-F238E27FC236}">
                <a16:creationId xmlns:a16="http://schemas.microsoft.com/office/drawing/2014/main" id="{1A14ACFE-C7DD-4FB9-9377-60B13CEABAD5}"/>
              </a:ext>
            </a:extLst>
          </p:cNvPr>
          <p:cNvPicPr>
            <a:picLocks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flipV="1">
            <a:off x="5401699" y="8860727"/>
            <a:ext cx="413942" cy="413942"/>
          </a:xfrm>
          <a:prstGeom prst="rect">
            <a:avLst/>
          </a:prstGeom>
        </p:spPr>
      </p:pic>
      <p:cxnSp>
        <p:nvCxnSpPr>
          <p:cNvPr id="100" name="直接连接符 99">
            <a:extLst>
              <a:ext uri="{FF2B5EF4-FFF2-40B4-BE49-F238E27FC236}">
                <a16:creationId xmlns:a16="http://schemas.microsoft.com/office/drawing/2014/main" id="{C764AB30-D403-41B8-859F-885E2D50BB63}"/>
              </a:ext>
            </a:extLst>
          </p:cNvPr>
          <p:cNvCxnSpPr>
            <a:cxnSpLocks/>
          </p:cNvCxnSpPr>
          <p:nvPr/>
        </p:nvCxnSpPr>
        <p:spPr>
          <a:xfrm flipV="1">
            <a:off x="6231201" y="9599123"/>
            <a:ext cx="603613" cy="1"/>
          </a:xfrm>
          <a:prstGeom prst="line">
            <a:avLst/>
          </a:prstGeom>
          <a:ln w="28575" cmpd="sng">
            <a:solidFill>
              <a:schemeClr val="bg1">
                <a:lumMod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94346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000" dirty="0"/>
              <a:t>Hadoop</a:t>
            </a:r>
            <a:r>
              <a:rPr lang="zh-CN" altLang="en-US" sz="2000" dirty="0"/>
              <a:t>的部署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9</a:t>
            </a:fld>
            <a:endParaRPr lang="zh-CN" altLang="en-US" dirty="0"/>
          </a:p>
        </p:txBody>
      </p:sp>
      <p:sp>
        <p:nvSpPr>
          <p:cNvPr id="195" name="iṧḻîďè">
            <a:extLst>
              <a:ext uri="{FF2B5EF4-FFF2-40B4-BE49-F238E27FC236}">
                <a16:creationId xmlns:a16="http://schemas.microsoft.com/office/drawing/2014/main" id="{6FC8272D-4563-47EB-B741-E738A21C2623}"/>
              </a:ext>
            </a:extLst>
          </p:cNvPr>
          <p:cNvSpPr/>
          <p:nvPr/>
        </p:nvSpPr>
        <p:spPr bwMode="auto">
          <a:xfrm>
            <a:off x="4311577" y="2558863"/>
            <a:ext cx="1432797" cy="299657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搞定！</a:t>
            </a:r>
            <a:endParaRPr lang="en-US" altLang="zh-CN" b="1" dirty="0"/>
          </a:p>
        </p:txBody>
      </p:sp>
      <p:sp>
        <p:nvSpPr>
          <p:cNvPr id="196" name="îŝḻiḋé">
            <a:extLst>
              <a:ext uri="{FF2B5EF4-FFF2-40B4-BE49-F238E27FC236}">
                <a16:creationId xmlns:a16="http://schemas.microsoft.com/office/drawing/2014/main" id="{C05C75D7-4258-49B9-958F-F2EEF0B840E0}"/>
              </a:ext>
            </a:extLst>
          </p:cNvPr>
          <p:cNvSpPr/>
          <p:nvPr/>
        </p:nvSpPr>
        <p:spPr bwMode="auto">
          <a:xfrm>
            <a:off x="4548885" y="2272582"/>
            <a:ext cx="1432797" cy="299657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测试</a:t>
            </a:r>
            <a:endParaRPr lang="en-US" altLang="zh-CN" b="1" dirty="0"/>
          </a:p>
        </p:txBody>
      </p:sp>
      <p:sp>
        <p:nvSpPr>
          <p:cNvPr id="197" name="íṥḷíďê">
            <a:extLst>
              <a:ext uri="{FF2B5EF4-FFF2-40B4-BE49-F238E27FC236}">
                <a16:creationId xmlns:a16="http://schemas.microsoft.com/office/drawing/2014/main" id="{D4FCC7AE-5767-4EC4-BB68-B94457D3AE6D}"/>
              </a:ext>
            </a:extLst>
          </p:cNvPr>
          <p:cNvSpPr/>
          <p:nvPr/>
        </p:nvSpPr>
        <p:spPr bwMode="auto">
          <a:xfrm>
            <a:off x="4781144" y="1986301"/>
            <a:ext cx="1432797" cy="299657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/>
              <a:t>配置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8" name="ïś1ïḓè">
            <a:extLst>
              <a:ext uri="{FF2B5EF4-FFF2-40B4-BE49-F238E27FC236}">
                <a16:creationId xmlns:a16="http://schemas.microsoft.com/office/drawing/2014/main" id="{F32E844B-E27C-4A92-9B60-95E4AD88D81F}"/>
              </a:ext>
            </a:extLst>
          </p:cNvPr>
          <p:cNvSpPr/>
          <p:nvPr/>
        </p:nvSpPr>
        <p:spPr bwMode="auto">
          <a:xfrm>
            <a:off x="5017947" y="1700020"/>
            <a:ext cx="1432797" cy="299657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 dirty="0"/>
              <a:t>安装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9" name="îśļïḍè">
            <a:extLst>
              <a:ext uri="{FF2B5EF4-FFF2-40B4-BE49-F238E27FC236}">
                <a16:creationId xmlns:a16="http://schemas.microsoft.com/office/drawing/2014/main" id="{F812BB55-77DE-4E23-95E6-156A22FAD363}"/>
              </a:ext>
            </a:extLst>
          </p:cNvPr>
          <p:cNvSpPr/>
          <p:nvPr/>
        </p:nvSpPr>
        <p:spPr bwMode="auto">
          <a:xfrm>
            <a:off x="5238798" y="1413739"/>
            <a:ext cx="1432797" cy="299657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配置</a:t>
            </a:r>
            <a:r>
              <a:rPr lang="en-US" altLang="zh-CN" b="1" dirty="0"/>
              <a:t>JAVA</a:t>
            </a:r>
          </a:p>
        </p:txBody>
      </p:sp>
      <p:sp>
        <p:nvSpPr>
          <p:cNvPr id="200" name="ï$1íḍé">
            <a:extLst>
              <a:ext uri="{FF2B5EF4-FFF2-40B4-BE49-F238E27FC236}">
                <a16:creationId xmlns:a16="http://schemas.microsoft.com/office/drawing/2014/main" id="{48245F16-84E7-4201-9485-85B5E5B15ECD}"/>
              </a:ext>
            </a:extLst>
          </p:cNvPr>
          <p:cNvSpPr/>
          <p:nvPr/>
        </p:nvSpPr>
        <p:spPr bwMode="auto">
          <a:xfrm>
            <a:off x="5467823" y="1127458"/>
            <a:ext cx="1432797" cy="299657"/>
          </a:xfrm>
          <a:prstGeom prst="parallelogram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 dirty="0">
                <a:solidFill>
                  <a:schemeClr val="bg1"/>
                </a:solidFill>
              </a:rPr>
              <a:t>安装</a:t>
            </a:r>
            <a:r>
              <a:rPr lang="en-US" altLang="zh-CN" sz="1750" b="1" dirty="0">
                <a:solidFill>
                  <a:schemeClr val="bg1"/>
                </a:solidFill>
              </a:rPr>
              <a:t>JAVA</a:t>
            </a:r>
          </a:p>
        </p:txBody>
      </p:sp>
      <p:sp>
        <p:nvSpPr>
          <p:cNvPr id="201" name="îṥľïďê">
            <a:extLst>
              <a:ext uri="{FF2B5EF4-FFF2-40B4-BE49-F238E27FC236}">
                <a16:creationId xmlns:a16="http://schemas.microsoft.com/office/drawing/2014/main" id="{920DFBAA-02E5-4206-86B0-FE10F93A7509}"/>
              </a:ext>
            </a:extLst>
          </p:cNvPr>
          <p:cNvSpPr/>
          <p:nvPr/>
        </p:nvSpPr>
        <p:spPr bwMode="auto">
          <a:xfrm>
            <a:off x="4128205" y="1771656"/>
            <a:ext cx="1647108" cy="545627"/>
          </a:xfrm>
          <a:custGeom>
            <a:avLst/>
            <a:gdLst>
              <a:gd name="T0" fmla="*/ 179 w 203"/>
              <a:gd name="T1" fmla="*/ 82 h 82"/>
              <a:gd name="T2" fmla="*/ 203 w 203"/>
              <a:gd name="T3" fmla="*/ 29 h 82"/>
              <a:gd name="T4" fmla="*/ 65 w 203"/>
              <a:gd name="T5" fmla="*/ 27 h 82"/>
              <a:gd name="T6" fmla="*/ 59 w 203"/>
              <a:gd name="T7" fmla="*/ 0 h 82"/>
              <a:gd name="T8" fmla="*/ 59 w 203"/>
              <a:gd name="T9" fmla="*/ 0 h 82"/>
              <a:gd name="T10" fmla="*/ 0 w 203"/>
              <a:gd name="T11" fmla="*/ 80 h 82"/>
              <a:gd name="T12" fmla="*/ 61 w 203"/>
              <a:gd name="T13" fmla="*/ 82 h 82"/>
              <a:gd name="T14" fmla="*/ 179 w 203"/>
              <a:gd name="T15" fmla="*/ 8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3" h="82">
                <a:moveTo>
                  <a:pt x="179" y="82"/>
                </a:moveTo>
                <a:lnTo>
                  <a:pt x="203" y="29"/>
                </a:lnTo>
                <a:lnTo>
                  <a:pt x="65" y="27"/>
                </a:lnTo>
                <a:lnTo>
                  <a:pt x="59" y="0"/>
                </a:lnTo>
                <a:lnTo>
                  <a:pt x="59" y="0"/>
                </a:lnTo>
                <a:lnTo>
                  <a:pt x="0" y="80"/>
                </a:lnTo>
                <a:lnTo>
                  <a:pt x="61" y="82"/>
                </a:lnTo>
                <a:lnTo>
                  <a:pt x="179" y="8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2" name="i$ḻíḋè">
            <a:extLst>
              <a:ext uri="{FF2B5EF4-FFF2-40B4-BE49-F238E27FC236}">
                <a16:creationId xmlns:a16="http://schemas.microsoft.com/office/drawing/2014/main" id="{430BE7EB-B6F0-4F05-80EA-1F517165029F}"/>
              </a:ext>
            </a:extLst>
          </p:cNvPr>
          <p:cNvSpPr/>
          <p:nvPr/>
        </p:nvSpPr>
        <p:spPr bwMode="auto">
          <a:xfrm>
            <a:off x="5366178" y="1127458"/>
            <a:ext cx="615503" cy="109016"/>
          </a:xfrm>
          <a:prstGeom prst="triangle">
            <a:avLst>
              <a:gd name="adj" fmla="val 14726"/>
            </a:avLst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3" name="işľiḋe">
            <a:extLst>
              <a:ext uri="{FF2B5EF4-FFF2-40B4-BE49-F238E27FC236}">
                <a16:creationId xmlns:a16="http://schemas.microsoft.com/office/drawing/2014/main" id="{E4DECB97-43D1-4D26-8C48-41447675AE79}"/>
              </a:ext>
            </a:extLst>
          </p:cNvPr>
          <p:cNvSpPr/>
          <p:nvPr/>
        </p:nvSpPr>
        <p:spPr bwMode="auto">
          <a:xfrm>
            <a:off x="3448098" y="1053025"/>
            <a:ext cx="2533584" cy="479572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4" name="iś1íďé">
            <a:extLst>
              <a:ext uri="{FF2B5EF4-FFF2-40B4-BE49-F238E27FC236}">
                <a16:creationId xmlns:a16="http://schemas.microsoft.com/office/drawing/2014/main" id="{6E7EA96A-F20A-4912-AC31-63A0F19E66DE}"/>
              </a:ext>
            </a:extLst>
          </p:cNvPr>
          <p:cNvSpPr/>
          <p:nvPr/>
        </p:nvSpPr>
        <p:spPr bwMode="auto">
          <a:xfrm>
            <a:off x="3207774" y="1339306"/>
            <a:ext cx="2533584" cy="479572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5" name="ïŝlíḋe">
            <a:extLst>
              <a:ext uri="{FF2B5EF4-FFF2-40B4-BE49-F238E27FC236}">
                <a16:creationId xmlns:a16="http://schemas.microsoft.com/office/drawing/2014/main" id="{66D30D6F-26C9-4C2C-BC01-900AC07DC57E}"/>
              </a:ext>
            </a:extLst>
          </p:cNvPr>
          <p:cNvSpPr/>
          <p:nvPr/>
        </p:nvSpPr>
        <p:spPr bwMode="auto">
          <a:xfrm>
            <a:off x="2964436" y="1625587"/>
            <a:ext cx="2533584" cy="479572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6" name="îSliďè">
            <a:extLst>
              <a:ext uri="{FF2B5EF4-FFF2-40B4-BE49-F238E27FC236}">
                <a16:creationId xmlns:a16="http://schemas.microsoft.com/office/drawing/2014/main" id="{2F6D5554-EACD-4DDD-892F-2E5F97A9C421}"/>
              </a:ext>
            </a:extLst>
          </p:cNvPr>
          <p:cNvSpPr/>
          <p:nvPr/>
        </p:nvSpPr>
        <p:spPr bwMode="auto">
          <a:xfrm>
            <a:off x="2724127" y="1911868"/>
            <a:ext cx="2533584" cy="479572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7" name="îSliďé">
            <a:extLst>
              <a:ext uri="{FF2B5EF4-FFF2-40B4-BE49-F238E27FC236}">
                <a16:creationId xmlns:a16="http://schemas.microsoft.com/office/drawing/2014/main" id="{2E278F3F-C8D8-4E2A-A3EA-29ADCF1A02AA}"/>
              </a:ext>
            </a:extLst>
          </p:cNvPr>
          <p:cNvSpPr/>
          <p:nvPr/>
        </p:nvSpPr>
        <p:spPr bwMode="auto">
          <a:xfrm>
            <a:off x="2483718" y="2198149"/>
            <a:ext cx="2533584" cy="479572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8" name="îs1iďé">
            <a:extLst>
              <a:ext uri="{FF2B5EF4-FFF2-40B4-BE49-F238E27FC236}">
                <a16:creationId xmlns:a16="http://schemas.microsoft.com/office/drawing/2014/main" id="{EB74D0C2-5677-4F3F-A043-44D01A3F3D48}"/>
              </a:ext>
            </a:extLst>
          </p:cNvPr>
          <p:cNvSpPr/>
          <p:nvPr/>
        </p:nvSpPr>
        <p:spPr bwMode="auto">
          <a:xfrm>
            <a:off x="2243380" y="2484430"/>
            <a:ext cx="2533584" cy="479572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9" name="ïṣḻïḋe">
            <a:extLst>
              <a:ext uri="{FF2B5EF4-FFF2-40B4-BE49-F238E27FC236}">
                <a16:creationId xmlns:a16="http://schemas.microsoft.com/office/drawing/2014/main" id="{7709F84E-C33F-462F-B538-51CB71C9284E}"/>
              </a:ext>
            </a:extLst>
          </p:cNvPr>
          <p:cNvSpPr/>
          <p:nvPr/>
        </p:nvSpPr>
        <p:spPr bwMode="auto">
          <a:xfrm>
            <a:off x="3848891" y="1302305"/>
            <a:ext cx="166302" cy="166071"/>
          </a:xfrm>
          <a:custGeom>
            <a:avLst/>
            <a:gdLst>
              <a:gd name="T0" fmla="*/ 400 w 11264"/>
              <a:gd name="T1" fmla="*/ 7099 h 11264"/>
              <a:gd name="T2" fmla="*/ 4165 w 11264"/>
              <a:gd name="T3" fmla="*/ 7099 h 11264"/>
              <a:gd name="T4" fmla="*/ 4165 w 11264"/>
              <a:gd name="T5" fmla="*/ 10864 h 11264"/>
              <a:gd name="T6" fmla="*/ 4565 w 11264"/>
              <a:gd name="T7" fmla="*/ 11264 h 11264"/>
              <a:gd name="T8" fmla="*/ 6699 w 11264"/>
              <a:gd name="T9" fmla="*/ 11264 h 11264"/>
              <a:gd name="T10" fmla="*/ 7099 w 11264"/>
              <a:gd name="T11" fmla="*/ 10864 h 11264"/>
              <a:gd name="T12" fmla="*/ 7099 w 11264"/>
              <a:gd name="T13" fmla="*/ 7099 h 11264"/>
              <a:gd name="T14" fmla="*/ 10864 w 11264"/>
              <a:gd name="T15" fmla="*/ 7099 h 11264"/>
              <a:gd name="T16" fmla="*/ 11264 w 11264"/>
              <a:gd name="T17" fmla="*/ 6699 h 11264"/>
              <a:gd name="T18" fmla="*/ 11264 w 11264"/>
              <a:gd name="T19" fmla="*/ 4565 h 11264"/>
              <a:gd name="T20" fmla="*/ 10864 w 11264"/>
              <a:gd name="T21" fmla="*/ 4165 h 11264"/>
              <a:gd name="T22" fmla="*/ 7099 w 11264"/>
              <a:gd name="T23" fmla="*/ 4165 h 11264"/>
              <a:gd name="T24" fmla="*/ 7099 w 11264"/>
              <a:gd name="T25" fmla="*/ 400 h 11264"/>
              <a:gd name="T26" fmla="*/ 6699 w 11264"/>
              <a:gd name="T27" fmla="*/ 0 h 11264"/>
              <a:gd name="T28" fmla="*/ 4565 w 11264"/>
              <a:gd name="T29" fmla="*/ 0 h 11264"/>
              <a:gd name="T30" fmla="*/ 4165 w 11264"/>
              <a:gd name="T31" fmla="*/ 400 h 11264"/>
              <a:gd name="T32" fmla="*/ 4165 w 11264"/>
              <a:gd name="T33" fmla="*/ 4165 h 11264"/>
              <a:gd name="T34" fmla="*/ 400 w 11264"/>
              <a:gd name="T35" fmla="*/ 4165 h 11264"/>
              <a:gd name="T36" fmla="*/ 0 w 11264"/>
              <a:gd name="T37" fmla="*/ 4565 h 11264"/>
              <a:gd name="T38" fmla="*/ 0 w 11264"/>
              <a:gd name="T39" fmla="*/ 6699 h 11264"/>
              <a:gd name="T40" fmla="*/ 400 w 11264"/>
              <a:gd name="T41" fmla="*/ 7099 h 11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264" h="11264">
                <a:moveTo>
                  <a:pt x="400" y="7099"/>
                </a:moveTo>
                <a:lnTo>
                  <a:pt x="4165" y="7099"/>
                </a:lnTo>
                <a:lnTo>
                  <a:pt x="4165" y="10864"/>
                </a:lnTo>
                <a:cubicBezTo>
                  <a:pt x="4165" y="11085"/>
                  <a:pt x="4344" y="11264"/>
                  <a:pt x="4565" y="11264"/>
                </a:cubicBezTo>
                <a:lnTo>
                  <a:pt x="6699" y="11264"/>
                </a:lnTo>
                <a:cubicBezTo>
                  <a:pt x="6920" y="11264"/>
                  <a:pt x="7099" y="11085"/>
                  <a:pt x="7099" y="10864"/>
                </a:cubicBezTo>
                <a:lnTo>
                  <a:pt x="7099" y="7099"/>
                </a:lnTo>
                <a:lnTo>
                  <a:pt x="10864" y="7099"/>
                </a:lnTo>
                <a:cubicBezTo>
                  <a:pt x="11085" y="7099"/>
                  <a:pt x="11264" y="6920"/>
                  <a:pt x="11264" y="6699"/>
                </a:cubicBezTo>
                <a:lnTo>
                  <a:pt x="11264" y="4565"/>
                </a:lnTo>
                <a:cubicBezTo>
                  <a:pt x="11264" y="4344"/>
                  <a:pt x="11085" y="4165"/>
                  <a:pt x="10864" y="4165"/>
                </a:cubicBezTo>
                <a:lnTo>
                  <a:pt x="7099" y="4165"/>
                </a:lnTo>
                <a:lnTo>
                  <a:pt x="7099" y="400"/>
                </a:lnTo>
                <a:cubicBezTo>
                  <a:pt x="7099" y="179"/>
                  <a:pt x="6920" y="0"/>
                  <a:pt x="6699" y="0"/>
                </a:cubicBezTo>
                <a:lnTo>
                  <a:pt x="4565" y="0"/>
                </a:lnTo>
                <a:cubicBezTo>
                  <a:pt x="4344" y="0"/>
                  <a:pt x="4165" y="179"/>
                  <a:pt x="4165" y="400"/>
                </a:cubicBezTo>
                <a:lnTo>
                  <a:pt x="4165" y="4165"/>
                </a:lnTo>
                <a:lnTo>
                  <a:pt x="400" y="4165"/>
                </a:lnTo>
                <a:cubicBezTo>
                  <a:pt x="179" y="4165"/>
                  <a:pt x="0" y="4344"/>
                  <a:pt x="0" y="4565"/>
                </a:cubicBezTo>
                <a:lnTo>
                  <a:pt x="0" y="6699"/>
                </a:lnTo>
                <a:cubicBezTo>
                  <a:pt x="0" y="6920"/>
                  <a:pt x="179" y="7099"/>
                  <a:pt x="400" y="7099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3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/>
          </a:p>
        </p:txBody>
      </p:sp>
      <p:sp>
        <p:nvSpPr>
          <p:cNvPr id="210" name="îsḷïde">
            <a:extLst>
              <a:ext uri="{FF2B5EF4-FFF2-40B4-BE49-F238E27FC236}">
                <a16:creationId xmlns:a16="http://schemas.microsoft.com/office/drawing/2014/main" id="{F7027C89-1BCC-4A00-9535-016DE4C49FD7}"/>
              </a:ext>
            </a:extLst>
          </p:cNvPr>
          <p:cNvSpPr/>
          <p:nvPr/>
        </p:nvSpPr>
        <p:spPr bwMode="auto">
          <a:xfrm>
            <a:off x="3621591" y="1585269"/>
            <a:ext cx="162852" cy="166302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  <a:gd name="connsiteX107" fmla="*/ 373273 h 605239"/>
              <a:gd name="connsiteY107" fmla="*/ 373273 h 605239"/>
              <a:gd name="connsiteX108" fmla="*/ 373273 h 605239"/>
              <a:gd name="connsiteY108" fmla="*/ 373273 h 605239"/>
              <a:gd name="connsiteX109" fmla="*/ 373273 h 605239"/>
              <a:gd name="connsiteY109" fmla="*/ 373273 h 605239"/>
              <a:gd name="connsiteX110" fmla="*/ 373273 h 605239"/>
              <a:gd name="connsiteY110" fmla="*/ 373273 h 605239"/>
              <a:gd name="connsiteX111" fmla="*/ 373273 h 605239"/>
              <a:gd name="connsiteY111" fmla="*/ 373273 h 605239"/>
              <a:gd name="connsiteX112" fmla="*/ 373273 h 605239"/>
              <a:gd name="connsiteY112" fmla="*/ 373273 h 605239"/>
              <a:gd name="connsiteX113" fmla="*/ 373273 h 605239"/>
              <a:gd name="connsiteY113" fmla="*/ 373273 h 605239"/>
              <a:gd name="connsiteX114" fmla="*/ 373273 h 605239"/>
              <a:gd name="connsiteY114" fmla="*/ 373273 h 605239"/>
              <a:gd name="connsiteX115" fmla="*/ 373273 h 605239"/>
              <a:gd name="connsiteY115" fmla="*/ 373273 h 605239"/>
              <a:gd name="connsiteX116" fmla="*/ 373273 h 605239"/>
              <a:gd name="connsiteY116" fmla="*/ 373273 h 605239"/>
              <a:gd name="connsiteX117" fmla="*/ 373273 h 605239"/>
              <a:gd name="connsiteY117" fmla="*/ 373273 h 605239"/>
              <a:gd name="connsiteX118" fmla="*/ 373273 h 605239"/>
              <a:gd name="connsiteY118" fmla="*/ 373273 h 605239"/>
              <a:gd name="connsiteX119" fmla="*/ 373273 h 605239"/>
              <a:gd name="connsiteY119" fmla="*/ 373273 h 605239"/>
              <a:gd name="connsiteX120" fmla="*/ 373273 h 605239"/>
              <a:gd name="connsiteY120" fmla="*/ 373273 h 605239"/>
              <a:gd name="connsiteX121" fmla="*/ 373273 h 605239"/>
              <a:gd name="connsiteY121" fmla="*/ 373273 h 605239"/>
              <a:gd name="connsiteX122" fmla="*/ 373273 h 605239"/>
              <a:gd name="connsiteY122" fmla="*/ 373273 h 605239"/>
              <a:gd name="connsiteX123" fmla="*/ 373273 h 605239"/>
              <a:gd name="connsiteY123" fmla="*/ 373273 h 605239"/>
              <a:gd name="connsiteX124" fmla="*/ 373273 h 605239"/>
              <a:gd name="connsiteY124" fmla="*/ 373273 h 605239"/>
              <a:gd name="connsiteX125" fmla="*/ 373273 h 605239"/>
              <a:gd name="connsiteY125" fmla="*/ 373273 h 605239"/>
              <a:gd name="connsiteX126" fmla="*/ 373273 h 605239"/>
              <a:gd name="connsiteY126" fmla="*/ 373273 h 605239"/>
              <a:gd name="connsiteX127" fmla="*/ 373273 h 605239"/>
              <a:gd name="connsiteY127" fmla="*/ 373273 h 605239"/>
              <a:gd name="connsiteX128" fmla="*/ 373273 h 605239"/>
              <a:gd name="connsiteY128" fmla="*/ 373273 h 605239"/>
              <a:gd name="connsiteX129" fmla="*/ 373273 h 605239"/>
              <a:gd name="connsiteY12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593733" h="606309">
                <a:moveTo>
                  <a:pt x="353250" y="302855"/>
                </a:moveTo>
                <a:cubicBezTo>
                  <a:pt x="318468" y="302855"/>
                  <a:pt x="290232" y="331146"/>
                  <a:pt x="290232" y="365879"/>
                </a:cubicBezTo>
                <a:cubicBezTo>
                  <a:pt x="290232" y="374189"/>
                  <a:pt x="296964" y="380912"/>
                  <a:pt x="305285" y="380912"/>
                </a:cubicBezTo>
                <a:cubicBezTo>
                  <a:pt x="313607" y="380912"/>
                  <a:pt x="320338" y="374189"/>
                  <a:pt x="320338" y="365879"/>
                </a:cubicBezTo>
                <a:cubicBezTo>
                  <a:pt x="320338" y="347672"/>
                  <a:pt x="335111" y="333014"/>
                  <a:pt x="353250" y="333014"/>
                </a:cubicBezTo>
                <a:cubicBezTo>
                  <a:pt x="361665" y="333014"/>
                  <a:pt x="368397" y="326291"/>
                  <a:pt x="368397" y="317888"/>
                </a:cubicBezTo>
                <a:cubicBezTo>
                  <a:pt x="368397" y="309578"/>
                  <a:pt x="361665" y="302855"/>
                  <a:pt x="353250" y="302855"/>
                </a:cubicBezTo>
                <a:close/>
                <a:moveTo>
                  <a:pt x="353250" y="265041"/>
                </a:moveTo>
                <a:cubicBezTo>
                  <a:pt x="409163" y="265041"/>
                  <a:pt x="454229" y="310232"/>
                  <a:pt x="454229" y="365879"/>
                </a:cubicBezTo>
                <a:cubicBezTo>
                  <a:pt x="454229" y="421527"/>
                  <a:pt x="408976" y="466717"/>
                  <a:pt x="353250" y="466717"/>
                </a:cubicBezTo>
                <a:cubicBezTo>
                  <a:pt x="297525" y="466717"/>
                  <a:pt x="252271" y="421527"/>
                  <a:pt x="252271" y="365879"/>
                </a:cubicBezTo>
                <a:cubicBezTo>
                  <a:pt x="252271" y="310232"/>
                  <a:pt x="297431" y="265041"/>
                  <a:pt x="353250" y="265041"/>
                </a:cubicBezTo>
                <a:close/>
                <a:moveTo>
                  <a:pt x="427779" y="133781"/>
                </a:moveTo>
                <a:cubicBezTo>
                  <a:pt x="432818" y="131960"/>
                  <a:pt x="438547" y="132054"/>
                  <a:pt x="443784" y="134482"/>
                </a:cubicBezTo>
                <a:lnTo>
                  <a:pt x="473245" y="148209"/>
                </a:lnTo>
                <a:cubicBezTo>
                  <a:pt x="483720" y="153158"/>
                  <a:pt x="488209" y="165671"/>
                  <a:pt x="483346" y="176130"/>
                </a:cubicBezTo>
                <a:lnTo>
                  <a:pt x="470252" y="203957"/>
                </a:lnTo>
                <a:cubicBezTo>
                  <a:pt x="492231" y="219646"/>
                  <a:pt x="511123" y="240003"/>
                  <a:pt x="525526" y="264095"/>
                </a:cubicBezTo>
                <a:lnTo>
                  <a:pt x="554426" y="253636"/>
                </a:lnTo>
                <a:cubicBezTo>
                  <a:pt x="565368" y="249714"/>
                  <a:pt x="577340" y="255411"/>
                  <a:pt x="581361" y="266243"/>
                </a:cubicBezTo>
                <a:lnTo>
                  <a:pt x="592491" y="296592"/>
                </a:lnTo>
                <a:cubicBezTo>
                  <a:pt x="596419" y="307612"/>
                  <a:pt x="590714" y="319564"/>
                  <a:pt x="579865" y="323486"/>
                </a:cubicBezTo>
                <a:lnTo>
                  <a:pt x="550965" y="333945"/>
                </a:lnTo>
                <a:cubicBezTo>
                  <a:pt x="555455" y="361586"/>
                  <a:pt x="553958" y="389414"/>
                  <a:pt x="547224" y="415561"/>
                </a:cubicBezTo>
                <a:lnTo>
                  <a:pt x="575095" y="428634"/>
                </a:lnTo>
                <a:cubicBezTo>
                  <a:pt x="585570" y="433490"/>
                  <a:pt x="590059" y="445910"/>
                  <a:pt x="585102" y="456649"/>
                </a:cubicBezTo>
                <a:lnTo>
                  <a:pt x="571354" y="485970"/>
                </a:lnTo>
                <a:cubicBezTo>
                  <a:pt x="566397" y="496429"/>
                  <a:pt x="553958" y="500911"/>
                  <a:pt x="543483" y="496056"/>
                </a:cubicBezTo>
                <a:lnTo>
                  <a:pt x="515238" y="482982"/>
                </a:lnTo>
                <a:cubicBezTo>
                  <a:pt x="499526" y="504833"/>
                  <a:pt x="479137" y="523510"/>
                  <a:pt x="455007" y="537704"/>
                </a:cubicBezTo>
                <a:lnTo>
                  <a:pt x="465763" y="567026"/>
                </a:lnTo>
                <a:cubicBezTo>
                  <a:pt x="469784" y="578045"/>
                  <a:pt x="463986" y="589997"/>
                  <a:pt x="453137" y="593919"/>
                </a:cubicBezTo>
                <a:lnTo>
                  <a:pt x="422741" y="605032"/>
                </a:lnTo>
                <a:cubicBezTo>
                  <a:pt x="411798" y="609047"/>
                  <a:pt x="399827" y="603258"/>
                  <a:pt x="395805" y="592425"/>
                </a:cubicBezTo>
                <a:lnTo>
                  <a:pt x="385050" y="562823"/>
                </a:lnTo>
                <a:cubicBezTo>
                  <a:pt x="357646" y="567212"/>
                  <a:pt x="330056" y="565718"/>
                  <a:pt x="304149" y="558995"/>
                </a:cubicBezTo>
                <a:lnTo>
                  <a:pt x="290682" y="587756"/>
                </a:lnTo>
                <a:cubicBezTo>
                  <a:pt x="285725" y="598215"/>
                  <a:pt x="273192" y="602697"/>
                  <a:pt x="262717" y="597841"/>
                </a:cubicBezTo>
                <a:lnTo>
                  <a:pt x="233350" y="584114"/>
                </a:lnTo>
                <a:cubicBezTo>
                  <a:pt x="222875" y="579165"/>
                  <a:pt x="218385" y="566652"/>
                  <a:pt x="223249" y="556193"/>
                </a:cubicBezTo>
                <a:lnTo>
                  <a:pt x="236810" y="527338"/>
                </a:lnTo>
                <a:cubicBezTo>
                  <a:pt x="215112" y="511650"/>
                  <a:pt x="196407" y="491480"/>
                  <a:pt x="182284" y="467668"/>
                </a:cubicBezTo>
                <a:lnTo>
                  <a:pt x="152169" y="478687"/>
                </a:lnTo>
                <a:cubicBezTo>
                  <a:pt x="141133" y="482609"/>
                  <a:pt x="129161" y="476912"/>
                  <a:pt x="125233" y="466080"/>
                </a:cubicBezTo>
                <a:lnTo>
                  <a:pt x="114104" y="435731"/>
                </a:lnTo>
                <a:cubicBezTo>
                  <a:pt x="110082" y="424712"/>
                  <a:pt x="115881" y="412759"/>
                  <a:pt x="126730" y="408837"/>
                </a:cubicBezTo>
                <a:lnTo>
                  <a:pt x="156845" y="397818"/>
                </a:lnTo>
                <a:cubicBezTo>
                  <a:pt x="153852" y="379422"/>
                  <a:pt x="153478" y="361026"/>
                  <a:pt x="155629" y="342910"/>
                </a:cubicBezTo>
                <a:lnTo>
                  <a:pt x="158622" y="343097"/>
                </a:lnTo>
                <a:cubicBezTo>
                  <a:pt x="181162" y="344030"/>
                  <a:pt x="200522" y="327408"/>
                  <a:pt x="203141" y="305370"/>
                </a:cubicBezTo>
                <a:cubicBezTo>
                  <a:pt x="207723" y="303876"/>
                  <a:pt x="212119" y="302195"/>
                  <a:pt x="216515" y="300515"/>
                </a:cubicBezTo>
                <a:cubicBezTo>
                  <a:pt x="220349" y="304063"/>
                  <a:pt x="224745" y="306958"/>
                  <a:pt x="229609" y="308919"/>
                </a:cubicBezTo>
                <a:cubicBezTo>
                  <a:pt x="219227" y="330957"/>
                  <a:pt x="214831" y="355983"/>
                  <a:pt x="217824" y="381943"/>
                </a:cubicBezTo>
                <a:cubicBezTo>
                  <a:pt x="226709" y="456462"/>
                  <a:pt x="294329" y="509876"/>
                  <a:pt x="368963" y="501192"/>
                </a:cubicBezTo>
                <a:cubicBezTo>
                  <a:pt x="443691" y="492320"/>
                  <a:pt x="497188" y="424899"/>
                  <a:pt x="488490" y="350287"/>
                </a:cubicBezTo>
                <a:cubicBezTo>
                  <a:pt x="479605" y="275675"/>
                  <a:pt x="411985" y="222260"/>
                  <a:pt x="337351" y="231038"/>
                </a:cubicBezTo>
                <a:cubicBezTo>
                  <a:pt x="324632" y="232532"/>
                  <a:pt x="312473" y="235707"/>
                  <a:pt x="301156" y="240376"/>
                </a:cubicBezTo>
                <a:cubicBezTo>
                  <a:pt x="299660" y="236268"/>
                  <a:pt x="297509" y="232345"/>
                  <a:pt x="294797" y="228890"/>
                </a:cubicBezTo>
                <a:cubicBezTo>
                  <a:pt x="297041" y="224688"/>
                  <a:pt x="299005" y="220393"/>
                  <a:pt x="300782" y="216097"/>
                </a:cubicBezTo>
                <a:cubicBezTo>
                  <a:pt x="311164" y="215817"/>
                  <a:pt x="320891" y="211802"/>
                  <a:pt x="328466" y="204891"/>
                </a:cubicBezTo>
                <a:cubicBezTo>
                  <a:pt x="336977" y="197141"/>
                  <a:pt x="341934" y="186589"/>
                  <a:pt x="342402" y="175103"/>
                </a:cubicBezTo>
                <a:lnTo>
                  <a:pt x="342776" y="166978"/>
                </a:lnTo>
                <a:cubicBezTo>
                  <a:pt x="363164" y="165764"/>
                  <a:pt x="383460" y="167912"/>
                  <a:pt x="402820" y="172768"/>
                </a:cubicBezTo>
                <a:lnTo>
                  <a:pt x="415913" y="144567"/>
                </a:lnTo>
                <a:cubicBezTo>
                  <a:pt x="418392" y="139338"/>
                  <a:pt x="422741" y="135602"/>
                  <a:pt x="427779" y="133781"/>
                </a:cubicBezTo>
                <a:close/>
                <a:moveTo>
                  <a:pt x="159906" y="88589"/>
                </a:moveTo>
                <a:cubicBezTo>
                  <a:pt x="142487" y="87818"/>
                  <a:pt x="124764" y="93678"/>
                  <a:pt x="110828" y="106378"/>
                </a:cubicBezTo>
                <a:cubicBezTo>
                  <a:pt x="96145" y="119731"/>
                  <a:pt x="88663" y="138127"/>
                  <a:pt x="88663" y="156523"/>
                </a:cubicBezTo>
                <a:cubicBezTo>
                  <a:pt x="88663" y="172958"/>
                  <a:pt x="94555" y="189393"/>
                  <a:pt x="106526" y="202467"/>
                </a:cubicBezTo>
                <a:cubicBezTo>
                  <a:pt x="131965" y="230294"/>
                  <a:pt x="175081" y="232162"/>
                  <a:pt x="202764" y="206762"/>
                </a:cubicBezTo>
                <a:cubicBezTo>
                  <a:pt x="217448" y="193409"/>
                  <a:pt x="224930" y="175013"/>
                  <a:pt x="224930" y="156523"/>
                </a:cubicBezTo>
                <a:cubicBezTo>
                  <a:pt x="224930" y="140088"/>
                  <a:pt x="219132" y="123653"/>
                  <a:pt x="207160" y="110580"/>
                </a:cubicBezTo>
                <a:cubicBezTo>
                  <a:pt x="194441" y="96760"/>
                  <a:pt x="177325" y="89359"/>
                  <a:pt x="159906" y="88589"/>
                </a:cubicBezTo>
                <a:close/>
                <a:moveTo>
                  <a:pt x="153289" y="17"/>
                </a:moveTo>
                <a:lnTo>
                  <a:pt x="173678" y="951"/>
                </a:lnTo>
                <a:cubicBezTo>
                  <a:pt x="180786" y="1325"/>
                  <a:pt x="186304" y="7114"/>
                  <a:pt x="186304" y="14118"/>
                </a:cubicBezTo>
                <a:lnTo>
                  <a:pt x="186304" y="14771"/>
                </a:lnTo>
                <a:lnTo>
                  <a:pt x="185462" y="34755"/>
                </a:lnTo>
                <a:cubicBezTo>
                  <a:pt x="201923" y="38677"/>
                  <a:pt x="217729" y="45774"/>
                  <a:pt x="231851" y="56232"/>
                </a:cubicBezTo>
                <a:lnTo>
                  <a:pt x="246535" y="42786"/>
                </a:lnTo>
                <a:cubicBezTo>
                  <a:pt x="251866" y="37930"/>
                  <a:pt x="260283" y="38303"/>
                  <a:pt x="265240" y="43626"/>
                </a:cubicBezTo>
                <a:lnTo>
                  <a:pt x="279082" y="58660"/>
                </a:lnTo>
                <a:cubicBezTo>
                  <a:pt x="281420" y="61275"/>
                  <a:pt x="282542" y="64450"/>
                  <a:pt x="282542" y="67625"/>
                </a:cubicBezTo>
                <a:cubicBezTo>
                  <a:pt x="282542" y="71173"/>
                  <a:pt x="281233" y="74722"/>
                  <a:pt x="278334" y="77337"/>
                </a:cubicBezTo>
                <a:lnTo>
                  <a:pt x="263744" y="90690"/>
                </a:lnTo>
                <a:cubicBezTo>
                  <a:pt x="273096" y="105537"/>
                  <a:pt x="278988" y="121973"/>
                  <a:pt x="281420" y="138781"/>
                </a:cubicBezTo>
                <a:lnTo>
                  <a:pt x="301061" y="139621"/>
                </a:lnTo>
                <a:cubicBezTo>
                  <a:pt x="308169" y="139995"/>
                  <a:pt x="313593" y="145878"/>
                  <a:pt x="313593" y="152788"/>
                </a:cubicBezTo>
                <a:lnTo>
                  <a:pt x="313593" y="153442"/>
                </a:lnTo>
                <a:lnTo>
                  <a:pt x="312751" y="173892"/>
                </a:lnTo>
                <a:cubicBezTo>
                  <a:pt x="312377" y="181083"/>
                  <a:pt x="306298" y="186779"/>
                  <a:pt x="298910" y="186405"/>
                </a:cubicBezTo>
                <a:lnTo>
                  <a:pt x="279456" y="185565"/>
                </a:lnTo>
                <a:cubicBezTo>
                  <a:pt x="275622" y="202093"/>
                  <a:pt x="268327" y="218061"/>
                  <a:pt x="257758" y="232162"/>
                </a:cubicBezTo>
                <a:lnTo>
                  <a:pt x="270852" y="246449"/>
                </a:lnTo>
                <a:cubicBezTo>
                  <a:pt x="273190" y="249064"/>
                  <a:pt x="274312" y="252145"/>
                  <a:pt x="274312" y="255414"/>
                </a:cubicBezTo>
                <a:cubicBezTo>
                  <a:pt x="274312" y="258869"/>
                  <a:pt x="273003" y="262511"/>
                  <a:pt x="270104" y="265126"/>
                </a:cubicBezTo>
                <a:lnTo>
                  <a:pt x="255046" y="278946"/>
                </a:lnTo>
                <a:cubicBezTo>
                  <a:pt x="249621" y="283802"/>
                  <a:pt x="241297" y="283428"/>
                  <a:pt x="236340" y="278106"/>
                </a:cubicBezTo>
                <a:lnTo>
                  <a:pt x="223247" y="263724"/>
                </a:lnTo>
                <a:cubicBezTo>
                  <a:pt x="208282" y="272970"/>
                  <a:pt x="191635" y="278853"/>
                  <a:pt x="174800" y="281187"/>
                </a:cubicBezTo>
                <a:lnTo>
                  <a:pt x="173958" y="300610"/>
                </a:lnTo>
                <a:cubicBezTo>
                  <a:pt x="173584" y="307801"/>
                  <a:pt x="167505" y="313590"/>
                  <a:pt x="160117" y="313217"/>
                </a:cubicBezTo>
                <a:lnTo>
                  <a:pt x="139634" y="312283"/>
                </a:lnTo>
                <a:cubicBezTo>
                  <a:pt x="132526" y="311909"/>
                  <a:pt x="127102" y="306120"/>
                  <a:pt x="127102" y="299116"/>
                </a:cubicBezTo>
                <a:lnTo>
                  <a:pt x="127102" y="298463"/>
                </a:lnTo>
                <a:lnTo>
                  <a:pt x="128037" y="279039"/>
                </a:lnTo>
                <a:cubicBezTo>
                  <a:pt x="111577" y="275211"/>
                  <a:pt x="95771" y="267834"/>
                  <a:pt x="81648" y="257281"/>
                </a:cubicBezTo>
                <a:lnTo>
                  <a:pt x="67058" y="270635"/>
                </a:lnTo>
                <a:cubicBezTo>
                  <a:pt x="61727" y="275491"/>
                  <a:pt x="53403" y="275117"/>
                  <a:pt x="48353" y="269701"/>
                </a:cubicBezTo>
                <a:lnTo>
                  <a:pt x="34511" y="254667"/>
                </a:lnTo>
                <a:cubicBezTo>
                  <a:pt x="32173" y="252052"/>
                  <a:pt x="31051" y="248970"/>
                  <a:pt x="31051" y="245702"/>
                </a:cubicBezTo>
                <a:cubicBezTo>
                  <a:pt x="31051" y="242247"/>
                  <a:pt x="32453" y="238605"/>
                  <a:pt x="35259" y="235990"/>
                </a:cubicBezTo>
                <a:lnTo>
                  <a:pt x="50036" y="222544"/>
                </a:lnTo>
                <a:cubicBezTo>
                  <a:pt x="40777" y="207696"/>
                  <a:pt x="35072" y="191261"/>
                  <a:pt x="32640" y="174639"/>
                </a:cubicBezTo>
                <a:lnTo>
                  <a:pt x="12626" y="173705"/>
                </a:lnTo>
                <a:cubicBezTo>
                  <a:pt x="5518" y="173332"/>
                  <a:pt x="0" y="167542"/>
                  <a:pt x="0" y="160539"/>
                </a:cubicBezTo>
                <a:lnTo>
                  <a:pt x="0" y="159885"/>
                </a:lnTo>
                <a:lnTo>
                  <a:pt x="842" y="139621"/>
                </a:lnTo>
                <a:cubicBezTo>
                  <a:pt x="1216" y="132431"/>
                  <a:pt x="7388" y="126642"/>
                  <a:pt x="14683" y="127015"/>
                </a:cubicBezTo>
                <a:lnTo>
                  <a:pt x="34885" y="127949"/>
                </a:lnTo>
                <a:cubicBezTo>
                  <a:pt x="38813" y="111514"/>
                  <a:pt x="46015" y="95826"/>
                  <a:pt x="56490" y="81819"/>
                </a:cubicBezTo>
                <a:lnTo>
                  <a:pt x="42741" y="66878"/>
                </a:lnTo>
                <a:cubicBezTo>
                  <a:pt x="40403" y="64263"/>
                  <a:pt x="39281" y="61182"/>
                  <a:pt x="39281" y="57913"/>
                </a:cubicBezTo>
                <a:cubicBezTo>
                  <a:pt x="39281" y="54458"/>
                  <a:pt x="40684" y="50816"/>
                  <a:pt x="43490" y="48202"/>
                </a:cubicBezTo>
                <a:lnTo>
                  <a:pt x="58641" y="34381"/>
                </a:lnTo>
                <a:cubicBezTo>
                  <a:pt x="63972" y="29526"/>
                  <a:pt x="72296" y="29899"/>
                  <a:pt x="77346" y="35315"/>
                </a:cubicBezTo>
                <a:lnTo>
                  <a:pt x="90627" y="50256"/>
                </a:lnTo>
                <a:cubicBezTo>
                  <a:pt x="105591" y="41011"/>
                  <a:pt x="121864" y="35128"/>
                  <a:pt x="138512" y="32794"/>
                </a:cubicBezTo>
                <a:lnTo>
                  <a:pt x="139447" y="12624"/>
                </a:lnTo>
                <a:cubicBezTo>
                  <a:pt x="139821" y="5433"/>
                  <a:pt x="145901" y="-356"/>
                  <a:pt x="153289" y="1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3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1" name="îṣḻïḓè">
            <a:extLst>
              <a:ext uri="{FF2B5EF4-FFF2-40B4-BE49-F238E27FC236}">
                <a16:creationId xmlns:a16="http://schemas.microsoft.com/office/drawing/2014/main" id="{30C8A656-A69C-4844-9B4C-38593487F7D6}"/>
              </a:ext>
            </a:extLst>
          </p:cNvPr>
          <p:cNvSpPr/>
          <p:nvPr/>
        </p:nvSpPr>
        <p:spPr bwMode="auto">
          <a:xfrm>
            <a:off x="3399016" y="1868511"/>
            <a:ext cx="166302" cy="165979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81741" h="580612">
                <a:moveTo>
                  <a:pt x="291612" y="187916"/>
                </a:moveTo>
                <a:cubicBezTo>
                  <a:pt x="304876" y="187916"/>
                  <a:pt x="315648" y="198758"/>
                  <a:pt x="315648" y="212088"/>
                </a:cubicBezTo>
                <a:lnTo>
                  <a:pt x="315648" y="491836"/>
                </a:lnTo>
                <a:lnTo>
                  <a:pt x="331227" y="473974"/>
                </a:lnTo>
                <a:cubicBezTo>
                  <a:pt x="339863" y="463932"/>
                  <a:pt x="355086" y="462866"/>
                  <a:pt x="365145" y="471574"/>
                </a:cubicBezTo>
                <a:cubicBezTo>
                  <a:pt x="375116" y="480372"/>
                  <a:pt x="376184" y="495657"/>
                  <a:pt x="367460" y="505699"/>
                </a:cubicBezTo>
                <a:lnTo>
                  <a:pt x="309773" y="572348"/>
                </a:lnTo>
                <a:cubicBezTo>
                  <a:pt x="305143" y="577502"/>
                  <a:pt x="298556" y="580612"/>
                  <a:pt x="291612" y="580612"/>
                </a:cubicBezTo>
                <a:cubicBezTo>
                  <a:pt x="284579" y="580612"/>
                  <a:pt x="278080" y="577680"/>
                  <a:pt x="273451" y="572348"/>
                </a:cubicBezTo>
                <a:lnTo>
                  <a:pt x="215764" y="505699"/>
                </a:lnTo>
                <a:cubicBezTo>
                  <a:pt x="207039" y="495657"/>
                  <a:pt x="208108" y="480372"/>
                  <a:pt x="218078" y="471574"/>
                </a:cubicBezTo>
                <a:cubicBezTo>
                  <a:pt x="228049" y="462866"/>
                  <a:pt x="243272" y="463932"/>
                  <a:pt x="252085" y="473974"/>
                </a:cubicBezTo>
                <a:lnTo>
                  <a:pt x="267486" y="491747"/>
                </a:lnTo>
                <a:lnTo>
                  <a:pt x="267486" y="212088"/>
                </a:lnTo>
                <a:cubicBezTo>
                  <a:pt x="267486" y="198758"/>
                  <a:pt x="278258" y="187916"/>
                  <a:pt x="291612" y="187916"/>
                </a:cubicBezTo>
                <a:close/>
                <a:moveTo>
                  <a:pt x="329499" y="0"/>
                </a:moveTo>
                <a:cubicBezTo>
                  <a:pt x="426248" y="0"/>
                  <a:pt x="465322" y="80426"/>
                  <a:pt x="473332" y="108153"/>
                </a:cubicBezTo>
                <a:cubicBezTo>
                  <a:pt x="535280" y="120684"/>
                  <a:pt x="581474" y="175693"/>
                  <a:pt x="581741" y="241190"/>
                </a:cubicBezTo>
                <a:cubicBezTo>
                  <a:pt x="581741" y="315840"/>
                  <a:pt x="521306" y="376537"/>
                  <a:pt x="446987" y="376537"/>
                </a:cubicBezTo>
                <a:lnTo>
                  <a:pt x="372756" y="376537"/>
                </a:lnTo>
                <a:cubicBezTo>
                  <a:pt x="359316" y="376537"/>
                  <a:pt x="348546" y="365606"/>
                  <a:pt x="348546" y="352276"/>
                </a:cubicBezTo>
                <a:cubicBezTo>
                  <a:pt x="348546" y="338857"/>
                  <a:pt x="359316" y="327926"/>
                  <a:pt x="372756" y="327926"/>
                </a:cubicBezTo>
                <a:lnTo>
                  <a:pt x="446987" y="327926"/>
                </a:lnTo>
                <a:cubicBezTo>
                  <a:pt x="494605" y="327926"/>
                  <a:pt x="533322" y="289090"/>
                  <a:pt x="533322" y="241190"/>
                </a:cubicBezTo>
                <a:cubicBezTo>
                  <a:pt x="533322" y="195334"/>
                  <a:pt x="497720" y="157298"/>
                  <a:pt x="452238" y="154632"/>
                </a:cubicBezTo>
                <a:cubicBezTo>
                  <a:pt x="440934" y="153921"/>
                  <a:pt x="431589" y="145478"/>
                  <a:pt x="429809" y="134192"/>
                </a:cubicBezTo>
                <a:cubicBezTo>
                  <a:pt x="421709" y="84692"/>
                  <a:pt x="379609" y="48789"/>
                  <a:pt x="329677" y="48789"/>
                </a:cubicBezTo>
                <a:cubicBezTo>
                  <a:pt x="279567" y="48789"/>
                  <a:pt x="238001" y="84781"/>
                  <a:pt x="229457" y="134192"/>
                </a:cubicBezTo>
                <a:cubicBezTo>
                  <a:pt x="226520" y="151521"/>
                  <a:pt x="212190" y="162807"/>
                  <a:pt x="192964" y="151077"/>
                </a:cubicBezTo>
                <a:cubicBezTo>
                  <a:pt x="178011" y="141834"/>
                  <a:pt x="160922" y="136947"/>
                  <a:pt x="143299" y="136947"/>
                </a:cubicBezTo>
                <a:cubicBezTo>
                  <a:pt x="90964" y="136947"/>
                  <a:pt x="48419" y="179693"/>
                  <a:pt x="48419" y="232303"/>
                </a:cubicBezTo>
                <a:cubicBezTo>
                  <a:pt x="48419" y="284913"/>
                  <a:pt x="90964" y="327748"/>
                  <a:pt x="143299" y="327748"/>
                </a:cubicBezTo>
                <a:lnTo>
                  <a:pt x="218776" y="327748"/>
                </a:lnTo>
                <a:cubicBezTo>
                  <a:pt x="232216" y="327748"/>
                  <a:pt x="242986" y="338590"/>
                  <a:pt x="242986" y="352009"/>
                </a:cubicBezTo>
                <a:cubicBezTo>
                  <a:pt x="242986" y="365429"/>
                  <a:pt x="232216" y="376271"/>
                  <a:pt x="218776" y="376271"/>
                </a:cubicBezTo>
                <a:lnTo>
                  <a:pt x="143299" y="376271"/>
                </a:lnTo>
                <a:cubicBezTo>
                  <a:pt x="64262" y="376271"/>
                  <a:pt x="0" y="311574"/>
                  <a:pt x="0" y="232214"/>
                </a:cubicBezTo>
                <a:cubicBezTo>
                  <a:pt x="0" y="152854"/>
                  <a:pt x="64262" y="88158"/>
                  <a:pt x="143210" y="88158"/>
                </a:cubicBezTo>
                <a:cubicBezTo>
                  <a:pt x="159231" y="88158"/>
                  <a:pt x="174896" y="90735"/>
                  <a:pt x="189849" y="95978"/>
                </a:cubicBezTo>
                <a:cubicBezTo>
                  <a:pt x="198749" y="73050"/>
                  <a:pt x="238891" y="0"/>
                  <a:pt x="329499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3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2" name="iş1iḑe">
            <a:extLst>
              <a:ext uri="{FF2B5EF4-FFF2-40B4-BE49-F238E27FC236}">
                <a16:creationId xmlns:a16="http://schemas.microsoft.com/office/drawing/2014/main" id="{79D5FAF9-096B-4C61-A299-6A26A276E128}"/>
              </a:ext>
            </a:extLst>
          </p:cNvPr>
          <p:cNvSpPr/>
          <p:nvPr/>
        </p:nvSpPr>
        <p:spPr bwMode="auto">
          <a:xfrm>
            <a:off x="3161813" y="2151555"/>
            <a:ext cx="166302" cy="166051"/>
          </a:xfrm>
          <a:custGeom>
            <a:avLst/>
            <a:gdLst>
              <a:gd name="connsiteX0" fmla="*/ 303820 w 607639"/>
              <a:gd name="connsiteY0" fmla="*/ 278099 h 606722"/>
              <a:gd name="connsiteX1" fmla="*/ 329118 w 607639"/>
              <a:gd name="connsiteY1" fmla="*/ 303362 h 606722"/>
              <a:gd name="connsiteX2" fmla="*/ 303820 w 607639"/>
              <a:gd name="connsiteY2" fmla="*/ 328625 h 606722"/>
              <a:gd name="connsiteX3" fmla="*/ 278522 w 607639"/>
              <a:gd name="connsiteY3" fmla="*/ 303362 h 606722"/>
              <a:gd name="connsiteX4" fmla="*/ 303820 w 607639"/>
              <a:gd name="connsiteY4" fmla="*/ 278099 h 606722"/>
              <a:gd name="connsiteX5" fmla="*/ 303775 w 607639"/>
              <a:gd name="connsiteY5" fmla="*/ 252735 h 606722"/>
              <a:gd name="connsiteX6" fmla="*/ 253140 w 607639"/>
              <a:gd name="connsiteY6" fmla="*/ 303317 h 606722"/>
              <a:gd name="connsiteX7" fmla="*/ 303775 w 607639"/>
              <a:gd name="connsiteY7" fmla="*/ 353900 h 606722"/>
              <a:gd name="connsiteX8" fmla="*/ 354410 w 607639"/>
              <a:gd name="connsiteY8" fmla="*/ 303317 h 606722"/>
              <a:gd name="connsiteX9" fmla="*/ 303775 w 607639"/>
              <a:gd name="connsiteY9" fmla="*/ 252735 h 606722"/>
              <a:gd name="connsiteX10" fmla="*/ 303775 w 607639"/>
              <a:gd name="connsiteY10" fmla="*/ 202241 h 606722"/>
              <a:gd name="connsiteX11" fmla="*/ 405045 w 607639"/>
              <a:gd name="connsiteY11" fmla="*/ 303317 h 606722"/>
              <a:gd name="connsiteX12" fmla="*/ 303775 w 607639"/>
              <a:gd name="connsiteY12" fmla="*/ 404482 h 606722"/>
              <a:gd name="connsiteX13" fmla="*/ 202593 w 607639"/>
              <a:gd name="connsiteY13" fmla="*/ 303317 h 606722"/>
              <a:gd name="connsiteX14" fmla="*/ 303775 w 607639"/>
              <a:gd name="connsiteY14" fmla="*/ 202241 h 606722"/>
              <a:gd name="connsiteX15" fmla="*/ 303775 w 607639"/>
              <a:gd name="connsiteY15" fmla="*/ 151703 h 606722"/>
              <a:gd name="connsiteX16" fmla="*/ 151932 w 607639"/>
              <a:gd name="connsiteY16" fmla="*/ 303317 h 606722"/>
              <a:gd name="connsiteX17" fmla="*/ 303775 w 607639"/>
              <a:gd name="connsiteY17" fmla="*/ 455019 h 606722"/>
              <a:gd name="connsiteX18" fmla="*/ 455707 w 607639"/>
              <a:gd name="connsiteY18" fmla="*/ 303317 h 606722"/>
              <a:gd name="connsiteX19" fmla="*/ 303775 w 607639"/>
              <a:gd name="connsiteY19" fmla="*/ 151703 h 606722"/>
              <a:gd name="connsiteX20" fmla="*/ 253131 w 607639"/>
              <a:gd name="connsiteY20" fmla="*/ 0 h 606722"/>
              <a:gd name="connsiteX21" fmla="*/ 354419 w 607639"/>
              <a:gd name="connsiteY21" fmla="*/ 0 h 606722"/>
              <a:gd name="connsiteX22" fmla="*/ 379786 w 607639"/>
              <a:gd name="connsiteY22" fmla="*/ 25239 h 606722"/>
              <a:gd name="connsiteX23" fmla="*/ 379786 w 607639"/>
              <a:gd name="connsiteY23" fmla="*/ 62387 h 606722"/>
              <a:gd name="connsiteX24" fmla="*/ 420639 w 607639"/>
              <a:gd name="connsiteY24" fmla="*/ 79451 h 606722"/>
              <a:gd name="connsiteX25" fmla="*/ 446985 w 607639"/>
              <a:gd name="connsiteY25" fmla="*/ 53145 h 606722"/>
              <a:gd name="connsiteX26" fmla="*/ 482854 w 607639"/>
              <a:gd name="connsiteY26" fmla="*/ 53145 h 606722"/>
              <a:gd name="connsiteX27" fmla="*/ 554414 w 607639"/>
              <a:gd name="connsiteY27" fmla="*/ 124597 h 606722"/>
              <a:gd name="connsiteX28" fmla="*/ 554414 w 607639"/>
              <a:gd name="connsiteY28" fmla="*/ 160323 h 606722"/>
              <a:gd name="connsiteX29" fmla="*/ 528069 w 607639"/>
              <a:gd name="connsiteY29" fmla="*/ 186629 h 606722"/>
              <a:gd name="connsiteX30" fmla="*/ 545158 w 607639"/>
              <a:gd name="connsiteY30" fmla="*/ 227510 h 606722"/>
              <a:gd name="connsiteX31" fmla="*/ 582273 w 607639"/>
              <a:gd name="connsiteY31" fmla="*/ 227510 h 606722"/>
              <a:gd name="connsiteX32" fmla="*/ 607639 w 607639"/>
              <a:gd name="connsiteY32" fmla="*/ 252749 h 606722"/>
              <a:gd name="connsiteX33" fmla="*/ 607639 w 607639"/>
              <a:gd name="connsiteY33" fmla="*/ 353884 h 606722"/>
              <a:gd name="connsiteX34" fmla="*/ 582273 w 607639"/>
              <a:gd name="connsiteY34" fmla="*/ 379212 h 606722"/>
              <a:gd name="connsiteX35" fmla="*/ 545158 w 607639"/>
              <a:gd name="connsiteY35" fmla="*/ 379212 h 606722"/>
              <a:gd name="connsiteX36" fmla="*/ 528069 w 607639"/>
              <a:gd name="connsiteY36" fmla="*/ 420004 h 606722"/>
              <a:gd name="connsiteX37" fmla="*/ 554414 w 607639"/>
              <a:gd name="connsiteY37" fmla="*/ 446310 h 606722"/>
              <a:gd name="connsiteX38" fmla="*/ 554414 w 607639"/>
              <a:gd name="connsiteY38" fmla="*/ 482125 h 606722"/>
              <a:gd name="connsiteX39" fmla="*/ 482854 w 607639"/>
              <a:gd name="connsiteY39" fmla="*/ 553577 h 606722"/>
              <a:gd name="connsiteX40" fmla="*/ 446985 w 607639"/>
              <a:gd name="connsiteY40" fmla="*/ 553577 h 606722"/>
              <a:gd name="connsiteX41" fmla="*/ 420639 w 607639"/>
              <a:gd name="connsiteY41" fmla="*/ 527271 h 606722"/>
              <a:gd name="connsiteX42" fmla="*/ 379786 w 607639"/>
              <a:gd name="connsiteY42" fmla="*/ 544246 h 606722"/>
              <a:gd name="connsiteX43" fmla="*/ 379786 w 607639"/>
              <a:gd name="connsiteY43" fmla="*/ 581394 h 606722"/>
              <a:gd name="connsiteX44" fmla="*/ 354419 w 607639"/>
              <a:gd name="connsiteY44" fmla="*/ 606722 h 606722"/>
              <a:gd name="connsiteX45" fmla="*/ 253131 w 607639"/>
              <a:gd name="connsiteY45" fmla="*/ 606722 h 606722"/>
              <a:gd name="connsiteX46" fmla="*/ 227854 w 607639"/>
              <a:gd name="connsiteY46" fmla="*/ 581394 h 606722"/>
              <a:gd name="connsiteX47" fmla="*/ 227854 w 607639"/>
              <a:gd name="connsiteY47" fmla="*/ 544246 h 606722"/>
              <a:gd name="connsiteX48" fmla="*/ 186911 w 607639"/>
              <a:gd name="connsiteY48" fmla="*/ 527271 h 606722"/>
              <a:gd name="connsiteX49" fmla="*/ 160566 w 607639"/>
              <a:gd name="connsiteY49" fmla="*/ 553577 h 606722"/>
              <a:gd name="connsiteX50" fmla="*/ 124786 w 607639"/>
              <a:gd name="connsiteY50" fmla="*/ 553577 h 606722"/>
              <a:gd name="connsiteX51" fmla="*/ 53225 w 607639"/>
              <a:gd name="connsiteY51" fmla="*/ 482125 h 606722"/>
              <a:gd name="connsiteX52" fmla="*/ 53225 w 607639"/>
              <a:gd name="connsiteY52" fmla="*/ 446310 h 606722"/>
              <a:gd name="connsiteX53" fmla="*/ 79482 w 607639"/>
              <a:gd name="connsiteY53" fmla="*/ 420004 h 606722"/>
              <a:gd name="connsiteX54" fmla="*/ 62482 w 607639"/>
              <a:gd name="connsiteY54" fmla="*/ 379212 h 606722"/>
              <a:gd name="connsiteX55" fmla="*/ 25278 w 607639"/>
              <a:gd name="connsiteY55" fmla="*/ 379212 h 606722"/>
              <a:gd name="connsiteX56" fmla="*/ 0 w 607639"/>
              <a:gd name="connsiteY56" fmla="*/ 353884 h 606722"/>
              <a:gd name="connsiteX57" fmla="*/ 0 w 607639"/>
              <a:gd name="connsiteY57" fmla="*/ 252749 h 606722"/>
              <a:gd name="connsiteX58" fmla="*/ 25278 w 607639"/>
              <a:gd name="connsiteY58" fmla="*/ 227510 h 606722"/>
              <a:gd name="connsiteX59" fmla="*/ 62482 w 607639"/>
              <a:gd name="connsiteY59" fmla="*/ 227510 h 606722"/>
              <a:gd name="connsiteX60" fmla="*/ 79482 w 607639"/>
              <a:gd name="connsiteY60" fmla="*/ 186629 h 606722"/>
              <a:gd name="connsiteX61" fmla="*/ 53225 w 607639"/>
              <a:gd name="connsiteY61" fmla="*/ 160323 h 606722"/>
              <a:gd name="connsiteX62" fmla="*/ 53225 w 607639"/>
              <a:gd name="connsiteY62" fmla="*/ 124597 h 606722"/>
              <a:gd name="connsiteX63" fmla="*/ 124786 w 607639"/>
              <a:gd name="connsiteY63" fmla="*/ 53145 h 606722"/>
              <a:gd name="connsiteX64" fmla="*/ 160566 w 607639"/>
              <a:gd name="connsiteY64" fmla="*/ 53145 h 606722"/>
              <a:gd name="connsiteX65" fmla="*/ 186911 w 607639"/>
              <a:gd name="connsiteY65" fmla="*/ 79451 h 606722"/>
              <a:gd name="connsiteX66" fmla="*/ 227854 w 607639"/>
              <a:gd name="connsiteY66" fmla="*/ 62387 h 606722"/>
              <a:gd name="connsiteX67" fmla="*/ 227854 w 607639"/>
              <a:gd name="connsiteY67" fmla="*/ 25239 h 606722"/>
              <a:gd name="connsiteX68" fmla="*/ 253131 w 607639"/>
              <a:gd name="connsiteY68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07639" h="606722">
                <a:moveTo>
                  <a:pt x="303820" y="278099"/>
                </a:moveTo>
                <a:cubicBezTo>
                  <a:pt x="317792" y="278099"/>
                  <a:pt x="329118" y="289410"/>
                  <a:pt x="329118" y="303362"/>
                </a:cubicBezTo>
                <a:cubicBezTo>
                  <a:pt x="329118" y="317314"/>
                  <a:pt x="317792" y="328625"/>
                  <a:pt x="303820" y="328625"/>
                </a:cubicBezTo>
                <a:cubicBezTo>
                  <a:pt x="289848" y="328625"/>
                  <a:pt x="278522" y="317314"/>
                  <a:pt x="278522" y="303362"/>
                </a:cubicBezTo>
                <a:cubicBezTo>
                  <a:pt x="278522" y="289410"/>
                  <a:pt x="289848" y="278099"/>
                  <a:pt x="303820" y="278099"/>
                </a:cubicBezTo>
                <a:close/>
                <a:moveTo>
                  <a:pt x="303775" y="252735"/>
                </a:moveTo>
                <a:cubicBezTo>
                  <a:pt x="275921" y="252735"/>
                  <a:pt x="253140" y="275492"/>
                  <a:pt x="253140" y="303317"/>
                </a:cubicBezTo>
                <a:cubicBezTo>
                  <a:pt x="253140" y="331231"/>
                  <a:pt x="275921" y="353900"/>
                  <a:pt x="303775" y="353900"/>
                </a:cubicBezTo>
                <a:cubicBezTo>
                  <a:pt x="331718" y="353900"/>
                  <a:pt x="354410" y="331231"/>
                  <a:pt x="354410" y="303317"/>
                </a:cubicBezTo>
                <a:cubicBezTo>
                  <a:pt x="354410" y="275492"/>
                  <a:pt x="331718" y="252735"/>
                  <a:pt x="303775" y="252735"/>
                </a:cubicBezTo>
                <a:close/>
                <a:moveTo>
                  <a:pt x="303775" y="202241"/>
                </a:moveTo>
                <a:cubicBezTo>
                  <a:pt x="359660" y="202241"/>
                  <a:pt x="405045" y="247579"/>
                  <a:pt x="405045" y="303317"/>
                </a:cubicBezTo>
                <a:cubicBezTo>
                  <a:pt x="405045" y="359144"/>
                  <a:pt x="359660" y="404482"/>
                  <a:pt x="303775" y="404482"/>
                </a:cubicBezTo>
                <a:cubicBezTo>
                  <a:pt x="247978" y="404482"/>
                  <a:pt x="202593" y="359144"/>
                  <a:pt x="202593" y="303317"/>
                </a:cubicBezTo>
                <a:cubicBezTo>
                  <a:pt x="202593" y="247579"/>
                  <a:pt x="247978" y="202241"/>
                  <a:pt x="303775" y="202241"/>
                </a:cubicBezTo>
                <a:close/>
                <a:moveTo>
                  <a:pt x="303775" y="151703"/>
                </a:moveTo>
                <a:cubicBezTo>
                  <a:pt x="220021" y="151703"/>
                  <a:pt x="151932" y="219689"/>
                  <a:pt x="151932" y="303317"/>
                </a:cubicBezTo>
                <a:cubicBezTo>
                  <a:pt x="151932" y="387033"/>
                  <a:pt x="220021" y="455019"/>
                  <a:pt x="303775" y="455019"/>
                </a:cubicBezTo>
                <a:cubicBezTo>
                  <a:pt x="387618" y="455019"/>
                  <a:pt x="455707" y="387033"/>
                  <a:pt x="455707" y="303317"/>
                </a:cubicBezTo>
                <a:cubicBezTo>
                  <a:pt x="455707" y="219689"/>
                  <a:pt x="387618" y="151703"/>
                  <a:pt x="303775" y="151703"/>
                </a:cubicBezTo>
                <a:close/>
                <a:moveTo>
                  <a:pt x="253131" y="0"/>
                </a:moveTo>
                <a:lnTo>
                  <a:pt x="354419" y="0"/>
                </a:lnTo>
                <a:cubicBezTo>
                  <a:pt x="368482" y="0"/>
                  <a:pt x="379786" y="11287"/>
                  <a:pt x="379786" y="25239"/>
                </a:cubicBezTo>
                <a:lnTo>
                  <a:pt x="379786" y="62387"/>
                </a:lnTo>
                <a:cubicBezTo>
                  <a:pt x="393849" y="66831"/>
                  <a:pt x="407555" y="72519"/>
                  <a:pt x="420639" y="79451"/>
                </a:cubicBezTo>
                <a:lnTo>
                  <a:pt x="446985" y="53145"/>
                </a:lnTo>
                <a:cubicBezTo>
                  <a:pt x="456953" y="43191"/>
                  <a:pt x="472974" y="43191"/>
                  <a:pt x="482854" y="53145"/>
                </a:cubicBezTo>
                <a:lnTo>
                  <a:pt x="554414" y="124597"/>
                </a:lnTo>
                <a:cubicBezTo>
                  <a:pt x="564294" y="134462"/>
                  <a:pt x="564294" y="150459"/>
                  <a:pt x="554414" y="160323"/>
                </a:cubicBezTo>
                <a:lnTo>
                  <a:pt x="528069" y="186629"/>
                </a:lnTo>
                <a:cubicBezTo>
                  <a:pt x="535011" y="199782"/>
                  <a:pt x="540707" y="213468"/>
                  <a:pt x="545158" y="227510"/>
                </a:cubicBezTo>
                <a:lnTo>
                  <a:pt x="582273" y="227510"/>
                </a:lnTo>
                <a:cubicBezTo>
                  <a:pt x="596336" y="227510"/>
                  <a:pt x="607639" y="238796"/>
                  <a:pt x="607639" y="252749"/>
                </a:cubicBezTo>
                <a:lnTo>
                  <a:pt x="607639" y="353884"/>
                </a:lnTo>
                <a:cubicBezTo>
                  <a:pt x="607639" y="367926"/>
                  <a:pt x="596247" y="379212"/>
                  <a:pt x="582273" y="379212"/>
                </a:cubicBezTo>
                <a:lnTo>
                  <a:pt x="545158" y="379212"/>
                </a:lnTo>
                <a:cubicBezTo>
                  <a:pt x="540707" y="393254"/>
                  <a:pt x="535011" y="406940"/>
                  <a:pt x="528069" y="420004"/>
                </a:cubicBezTo>
                <a:lnTo>
                  <a:pt x="554414" y="446310"/>
                </a:lnTo>
                <a:cubicBezTo>
                  <a:pt x="564294" y="456263"/>
                  <a:pt x="564294" y="472260"/>
                  <a:pt x="554414" y="482125"/>
                </a:cubicBezTo>
                <a:lnTo>
                  <a:pt x="482854" y="553577"/>
                </a:lnTo>
                <a:cubicBezTo>
                  <a:pt x="472974" y="563442"/>
                  <a:pt x="456953" y="563442"/>
                  <a:pt x="446985" y="553577"/>
                </a:cubicBezTo>
                <a:lnTo>
                  <a:pt x="420639" y="527271"/>
                </a:lnTo>
                <a:cubicBezTo>
                  <a:pt x="407555" y="534203"/>
                  <a:pt x="393849" y="539802"/>
                  <a:pt x="379786" y="544246"/>
                </a:cubicBezTo>
                <a:lnTo>
                  <a:pt x="379786" y="581394"/>
                </a:lnTo>
                <a:cubicBezTo>
                  <a:pt x="379786" y="595435"/>
                  <a:pt x="368393" y="606722"/>
                  <a:pt x="354419" y="606722"/>
                </a:cubicBezTo>
                <a:lnTo>
                  <a:pt x="253131" y="606722"/>
                </a:lnTo>
                <a:cubicBezTo>
                  <a:pt x="239157" y="606722"/>
                  <a:pt x="227854" y="595435"/>
                  <a:pt x="227854" y="581394"/>
                </a:cubicBezTo>
                <a:lnTo>
                  <a:pt x="227854" y="544246"/>
                </a:lnTo>
                <a:cubicBezTo>
                  <a:pt x="213791" y="539802"/>
                  <a:pt x="200084" y="534203"/>
                  <a:pt x="186911" y="527271"/>
                </a:cubicBezTo>
                <a:lnTo>
                  <a:pt x="160566" y="553577"/>
                </a:lnTo>
                <a:cubicBezTo>
                  <a:pt x="150686" y="563442"/>
                  <a:pt x="134665" y="563442"/>
                  <a:pt x="124786" y="553577"/>
                </a:cubicBezTo>
                <a:lnTo>
                  <a:pt x="53225" y="482125"/>
                </a:lnTo>
                <a:cubicBezTo>
                  <a:pt x="43257" y="472260"/>
                  <a:pt x="43257" y="456263"/>
                  <a:pt x="53225" y="446310"/>
                </a:cubicBezTo>
                <a:lnTo>
                  <a:pt x="79482" y="420004"/>
                </a:lnTo>
                <a:cubicBezTo>
                  <a:pt x="72629" y="406940"/>
                  <a:pt x="66932" y="393254"/>
                  <a:pt x="62482" y="379212"/>
                </a:cubicBezTo>
                <a:lnTo>
                  <a:pt x="25278" y="379212"/>
                </a:lnTo>
                <a:cubicBezTo>
                  <a:pt x="11304" y="379212"/>
                  <a:pt x="0" y="367926"/>
                  <a:pt x="0" y="353884"/>
                </a:cubicBezTo>
                <a:lnTo>
                  <a:pt x="0" y="252749"/>
                </a:lnTo>
                <a:cubicBezTo>
                  <a:pt x="0" y="238796"/>
                  <a:pt x="11304" y="227510"/>
                  <a:pt x="25278" y="227510"/>
                </a:cubicBezTo>
                <a:lnTo>
                  <a:pt x="62482" y="227510"/>
                </a:lnTo>
                <a:cubicBezTo>
                  <a:pt x="66932" y="213468"/>
                  <a:pt x="72629" y="199782"/>
                  <a:pt x="79482" y="186629"/>
                </a:cubicBezTo>
                <a:lnTo>
                  <a:pt x="53225" y="160323"/>
                </a:lnTo>
                <a:cubicBezTo>
                  <a:pt x="43257" y="150459"/>
                  <a:pt x="43257" y="134462"/>
                  <a:pt x="53225" y="124597"/>
                </a:cubicBezTo>
                <a:lnTo>
                  <a:pt x="124786" y="53145"/>
                </a:lnTo>
                <a:cubicBezTo>
                  <a:pt x="134665" y="43191"/>
                  <a:pt x="150686" y="43191"/>
                  <a:pt x="160566" y="53145"/>
                </a:cubicBezTo>
                <a:lnTo>
                  <a:pt x="186911" y="79451"/>
                </a:lnTo>
                <a:cubicBezTo>
                  <a:pt x="200084" y="72519"/>
                  <a:pt x="213791" y="66831"/>
                  <a:pt x="227854" y="62387"/>
                </a:cubicBezTo>
                <a:lnTo>
                  <a:pt x="227854" y="25239"/>
                </a:lnTo>
                <a:cubicBezTo>
                  <a:pt x="227854" y="11287"/>
                  <a:pt x="239157" y="0"/>
                  <a:pt x="25313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3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3" name="ïṧľíďê">
            <a:extLst>
              <a:ext uri="{FF2B5EF4-FFF2-40B4-BE49-F238E27FC236}">
                <a16:creationId xmlns:a16="http://schemas.microsoft.com/office/drawing/2014/main" id="{83AC56C8-BB22-4DB6-8372-AA84DFFA3A81}"/>
              </a:ext>
            </a:extLst>
          </p:cNvPr>
          <p:cNvSpPr/>
          <p:nvPr/>
        </p:nvSpPr>
        <p:spPr bwMode="auto">
          <a:xfrm>
            <a:off x="2929952" y="2434646"/>
            <a:ext cx="166302" cy="166030"/>
          </a:xfrm>
          <a:custGeom>
            <a:avLst/>
            <a:gdLst>
              <a:gd name="connsiteX0" fmla="*/ 380418 w 604181"/>
              <a:gd name="connsiteY0" fmla="*/ 268007 h 603193"/>
              <a:gd name="connsiteX1" fmla="*/ 519220 w 604181"/>
              <a:gd name="connsiteY1" fmla="*/ 339187 h 603193"/>
              <a:gd name="connsiteX2" fmla="*/ 519220 w 604181"/>
              <a:gd name="connsiteY2" fmla="*/ 355820 h 603193"/>
              <a:gd name="connsiteX3" fmla="*/ 380418 w 604181"/>
              <a:gd name="connsiteY3" fmla="*/ 426850 h 603193"/>
              <a:gd name="connsiteX4" fmla="*/ 380418 w 604181"/>
              <a:gd name="connsiteY4" fmla="*/ 406320 h 603193"/>
              <a:gd name="connsiteX5" fmla="*/ 498212 w 604181"/>
              <a:gd name="connsiteY5" fmla="*/ 347728 h 603193"/>
              <a:gd name="connsiteX6" fmla="*/ 498212 w 604181"/>
              <a:gd name="connsiteY6" fmla="*/ 347129 h 603193"/>
              <a:gd name="connsiteX7" fmla="*/ 380418 w 604181"/>
              <a:gd name="connsiteY7" fmla="*/ 288687 h 603193"/>
              <a:gd name="connsiteX8" fmla="*/ 216565 w 604181"/>
              <a:gd name="connsiteY8" fmla="*/ 268007 h 603193"/>
              <a:gd name="connsiteX9" fmla="*/ 216565 w 604181"/>
              <a:gd name="connsiteY9" fmla="*/ 288687 h 603193"/>
              <a:gd name="connsiteX10" fmla="*/ 99664 w 604181"/>
              <a:gd name="connsiteY10" fmla="*/ 347129 h 603193"/>
              <a:gd name="connsiteX11" fmla="*/ 99664 w 604181"/>
              <a:gd name="connsiteY11" fmla="*/ 347728 h 603193"/>
              <a:gd name="connsiteX12" fmla="*/ 216565 w 604181"/>
              <a:gd name="connsiteY12" fmla="*/ 406320 h 603193"/>
              <a:gd name="connsiteX13" fmla="*/ 216565 w 604181"/>
              <a:gd name="connsiteY13" fmla="*/ 426850 h 603193"/>
              <a:gd name="connsiteX14" fmla="*/ 77904 w 604181"/>
              <a:gd name="connsiteY14" fmla="*/ 355521 h 603193"/>
              <a:gd name="connsiteX15" fmla="*/ 77904 w 604181"/>
              <a:gd name="connsiteY15" fmla="*/ 339486 h 603193"/>
              <a:gd name="connsiteX16" fmla="*/ 338273 w 604181"/>
              <a:gd name="connsiteY16" fmla="*/ 222493 h 603193"/>
              <a:gd name="connsiteX17" fmla="*/ 358684 w 604181"/>
              <a:gd name="connsiteY17" fmla="*/ 222493 h 603193"/>
              <a:gd name="connsiteX18" fmla="*/ 253179 w 604181"/>
              <a:gd name="connsiteY18" fmla="*/ 482103 h 603193"/>
              <a:gd name="connsiteX19" fmla="*/ 233219 w 604181"/>
              <a:gd name="connsiteY19" fmla="*/ 482103 h 603193"/>
              <a:gd name="connsiteX20" fmla="*/ 28813 w 604181"/>
              <a:gd name="connsiteY20" fmla="*/ 128849 h 603193"/>
              <a:gd name="connsiteX21" fmla="*/ 28813 w 604181"/>
              <a:gd name="connsiteY21" fmla="*/ 557497 h 603193"/>
              <a:gd name="connsiteX22" fmla="*/ 45921 w 604181"/>
              <a:gd name="connsiteY22" fmla="*/ 574427 h 603193"/>
              <a:gd name="connsiteX23" fmla="*/ 558410 w 604181"/>
              <a:gd name="connsiteY23" fmla="*/ 574427 h 603193"/>
              <a:gd name="connsiteX24" fmla="*/ 575368 w 604181"/>
              <a:gd name="connsiteY24" fmla="*/ 557497 h 603193"/>
              <a:gd name="connsiteX25" fmla="*/ 575368 w 604181"/>
              <a:gd name="connsiteY25" fmla="*/ 128849 h 603193"/>
              <a:gd name="connsiteX26" fmla="*/ 502734 w 604181"/>
              <a:gd name="connsiteY26" fmla="*/ 43149 h 603193"/>
              <a:gd name="connsiteX27" fmla="*/ 502734 w 604181"/>
              <a:gd name="connsiteY27" fmla="*/ 77309 h 603193"/>
              <a:gd name="connsiteX28" fmla="*/ 537100 w 604181"/>
              <a:gd name="connsiteY28" fmla="*/ 77309 h 603193"/>
              <a:gd name="connsiteX29" fmla="*/ 537100 w 604181"/>
              <a:gd name="connsiteY29" fmla="*/ 43149 h 603193"/>
              <a:gd name="connsiteX30" fmla="*/ 423197 w 604181"/>
              <a:gd name="connsiteY30" fmla="*/ 43149 h 603193"/>
              <a:gd name="connsiteX31" fmla="*/ 423197 w 604181"/>
              <a:gd name="connsiteY31" fmla="*/ 77309 h 603193"/>
              <a:gd name="connsiteX32" fmla="*/ 457563 w 604181"/>
              <a:gd name="connsiteY32" fmla="*/ 77309 h 603193"/>
              <a:gd name="connsiteX33" fmla="*/ 457563 w 604181"/>
              <a:gd name="connsiteY33" fmla="*/ 43149 h 603193"/>
              <a:gd name="connsiteX34" fmla="*/ 45921 w 604181"/>
              <a:gd name="connsiteY34" fmla="*/ 0 h 603193"/>
              <a:gd name="connsiteX35" fmla="*/ 558410 w 604181"/>
              <a:gd name="connsiteY35" fmla="*/ 0 h 603193"/>
              <a:gd name="connsiteX36" fmla="*/ 604181 w 604181"/>
              <a:gd name="connsiteY36" fmla="*/ 45846 h 603193"/>
              <a:gd name="connsiteX37" fmla="*/ 604181 w 604181"/>
              <a:gd name="connsiteY37" fmla="*/ 557497 h 603193"/>
              <a:gd name="connsiteX38" fmla="*/ 558410 w 604181"/>
              <a:gd name="connsiteY38" fmla="*/ 603193 h 603193"/>
              <a:gd name="connsiteX39" fmla="*/ 45921 w 604181"/>
              <a:gd name="connsiteY39" fmla="*/ 603193 h 603193"/>
              <a:gd name="connsiteX40" fmla="*/ 0 w 604181"/>
              <a:gd name="connsiteY40" fmla="*/ 557497 h 603193"/>
              <a:gd name="connsiteX41" fmla="*/ 0 w 604181"/>
              <a:gd name="connsiteY41" fmla="*/ 45846 h 603193"/>
              <a:gd name="connsiteX42" fmla="*/ 45921 w 604181"/>
              <a:gd name="connsiteY42" fmla="*/ 0 h 603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04181" h="603193">
                <a:moveTo>
                  <a:pt x="380418" y="268007"/>
                </a:moveTo>
                <a:lnTo>
                  <a:pt x="519220" y="339187"/>
                </a:lnTo>
                <a:lnTo>
                  <a:pt x="519220" y="355820"/>
                </a:lnTo>
                <a:lnTo>
                  <a:pt x="380418" y="426850"/>
                </a:lnTo>
                <a:lnTo>
                  <a:pt x="380418" y="406320"/>
                </a:lnTo>
                <a:lnTo>
                  <a:pt x="498212" y="347728"/>
                </a:lnTo>
                <a:lnTo>
                  <a:pt x="498212" y="347129"/>
                </a:lnTo>
                <a:lnTo>
                  <a:pt x="380418" y="288687"/>
                </a:lnTo>
                <a:close/>
                <a:moveTo>
                  <a:pt x="216565" y="268007"/>
                </a:moveTo>
                <a:lnTo>
                  <a:pt x="216565" y="288687"/>
                </a:lnTo>
                <a:lnTo>
                  <a:pt x="99664" y="347129"/>
                </a:lnTo>
                <a:lnTo>
                  <a:pt x="99664" y="347728"/>
                </a:lnTo>
                <a:lnTo>
                  <a:pt x="216565" y="406320"/>
                </a:lnTo>
                <a:lnTo>
                  <a:pt x="216565" y="426850"/>
                </a:lnTo>
                <a:lnTo>
                  <a:pt x="77904" y="355521"/>
                </a:lnTo>
                <a:lnTo>
                  <a:pt x="77904" y="339486"/>
                </a:lnTo>
                <a:close/>
                <a:moveTo>
                  <a:pt x="338273" y="222493"/>
                </a:moveTo>
                <a:lnTo>
                  <a:pt x="358684" y="222493"/>
                </a:lnTo>
                <a:lnTo>
                  <a:pt x="253179" y="482103"/>
                </a:lnTo>
                <a:lnTo>
                  <a:pt x="233219" y="482103"/>
                </a:lnTo>
                <a:close/>
                <a:moveTo>
                  <a:pt x="28813" y="128849"/>
                </a:moveTo>
                <a:lnTo>
                  <a:pt x="28813" y="557497"/>
                </a:lnTo>
                <a:cubicBezTo>
                  <a:pt x="28813" y="566786"/>
                  <a:pt x="36467" y="574427"/>
                  <a:pt x="45921" y="574427"/>
                </a:cubicBezTo>
                <a:lnTo>
                  <a:pt x="558410" y="574427"/>
                </a:lnTo>
                <a:cubicBezTo>
                  <a:pt x="567714" y="574427"/>
                  <a:pt x="575368" y="566786"/>
                  <a:pt x="575368" y="557497"/>
                </a:cubicBezTo>
                <a:lnTo>
                  <a:pt x="575368" y="128849"/>
                </a:lnTo>
                <a:close/>
                <a:moveTo>
                  <a:pt x="502734" y="43149"/>
                </a:moveTo>
                <a:lnTo>
                  <a:pt x="502734" y="77309"/>
                </a:lnTo>
                <a:lnTo>
                  <a:pt x="537100" y="77309"/>
                </a:lnTo>
                <a:lnTo>
                  <a:pt x="537100" y="43149"/>
                </a:lnTo>
                <a:close/>
                <a:moveTo>
                  <a:pt x="423197" y="43149"/>
                </a:moveTo>
                <a:lnTo>
                  <a:pt x="423197" y="77309"/>
                </a:lnTo>
                <a:lnTo>
                  <a:pt x="457563" y="77309"/>
                </a:lnTo>
                <a:lnTo>
                  <a:pt x="457563" y="43149"/>
                </a:lnTo>
                <a:close/>
                <a:moveTo>
                  <a:pt x="45921" y="0"/>
                </a:moveTo>
                <a:lnTo>
                  <a:pt x="558410" y="0"/>
                </a:lnTo>
                <a:cubicBezTo>
                  <a:pt x="583621" y="0"/>
                  <a:pt x="604181" y="20526"/>
                  <a:pt x="604181" y="45846"/>
                </a:cubicBezTo>
                <a:lnTo>
                  <a:pt x="604181" y="557497"/>
                </a:lnTo>
                <a:cubicBezTo>
                  <a:pt x="604181" y="582667"/>
                  <a:pt x="583621" y="603193"/>
                  <a:pt x="558410" y="603193"/>
                </a:cubicBezTo>
                <a:lnTo>
                  <a:pt x="45921" y="603193"/>
                </a:lnTo>
                <a:cubicBezTo>
                  <a:pt x="20560" y="603193"/>
                  <a:pt x="0" y="582667"/>
                  <a:pt x="0" y="557497"/>
                </a:cubicBezTo>
                <a:lnTo>
                  <a:pt x="0" y="45846"/>
                </a:lnTo>
                <a:cubicBezTo>
                  <a:pt x="0" y="20526"/>
                  <a:pt x="20560" y="0"/>
                  <a:pt x="4592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3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4" name="îṣḻîḍé">
            <a:extLst>
              <a:ext uri="{FF2B5EF4-FFF2-40B4-BE49-F238E27FC236}">
                <a16:creationId xmlns:a16="http://schemas.microsoft.com/office/drawing/2014/main" id="{716A4AAF-66FE-4462-901E-658C29D84AD8}"/>
              </a:ext>
            </a:extLst>
          </p:cNvPr>
          <p:cNvSpPr/>
          <p:nvPr/>
        </p:nvSpPr>
        <p:spPr bwMode="auto">
          <a:xfrm>
            <a:off x="2692644" y="2717715"/>
            <a:ext cx="166302" cy="166050"/>
          </a:xfrm>
          <a:custGeom>
            <a:avLst/>
            <a:gdLst>
              <a:gd name="T0" fmla="*/ 6624 w 7154"/>
              <a:gd name="T1" fmla="*/ 2037 h 7154"/>
              <a:gd name="T2" fmla="*/ 6106 w 7154"/>
              <a:gd name="T3" fmla="*/ 1048 h 7154"/>
              <a:gd name="T4" fmla="*/ 5117 w 7154"/>
              <a:gd name="T5" fmla="*/ 530 h 7154"/>
              <a:gd name="T6" fmla="*/ 4643 w 7154"/>
              <a:gd name="T7" fmla="*/ 334 h 7154"/>
              <a:gd name="T8" fmla="*/ 3577 w 7154"/>
              <a:gd name="T9" fmla="*/ 0 h 7154"/>
              <a:gd name="T10" fmla="*/ 2511 w 7154"/>
              <a:gd name="T11" fmla="*/ 334 h 7154"/>
              <a:gd name="T12" fmla="*/ 2037 w 7154"/>
              <a:gd name="T13" fmla="*/ 530 h 7154"/>
              <a:gd name="T14" fmla="*/ 1048 w 7154"/>
              <a:gd name="T15" fmla="*/ 1048 h 7154"/>
              <a:gd name="T16" fmla="*/ 530 w 7154"/>
              <a:gd name="T17" fmla="*/ 2037 h 7154"/>
              <a:gd name="T18" fmla="*/ 334 w 7154"/>
              <a:gd name="T19" fmla="*/ 2511 h 7154"/>
              <a:gd name="T20" fmla="*/ 0 w 7154"/>
              <a:gd name="T21" fmla="*/ 3577 h 7154"/>
              <a:gd name="T22" fmla="*/ 334 w 7154"/>
              <a:gd name="T23" fmla="*/ 4643 h 7154"/>
              <a:gd name="T24" fmla="*/ 530 w 7154"/>
              <a:gd name="T25" fmla="*/ 5117 h 7154"/>
              <a:gd name="T26" fmla="*/ 1048 w 7154"/>
              <a:gd name="T27" fmla="*/ 6106 h 7154"/>
              <a:gd name="T28" fmla="*/ 2037 w 7154"/>
              <a:gd name="T29" fmla="*/ 6624 h 7154"/>
              <a:gd name="T30" fmla="*/ 2511 w 7154"/>
              <a:gd name="T31" fmla="*/ 6820 h 7154"/>
              <a:gd name="T32" fmla="*/ 3577 w 7154"/>
              <a:gd name="T33" fmla="*/ 7154 h 7154"/>
              <a:gd name="T34" fmla="*/ 4643 w 7154"/>
              <a:gd name="T35" fmla="*/ 6820 h 7154"/>
              <a:gd name="T36" fmla="*/ 5117 w 7154"/>
              <a:gd name="T37" fmla="*/ 6624 h 7154"/>
              <a:gd name="T38" fmla="*/ 6106 w 7154"/>
              <a:gd name="T39" fmla="*/ 6106 h 7154"/>
              <a:gd name="T40" fmla="*/ 6624 w 7154"/>
              <a:gd name="T41" fmla="*/ 5117 h 7154"/>
              <a:gd name="T42" fmla="*/ 6820 w 7154"/>
              <a:gd name="T43" fmla="*/ 4643 h 7154"/>
              <a:gd name="T44" fmla="*/ 7154 w 7154"/>
              <a:gd name="T45" fmla="*/ 3577 h 7154"/>
              <a:gd name="T46" fmla="*/ 6820 w 7154"/>
              <a:gd name="T47" fmla="*/ 2511 h 7154"/>
              <a:gd name="T48" fmla="*/ 6624 w 7154"/>
              <a:gd name="T49" fmla="*/ 2037 h 7154"/>
              <a:gd name="T50" fmla="*/ 5857 w 7154"/>
              <a:gd name="T51" fmla="*/ 2406 h 7154"/>
              <a:gd name="T52" fmla="*/ 3286 w 7154"/>
              <a:gd name="T53" fmla="*/ 4976 h 7154"/>
              <a:gd name="T54" fmla="*/ 2875 w 7154"/>
              <a:gd name="T55" fmla="*/ 5387 h 7154"/>
              <a:gd name="T56" fmla="*/ 2464 w 7154"/>
              <a:gd name="T57" fmla="*/ 5387 h 7154"/>
              <a:gd name="T58" fmla="*/ 2053 w 7154"/>
              <a:gd name="T59" fmla="*/ 4976 h 7154"/>
              <a:gd name="T60" fmla="*/ 1297 w 7154"/>
              <a:gd name="T61" fmla="*/ 4221 h 7154"/>
              <a:gd name="T62" fmla="*/ 1297 w 7154"/>
              <a:gd name="T63" fmla="*/ 3809 h 7154"/>
              <a:gd name="T64" fmla="*/ 1708 w 7154"/>
              <a:gd name="T65" fmla="*/ 3398 h 7154"/>
              <a:gd name="T66" fmla="*/ 2120 w 7154"/>
              <a:gd name="T67" fmla="*/ 3398 h 7154"/>
              <a:gd name="T68" fmla="*/ 2669 w 7154"/>
              <a:gd name="T69" fmla="*/ 3948 h 7154"/>
              <a:gd name="T70" fmla="*/ 5034 w 7154"/>
              <a:gd name="T71" fmla="*/ 1583 h 7154"/>
              <a:gd name="T72" fmla="*/ 5445 w 7154"/>
              <a:gd name="T73" fmla="*/ 1583 h 7154"/>
              <a:gd name="T74" fmla="*/ 5857 w 7154"/>
              <a:gd name="T75" fmla="*/ 1994 h 7154"/>
              <a:gd name="T76" fmla="*/ 5857 w 7154"/>
              <a:gd name="T77" fmla="*/ 2406 h 7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154" h="7154">
                <a:moveTo>
                  <a:pt x="6624" y="2037"/>
                </a:moveTo>
                <a:cubicBezTo>
                  <a:pt x="6580" y="1703"/>
                  <a:pt x="6403" y="1345"/>
                  <a:pt x="6106" y="1048"/>
                </a:cubicBezTo>
                <a:cubicBezTo>
                  <a:pt x="5809" y="751"/>
                  <a:pt x="5451" y="574"/>
                  <a:pt x="5117" y="530"/>
                </a:cubicBezTo>
                <a:cubicBezTo>
                  <a:pt x="4966" y="510"/>
                  <a:pt x="4764" y="427"/>
                  <a:pt x="4643" y="334"/>
                </a:cubicBezTo>
                <a:cubicBezTo>
                  <a:pt x="4375" y="128"/>
                  <a:pt x="3997" y="0"/>
                  <a:pt x="3577" y="0"/>
                </a:cubicBezTo>
                <a:cubicBezTo>
                  <a:pt x="3157" y="0"/>
                  <a:pt x="2779" y="128"/>
                  <a:pt x="2511" y="334"/>
                </a:cubicBezTo>
                <a:cubicBezTo>
                  <a:pt x="2390" y="427"/>
                  <a:pt x="2188" y="510"/>
                  <a:pt x="2037" y="530"/>
                </a:cubicBezTo>
                <a:cubicBezTo>
                  <a:pt x="1702" y="574"/>
                  <a:pt x="1345" y="751"/>
                  <a:pt x="1048" y="1048"/>
                </a:cubicBezTo>
                <a:cubicBezTo>
                  <a:pt x="751" y="1345"/>
                  <a:pt x="574" y="1703"/>
                  <a:pt x="530" y="2037"/>
                </a:cubicBezTo>
                <a:cubicBezTo>
                  <a:pt x="510" y="2188"/>
                  <a:pt x="427" y="2390"/>
                  <a:pt x="334" y="2511"/>
                </a:cubicBezTo>
                <a:cubicBezTo>
                  <a:pt x="128" y="2779"/>
                  <a:pt x="0" y="3157"/>
                  <a:pt x="0" y="3577"/>
                </a:cubicBezTo>
                <a:cubicBezTo>
                  <a:pt x="0" y="3997"/>
                  <a:pt x="128" y="4375"/>
                  <a:pt x="334" y="4643"/>
                </a:cubicBezTo>
                <a:cubicBezTo>
                  <a:pt x="427" y="4764"/>
                  <a:pt x="510" y="4966"/>
                  <a:pt x="530" y="5117"/>
                </a:cubicBezTo>
                <a:cubicBezTo>
                  <a:pt x="574" y="5451"/>
                  <a:pt x="751" y="5809"/>
                  <a:pt x="1048" y="6106"/>
                </a:cubicBezTo>
                <a:cubicBezTo>
                  <a:pt x="1345" y="6403"/>
                  <a:pt x="1702" y="6580"/>
                  <a:pt x="2037" y="6624"/>
                </a:cubicBezTo>
                <a:cubicBezTo>
                  <a:pt x="2188" y="6644"/>
                  <a:pt x="2390" y="6727"/>
                  <a:pt x="2511" y="6820"/>
                </a:cubicBezTo>
                <a:cubicBezTo>
                  <a:pt x="2779" y="7025"/>
                  <a:pt x="3157" y="7154"/>
                  <a:pt x="3577" y="7154"/>
                </a:cubicBezTo>
                <a:cubicBezTo>
                  <a:pt x="3997" y="7154"/>
                  <a:pt x="4375" y="7025"/>
                  <a:pt x="4643" y="6820"/>
                </a:cubicBezTo>
                <a:cubicBezTo>
                  <a:pt x="4764" y="6727"/>
                  <a:pt x="4966" y="6644"/>
                  <a:pt x="5117" y="6624"/>
                </a:cubicBezTo>
                <a:cubicBezTo>
                  <a:pt x="5451" y="6580"/>
                  <a:pt x="5809" y="6403"/>
                  <a:pt x="6106" y="6106"/>
                </a:cubicBezTo>
                <a:cubicBezTo>
                  <a:pt x="6403" y="5809"/>
                  <a:pt x="6580" y="5451"/>
                  <a:pt x="6624" y="5117"/>
                </a:cubicBezTo>
                <a:cubicBezTo>
                  <a:pt x="6644" y="4966"/>
                  <a:pt x="6727" y="4764"/>
                  <a:pt x="6820" y="4643"/>
                </a:cubicBezTo>
                <a:cubicBezTo>
                  <a:pt x="7026" y="4375"/>
                  <a:pt x="7154" y="3997"/>
                  <a:pt x="7154" y="3577"/>
                </a:cubicBezTo>
                <a:cubicBezTo>
                  <a:pt x="7154" y="3157"/>
                  <a:pt x="7026" y="2779"/>
                  <a:pt x="6820" y="2511"/>
                </a:cubicBezTo>
                <a:cubicBezTo>
                  <a:pt x="6727" y="2390"/>
                  <a:pt x="6644" y="2188"/>
                  <a:pt x="6624" y="2037"/>
                </a:cubicBezTo>
                <a:close/>
                <a:moveTo>
                  <a:pt x="5857" y="2406"/>
                </a:moveTo>
                <a:lnTo>
                  <a:pt x="3286" y="4976"/>
                </a:lnTo>
                <a:lnTo>
                  <a:pt x="2875" y="5387"/>
                </a:lnTo>
                <a:cubicBezTo>
                  <a:pt x="2762" y="5501"/>
                  <a:pt x="2577" y="5501"/>
                  <a:pt x="2464" y="5387"/>
                </a:cubicBezTo>
                <a:lnTo>
                  <a:pt x="2053" y="4976"/>
                </a:lnTo>
                <a:lnTo>
                  <a:pt x="1297" y="4221"/>
                </a:lnTo>
                <a:cubicBezTo>
                  <a:pt x="1183" y="4107"/>
                  <a:pt x="1183" y="3923"/>
                  <a:pt x="1297" y="3809"/>
                </a:cubicBezTo>
                <a:lnTo>
                  <a:pt x="1708" y="3398"/>
                </a:lnTo>
                <a:cubicBezTo>
                  <a:pt x="1822" y="3285"/>
                  <a:pt x="2006" y="3285"/>
                  <a:pt x="2120" y="3398"/>
                </a:cubicBezTo>
                <a:lnTo>
                  <a:pt x="2669" y="3948"/>
                </a:lnTo>
                <a:lnTo>
                  <a:pt x="5034" y="1583"/>
                </a:lnTo>
                <a:cubicBezTo>
                  <a:pt x="5148" y="1470"/>
                  <a:pt x="5332" y="1470"/>
                  <a:pt x="5445" y="1583"/>
                </a:cubicBezTo>
                <a:lnTo>
                  <a:pt x="5857" y="1994"/>
                </a:lnTo>
                <a:cubicBezTo>
                  <a:pt x="5970" y="2108"/>
                  <a:pt x="5970" y="2292"/>
                  <a:pt x="5857" y="2406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3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5" name="iṧḷiḑé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477961" y="2140578"/>
            <a:ext cx="1375520" cy="207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按分布模式进行配置</a:t>
            </a:r>
            <a:endParaRPr lang="en-US" altLang="zh-CN" sz="1100" dirty="0"/>
          </a:p>
        </p:txBody>
      </p:sp>
      <p:sp>
        <p:nvSpPr>
          <p:cNvPr id="216" name="îṧḻiḑe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237552" y="2426858"/>
            <a:ext cx="1375520" cy="207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运行第一个实例</a:t>
            </a:r>
            <a:endParaRPr lang="en-US" altLang="zh-CN" sz="1100" dirty="0"/>
          </a:p>
        </p:txBody>
      </p:sp>
      <p:sp>
        <p:nvSpPr>
          <p:cNvPr id="217" name="îṣľïd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2997214" y="2713139"/>
            <a:ext cx="1375520" cy="207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开心</a:t>
            </a:r>
            <a:r>
              <a:rPr lang="en-US" altLang="zh-CN" sz="1100" dirty="0" err="1"/>
              <a:t>ing</a:t>
            </a:r>
            <a:r>
              <a:rPr lang="en-US" altLang="zh-CN" sz="1100" dirty="0"/>
              <a:t>~</a:t>
            </a:r>
          </a:p>
        </p:txBody>
      </p:sp>
      <p:sp>
        <p:nvSpPr>
          <p:cNvPr id="218" name="íṧ1îd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718270" y="1854297"/>
            <a:ext cx="1375520" cy="207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 解压</a:t>
            </a:r>
            <a:endParaRPr lang="en-US" altLang="zh-CN" sz="1100" dirty="0"/>
          </a:p>
        </p:txBody>
      </p:sp>
      <p:sp>
        <p:nvSpPr>
          <p:cNvPr id="219" name="îs1ïḋ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961608" y="1568015"/>
            <a:ext cx="1375520" cy="207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配置环境变量 使之生效</a:t>
            </a:r>
            <a:endParaRPr lang="en-US" altLang="zh-CN" sz="1100" dirty="0"/>
          </a:p>
        </p:txBody>
      </p:sp>
      <p:sp>
        <p:nvSpPr>
          <p:cNvPr id="220" name="íšliḓ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4201932" y="1281735"/>
            <a:ext cx="1375520" cy="207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>
                <a:solidFill>
                  <a:schemeClr val="bg1"/>
                </a:solidFill>
              </a:rPr>
              <a:t>在官网下载安装包</a:t>
            </a:r>
            <a:r>
              <a:rPr lang="en-US" altLang="zh-CN" sz="1100" dirty="0">
                <a:solidFill>
                  <a:schemeClr val="bg1"/>
                </a:solidFill>
              </a:rPr>
              <a:t> </a:t>
            </a:r>
            <a:r>
              <a:rPr lang="zh-CN" altLang="en-US" sz="1100" dirty="0">
                <a:solidFill>
                  <a:schemeClr val="bg1"/>
                </a:solidFill>
              </a:rPr>
              <a:t>解压</a:t>
            </a: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72" name="íSľîḍe">
            <a:extLst>
              <a:ext uri="{FF2B5EF4-FFF2-40B4-BE49-F238E27FC236}">
                <a16:creationId xmlns:a16="http://schemas.microsoft.com/office/drawing/2014/main" id="{A5994CFB-BDDD-4F97-B2DB-89DB6EB85CBD}"/>
              </a:ext>
            </a:extLst>
          </p:cNvPr>
          <p:cNvSpPr/>
          <p:nvPr/>
        </p:nvSpPr>
        <p:spPr>
          <a:xfrm>
            <a:off x="2188093" y="3494498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下载</a:t>
            </a:r>
          </a:p>
        </p:txBody>
      </p:sp>
      <p:sp>
        <p:nvSpPr>
          <p:cNvPr id="80" name="îṩḷïḍé">
            <a:extLst>
              <a:ext uri="{FF2B5EF4-FFF2-40B4-BE49-F238E27FC236}">
                <a16:creationId xmlns:a16="http://schemas.microsoft.com/office/drawing/2014/main" id="{8C0A7377-43ED-4772-94B4-3EB2E7A6E293}"/>
              </a:ext>
            </a:extLst>
          </p:cNvPr>
          <p:cNvSpPr>
            <a:spLocks/>
          </p:cNvSpPr>
          <p:nvPr/>
        </p:nvSpPr>
        <p:spPr bwMode="auto">
          <a:xfrm>
            <a:off x="2453830" y="3611872"/>
            <a:ext cx="532037" cy="532037"/>
          </a:xfrm>
          <a:custGeom>
            <a:avLst/>
            <a:gdLst>
              <a:gd name="connsiteX0" fmla="*/ 39602 w 536368"/>
              <a:gd name="connsiteY0" fmla="*/ 407445 h 587881"/>
              <a:gd name="connsiteX1" fmla="*/ 79294 w 536368"/>
              <a:gd name="connsiteY1" fmla="*/ 446999 h 587881"/>
              <a:gd name="connsiteX2" fmla="*/ 79294 w 536368"/>
              <a:gd name="connsiteY2" fmla="*/ 508685 h 587881"/>
              <a:gd name="connsiteX3" fmla="*/ 457074 w 536368"/>
              <a:gd name="connsiteY3" fmla="*/ 508685 h 587881"/>
              <a:gd name="connsiteX4" fmla="*/ 457074 w 536368"/>
              <a:gd name="connsiteY4" fmla="*/ 446999 h 587881"/>
              <a:gd name="connsiteX5" fmla="*/ 496677 w 536368"/>
              <a:gd name="connsiteY5" fmla="*/ 407445 h 587881"/>
              <a:gd name="connsiteX6" fmla="*/ 536368 w 536368"/>
              <a:gd name="connsiteY6" fmla="*/ 446999 h 587881"/>
              <a:gd name="connsiteX7" fmla="*/ 536368 w 536368"/>
              <a:gd name="connsiteY7" fmla="*/ 548238 h 587881"/>
              <a:gd name="connsiteX8" fmla="*/ 496677 w 536368"/>
              <a:gd name="connsiteY8" fmla="*/ 587881 h 587881"/>
              <a:gd name="connsiteX9" fmla="*/ 39602 w 536368"/>
              <a:gd name="connsiteY9" fmla="*/ 587881 h 587881"/>
              <a:gd name="connsiteX10" fmla="*/ 0 w 536368"/>
              <a:gd name="connsiteY10" fmla="*/ 548238 h 587881"/>
              <a:gd name="connsiteX11" fmla="*/ 0 w 536368"/>
              <a:gd name="connsiteY11" fmla="*/ 446999 h 587881"/>
              <a:gd name="connsiteX12" fmla="*/ 39602 w 536368"/>
              <a:gd name="connsiteY12" fmla="*/ 407445 h 587881"/>
              <a:gd name="connsiteX13" fmla="*/ 223430 w 536368"/>
              <a:gd name="connsiteY13" fmla="*/ 0 h 587881"/>
              <a:gd name="connsiteX14" fmla="*/ 312886 w 536368"/>
              <a:gd name="connsiteY14" fmla="*/ 0 h 587881"/>
              <a:gd name="connsiteX15" fmla="*/ 343773 w 536368"/>
              <a:gd name="connsiteY15" fmla="*/ 30926 h 587881"/>
              <a:gd name="connsiteX16" fmla="*/ 343773 w 536368"/>
              <a:gd name="connsiteY16" fmla="*/ 286685 h 587881"/>
              <a:gd name="connsiteX17" fmla="*/ 409018 w 536368"/>
              <a:gd name="connsiteY17" fmla="*/ 286685 h 587881"/>
              <a:gd name="connsiteX18" fmla="*/ 422103 w 536368"/>
              <a:gd name="connsiteY18" fmla="*/ 295394 h 587881"/>
              <a:gd name="connsiteX19" fmla="*/ 418988 w 536368"/>
              <a:gd name="connsiteY19" fmla="*/ 310857 h 587881"/>
              <a:gd name="connsiteX20" fmla="*/ 280130 w 536368"/>
              <a:gd name="connsiteY20" fmla="*/ 449489 h 587881"/>
              <a:gd name="connsiteX21" fmla="*/ 256186 w 536368"/>
              <a:gd name="connsiteY21" fmla="*/ 449489 h 587881"/>
              <a:gd name="connsiteX22" fmla="*/ 117239 w 536368"/>
              <a:gd name="connsiteY22" fmla="*/ 310857 h 587881"/>
              <a:gd name="connsiteX23" fmla="*/ 114213 w 536368"/>
              <a:gd name="connsiteY23" fmla="*/ 295394 h 587881"/>
              <a:gd name="connsiteX24" fmla="*/ 127297 w 536368"/>
              <a:gd name="connsiteY24" fmla="*/ 286685 h 587881"/>
              <a:gd name="connsiteX25" fmla="*/ 192543 w 536368"/>
              <a:gd name="connsiteY25" fmla="*/ 286685 h 587881"/>
              <a:gd name="connsiteX26" fmla="*/ 192543 w 536368"/>
              <a:gd name="connsiteY26" fmla="*/ 30926 h 587881"/>
              <a:gd name="connsiteX27" fmla="*/ 223430 w 536368"/>
              <a:gd name="connsiteY27" fmla="*/ 0 h 587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536368" h="587881">
                <a:moveTo>
                  <a:pt x="39602" y="407445"/>
                </a:moveTo>
                <a:cubicBezTo>
                  <a:pt x="61495" y="407445"/>
                  <a:pt x="79294" y="425133"/>
                  <a:pt x="79294" y="446999"/>
                </a:cubicBezTo>
                <a:lnTo>
                  <a:pt x="79294" y="508685"/>
                </a:lnTo>
                <a:lnTo>
                  <a:pt x="457074" y="508685"/>
                </a:lnTo>
                <a:lnTo>
                  <a:pt x="457074" y="446999"/>
                </a:lnTo>
                <a:cubicBezTo>
                  <a:pt x="457074" y="425133"/>
                  <a:pt x="474873" y="407445"/>
                  <a:pt x="496677" y="407445"/>
                </a:cubicBezTo>
                <a:cubicBezTo>
                  <a:pt x="518569" y="407445"/>
                  <a:pt x="536368" y="425133"/>
                  <a:pt x="536368" y="446999"/>
                </a:cubicBezTo>
                <a:lnTo>
                  <a:pt x="536368" y="548238"/>
                </a:lnTo>
                <a:cubicBezTo>
                  <a:pt x="536368" y="570104"/>
                  <a:pt x="518569" y="587881"/>
                  <a:pt x="496677" y="587881"/>
                </a:cubicBezTo>
                <a:lnTo>
                  <a:pt x="39602" y="587881"/>
                </a:lnTo>
                <a:cubicBezTo>
                  <a:pt x="17710" y="587881"/>
                  <a:pt x="0" y="570104"/>
                  <a:pt x="0" y="548238"/>
                </a:cubicBezTo>
                <a:lnTo>
                  <a:pt x="0" y="446999"/>
                </a:lnTo>
                <a:cubicBezTo>
                  <a:pt x="0" y="425133"/>
                  <a:pt x="17710" y="407445"/>
                  <a:pt x="39602" y="407445"/>
                </a:cubicBezTo>
                <a:close/>
                <a:moveTo>
                  <a:pt x="223430" y="0"/>
                </a:moveTo>
                <a:lnTo>
                  <a:pt x="312886" y="0"/>
                </a:lnTo>
                <a:cubicBezTo>
                  <a:pt x="329976" y="0"/>
                  <a:pt x="343773" y="13863"/>
                  <a:pt x="343773" y="30926"/>
                </a:cubicBezTo>
                <a:lnTo>
                  <a:pt x="343773" y="286685"/>
                </a:lnTo>
                <a:lnTo>
                  <a:pt x="409018" y="286685"/>
                </a:lnTo>
                <a:cubicBezTo>
                  <a:pt x="414715" y="286685"/>
                  <a:pt x="419878" y="290151"/>
                  <a:pt x="422103" y="295394"/>
                </a:cubicBezTo>
                <a:cubicBezTo>
                  <a:pt x="424239" y="300726"/>
                  <a:pt x="423082" y="306769"/>
                  <a:pt x="418988" y="310857"/>
                </a:cubicBezTo>
                <a:lnTo>
                  <a:pt x="280130" y="449489"/>
                </a:lnTo>
                <a:cubicBezTo>
                  <a:pt x="273543" y="456065"/>
                  <a:pt x="262773" y="456065"/>
                  <a:pt x="256186" y="449489"/>
                </a:cubicBezTo>
                <a:lnTo>
                  <a:pt x="117239" y="310857"/>
                </a:lnTo>
                <a:cubicBezTo>
                  <a:pt x="113233" y="306769"/>
                  <a:pt x="111987" y="300726"/>
                  <a:pt x="114213" y="295394"/>
                </a:cubicBezTo>
                <a:cubicBezTo>
                  <a:pt x="116438" y="290151"/>
                  <a:pt x="121511" y="286685"/>
                  <a:pt x="127297" y="286685"/>
                </a:cubicBezTo>
                <a:lnTo>
                  <a:pt x="192543" y="286685"/>
                </a:lnTo>
                <a:lnTo>
                  <a:pt x="192543" y="30926"/>
                </a:lnTo>
                <a:cubicBezTo>
                  <a:pt x="192543" y="13863"/>
                  <a:pt x="206339" y="0"/>
                  <a:pt x="223430" y="0"/>
                </a:cubicBezTo>
                <a:close/>
              </a:path>
            </a:pathLst>
          </a:cu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sz="2400" b="1"/>
          </a:p>
        </p:txBody>
      </p:sp>
      <p:sp>
        <p:nvSpPr>
          <p:cNvPr id="73" name="íṩ1íďê">
            <a:extLst>
              <a:ext uri="{FF2B5EF4-FFF2-40B4-BE49-F238E27FC236}">
                <a16:creationId xmlns:a16="http://schemas.microsoft.com/office/drawing/2014/main" id="{A7D64309-FEDA-48E8-8C49-3BA3DE29F631}"/>
              </a:ext>
            </a:extLst>
          </p:cNvPr>
          <p:cNvSpPr/>
          <p:nvPr/>
        </p:nvSpPr>
        <p:spPr>
          <a:xfrm>
            <a:off x="1221539" y="4640590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官网</a:t>
            </a:r>
          </a:p>
        </p:txBody>
      </p:sp>
      <p:sp>
        <p:nvSpPr>
          <p:cNvPr id="81" name="íŝḻíḍê">
            <a:extLst>
              <a:ext uri="{FF2B5EF4-FFF2-40B4-BE49-F238E27FC236}">
                <a16:creationId xmlns:a16="http://schemas.microsoft.com/office/drawing/2014/main" id="{A4CACE7B-1F11-4801-8759-C4B5C3900A24}"/>
              </a:ext>
            </a:extLst>
          </p:cNvPr>
          <p:cNvSpPr>
            <a:spLocks/>
          </p:cNvSpPr>
          <p:nvPr/>
        </p:nvSpPr>
        <p:spPr bwMode="auto">
          <a:xfrm>
            <a:off x="1494845" y="4793255"/>
            <a:ext cx="532037" cy="532037"/>
          </a:xfrm>
          <a:custGeom>
            <a:avLst/>
            <a:gdLst>
              <a:gd name="connsiteX0" fmla="*/ 454514 w 613046"/>
              <a:gd name="connsiteY0" fmla="*/ 373741 h 610326"/>
              <a:gd name="connsiteX1" fmla="*/ 595797 w 613046"/>
              <a:gd name="connsiteY1" fmla="*/ 511272 h 610326"/>
              <a:gd name="connsiteX2" fmla="*/ 595797 w 613046"/>
              <a:gd name="connsiteY2" fmla="*/ 593135 h 610326"/>
              <a:gd name="connsiteX3" fmla="*/ 513656 w 613046"/>
              <a:gd name="connsiteY3" fmla="*/ 593135 h 610326"/>
              <a:gd name="connsiteX4" fmla="*/ 372373 w 613046"/>
              <a:gd name="connsiteY4" fmla="*/ 452330 h 610326"/>
              <a:gd name="connsiteX5" fmla="*/ 454514 w 613046"/>
              <a:gd name="connsiteY5" fmla="*/ 373741 h 610326"/>
              <a:gd name="connsiteX6" fmla="*/ 231364 w 613046"/>
              <a:gd name="connsiteY6" fmla="*/ 94462 h 610326"/>
              <a:gd name="connsiteX7" fmla="*/ 231364 w 613046"/>
              <a:gd name="connsiteY7" fmla="*/ 133729 h 610326"/>
              <a:gd name="connsiteX8" fmla="*/ 135499 w 613046"/>
              <a:gd name="connsiteY8" fmla="*/ 228625 h 610326"/>
              <a:gd name="connsiteX9" fmla="*/ 95831 w 613046"/>
              <a:gd name="connsiteY9" fmla="*/ 228625 h 610326"/>
              <a:gd name="connsiteX10" fmla="*/ 231364 w 613046"/>
              <a:gd name="connsiteY10" fmla="*/ 94462 h 610326"/>
              <a:gd name="connsiteX11" fmla="*/ 230271 w 613046"/>
              <a:gd name="connsiteY11" fmla="*/ 55689 h 610326"/>
              <a:gd name="connsiteX12" fmla="*/ 55923 w 613046"/>
              <a:gd name="connsiteY12" fmla="*/ 229310 h 610326"/>
              <a:gd name="connsiteX13" fmla="*/ 230271 w 613046"/>
              <a:gd name="connsiteY13" fmla="*/ 399655 h 610326"/>
              <a:gd name="connsiteX14" fmla="*/ 401329 w 613046"/>
              <a:gd name="connsiteY14" fmla="*/ 229310 h 610326"/>
              <a:gd name="connsiteX15" fmla="*/ 230271 w 613046"/>
              <a:gd name="connsiteY15" fmla="*/ 55689 h 610326"/>
              <a:gd name="connsiteX16" fmla="*/ 230271 w 613046"/>
              <a:gd name="connsiteY16" fmla="*/ 0 h 610326"/>
              <a:gd name="connsiteX17" fmla="*/ 457252 w 613046"/>
              <a:gd name="connsiteY17" fmla="*/ 229310 h 610326"/>
              <a:gd name="connsiteX18" fmla="*/ 230271 w 613046"/>
              <a:gd name="connsiteY18" fmla="*/ 458620 h 610326"/>
              <a:gd name="connsiteX19" fmla="*/ 0 w 613046"/>
              <a:gd name="connsiteY19" fmla="*/ 229310 h 610326"/>
              <a:gd name="connsiteX20" fmla="*/ 230271 w 613046"/>
              <a:gd name="connsiteY20" fmla="*/ 0 h 610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613046" h="610326">
                <a:moveTo>
                  <a:pt x="454514" y="373741"/>
                </a:moveTo>
                <a:cubicBezTo>
                  <a:pt x="454514" y="373741"/>
                  <a:pt x="454514" y="373741"/>
                  <a:pt x="595797" y="511272"/>
                </a:cubicBezTo>
                <a:cubicBezTo>
                  <a:pt x="618796" y="534194"/>
                  <a:pt x="618796" y="570214"/>
                  <a:pt x="595797" y="593135"/>
                </a:cubicBezTo>
                <a:cubicBezTo>
                  <a:pt x="572797" y="616057"/>
                  <a:pt x="536655" y="616057"/>
                  <a:pt x="513656" y="593135"/>
                </a:cubicBezTo>
                <a:cubicBezTo>
                  <a:pt x="513656" y="593135"/>
                  <a:pt x="513656" y="593135"/>
                  <a:pt x="372373" y="452330"/>
                </a:cubicBezTo>
                <a:cubicBezTo>
                  <a:pt x="405229" y="432683"/>
                  <a:pt x="434800" y="406487"/>
                  <a:pt x="454514" y="373741"/>
                </a:cubicBezTo>
                <a:close/>
                <a:moveTo>
                  <a:pt x="231364" y="94462"/>
                </a:moveTo>
                <a:cubicBezTo>
                  <a:pt x="231364" y="94462"/>
                  <a:pt x="231364" y="94462"/>
                  <a:pt x="231364" y="133729"/>
                </a:cubicBezTo>
                <a:cubicBezTo>
                  <a:pt x="178473" y="133729"/>
                  <a:pt x="135499" y="176269"/>
                  <a:pt x="135499" y="228625"/>
                </a:cubicBezTo>
                <a:cubicBezTo>
                  <a:pt x="135499" y="228625"/>
                  <a:pt x="135499" y="228625"/>
                  <a:pt x="95831" y="228625"/>
                </a:cubicBezTo>
                <a:cubicBezTo>
                  <a:pt x="95831" y="153363"/>
                  <a:pt x="155333" y="94462"/>
                  <a:pt x="231364" y="94462"/>
                </a:cubicBezTo>
                <a:close/>
                <a:moveTo>
                  <a:pt x="230271" y="55689"/>
                </a:moveTo>
                <a:cubicBezTo>
                  <a:pt x="134873" y="55689"/>
                  <a:pt x="55923" y="134310"/>
                  <a:pt x="55923" y="229310"/>
                </a:cubicBezTo>
                <a:cubicBezTo>
                  <a:pt x="55923" y="324310"/>
                  <a:pt x="134873" y="399655"/>
                  <a:pt x="230271" y="399655"/>
                </a:cubicBezTo>
                <a:cubicBezTo>
                  <a:pt x="322379" y="399655"/>
                  <a:pt x="401329" y="324310"/>
                  <a:pt x="401329" y="229310"/>
                </a:cubicBezTo>
                <a:cubicBezTo>
                  <a:pt x="401329" y="134310"/>
                  <a:pt x="322379" y="55689"/>
                  <a:pt x="230271" y="55689"/>
                </a:cubicBezTo>
                <a:close/>
                <a:moveTo>
                  <a:pt x="230271" y="0"/>
                </a:moveTo>
                <a:cubicBezTo>
                  <a:pt x="355275" y="0"/>
                  <a:pt x="457252" y="101551"/>
                  <a:pt x="457252" y="229310"/>
                </a:cubicBezTo>
                <a:cubicBezTo>
                  <a:pt x="457252" y="353792"/>
                  <a:pt x="355275" y="458620"/>
                  <a:pt x="230271" y="458620"/>
                </a:cubicBezTo>
                <a:cubicBezTo>
                  <a:pt x="101977" y="458620"/>
                  <a:pt x="0" y="353792"/>
                  <a:pt x="0" y="229310"/>
                </a:cubicBezTo>
                <a:cubicBezTo>
                  <a:pt x="0" y="101551"/>
                  <a:pt x="101977" y="0"/>
                  <a:pt x="230271" y="0"/>
                </a:cubicBezTo>
                <a:close/>
              </a:path>
            </a:pathLst>
          </a:cu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sz="2400" b="1"/>
          </a:p>
        </p:txBody>
      </p:sp>
      <p:cxnSp>
        <p:nvCxnSpPr>
          <p:cNvPr id="87" name="肘形连接符 18">
            <a:extLst>
              <a:ext uri="{FF2B5EF4-FFF2-40B4-BE49-F238E27FC236}">
                <a16:creationId xmlns:a16="http://schemas.microsoft.com/office/drawing/2014/main" id="{49C7B27A-80FA-4D72-A63D-747D60D6F69D}"/>
              </a:ext>
            </a:extLst>
          </p:cNvPr>
          <p:cNvCxnSpPr>
            <a:stCxn id="72" idx="2"/>
          </p:cNvCxnSpPr>
          <p:nvPr/>
        </p:nvCxnSpPr>
        <p:spPr>
          <a:xfrm rot="10800000" flipV="1">
            <a:off x="1779013" y="4033823"/>
            <a:ext cx="409081" cy="617746"/>
          </a:xfrm>
          <a:prstGeom prst="bentConnector2">
            <a:avLst/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肘形连接符 19">
            <a:extLst>
              <a:ext uri="{FF2B5EF4-FFF2-40B4-BE49-F238E27FC236}">
                <a16:creationId xmlns:a16="http://schemas.microsoft.com/office/drawing/2014/main" id="{06D3E04B-3064-46E8-8C1F-44DE0D901F5F}"/>
              </a:ext>
            </a:extLst>
          </p:cNvPr>
          <p:cNvCxnSpPr>
            <a:cxnSpLocks/>
            <a:endCxn id="72" idx="6"/>
          </p:cNvCxnSpPr>
          <p:nvPr/>
        </p:nvCxnSpPr>
        <p:spPr>
          <a:xfrm rot="10800000" flipV="1">
            <a:off x="3266745" y="4030444"/>
            <a:ext cx="831461" cy="3380"/>
          </a:xfrm>
          <a:prstGeom prst="bentConnector3">
            <a:avLst>
              <a:gd name="adj1" fmla="val 50000"/>
            </a:avLst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肘形连接符 20">
            <a:extLst>
              <a:ext uri="{FF2B5EF4-FFF2-40B4-BE49-F238E27FC236}">
                <a16:creationId xmlns:a16="http://schemas.microsoft.com/office/drawing/2014/main" id="{1A9C97C5-2432-4CDB-804F-1553A54FE14B}"/>
              </a:ext>
            </a:extLst>
          </p:cNvPr>
          <p:cNvCxnSpPr/>
          <p:nvPr/>
        </p:nvCxnSpPr>
        <p:spPr>
          <a:xfrm rot="16200000" flipV="1">
            <a:off x="2604525" y="4674555"/>
            <a:ext cx="606891" cy="410880"/>
          </a:xfrm>
          <a:prstGeom prst="bentConnector3">
            <a:avLst>
              <a:gd name="adj1" fmla="val 1739"/>
            </a:avLst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íšḷíḍê">
            <a:extLst>
              <a:ext uri="{FF2B5EF4-FFF2-40B4-BE49-F238E27FC236}">
                <a16:creationId xmlns:a16="http://schemas.microsoft.com/office/drawing/2014/main" id="{773C01DB-73CD-4929-8AF7-D80062D9C000}"/>
              </a:ext>
            </a:extLst>
          </p:cNvPr>
          <p:cNvSpPr txBox="1"/>
          <p:nvPr/>
        </p:nvSpPr>
        <p:spPr>
          <a:xfrm>
            <a:off x="1225111" y="2883765"/>
            <a:ext cx="6697350" cy="50414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SzPct val="25000"/>
            </a:pPr>
            <a:r>
              <a:rPr lang="zh-CN" altLang="en-US" sz="2000" b="1" i="1" dirty="0"/>
              <a:t>安装</a:t>
            </a:r>
            <a:r>
              <a:rPr lang="en-US" altLang="zh-CN" sz="2000" b="1" i="1" dirty="0"/>
              <a:t>JAVA</a:t>
            </a:r>
            <a:r>
              <a:rPr lang="zh-CN" altLang="en-US" sz="2000" b="1" i="1" dirty="0"/>
              <a:t>的步骤</a:t>
            </a:r>
            <a:endParaRPr lang="en-US" sz="2000" b="1" i="1" dirty="0"/>
          </a:p>
        </p:txBody>
      </p:sp>
      <p:grpSp>
        <p:nvGrpSpPr>
          <p:cNvPr id="96" name="îšlïḍe">
            <a:extLst>
              <a:ext uri="{FF2B5EF4-FFF2-40B4-BE49-F238E27FC236}">
                <a16:creationId xmlns:a16="http://schemas.microsoft.com/office/drawing/2014/main" id="{A8C20F7A-B88F-4CAA-A8B8-5FE1B9B4FB44}"/>
              </a:ext>
            </a:extLst>
          </p:cNvPr>
          <p:cNvGrpSpPr/>
          <p:nvPr/>
        </p:nvGrpSpPr>
        <p:grpSpPr>
          <a:xfrm>
            <a:off x="1223920" y="5793581"/>
            <a:ext cx="1948045" cy="849253"/>
            <a:chOff x="8563614" y="4934816"/>
            <a:chExt cx="2955286" cy="1008290"/>
          </a:xfrm>
        </p:grpSpPr>
        <p:sp>
          <p:nvSpPr>
            <p:cNvPr id="106" name="íšľiḋé">
              <a:extLst>
                <a:ext uri="{FF2B5EF4-FFF2-40B4-BE49-F238E27FC236}">
                  <a16:creationId xmlns:a16="http://schemas.microsoft.com/office/drawing/2014/main" id="{1CA9D6AA-7AF2-4B6B-83E3-C3ABFF7C0325}"/>
                </a:ext>
              </a:extLst>
            </p:cNvPr>
            <p:cNvSpPr txBox="1"/>
            <p:nvPr/>
          </p:nvSpPr>
          <p:spPr bwMode="auto">
            <a:xfrm>
              <a:off x="8563614" y="4934816"/>
              <a:ext cx="2955286" cy="480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b="1" dirty="0"/>
                <a:t>搜索 下载</a:t>
              </a:r>
              <a:endParaRPr lang="en-US" altLang="zh-CN" b="1" dirty="0"/>
            </a:p>
          </p:txBody>
        </p:sp>
        <p:sp>
          <p:nvSpPr>
            <p:cNvPr id="107" name="íṧḷidé">
              <a:extLst>
                <a:ext uri="{FF2B5EF4-FFF2-40B4-BE49-F238E27FC236}">
                  <a16:creationId xmlns:a16="http://schemas.microsoft.com/office/drawing/2014/main" id="{4E4AECE9-BB8C-4A65-A6C1-FC2C180AA3E0}"/>
                </a:ext>
              </a:extLst>
            </p:cNvPr>
            <p:cNvSpPr/>
            <p:nvPr/>
          </p:nvSpPr>
          <p:spPr bwMode="auto">
            <a:xfrm>
              <a:off x="8563614" y="5415115"/>
              <a:ext cx="2955286" cy="5279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zh-CN" altLang="en-US" sz="1100" dirty="0"/>
                <a:t>在</a:t>
              </a:r>
              <a:r>
                <a:rPr lang="en-US" altLang="zh-CN" sz="1100" dirty="0"/>
                <a:t>Ubuntu</a:t>
              </a:r>
              <a:r>
                <a:rPr lang="zh-CN" altLang="en-US" sz="1100" dirty="0"/>
                <a:t>中直接使用浏览器</a:t>
              </a:r>
              <a:endParaRPr lang="en-US" altLang="zh-CN" sz="1100" dirty="0"/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Or</a:t>
              </a:r>
              <a:r>
                <a:rPr lang="zh-CN" altLang="en-US" sz="1100" dirty="0"/>
                <a:t>把下好的拖进</a:t>
              </a:r>
              <a:r>
                <a:rPr lang="en-US" altLang="zh-CN" sz="1100" dirty="0"/>
                <a:t>Ubuntu(</a:t>
              </a:r>
              <a:r>
                <a:rPr lang="zh-CN" altLang="en-US" sz="1100" dirty="0"/>
                <a:t>虚拟机</a:t>
              </a:r>
              <a:r>
                <a:rPr lang="en-US" altLang="zh-CN" sz="1100" dirty="0"/>
                <a:t>)</a:t>
              </a:r>
            </a:p>
          </p:txBody>
        </p:sp>
      </p:grpSp>
      <p:grpSp>
        <p:nvGrpSpPr>
          <p:cNvPr id="97" name="î$ļíḋé">
            <a:extLst>
              <a:ext uri="{FF2B5EF4-FFF2-40B4-BE49-F238E27FC236}">
                <a16:creationId xmlns:a16="http://schemas.microsoft.com/office/drawing/2014/main" id="{E78420F6-8631-48AB-8DEA-8F2D461170B6}"/>
              </a:ext>
            </a:extLst>
          </p:cNvPr>
          <p:cNvGrpSpPr/>
          <p:nvPr/>
        </p:nvGrpSpPr>
        <p:grpSpPr>
          <a:xfrm>
            <a:off x="3400929" y="5793583"/>
            <a:ext cx="1948047" cy="849256"/>
            <a:chOff x="8737934" y="4934814"/>
            <a:chExt cx="2955288" cy="1008293"/>
          </a:xfrm>
        </p:grpSpPr>
        <p:sp>
          <p:nvSpPr>
            <p:cNvPr id="104" name="ïṡ1îḑê">
              <a:extLst>
                <a:ext uri="{FF2B5EF4-FFF2-40B4-BE49-F238E27FC236}">
                  <a16:creationId xmlns:a16="http://schemas.microsoft.com/office/drawing/2014/main" id="{7C1DD7A7-1546-4EA4-8413-9A07BBE20266}"/>
                </a:ext>
              </a:extLst>
            </p:cNvPr>
            <p:cNvSpPr txBox="1"/>
            <p:nvPr/>
          </p:nvSpPr>
          <p:spPr bwMode="auto">
            <a:xfrm>
              <a:off x="8737934" y="4934814"/>
              <a:ext cx="2955285" cy="480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b="1" dirty="0"/>
                <a:t>解压</a:t>
              </a:r>
              <a:endParaRPr lang="en-US" altLang="zh-CN" b="1" dirty="0"/>
            </a:p>
          </p:txBody>
        </p:sp>
        <p:sp>
          <p:nvSpPr>
            <p:cNvPr id="105" name="iṩliḋe">
              <a:extLst>
                <a:ext uri="{FF2B5EF4-FFF2-40B4-BE49-F238E27FC236}">
                  <a16:creationId xmlns:a16="http://schemas.microsoft.com/office/drawing/2014/main" id="{E6DF86A7-6D09-4489-9B86-21DE0F6056CC}"/>
                </a:ext>
              </a:extLst>
            </p:cNvPr>
            <p:cNvSpPr/>
            <p:nvPr/>
          </p:nvSpPr>
          <p:spPr bwMode="auto">
            <a:xfrm>
              <a:off x="8737934" y="5415115"/>
              <a:ext cx="2955288" cy="527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solidFill>
                    <a:schemeClr val="accent1"/>
                  </a:solidFill>
                </a:rPr>
                <a:t>tar -</a:t>
              </a:r>
              <a:r>
                <a:rPr lang="en-US" altLang="zh-CN" sz="1100" dirty="0" err="1">
                  <a:solidFill>
                    <a:schemeClr val="accent1"/>
                  </a:solidFill>
                </a:rPr>
                <a:t>zxvf</a:t>
              </a:r>
              <a:r>
                <a:rPr lang="en-US" altLang="zh-CN" sz="1100" dirty="0">
                  <a:solidFill>
                    <a:schemeClr val="accent1"/>
                  </a:solidFill>
                </a:rPr>
                <a:t> java-jdk*****.jar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solidFill>
                    <a:schemeClr val="accent1"/>
                  </a:solidFill>
                </a:rPr>
                <a:t>or</a:t>
              </a:r>
              <a:r>
                <a:rPr lang="zh-CN" altLang="en-US" sz="1100" dirty="0">
                  <a:solidFill>
                    <a:schemeClr val="accent1"/>
                  </a:solidFill>
                </a:rPr>
                <a:t>左键！右键！</a:t>
              </a:r>
              <a:endParaRPr lang="en-US" altLang="zh-CN" sz="11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74" name="išlïḓe">
            <a:extLst>
              <a:ext uri="{FF2B5EF4-FFF2-40B4-BE49-F238E27FC236}">
                <a16:creationId xmlns:a16="http://schemas.microsoft.com/office/drawing/2014/main" id="{FF48FDDB-DCB5-4E9E-BEB8-EB22690E072A}"/>
              </a:ext>
            </a:extLst>
          </p:cNvPr>
          <p:cNvSpPr/>
          <p:nvPr/>
        </p:nvSpPr>
        <p:spPr>
          <a:xfrm>
            <a:off x="3132989" y="4640590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解压</a:t>
            </a:r>
          </a:p>
        </p:txBody>
      </p:sp>
      <p:pic>
        <p:nvPicPr>
          <p:cNvPr id="6" name="图形 5">
            <a:extLst>
              <a:ext uri="{FF2B5EF4-FFF2-40B4-BE49-F238E27FC236}">
                <a16:creationId xmlns:a16="http://schemas.microsoft.com/office/drawing/2014/main" id="{79AB755B-431E-4F33-8A6F-5DAAF0BDFD5D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01663" y="4774311"/>
            <a:ext cx="532037" cy="532037"/>
          </a:xfrm>
          <a:prstGeom prst="rect">
            <a:avLst/>
          </a:prstGeom>
        </p:spPr>
      </p:pic>
      <p:sp>
        <p:nvSpPr>
          <p:cNvPr id="71" name="íṣ1ídè">
            <a:extLst>
              <a:ext uri="{FF2B5EF4-FFF2-40B4-BE49-F238E27FC236}">
                <a16:creationId xmlns:a16="http://schemas.microsoft.com/office/drawing/2014/main" id="{1E624F1D-8EA4-4292-8C70-BBAB12417C14}"/>
              </a:ext>
            </a:extLst>
          </p:cNvPr>
          <p:cNvSpPr/>
          <p:nvPr/>
        </p:nvSpPr>
        <p:spPr>
          <a:xfrm>
            <a:off x="4112534" y="3494498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解压</a:t>
            </a:r>
          </a:p>
        </p:txBody>
      </p:sp>
      <p:pic>
        <p:nvPicPr>
          <p:cNvPr id="110" name="图形 109">
            <a:extLst>
              <a:ext uri="{FF2B5EF4-FFF2-40B4-BE49-F238E27FC236}">
                <a16:creationId xmlns:a16="http://schemas.microsoft.com/office/drawing/2014/main" id="{D2AD9E4C-7F25-4DE5-A8B2-2BC08F8DA503}"/>
              </a:ext>
            </a:extLst>
          </p:cNvPr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85670" y="3622522"/>
            <a:ext cx="532037" cy="532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2213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400" dirty="0"/>
              <a:t>MapReduce</a:t>
            </a:r>
            <a:r>
              <a:rPr lang="zh-CN" altLang="en-US" sz="2400" dirty="0"/>
              <a:t>工作流程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zh-CN" altLang="en-US" sz="1100" dirty="0"/>
              <a:t>温故而知新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024505" y="2781772"/>
            <a:ext cx="1168104" cy="1015623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1350" spc="75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z="1350" spc="75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000" dirty="0"/>
              <a:t>Hadoop</a:t>
            </a:r>
            <a:r>
              <a:rPr lang="zh-CN" altLang="en-US" sz="2000" dirty="0"/>
              <a:t>的部署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0</a:t>
            </a:fld>
            <a:endParaRPr lang="zh-CN" altLang="en-US" dirty="0"/>
          </a:p>
        </p:txBody>
      </p:sp>
      <p:sp>
        <p:nvSpPr>
          <p:cNvPr id="195" name="iṧḻîďè">
            <a:extLst>
              <a:ext uri="{FF2B5EF4-FFF2-40B4-BE49-F238E27FC236}">
                <a16:creationId xmlns:a16="http://schemas.microsoft.com/office/drawing/2014/main" id="{6FC8272D-4563-47EB-B741-E738A21C2623}"/>
              </a:ext>
            </a:extLst>
          </p:cNvPr>
          <p:cNvSpPr/>
          <p:nvPr/>
        </p:nvSpPr>
        <p:spPr bwMode="auto">
          <a:xfrm>
            <a:off x="4311577" y="2558863"/>
            <a:ext cx="1432797" cy="299657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搞定！</a:t>
            </a:r>
            <a:endParaRPr lang="en-US" altLang="zh-CN" b="1" dirty="0"/>
          </a:p>
        </p:txBody>
      </p:sp>
      <p:sp>
        <p:nvSpPr>
          <p:cNvPr id="196" name="îŝḻiḋé">
            <a:extLst>
              <a:ext uri="{FF2B5EF4-FFF2-40B4-BE49-F238E27FC236}">
                <a16:creationId xmlns:a16="http://schemas.microsoft.com/office/drawing/2014/main" id="{C05C75D7-4258-49B9-958F-F2EEF0B840E0}"/>
              </a:ext>
            </a:extLst>
          </p:cNvPr>
          <p:cNvSpPr/>
          <p:nvPr/>
        </p:nvSpPr>
        <p:spPr bwMode="auto">
          <a:xfrm>
            <a:off x="4548885" y="2272582"/>
            <a:ext cx="1432797" cy="299657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测试</a:t>
            </a:r>
            <a:endParaRPr lang="en-US" altLang="zh-CN" b="1" dirty="0"/>
          </a:p>
        </p:txBody>
      </p:sp>
      <p:sp>
        <p:nvSpPr>
          <p:cNvPr id="197" name="íṥḷíďê">
            <a:extLst>
              <a:ext uri="{FF2B5EF4-FFF2-40B4-BE49-F238E27FC236}">
                <a16:creationId xmlns:a16="http://schemas.microsoft.com/office/drawing/2014/main" id="{D4FCC7AE-5767-4EC4-BB68-B94457D3AE6D}"/>
              </a:ext>
            </a:extLst>
          </p:cNvPr>
          <p:cNvSpPr/>
          <p:nvPr/>
        </p:nvSpPr>
        <p:spPr bwMode="auto">
          <a:xfrm>
            <a:off x="4781144" y="1986301"/>
            <a:ext cx="1432797" cy="299657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/>
              <a:t>配置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8" name="ïś1ïḓè">
            <a:extLst>
              <a:ext uri="{FF2B5EF4-FFF2-40B4-BE49-F238E27FC236}">
                <a16:creationId xmlns:a16="http://schemas.microsoft.com/office/drawing/2014/main" id="{F32E844B-E27C-4A92-9B60-95E4AD88D81F}"/>
              </a:ext>
            </a:extLst>
          </p:cNvPr>
          <p:cNvSpPr/>
          <p:nvPr/>
        </p:nvSpPr>
        <p:spPr bwMode="auto">
          <a:xfrm>
            <a:off x="5017947" y="1700020"/>
            <a:ext cx="1432797" cy="299657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 dirty="0"/>
              <a:t>安装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9" name="îśļïḍè">
            <a:extLst>
              <a:ext uri="{FF2B5EF4-FFF2-40B4-BE49-F238E27FC236}">
                <a16:creationId xmlns:a16="http://schemas.microsoft.com/office/drawing/2014/main" id="{F812BB55-77DE-4E23-95E6-156A22FAD363}"/>
              </a:ext>
            </a:extLst>
          </p:cNvPr>
          <p:cNvSpPr/>
          <p:nvPr/>
        </p:nvSpPr>
        <p:spPr bwMode="auto">
          <a:xfrm>
            <a:off x="5238798" y="1413739"/>
            <a:ext cx="1432797" cy="299657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配置</a:t>
            </a:r>
            <a:r>
              <a:rPr lang="en-US" altLang="zh-CN" b="1" dirty="0"/>
              <a:t>JAVA</a:t>
            </a:r>
          </a:p>
        </p:txBody>
      </p:sp>
      <p:sp>
        <p:nvSpPr>
          <p:cNvPr id="200" name="ï$1íḍé">
            <a:extLst>
              <a:ext uri="{FF2B5EF4-FFF2-40B4-BE49-F238E27FC236}">
                <a16:creationId xmlns:a16="http://schemas.microsoft.com/office/drawing/2014/main" id="{48245F16-84E7-4201-9485-85B5E5B15ECD}"/>
              </a:ext>
            </a:extLst>
          </p:cNvPr>
          <p:cNvSpPr/>
          <p:nvPr/>
        </p:nvSpPr>
        <p:spPr bwMode="auto">
          <a:xfrm>
            <a:off x="5467823" y="1127458"/>
            <a:ext cx="1432797" cy="299657"/>
          </a:xfrm>
          <a:prstGeom prst="parallelogram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 dirty="0">
                <a:solidFill>
                  <a:schemeClr val="bg1"/>
                </a:solidFill>
              </a:rPr>
              <a:t>安装</a:t>
            </a:r>
            <a:r>
              <a:rPr lang="en-US" altLang="zh-CN" sz="1750" b="1" dirty="0">
                <a:solidFill>
                  <a:schemeClr val="bg1"/>
                </a:solidFill>
              </a:rPr>
              <a:t>JAVA</a:t>
            </a:r>
          </a:p>
        </p:txBody>
      </p:sp>
      <p:sp>
        <p:nvSpPr>
          <p:cNvPr id="201" name="îṥľïďê">
            <a:extLst>
              <a:ext uri="{FF2B5EF4-FFF2-40B4-BE49-F238E27FC236}">
                <a16:creationId xmlns:a16="http://schemas.microsoft.com/office/drawing/2014/main" id="{920DFBAA-02E5-4206-86B0-FE10F93A7509}"/>
              </a:ext>
            </a:extLst>
          </p:cNvPr>
          <p:cNvSpPr/>
          <p:nvPr/>
        </p:nvSpPr>
        <p:spPr bwMode="auto">
          <a:xfrm>
            <a:off x="4128205" y="1771656"/>
            <a:ext cx="1647108" cy="545627"/>
          </a:xfrm>
          <a:custGeom>
            <a:avLst/>
            <a:gdLst>
              <a:gd name="T0" fmla="*/ 179 w 203"/>
              <a:gd name="T1" fmla="*/ 82 h 82"/>
              <a:gd name="T2" fmla="*/ 203 w 203"/>
              <a:gd name="T3" fmla="*/ 29 h 82"/>
              <a:gd name="T4" fmla="*/ 65 w 203"/>
              <a:gd name="T5" fmla="*/ 27 h 82"/>
              <a:gd name="T6" fmla="*/ 59 w 203"/>
              <a:gd name="T7" fmla="*/ 0 h 82"/>
              <a:gd name="T8" fmla="*/ 59 w 203"/>
              <a:gd name="T9" fmla="*/ 0 h 82"/>
              <a:gd name="T10" fmla="*/ 0 w 203"/>
              <a:gd name="T11" fmla="*/ 80 h 82"/>
              <a:gd name="T12" fmla="*/ 61 w 203"/>
              <a:gd name="T13" fmla="*/ 82 h 82"/>
              <a:gd name="T14" fmla="*/ 179 w 203"/>
              <a:gd name="T15" fmla="*/ 8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3" h="82">
                <a:moveTo>
                  <a:pt x="179" y="82"/>
                </a:moveTo>
                <a:lnTo>
                  <a:pt x="203" y="29"/>
                </a:lnTo>
                <a:lnTo>
                  <a:pt x="65" y="27"/>
                </a:lnTo>
                <a:lnTo>
                  <a:pt x="59" y="0"/>
                </a:lnTo>
                <a:lnTo>
                  <a:pt x="59" y="0"/>
                </a:lnTo>
                <a:lnTo>
                  <a:pt x="0" y="80"/>
                </a:lnTo>
                <a:lnTo>
                  <a:pt x="61" y="82"/>
                </a:lnTo>
                <a:lnTo>
                  <a:pt x="179" y="8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2" name="i$ḻíḋè">
            <a:extLst>
              <a:ext uri="{FF2B5EF4-FFF2-40B4-BE49-F238E27FC236}">
                <a16:creationId xmlns:a16="http://schemas.microsoft.com/office/drawing/2014/main" id="{430BE7EB-B6F0-4F05-80EA-1F517165029F}"/>
              </a:ext>
            </a:extLst>
          </p:cNvPr>
          <p:cNvSpPr/>
          <p:nvPr/>
        </p:nvSpPr>
        <p:spPr bwMode="auto">
          <a:xfrm>
            <a:off x="5366178" y="1127458"/>
            <a:ext cx="615503" cy="109016"/>
          </a:xfrm>
          <a:prstGeom prst="triangle">
            <a:avLst>
              <a:gd name="adj" fmla="val 14726"/>
            </a:avLst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3" name="işľiḋe">
            <a:extLst>
              <a:ext uri="{FF2B5EF4-FFF2-40B4-BE49-F238E27FC236}">
                <a16:creationId xmlns:a16="http://schemas.microsoft.com/office/drawing/2014/main" id="{E4DECB97-43D1-4D26-8C48-41447675AE79}"/>
              </a:ext>
            </a:extLst>
          </p:cNvPr>
          <p:cNvSpPr/>
          <p:nvPr/>
        </p:nvSpPr>
        <p:spPr bwMode="auto">
          <a:xfrm>
            <a:off x="3448098" y="1053025"/>
            <a:ext cx="2533584" cy="479572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4" name="iś1íďé">
            <a:extLst>
              <a:ext uri="{FF2B5EF4-FFF2-40B4-BE49-F238E27FC236}">
                <a16:creationId xmlns:a16="http://schemas.microsoft.com/office/drawing/2014/main" id="{6E7EA96A-F20A-4912-AC31-63A0F19E66DE}"/>
              </a:ext>
            </a:extLst>
          </p:cNvPr>
          <p:cNvSpPr/>
          <p:nvPr/>
        </p:nvSpPr>
        <p:spPr bwMode="auto">
          <a:xfrm>
            <a:off x="3207774" y="1339306"/>
            <a:ext cx="2533584" cy="479572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5" name="ïŝlíḋe">
            <a:extLst>
              <a:ext uri="{FF2B5EF4-FFF2-40B4-BE49-F238E27FC236}">
                <a16:creationId xmlns:a16="http://schemas.microsoft.com/office/drawing/2014/main" id="{66D30D6F-26C9-4C2C-BC01-900AC07DC57E}"/>
              </a:ext>
            </a:extLst>
          </p:cNvPr>
          <p:cNvSpPr/>
          <p:nvPr/>
        </p:nvSpPr>
        <p:spPr bwMode="auto">
          <a:xfrm>
            <a:off x="2964436" y="1625587"/>
            <a:ext cx="2533584" cy="479572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6" name="îSliďè">
            <a:extLst>
              <a:ext uri="{FF2B5EF4-FFF2-40B4-BE49-F238E27FC236}">
                <a16:creationId xmlns:a16="http://schemas.microsoft.com/office/drawing/2014/main" id="{2F6D5554-EACD-4DDD-892F-2E5F97A9C421}"/>
              </a:ext>
            </a:extLst>
          </p:cNvPr>
          <p:cNvSpPr/>
          <p:nvPr/>
        </p:nvSpPr>
        <p:spPr bwMode="auto">
          <a:xfrm>
            <a:off x="2724127" y="1911868"/>
            <a:ext cx="2533584" cy="479572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7" name="îSliďé">
            <a:extLst>
              <a:ext uri="{FF2B5EF4-FFF2-40B4-BE49-F238E27FC236}">
                <a16:creationId xmlns:a16="http://schemas.microsoft.com/office/drawing/2014/main" id="{2E278F3F-C8D8-4E2A-A3EA-29ADCF1A02AA}"/>
              </a:ext>
            </a:extLst>
          </p:cNvPr>
          <p:cNvSpPr/>
          <p:nvPr/>
        </p:nvSpPr>
        <p:spPr bwMode="auto">
          <a:xfrm>
            <a:off x="2483718" y="2198149"/>
            <a:ext cx="2533584" cy="479572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8" name="îs1iďé">
            <a:extLst>
              <a:ext uri="{FF2B5EF4-FFF2-40B4-BE49-F238E27FC236}">
                <a16:creationId xmlns:a16="http://schemas.microsoft.com/office/drawing/2014/main" id="{EB74D0C2-5677-4F3F-A043-44D01A3F3D48}"/>
              </a:ext>
            </a:extLst>
          </p:cNvPr>
          <p:cNvSpPr/>
          <p:nvPr/>
        </p:nvSpPr>
        <p:spPr bwMode="auto">
          <a:xfrm>
            <a:off x="2243380" y="2484430"/>
            <a:ext cx="2533584" cy="479572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9" name="ïṣḻïḋe">
            <a:extLst>
              <a:ext uri="{FF2B5EF4-FFF2-40B4-BE49-F238E27FC236}">
                <a16:creationId xmlns:a16="http://schemas.microsoft.com/office/drawing/2014/main" id="{7709F84E-C33F-462F-B538-51CB71C9284E}"/>
              </a:ext>
            </a:extLst>
          </p:cNvPr>
          <p:cNvSpPr/>
          <p:nvPr/>
        </p:nvSpPr>
        <p:spPr bwMode="auto">
          <a:xfrm>
            <a:off x="3848891" y="1302305"/>
            <a:ext cx="166302" cy="166071"/>
          </a:xfrm>
          <a:custGeom>
            <a:avLst/>
            <a:gdLst>
              <a:gd name="T0" fmla="*/ 400 w 11264"/>
              <a:gd name="T1" fmla="*/ 7099 h 11264"/>
              <a:gd name="T2" fmla="*/ 4165 w 11264"/>
              <a:gd name="T3" fmla="*/ 7099 h 11264"/>
              <a:gd name="T4" fmla="*/ 4165 w 11264"/>
              <a:gd name="T5" fmla="*/ 10864 h 11264"/>
              <a:gd name="T6" fmla="*/ 4565 w 11264"/>
              <a:gd name="T7" fmla="*/ 11264 h 11264"/>
              <a:gd name="T8" fmla="*/ 6699 w 11264"/>
              <a:gd name="T9" fmla="*/ 11264 h 11264"/>
              <a:gd name="T10" fmla="*/ 7099 w 11264"/>
              <a:gd name="T11" fmla="*/ 10864 h 11264"/>
              <a:gd name="T12" fmla="*/ 7099 w 11264"/>
              <a:gd name="T13" fmla="*/ 7099 h 11264"/>
              <a:gd name="T14" fmla="*/ 10864 w 11264"/>
              <a:gd name="T15" fmla="*/ 7099 h 11264"/>
              <a:gd name="T16" fmla="*/ 11264 w 11264"/>
              <a:gd name="T17" fmla="*/ 6699 h 11264"/>
              <a:gd name="T18" fmla="*/ 11264 w 11264"/>
              <a:gd name="T19" fmla="*/ 4565 h 11264"/>
              <a:gd name="T20" fmla="*/ 10864 w 11264"/>
              <a:gd name="T21" fmla="*/ 4165 h 11264"/>
              <a:gd name="T22" fmla="*/ 7099 w 11264"/>
              <a:gd name="T23" fmla="*/ 4165 h 11264"/>
              <a:gd name="T24" fmla="*/ 7099 w 11264"/>
              <a:gd name="T25" fmla="*/ 400 h 11264"/>
              <a:gd name="T26" fmla="*/ 6699 w 11264"/>
              <a:gd name="T27" fmla="*/ 0 h 11264"/>
              <a:gd name="T28" fmla="*/ 4565 w 11264"/>
              <a:gd name="T29" fmla="*/ 0 h 11264"/>
              <a:gd name="T30" fmla="*/ 4165 w 11264"/>
              <a:gd name="T31" fmla="*/ 400 h 11264"/>
              <a:gd name="T32" fmla="*/ 4165 w 11264"/>
              <a:gd name="T33" fmla="*/ 4165 h 11264"/>
              <a:gd name="T34" fmla="*/ 400 w 11264"/>
              <a:gd name="T35" fmla="*/ 4165 h 11264"/>
              <a:gd name="T36" fmla="*/ 0 w 11264"/>
              <a:gd name="T37" fmla="*/ 4565 h 11264"/>
              <a:gd name="T38" fmla="*/ 0 w 11264"/>
              <a:gd name="T39" fmla="*/ 6699 h 11264"/>
              <a:gd name="T40" fmla="*/ 400 w 11264"/>
              <a:gd name="T41" fmla="*/ 7099 h 11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264" h="11264">
                <a:moveTo>
                  <a:pt x="400" y="7099"/>
                </a:moveTo>
                <a:lnTo>
                  <a:pt x="4165" y="7099"/>
                </a:lnTo>
                <a:lnTo>
                  <a:pt x="4165" y="10864"/>
                </a:lnTo>
                <a:cubicBezTo>
                  <a:pt x="4165" y="11085"/>
                  <a:pt x="4344" y="11264"/>
                  <a:pt x="4565" y="11264"/>
                </a:cubicBezTo>
                <a:lnTo>
                  <a:pt x="6699" y="11264"/>
                </a:lnTo>
                <a:cubicBezTo>
                  <a:pt x="6920" y="11264"/>
                  <a:pt x="7099" y="11085"/>
                  <a:pt x="7099" y="10864"/>
                </a:cubicBezTo>
                <a:lnTo>
                  <a:pt x="7099" y="7099"/>
                </a:lnTo>
                <a:lnTo>
                  <a:pt x="10864" y="7099"/>
                </a:lnTo>
                <a:cubicBezTo>
                  <a:pt x="11085" y="7099"/>
                  <a:pt x="11264" y="6920"/>
                  <a:pt x="11264" y="6699"/>
                </a:cubicBezTo>
                <a:lnTo>
                  <a:pt x="11264" y="4565"/>
                </a:lnTo>
                <a:cubicBezTo>
                  <a:pt x="11264" y="4344"/>
                  <a:pt x="11085" y="4165"/>
                  <a:pt x="10864" y="4165"/>
                </a:cubicBezTo>
                <a:lnTo>
                  <a:pt x="7099" y="4165"/>
                </a:lnTo>
                <a:lnTo>
                  <a:pt x="7099" y="400"/>
                </a:lnTo>
                <a:cubicBezTo>
                  <a:pt x="7099" y="179"/>
                  <a:pt x="6920" y="0"/>
                  <a:pt x="6699" y="0"/>
                </a:cubicBezTo>
                <a:lnTo>
                  <a:pt x="4565" y="0"/>
                </a:lnTo>
                <a:cubicBezTo>
                  <a:pt x="4344" y="0"/>
                  <a:pt x="4165" y="179"/>
                  <a:pt x="4165" y="400"/>
                </a:cubicBezTo>
                <a:lnTo>
                  <a:pt x="4165" y="4165"/>
                </a:lnTo>
                <a:lnTo>
                  <a:pt x="400" y="4165"/>
                </a:lnTo>
                <a:cubicBezTo>
                  <a:pt x="179" y="4165"/>
                  <a:pt x="0" y="4344"/>
                  <a:pt x="0" y="4565"/>
                </a:cubicBezTo>
                <a:lnTo>
                  <a:pt x="0" y="6699"/>
                </a:lnTo>
                <a:cubicBezTo>
                  <a:pt x="0" y="6920"/>
                  <a:pt x="179" y="7099"/>
                  <a:pt x="400" y="7099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3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/>
          </a:p>
        </p:txBody>
      </p:sp>
      <p:sp>
        <p:nvSpPr>
          <p:cNvPr id="210" name="îsḷïde">
            <a:extLst>
              <a:ext uri="{FF2B5EF4-FFF2-40B4-BE49-F238E27FC236}">
                <a16:creationId xmlns:a16="http://schemas.microsoft.com/office/drawing/2014/main" id="{F7027C89-1BCC-4A00-9535-016DE4C49FD7}"/>
              </a:ext>
            </a:extLst>
          </p:cNvPr>
          <p:cNvSpPr/>
          <p:nvPr/>
        </p:nvSpPr>
        <p:spPr bwMode="auto">
          <a:xfrm>
            <a:off x="3621591" y="1585269"/>
            <a:ext cx="162852" cy="166302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  <a:gd name="connsiteX107" fmla="*/ 373273 h 605239"/>
              <a:gd name="connsiteY107" fmla="*/ 373273 h 605239"/>
              <a:gd name="connsiteX108" fmla="*/ 373273 h 605239"/>
              <a:gd name="connsiteY108" fmla="*/ 373273 h 605239"/>
              <a:gd name="connsiteX109" fmla="*/ 373273 h 605239"/>
              <a:gd name="connsiteY109" fmla="*/ 373273 h 605239"/>
              <a:gd name="connsiteX110" fmla="*/ 373273 h 605239"/>
              <a:gd name="connsiteY110" fmla="*/ 373273 h 605239"/>
              <a:gd name="connsiteX111" fmla="*/ 373273 h 605239"/>
              <a:gd name="connsiteY111" fmla="*/ 373273 h 605239"/>
              <a:gd name="connsiteX112" fmla="*/ 373273 h 605239"/>
              <a:gd name="connsiteY112" fmla="*/ 373273 h 605239"/>
              <a:gd name="connsiteX113" fmla="*/ 373273 h 605239"/>
              <a:gd name="connsiteY113" fmla="*/ 373273 h 605239"/>
              <a:gd name="connsiteX114" fmla="*/ 373273 h 605239"/>
              <a:gd name="connsiteY114" fmla="*/ 373273 h 605239"/>
              <a:gd name="connsiteX115" fmla="*/ 373273 h 605239"/>
              <a:gd name="connsiteY115" fmla="*/ 373273 h 605239"/>
              <a:gd name="connsiteX116" fmla="*/ 373273 h 605239"/>
              <a:gd name="connsiteY116" fmla="*/ 373273 h 605239"/>
              <a:gd name="connsiteX117" fmla="*/ 373273 h 605239"/>
              <a:gd name="connsiteY117" fmla="*/ 373273 h 605239"/>
              <a:gd name="connsiteX118" fmla="*/ 373273 h 605239"/>
              <a:gd name="connsiteY118" fmla="*/ 373273 h 605239"/>
              <a:gd name="connsiteX119" fmla="*/ 373273 h 605239"/>
              <a:gd name="connsiteY119" fmla="*/ 373273 h 605239"/>
              <a:gd name="connsiteX120" fmla="*/ 373273 h 605239"/>
              <a:gd name="connsiteY120" fmla="*/ 373273 h 605239"/>
              <a:gd name="connsiteX121" fmla="*/ 373273 h 605239"/>
              <a:gd name="connsiteY121" fmla="*/ 373273 h 605239"/>
              <a:gd name="connsiteX122" fmla="*/ 373273 h 605239"/>
              <a:gd name="connsiteY122" fmla="*/ 373273 h 605239"/>
              <a:gd name="connsiteX123" fmla="*/ 373273 h 605239"/>
              <a:gd name="connsiteY123" fmla="*/ 373273 h 605239"/>
              <a:gd name="connsiteX124" fmla="*/ 373273 h 605239"/>
              <a:gd name="connsiteY124" fmla="*/ 373273 h 605239"/>
              <a:gd name="connsiteX125" fmla="*/ 373273 h 605239"/>
              <a:gd name="connsiteY125" fmla="*/ 373273 h 605239"/>
              <a:gd name="connsiteX126" fmla="*/ 373273 h 605239"/>
              <a:gd name="connsiteY126" fmla="*/ 373273 h 605239"/>
              <a:gd name="connsiteX127" fmla="*/ 373273 h 605239"/>
              <a:gd name="connsiteY127" fmla="*/ 373273 h 605239"/>
              <a:gd name="connsiteX128" fmla="*/ 373273 h 605239"/>
              <a:gd name="connsiteY128" fmla="*/ 373273 h 605239"/>
              <a:gd name="connsiteX129" fmla="*/ 373273 h 605239"/>
              <a:gd name="connsiteY12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593733" h="606309">
                <a:moveTo>
                  <a:pt x="353250" y="302855"/>
                </a:moveTo>
                <a:cubicBezTo>
                  <a:pt x="318468" y="302855"/>
                  <a:pt x="290232" y="331146"/>
                  <a:pt x="290232" y="365879"/>
                </a:cubicBezTo>
                <a:cubicBezTo>
                  <a:pt x="290232" y="374189"/>
                  <a:pt x="296964" y="380912"/>
                  <a:pt x="305285" y="380912"/>
                </a:cubicBezTo>
                <a:cubicBezTo>
                  <a:pt x="313607" y="380912"/>
                  <a:pt x="320338" y="374189"/>
                  <a:pt x="320338" y="365879"/>
                </a:cubicBezTo>
                <a:cubicBezTo>
                  <a:pt x="320338" y="347672"/>
                  <a:pt x="335111" y="333014"/>
                  <a:pt x="353250" y="333014"/>
                </a:cubicBezTo>
                <a:cubicBezTo>
                  <a:pt x="361665" y="333014"/>
                  <a:pt x="368397" y="326291"/>
                  <a:pt x="368397" y="317888"/>
                </a:cubicBezTo>
                <a:cubicBezTo>
                  <a:pt x="368397" y="309578"/>
                  <a:pt x="361665" y="302855"/>
                  <a:pt x="353250" y="302855"/>
                </a:cubicBezTo>
                <a:close/>
                <a:moveTo>
                  <a:pt x="353250" y="265041"/>
                </a:moveTo>
                <a:cubicBezTo>
                  <a:pt x="409163" y="265041"/>
                  <a:pt x="454229" y="310232"/>
                  <a:pt x="454229" y="365879"/>
                </a:cubicBezTo>
                <a:cubicBezTo>
                  <a:pt x="454229" y="421527"/>
                  <a:pt x="408976" y="466717"/>
                  <a:pt x="353250" y="466717"/>
                </a:cubicBezTo>
                <a:cubicBezTo>
                  <a:pt x="297525" y="466717"/>
                  <a:pt x="252271" y="421527"/>
                  <a:pt x="252271" y="365879"/>
                </a:cubicBezTo>
                <a:cubicBezTo>
                  <a:pt x="252271" y="310232"/>
                  <a:pt x="297431" y="265041"/>
                  <a:pt x="353250" y="265041"/>
                </a:cubicBezTo>
                <a:close/>
                <a:moveTo>
                  <a:pt x="427779" y="133781"/>
                </a:moveTo>
                <a:cubicBezTo>
                  <a:pt x="432818" y="131960"/>
                  <a:pt x="438547" y="132054"/>
                  <a:pt x="443784" y="134482"/>
                </a:cubicBezTo>
                <a:lnTo>
                  <a:pt x="473245" y="148209"/>
                </a:lnTo>
                <a:cubicBezTo>
                  <a:pt x="483720" y="153158"/>
                  <a:pt x="488209" y="165671"/>
                  <a:pt x="483346" y="176130"/>
                </a:cubicBezTo>
                <a:lnTo>
                  <a:pt x="470252" y="203957"/>
                </a:lnTo>
                <a:cubicBezTo>
                  <a:pt x="492231" y="219646"/>
                  <a:pt x="511123" y="240003"/>
                  <a:pt x="525526" y="264095"/>
                </a:cubicBezTo>
                <a:lnTo>
                  <a:pt x="554426" y="253636"/>
                </a:lnTo>
                <a:cubicBezTo>
                  <a:pt x="565368" y="249714"/>
                  <a:pt x="577340" y="255411"/>
                  <a:pt x="581361" y="266243"/>
                </a:cubicBezTo>
                <a:lnTo>
                  <a:pt x="592491" y="296592"/>
                </a:lnTo>
                <a:cubicBezTo>
                  <a:pt x="596419" y="307612"/>
                  <a:pt x="590714" y="319564"/>
                  <a:pt x="579865" y="323486"/>
                </a:cubicBezTo>
                <a:lnTo>
                  <a:pt x="550965" y="333945"/>
                </a:lnTo>
                <a:cubicBezTo>
                  <a:pt x="555455" y="361586"/>
                  <a:pt x="553958" y="389414"/>
                  <a:pt x="547224" y="415561"/>
                </a:cubicBezTo>
                <a:lnTo>
                  <a:pt x="575095" y="428634"/>
                </a:lnTo>
                <a:cubicBezTo>
                  <a:pt x="585570" y="433490"/>
                  <a:pt x="590059" y="445910"/>
                  <a:pt x="585102" y="456649"/>
                </a:cubicBezTo>
                <a:lnTo>
                  <a:pt x="571354" y="485970"/>
                </a:lnTo>
                <a:cubicBezTo>
                  <a:pt x="566397" y="496429"/>
                  <a:pt x="553958" y="500911"/>
                  <a:pt x="543483" y="496056"/>
                </a:cubicBezTo>
                <a:lnTo>
                  <a:pt x="515238" y="482982"/>
                </a:lnTo>
                <a:cubicBezTo>
                  <a:pt x="499526" y="504833"/>
                  <a:pt x="479137" y="523510"/>
                  <a:pt x="455007" y="537704"/>
                </a:cubicBezTo>
                <a:lnTo>
                  <a:pt x="465763" y="567026"/>
                </a:lnTo>
                <a:cubicBezTo>
                  <a:pt x="469784" y="578045"/>
                  <a:pt x="463986" y="589997"/>
                  <a:pt x="453137" y="593919"/>
                </a:cubicBezTo>
                <a:lnTo>
                  <a:pt x="422741" y="605032"/>
                </a:lnTo>
                <a:cubicBezTo>
                  <a:pt x="411798" y="609047"/>
                  <a:pt x="399827" y="603258"/>
                  <a:pt x="395805" y="592425"/>
                </a:cubicBezTo>
                <a:lnTo>
                  <a:pt x="385050" y="562823"/>
                </a:lnTo>
                <a:cubicBezTo>
                  <a:pt x="357646" y="567212"/>
                  <a:pt x="330056" y="565718"/>
                  <a:pt x="304149" y="558995"/>
                </a:cubicBezTo>
                <a:lnTo>
                  <a:pt x="290682" y="587756"/>
                </a:lnTo>
                <a:cubicBezTo>
                  <a:pt x="285725" y="598215"/>
                  <a:pt x="273192" y="602697"/>
                  <a:pt x="262717" y="597841"/>
                </a:cubicBezTo>
                <a:lnTo>
                  <a:pt x="233350" y="584114"/>
                </a:lnTo>
                <a:cubicBezTo>
                  <a:pt x="222875" y="579165"/>
                  <a:pt x="218385" y="566652"/>
                  <a:pt x="223249" y="556193"/>
                </a:cubicBezTo>
                <a:lnTo>
                  <a:pt x="236810" y="527338"/>
                </a:lnTo>
                <a:cubicBezTo>
                  <a:pt x="215112" y="511650"/>
                  <a:pt x="196407" y="491480"/>
                  <a:pt x="182284" y="467668"/>
                </a:cubicBezTo>
                <a:lnTo>
                  <a:pt x="152169" y="478687"/>
                </a:lnTo>
                <a:cubicBezTo>
                  <a:pt x="141133" y="482609"/>
                  <a:pt x="129161" y="476912"/>
                  <a:pt x="125233" y="466080"/>
                </a:cubicBezTo>
                <a:lnTo>
                  <a:pt x="114104" y="435731"/>
                </a:lnTo>
                <a:cubicBezTo>
                  <a:pt x="110082" y="424712"/>
                  <a:pt x="115881" y="412759"/>
                  <a:pt x="126730" y="408837"/>
                </a:cubicBezTo>
                <a:lnTo>
                  <a:pt x="156845" y="397818"/>
                </a:lnTo>
                <a:cubicBezTo>
                  <a:pt x="153852" y="379422"/>
                  <a:pt x="153478" y="361026"/>
                  <a:pt x="155629" y="342910"/>
                </a:cubicBezTo>
                <a:lnTo>
                  <a:pt x="158622" y="343097"/>
                </a:lnTo>
                <a:cubicBezTo>
                  <a:pt x="181162" y="344030"/>
                  <a:pt x="200522" y="327408"/>
                  <a:pt x="203141" y="305370"/>
                </a:cubicBezTo>
                <a:cubicBezTo>
                  <a:pt x="207723" y="303876"/>
                  <a:pt x="212119" y="302195"/>
                  <a:pt x="216515" y="300515"/>
                </a:cubicBezTo>
                <a:cubicBezTo>
                  <a:pt x="220349" y="304063"/>
                  <a:pt x="224745" y="306958"/>
                  <a:pt x="229609" y="308919"/>
                </a:cubicBezTo>
                <a:cubicBezTo>
                  <a:pt x="219227" y="330957"/>
                  <a:pt x="214831" y="355983"/>
                  <a:pt x="217824" y="381943"/>
                </a:cubicBezTo>
                <a:cubicBezTo>
                  <a:pt x="226709" y="456462"/>
                  <a:pt x="294329" y="509876"/>
                  <a:pt x="368963" y="501192"/>
                </a:cubicBezTo>
                <a:cubicBezTo>
                  <a:pt x="443691" y="492320"/>
                  <a:pt x="497188" y="424899"/>
                  <a:pt x="488490" y="350287"/>
                </a:cubicBezTo>
                <a:cubicBezTo>
                  <a:pt x="479605" y="275675"/>
                  <a:pt x="411985" y="222260"/>
                  <a:pt x="337351" y="231038"/>
                </a:cubicBezTo>
                <a:cubicBezTo>
                  <a:pt x="324632" y="232532"/>
                  <a:pt x="312473" y="235707"/>
                  <a:pt x="301156" y="240376"/>
                </a:cubicBezTo>
                <a:cubicBezTo>
                  <a:pt x="299660" y="236268"/>
                  <a:pt x="297509" y="232345"/>
                  <a:pt x="294797" y="228890"/>
                </a:cubicBezTo>
                <a:cubicBezTo>
                  <a:pt x="297041" y="224688"/>
                  <a:pt x="299005" y="220393"/>
                  <a:pt x="300782" y="216097"/>
                </a:cubicBezTo>
                <a:cubicBezTo>
                  <a:pt x="311164" y="215817"/>
                  <a:pt x="320891" y="211802"/>
                  <a:pt x="328466" y="204891"/>
                </a:cubicBezTo>
                <a:cubicBezTo>
                  <a:pt x="336977" y="197141"/>
                  <a:pt x="341934" y="186589"/>
                  <a:pt x="342402" y="175103"/>
                </a:cubicBezTo>
                <a:lnTo>
                  <a:pt x="342776" y="166978"/>
                </a:lnTo>
                <a:cubicBezTo>
                  <a:pt x="363164" y="165764"/>
                  <a:pt x="383460" y="167912"/>
                  <a:pt x="402820" y="172768"/>
                </a:cubicBezTo>
                <a:lnTo>
                  <a:pt x="415913" y="144567"/>
                </a:lnTo>
                <a:cubicBezTo>
                  <a:pt x="418392" y="139338"/>
                  <a:pt x="422741" y="135602"/>
                  <a:pt x="427779" y="133781"/>
                </a:cubicBezTo>
                <a:close/>
                <a:moveTo>
                  <a:pt x="159906" y="88589"/>
                </a:moveTo>
                <a:cubicBezTo>
                  <a:pt x="142487" y="87818"/>
                  <a:pt x="124764" y="93678"/>
                  <a:pt x="110828" y="106378"/>
                </a:cubicBezTo>
                <a:cubicBezTo>
                  <a:pt x="96145" y="119731"/>
                  <a:pt x="88663" y="138127"/>
                  <a:pt x="88663" y="156523"/>
                </a:cubicBezTo>
                <a:cubicBezTo>
                  <a:pt x="88663" y="172958"/>
                  <a:pt x="94555" y="189393"/>
                  <a:pt x="106526" y="202467"/>
                </a:cubicBezTo>
                <a:cubicBezTo>
                  <a:pt x="131965" y="230294"/>
                  <a:pt x="175081" y="232162"/>
                  <a:pt x="202764" y="206762"/>
                </a:cubicBezTo>
                <a:cubicBezTo>
                  <a:pt x="217448" y="193409"/>
                  <a:pt x="224930" y="175013"/>
                  <a:pt x="224930" y="156523"/>
                </a:cubicBezTo>
                <a:cubicBezTo>
                  <a:pt x="224930" y="140088"/>
                  <a:pt x="219132" y="123653"/>
                  <a:pt x="207160" y="110580"/>
                </a:cubicBezTo>
                <a:cubicBezTo>
                  <a:pt x="194441" y="96760"/>
                  <a:pt x="177325" y="89359"/>
                  <a:pt x="159906" y="88589"/>
                </a:cubicBezTo>
                <a:close/>
                <a:moveTo>
                  <a:pt x="153289" y="17"/>
                </a:moveTo>
                <a:lnTo>
                  <a:pt x="173678" y="951"/>
                </a:lnTo>
                <a:cubicBezTo>
                  <a:pt x="180786" y="1325"/>
                  <a:pt x="186304" y="7114"/>
                  <a:pt x="186304" y="14118"/>
                </a:cubicBezTo>
                <a:lnTo>
                  <a:pt x="186304" y="14771"/>
                </a:lnTo>
                <a:lnTo>
                  <a:pt x="185462" y="34755"/>
                </a:lnTo>
                <a:cubicBezTo>
                  <a:pt x="201923" y="38677"/>
                  <a:pt x="217729" y="45774"/>
                  <a:pt x="231851" y="56232"/>
                </a:cubicBezTo>
                <a:lnTo>
                  <a:pt x="246535" y="42786"/>
                </a:lnTo>
                <a:cubicBezTo>
                  <a:pt x="251866" y="37930"/>
                  <a:pt x="260283" y="38303"/>
                  <a:pt x="265240" y="43626"/>
                </a:cubicBezTo>
                <a:lnTo>
                  <a:pt x="279082" y="58660"/>
                </a:lnTo>
                <a:cubicBezTo>
                  <a:pt x="281420" y="61275"/>
                  <a:pt x="282542" y="64450"/>
                  <a:pt x="282542" y="67625"/>
                </a:cubicBezTo>
                <a:cubicBezTo>
                  <a:pt x="282542" y="71173"/>
                  <a:pt x="281233" y="74722"/>
                  <a:pt x="278334" y="77337"/>
                </a:cubicBezTo>
                <a:lnTo>
                  <a:pt x="263744" y="90690"/>
                </a:lnTo>
                <a:cubicBezTo>
                  <a:pt x="273096" y="105537"/>
                  <a:pt x="278988" y="121973"/>
                  <a:pt x="281420" y="138781"/>
                </a:cubicBezTo>
                <a:lnTo>
                  <a:pt x="301061" y="139621"/>
                </a:lnTo>
                <a:cubicBezTo>
                  <a:pt x="308169" y="139995"/>
                  <a:pt x="313593" y="145878"/>
                  <a:pt x="313593" y="152788"/>
                </a:cubicBezTo>
                <a:lnTo>
                  <a:pt x="313593" y="153442"/>
                </a:lnTo>
                <a:lnTo>
                  <a:pt x="312751" y="173892"/>
                </a:lnTo>
                <a:cubicBezTo>
                  <a:pt x="312377" y="181083"/>
                  <a:pt x="306298" y="186779"/>
                  <a:pt x="298910" y="186405"/>
                </a:cubicBezTo>
                <a:lnTo>
                  <a:pt x="279456" y="185565"/>
                </a:lnTo>
                <a:cubicBezTo>
                  <a:pt x="275622" y="202093"/>
                  <a:pt x="268327" y="218061"/>
                  <a:pt x="257758" y="232162"/>
                </a:cubicBezTo>
                <a:lnTo>
                  <a:pt x="270852" y="246449"/>
                </a:lnTo>
                <a:cubicBezTo>
                  <a:pt x="273190" y="249064"/>
                  <a:pt x="274312" y="252145"/>
                  <a:pt x="274312" y="255414"/>
                </a:cubicBezTo>
                <a:cubicBezTo>
                  <a:pt x="274312" y="258869"/>
                  <a:pt x="273003" y="262511"/>
                  <a:pt x="270104" y="265126"/>
                </a:cubicBezTo>
                <a:lnTo>
                  <a:pt x="255046" y="278946"/>
                </a:lnTo>
                <a:cubicBezTo>
                  <a:pt x="249621" y="283802"/>
                  <a:pt x="241297" y="283428"/>
                  <a:pt x="236340" y="278106"/>
                </a:cubicBezTo>
                <a:lnTo>
                  <a:pt x="223247" y="263724"/>
                </a:lnTo>
                <a:cubicBezTo>
                  <a:pt x="208282" y="272970"/>
                  <a:pt x="191635" y="278853"/>
                  <a:pt x="174800" y="281187"/>
                </a:cubicBezTo>
                <a:lnTo>
                  <a:pt x="173958" y="300610"/>
                </a:lnTo>
                <a:cubicBezTo>
                  <a:pt x="173584" y="307801"/>
                  <a:pt x="167505" y="313590"/>
                  <a:pt x="160117" y="313217"/>
                </a:cubicBezTo>
                <a:lnTo>
                  <a:pt x="139634" y="312283"/>
                </a:lnTo>
                <a:cubicBezTo>
                  <a:pt x="132526" y="311909"/>
                  <a:pt x="127102" y="306120"/>
                  <a:pt x="127102" y="299116"/>
                </a:cubicBezTo>
                <a:lnTo>
                  <a:pt x="127102" y="298463"/>
                </a:lnTo>
                <a:lnTo>
                  <a:pt x="128037" y="279039"/>
                </a:lnTo>
                <a:cubicBezTo>
                  <a:pt x="111577" y="275211"/>
                  <a:pt x="95771" y="267834"/>
                  <a:pt x="81648" y="257281"/>
                </a:cubicBezTo>
                <a:lnTo>
                  <a:pt x="67058" y="270635"/>
                </a:lnTo>
                <a:cubicBezTo>
                  <a:pt x="61727" y="275491"/>
                  <a:pt x="53403" y="275117"/>
                  <a:pt x="48353" y="269701"/>
                </a:cubicBezTo>
                <a:lnTo>
                  <a:pt x="34511" y="254667"/>
                </a:lnTo>
                <a:cubicBezTo>
                  <a:pt x="32173" y="252052"/>
                  <a:pt x="31051" y="248970"/>
                  <a:pt x="31051" y="245702"/>
                </a:cubicBezTo>
                <a:cubicBezTo>
                  <a:pt x="31051" y="242247"/>
                  <a:pt x="32453" y="238605"/>
                  <a:pt x="35259" y="235990"/>
                </a:cubicBezTo>
                <a:lnTo>
                  <a:pt x="50036" y="222544"/>
                </a:lnTo>
                <a:cubicBezTo>
                  <a:pt x="40777" y="207696"/>
                  <a:pt x="35072" y="191261"/>
                  <a:pt x="32640" y="174639"/>
                </a:cubicBezTo>
                <a:lnTo>
                  <a:pt x="12626" y="173705"/>
                </a:lnTo>
                <a:cubicBezTo>
                  <a:pt x="5518" y="173332"/>
                  <a:pt x="0" y="167542"/>
                  <a:pt x="0" y="160539"/>
                </a:cubicBezTo>
                <a:lnTo>
                  <a:pt x="0" y="159885"/>
                </a:lnTo>
                <a:lnTo>
                  <a:pt x="842" y="139621"/>
                </a:lnTo>
                <a:cubicBezTo>
                  <a:pt x="1216" y="132431"/>
                  <a:pt x="7388" y="126642"/>
                  <a:pt x="14683" y="127015"/>
                </a:cubicBezTo>
                <a:lnTo>
                  <a:pt x="34885" y="127949"/>
                </a:lnTo>
                <a:cubicBezTo>
                  <a:pt x="38813" y="111514"/>
                  <a:pt x="46015" y="95826"/>
                  <a:pt x="56490" y="81819"/>
                </a:cubicBezTo>
                <a:lnTo>
                  <a:pt x="42741" y="66878"/>
                </a:lnTo>
                <a:cubicBezTo>
                  <a:pt x="40403" y="64263"/>
                  <a:pt x="39281" y="61182"/>
                  <a:pt x="39281" y="57913"/>
                </a:cubicBezTo>
                <a:cubicBezTo>
                  <a:pt x="39281" y="54458"/>
                  <a:pt x="40684" y="50816"/>
                  <a:pt x="43490" y="48202"/>
                </a:cubicBezTo>
                <a:lnTo>
                  <a:pt x="58641" y="34381"/>
                </a:lnTo>
                <a:cubicBezTo>
                  <a:pt x="63972" y="29526"/>
                  <a:pt x="72296" y="29899"/>
                  <a:pt x="77346" y="35315"/>
                </a:cubicBezTo>
                <a:lnTo>
                  <a:pt x="90627" y="50256"/>
                </a:lnTo>
                <a:cubicBezTo>
                  <a:pt x="105591" y="41011"/>
                  <a:pt x="121864" y="35128"/>
                  <a:pt x="138512" y="32794"/>
                </a:cubicBezTo>
                <a:lnTo>
                  <a:pt x="139447" y="12624"/>
                </a:lnTo>
                <a:cubicBezTo>
                  <a:pt x="139821" y="5433"/>
                  <a:pt x="145901" y="-356"/>
                  <a:pt x="153289" y="1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3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1" name="îṣḻïḓè">
            <a:extLst>
              <a:ext uri="{FF2B5EF4-FFF2-40B4-BE49-F238E27FC236}">
                <a16:creationId xmlns:a16="http://schemas.microsoft.com/office/drawing/2014/main" id="{30C8A656-A69C-4844-9B4C-38593487F7D6}"/>
              </a:ext>
            </a:extLst>
          </p:cNvPr>
          <p:cNvSpPr/>
          <p:nvPr/>
        </p:nvSpPr>
        <p:spPr bwMode="auto">
          <a:xfrm>
            <a:off x="3399016" y="1868511"/>
            <a:ext cx="166302" cy="165979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81741" h="580612">
                <a:moveTo>
                  <a:pt x="291612" y="187916"/>
                </a:moveTo>
                <a:cubicBezTo>
                  <a:pt x="304876" y="187916"/>
                  <a:pt x="315648" y="198758"/>
                  <a:pt x="315648" y="212088"/>
                </a:cubicBezTo>
                <a:lnTo>
                  <a:pt x="315648" y="491836"/>
                </a:lnTo>
                <a:lnTo>
                  <a:pt x="331227" y="473974"/>
                </a:lnTo>
                <a:cubicBezTo>
                  <a:pt x="339863" y="463932"/>
                  <a:pt x="355086" y="462866"/>
                  <a:pt x="365145" y="471574"/>
                </a:cubicBezTo>
                <a:cubicBezTo>
                  <a:pt x="375116" y="480372"/>
                  <a:pt x="376184" y="495657"/>
                  <a:pt x="367460" y="505699"/>
                </a:cubicBezTo>
                <a:lnTo>
                  <a:pt x="309773" y="572348"/>
                </a:lnTo>
                <a:cubicBezTo>
                  <a:pt x="305143" y="577502"/>
                  <a:pt x="298556" y="580612"/>
                  <a:pt x="291612" y="580612"/>
                </a:cubicBezTo>
                <a:cubicBezTo>
                  <a:pt x="284579" y="580612"/>
                  <a:pt x="278080" y="577680"/>
                  <a:pt x="273451" y="572348"/>
                </a:cubicBezTo>
                <a:lnTo>
                  <a:pt x="215764" y="505699"/>
                </a:lnTo>
                <a:cubicBezTo>
                  <a:pt x="207039" y="495657"/>
                  <a:pt x="208108" y="480372"/>
                  <a:pt x="218078" y="471574"/>
                </a:cubicBezTo>
                <a:cubicBezTo>
                  <a:pt x="228049" y="462866"/>
                  <a:pt x="243272" y="463932"/>
                  <a:pt x="252085" y="473974"/>
                </a:cubicBezTo>
                <a:lnTo>
                  <a:pt x="267486" y="491747"/>
                </a:lnTo>
                <a:lnTo>
                  <a:pt x="267486" y="212088"/>
                </a:lnTo>
                <a:cubicBezTo>
                  <a:pt x="267486" y="198758"/>
                  <a:pt x="278258" y="187916"/>
                  <a:pt x="291612" y="187916"/>
                </a:cubicBezTo>
                <a:close/>
                <a:moveTo>
                  <a:pt x="329499" y="0"/>
                </a:moveTo>
                <a:cubicBezTo>
                  <a:pt x="426248" y="0"/>
                  <a:pt x="465322" y="80426"/>
                  <a:pt x="473332" y="108153"/>
                </a:cubicBezTo>
                <a:cubicBezTo>
                  <a:pt x="535280" y="120684"/>
                  <a:pt x="581474" y="175693"/>
                  <a:pt x="581741" y="241190"/>
                </a:cubicBezTo>
                <a:cubicBezTo>
                  <a:pt x="581741" y="315840"/>
                  <a:pt x="521306" y="376537"/>
                  <a:pt x="446987" y="376537"/>
                </a:cubicBezTo>
                <a:lnTo>
                  <a:pt x="372756" y="376537"/>
                </a:lnTo>
                <a:cubicBezTo>
                  <a:pt x="359316" y="376537"/>
                  <a:pt x="348546" y="365606"/>
                  <a:pt x="348546" y="352276"/>
                </a:cubicBezTo>
                <a:cubicBezTo>
                  <a:pt x="348546" y="338857"/>
                  <a:pt x="359316" y="327926"/>
                  <a:pt x="372756" y="327926"/>
                </a:cubicBezTo>
                <a:lnTo>
                  <a:pt x="446987" y="327926"/>
                </a:lnTo>
                <a:cubicBezTo>
                  <a:pt x="494605" y="327926"/>
                  <a:pt x="533322" y="289090"/>
                  <a:pt x="533322" y="241190"/>
                </a:cubicBezTo>
                <a:cubicBezTo>
                  <a:pt x="533322" y="195334"/>
                  <a:pt x="497720" y="157298"/>
                  <a:pt x="452238" y="154632"/>
                </a:cubicBezTo>
                <a:cubicBezTo>
                  <a:pt x="440934" y="153921"/>
                  <a:pt x="431589" y="145478"/>
                  <a:pt x="429809" y="134192"/>
                </a:cubicBezTo>
                <a:cubicBezTo>
                  <a:pt x="421709" y="84692"/>
                  <a:pt x="379609" y="48789"/>
                  <a:pt x="329677" y="48789"/>
                </a:cubicBezTo>
                <a:cubicBezTo>
                  <a:pt x="279567" y="48789"/>
                  <a:pt x="238001" y="84781"/>
                  <a:pt x="229457" y="134192"/>
                </a:cubicBezTo>
                <a:cubicBezTo>
                  <a:pt x="226520" y="151521"/>
                  <a:pt x="212190" y="162807"/>
                  <a:pt x="192964" y="151077"/>
                </a:cubicBezTo>
                <a:cubicBezTo>
                  <a:pt x="178011" y="141834"/>
                  <a:pt x="160922" y="136947"/>
                  <a:pt x="143299" y="136947"/>
                </a:cubicBezTo>
                <a:cubicBezTo>
                  <a:pt x="90964" y="136947"/>
                  <a:pt x="48419" y="179693"/>
                  <a:pt x="48419" y="232303"/>
                </a:cubicBezTo>
                <a:cubicBezTo>
                  <a:pt x="48419" y="284913"/>
                  <a:pt x="90964" y="327748"/>
                  <a:pt x="143299" y="327748"/>
                </a:cubicBezTo>
                <a:lnTo>
                  <a:pt x="218776" y="327748"/>
                </a:lnTo>
                <a:cubicBezTo>
                  <a:pt x="232216" y="327748"/>
                  <a:pt x="242986" y="338590"/>
                  <a:pt x="242986" y="352009"/>
                </a:cubicBezTo>
                <a:cubicBezTo>
                  <a:pt x="242986" y="365429"/>
                  <a:pt x="232216" y="376271"/>
                  <a:pt x="218776" y="376271"/>
                </a:cubicBezTo>
                <a:lnTo>
                  <a:pt x="143299" y="376271"/>
                </a:lnTo>
                <a:cubicBezTo>
                  <a:pt x="64262" y="376271"/>
                  <a:pt x="0" y="311574"/>
                  <a:pt x="0" y="232214"/>
                </a:cubicBezTo>
                <a:cubicBezTo>
                  <a:pt x="0" y="152854"/>
                  <a:pt x="64262" y="88158"/>
                  <a:pt x="143210" y="88158"/>
                </a:cubicBezTo>
                <a:cubicBezTo>
                  <a:pt x="159231" y="88158"/>
                  <a:pt x="174896" y="90735"/>
                  <a:pt x="189849" y="95978"/>
                </a:cubicBezTo>
                <a:cubicBezTo>
                  <a:pt x="198749" y="73050"/>
                  <a:pt x="238891" y="0"/>
                  <a:pt x="329499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3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2" name="iş1iḑe">
            <a:extLst>
              <a:ext uri="{FF2B5EF4-FFF2-40B4-BE49-F238E27FC236}">
                <a16:creationId xmlns:a16="http://schemas.microsoft.com/office/drawing/2014/main" id="{79D5FAF9-096B-4C61-A299-6A26A276E128}"/>
              </a:ext>
            </a:extLst>
          </p:cNvPr>
          <p:cNvSpPr/>
          <p:nvPr/>
        </p:nvSpPr>
        <p:spPr bwMode="auto">
          <a:xfrm>
            <a:off x="3161813" y="2151555"/>
            <a:ext cx="166302" cy="166051"/>
          </a:xfrm>
          <a:custGeom>
            <a:avLst/>
            <a:gdLst>
              <a:gd name="connsiteX0" fmla="*/ 303820 w 607639"/>
              <a:gd name="connsiteY0" fmla="*/ 278099 h 606722"/>
              <a:gd name="connsiteX1" fmla="*/ 329118 w 607639"/>
              <a:gd name="connsiteY1" fmla="*/ 303362 h 606722"/>
              <a:gd name="connsiteX2" fmla="*/ 303820 w 607639"/>
              <a:gd name="connsiteY2" fmla="*/ 328625 h 606722"/>
              <a:gd name="connsiteX3" fmla="*/ 278522 w 607639"/>
              <a:gd name="connsiteY3" fmla="*/ 303362 h 606722"/>
              <a:gd name="connsiteX4" fmla="*/ 303820 w 607639"/>
              <a:gd name="connsiteY4" fmla="*/ 278099 h 606722"/>
              <a:gd name="connsiteX5" fmla="*/ 303775 w 607639"/>
              <a:gd name="connsiteY5" fmla="*/ 252735 h 606722"/>
              <a:gd name="connsiteX6" fmla="*/ 253140 w 607639"/>
              <a:gd name="connsiteY6" fmla="*/ 303317 h 606722"/>
              <a:gd name="connsiteX7" fmla="*/ 303775 w 607639"/>
              <a:gd name="connsiteY7" fmla="*/ 353900 h 606722"/>
              <a:gd name="connsiteX8" fmla="*/ 354410 w 607639"/>
              <a:gd name="connsiteY8" fmla="*/ 303317 h 606722"/>
              <a:gd name="connsiteX9" fmla="*/ 303775 w 607639"/>
              <a:gd name="connsiteY9" fmla="*/ 252735 h 606722"/>
              <a:gd name="connsiteX10" fmla="*/ 303775 w 607639"/>
              <a:gd name="connsiteY10" fmla="*/ 202241 h 606722"/>
              <a:gd name="connsiteX11" fmla="*/ 405045 w 607639"/>
              <a:gd name="connsiteY11" fmla="*/ 303317 h 606722"/>
              <a:gd name="connsiteX12" fmla="*/ 303775 w 607639"/>
              <a:gd name="connsiteY12" fmla="*/ 404482 h 606722"/>
              <a:gd name="connsiteX13" fmla="*/ 202593 w 607639"/>
              <a:gd name="connsiteY13" fmla="*/ 303317 h 606722"/>
              <a:gd name="connsiteX14" fmla="*/ 303775 w 607639"/>
              <a:gd name="connsiteY14" fmla="*/ 202241 h 606722"/>
              <a:gd name="connsiteX15" fmla="*/ 303775 w 607639"/>
              <a:gd name="connsiteY15" fmla="*/ 151703 h 606722"/>
              <a:gd name="connsiteX16" fmla="*/ 151932 w 607639"/>
              <a:gd name="connsiteY16" fmla="*/ 303317 h 606722"/>
              <a:gd name="connsiteX17" fmla="*/ 303775 w 607639"/>
              <a:gd name="connsiteY17" fmla="*/ 455019 h 606722"/>
              <a:gd name="connsiteX18" fmla="*/ 455707 w 607639"/>
              <a:gd name="connsiteY18" fmla="*/ 303317 h 606722"/>
              <a:gd name="connsiteX19" fmla="*/ 303775 w 607639"/>
              <a:gd name="connsiteY19" fmla="*/ 151703 h 606722"/>
              <a:gd name="connsiteX20" fmla="*/ 253131 w 607639"/>
              <a:gd name="connsiteY20" fmla="*/ 0 h 606722"/>
              <a:gd name="connsiteX21" fmla="*/ 354419 w 607639"/>
              <a:gd name="connsiteY21" fmla="*/ 0 h 606722"/>
              <a:gd name="connsiteX22" fmla="*/ 379786 w 607639"/>
              <a:gd name="connsiteY22" fmla="*/ 25239 h 606722"/>
              <a:gd name="connsiteX23" fmla="*/ 379786 w 607639"/>
              <a:gd name="connsiteY23" fmla="*/ 62387 h 606722"/>
              <a:gd name="connsiteX24" fmla="*/ 420639 w 607639"/>
              <a:gd name="connsiteY24" fmla="*/ 79451 h 606722"/>
              <a:gd name="connsiteX25" fmla="*/ 446985 w 607639"/>
              <a:gd name="connsiteY25" fmla="*/ 53145 h 606722"/>
              <a:gd name="connsiteX26" fmla="*/ 482854 w 607639"/>
              <a:gd name="connsiteY26" fmla="*/ 53145 h 606722"/>
              <a:gd name="connsiteX27" fmla="*/ 554414 w 607639"/>
              <a:gd name="connsiteY27" fmla="*/ 124597 h 606722"/>
              <a:gd name="connsiteX28" fmla="*/ 554414 w 607639"/>
              <a:gd name="connsiteY28" fmla="*/ 160323 h 606722"/>
              <a:gd name="connsiteX29" fmla="*/ 528069 w 607639"/>
              <a:gd name="connsiteY29" fmla="*/ 186629 h 606722"/>
              <a:gd name="connsiteX30" fmla="*/ 545158 w 607639"/>
              <a:gd name="connsiteY30" fmla="*/ 227510 h 606722"/>
              <a:gd name="connsiteX31" fmla="*/ 582273 w 607639"/>
              <a:gd name="connsiteY31" fmla="*/ 227510 h 606722"/>
              <a:gd name="connsiteX32" fmla="*/ 607639 w 607639"/>
              <a:gd name="connsiteY32" fmla="*/ 252749 h 606722"/>
              <a:gd name="connsiteX33" fmla="*/ 607639 w 607639"/>
              <a:gd name="connsiteY33" fmla="*/ 353884 h 606722"/>
              <a:gd name="connsiteX34" fmla="*/ 582273 w 607639"/>
              <a:gd name="connsiteY34" fmla="*/ 379212 h 606722"/>
              <a:gd name="connsiteX35" fmla="*/ 545158 w 607639"/>
              <a:gd name="connsiteY35" fmla="*/ 379212 h 606722"/>
              <a:gd name="connsiteX36" fmla="*/ 528069 w 607639"/>
              <a:gd name="connsiteY36" fmla="*/ 420004 h 606722"/>
              <a:gd name="connsiteX37" fmla="*/ 554414 w 607639"/>
              <a:gd name="connsiteY37" fmla="*/ 446310 h 606722"/>
              <a:gd name="connsiteX38" fmla="*/ 554414 w 607639"/>
              <a:gd name="connsiteY38" fmla="*/ 482125 h 606722"/>
              <a:gd name="connsiteX39" fmla="*/ 482854 w 607639"/>
              <a:gd name="connsiteY39" fmla="*/ 553577 h 606722"/>
              <a:gd name="connsiteX40" fmla="*/ 446985 w 607639"/>
              <a:gd name="connsiteY40" fmla="*/ 553577 h 606722"/>
              <a:gd name="connsiteX41" fmla="*/ 420639 w 607639"/>
              <a:gd name="connsiteY41" fmla="*/ 527271 h 606722"/>
              <a:gd name="connsiteX42" fmla="*/ 379786 w 607639"/>
              <a:gd name="connsiteY42" fmla="*/ 544246 h 606722"/>
              <a:gd name="connsiteX43" fmla="*/ 379786 w 607639"/>
              <a:gd name="connsiteY43" fmla="*/ 581394 h 606722"/>
              <a:gd name="connsiteX44" fmla="*/ 354419 w 607639"/>
              <a:gd name="connsiteY44" fmla="*/ 606722 h 606722"/>
              <a:gd name="connsiteX45" fmla="*/ 253131 w 607639"/>
              <a:gd name="connsiteY45" fmla="*/ 606722 h 606722"/>
              <a:gd name="connsiteX46" fmla="*/ 227854 w 607639"/>
              <a:gd name="connsiteY46" fmla="*/ 581394 h 606722"/>
              <a:gd name="connsiteX47" fmla="*/ 227854 w 607639"/>
              <a:gd name="connsiteY47" fmla="*/ 544246 h 606722"/>
              <a:gd name="connsiteX48" fmla="*/ 186911 w 607639"/>
              <a:gd name="connsiteY48" fmla="*/ 527271 h 606722"/>
              <a:gd name="connsiteX49" fmla="*/ 160566 w 607639"/>
              <a:gd name="connsiteY49" fmla="*/ 553577 h 606722"/>
              <a:gd name="connsiteX50" fmla="*/ 124786 w 607639"/>
              <a:gd name="connsiteY50" fmla="*/ 553577 h 606722"/>
              <a:gd name="connsiteX51" fmla="*/ 53225 w 607639"/>
              <a:gd name="connsiteY51" fmla="*/ 482125 h 606722"/>
              <a:gd name="connsiteX52" fmla="*/ 53225 w 607639"/>
              <a:gd name="connsiteY52" fmla="*/ 446310 h 606722"/>
              <a:gd name="connsiteX53" fmla="*/ 79482 w 607639"/>
              <a:gd name="connsiteY53" fmla="*/ 420004 h 606722"/>
              <a:gd name="connsiteX54" fmla="*/ 62482 w 607639"/>
              <a:gd name="connsiteY54" fmla="*/ 379212 h 606722"/>
              <a:gd name="connsiteX55" fmla="*/ 25278 w 607639"/>
              <a:gd name="connsiteY55" fmla="*/ 379212 h 606722"/>
              <a:gd name="connsiteX56" fmla="*/ 0 w 607639"/>
              <a:gd name="connsiteY56" fmla="*/ 353884 h 606722"/>
              <a:gd name="connsiteX57" fmla="*/ 0 w 607639"/>
              <a:gd name="connsiteY57" fmla="*/ 252749 h 606722"/>
              <a:gd name="connsiteX58" fmla="*/ 25278 w 607639"/>
              <a:gd name="connsiteY58" fmla="*/ 227510 h 606722"/>
              <a:gd name="connsiteX59" fmla="*/ 62482 w 607639"/>
              <a:gd name="connsiteY59" fmla="*/ 227510 h 606722"/>
              <a:gd name="connsiteX60" fmla="*/ 79482 w 607639"/>
              <a:gd name="connsiteY60" fmla="*/ 186629 h 606722"/>
              <a:gd name="connsiteX61" fmla="*/ 53225 w 607639"/>
              <a:gd name="connsiteY61" fmla="*/ 160323 h 606722"/>
              <a:gd name="connsiteX62" fmla="*/ 53225 w 607639"/>
              <a:gd name="connsiteY62" fmla="*/ 124597 h 606722"/>
              <a:gd name="connsiteX63" fmla="*/ 124786 w 607639"/>
              <a:gd name="connsiteY63" fmla="*/ 53145 h 606722"/>
              <a:gd name="connsiteX64" fmla="*/ 160566 w 607639"/>
              <a:gd name="connsiteY64" fmla="*/ 53145 h 606722"/>
              <a:gd name="connsiteX65" fmla="*/ 186911 w 607639"/>
              <a:gd name="connsiteY65" fmla="*/ 79451 h 606722"/>
              <a:gd name="connsiteX66" fmla="*/ 227854 w 607639"/>
              <a:gd name="connsiteY66" fmla="*/ 62387 h 606722"/>
              <a:gd name="connsiteX67" fmla="*/ 227854 w 607639"/>
              <a:gd name="connsiteY67" fmla="*/ 25239 h 606722"/>
              <a:gd name="connsiteX68" fmla="*/ 253131 w 607639"/>
              <a:gd name="connsiteY68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07639" h="606722">
                <a:moveTo>
                  <a:pt x="303820" y="278099"/>
                </a:moveTo>
                <a:cubicBezTo>
                  <a:pt x="317792" y="278099"/>
                  <a:pt x="329118" y="289410"/>
                  <a:pt x="329118" y="303362"/>
                </a:cubicBezTo>
                <a:cubicBezTo>
                  <a:pt x="329118" y="317314"/>
                  <a:pt x="317792" y="328625"/>
                  <a:pt x="303820" y="328625"/>
                </a:cubicBezTo>
                <a:cubicBezTo>
                  <a:pt x="289848" y="328625"/>
                  <a:pt x="278522" y="317314"/>
                  <a:pt x="278522" y="303362"/>
                </a:cubicBezTo>
                <a:cubicBezTo>
                  <a:pt x="278522" y="289410"/>
                  <a:pt x="289848" y="278099"/>
                  <a:pt x="303820" y="278099"/>
                </a:cubicBezTo>
                <a:close/>
                <a:moveTo>
                  <a:pt x="303775" y="252735"/>
                </a:moveTo>
                <a:cubicBezTo>
                  <a:pt x="275921" y="252735"/>
                  <a:pt x="253140" y="275492"/>
                  <a:pt x="253140" y="303317"/>
                </a:cubicBezTo>
                <a:cubicBezTo>
                  <a:pt x="253140" y="331231"/>
                  <a:pt x="275921" y="353900"/>
                  <a:pt x="303775" y="353900"/>
                </a:cubicBezTo>
                <a:cubicBezTo>
                  <a:pt x="331718" y="353900"/>
                  <a:pt x="354410" y="331231"/>
                  <a:pt x="354410" y="303317"/>
                </a:cubicBezTo>
                <a:cubicBezTo>
                  <a:pt x="354410" y="275492"/>
                  <a:pt x="331718" y="252735"/>
                  <a:pt x="303775" y="252735"/>
                </a:cubicBezTo>
                <a:close/>
                <a:moveTo>
                  <a:pt x="303775" y="202241"/>
                </a:moveTo>
                <a:cubicBezTo>
                  <a:pt x="359660" y="202241"/>
                  <a:pt x="405045" y="247579"/>
                  <a:pt x="405045" y="303317"/>
                </a:cubicBezTo>
                <a:cubicBezTo>
                  <a:pt x="405045" y="359144"/>
                  <a:pt x="359660" y="404482"/>
                  <a:pt x="303775" y="404482"/>
                </a:cubicBezTo>
                <a:cubicBezTo>
                  <a:pt x="247978" y="404482"/>
                  <a:pt x="202593" y="359144"/>
                  <a:pt x="202593" y="303317"/>
                </a:cubicBezTo>
                <a:cubicBezTo>
                  <a:pt x="202593" y="247579"/>
                  <a:pt x="247978" y="202241"/>
                  <a:pt x="303775" y="202241"/>
                </a:cubicBezTo>
                <a:close/>
                <a:moveTo>
                  <a:pt x="303775" y="151703"/>
                </a:moveTo>
                <a:cubicBezTo>
                  <a:pt x="220021" y="151703"/>
                  <a:pt x="151932" y="219689"/>
                  <a:pt x="151932" y="303317"/>
                </a:cubicBezTo>
                <a:cubicBezTo>
                  <a:pt x="151932" y="387033"/>
                  <a:pt x="220021" y="455019"/>
                  <a:pt x="303775" y="455019"/>
                </a:cubicBezTo>
                <a:cubicBezTo>
                  <a:pt x="387618" y="455019"/>
                  <a:pt x="455707" y="387033"/>
                  <a:pt x="455707" y="303317"/>
                </a:cubicBezTo>
                <a:cubicBezTo>
                  <a:pt x="455707" y="219689"/>
                  <a:pt x="387618" y="151703"/>
                  <a:pt x="303775" y="151703"/>
                </a:cubicBezTo>
                <a:close/>
                <a:moveTo>
                  <a:pt x="253131" y="0"/>
                </a:moveTo>
                <a:lnTo>
                  <a:pt x="354419" y="0"/>
                </a:lnTo>
                <a:cubicBezTo>
                  <a:pt x="368482" y="0"/>
                  <a:pt x="379786" y="11287"/>
                  <a:pt x="379786" y="25239"/>
                </a:cubicBezTo>
                <a:lnTo>
                  <a:pt x="379786" y="62387"/>
                </a:lnTo>
                <a:cubicBezTo>
                  <a:pt x="393849" y="66831"/>
                  <a:pt x="407555" y="72519"/>
                  <a:pt x="420639" y="79451"/>
                </a:cubicBezTo>
                <a:lnTo>
                  <a:pt x="446985" y="53145"/>
                </a:lnTo>
                <a:cubicBezTo>
                  <a:pt x="456953" y="43191"/>
                  <a:pt x="472974" y="43191"/>
                  <a:pt x="482854" y="53145"/>
                </a:cubicBezTo>
                <a:lnTo>
                  <a:pt x="554414" y="124597"/>
                </a:lnTo>
                <a:cubicBezTo>
                  <a:pt x="564294" y="134462"/>
                  <a:pt x="564294" y="150459"/>
                  <a:pt x="554414" y="160323"/>
                </a:cubicBezTo>
                <a:lnTo>
                  <a:pt x="528069" y="186629"/>
                </a:lnTo>
                <a:cubicBezTo>
                  <a:pt x="535011" y="199782"/>
                  <a:pt x="540707" y="213468"/>
                  <a:pt x="545158" y="227510"/>
                </a:cubicBezTo>
                <a:lnTo>
                  <a:pt x="582273" y="227510"/>
                </a:lnTo>
                <a:cubicBezTo>
                  <a:pt x="596336" y="227510"/>
                  <a:pt x="607639" y="238796"/>
                  <a:pt x="607639" y="252749"/>
                </a:cubicBezTo>
                <a:lnTo>
                  <a:pt x="607639" y="353884"/>
                </a:lnTo>
                <a:cubicBezTo>
                  <a:pt x="607639" y="367926"/>
                  <a:pt x="596247" y="379212"/>
                  <a:pt x="582273" y="379212"/>
                </a:cubicBezTo>
                <a:lnTo>
                  <a:pt x="545158" y="379212"/>
                </a:lnTo>
                <a:cubicBezTo>
                  <a:pt x="540707" y="393254"/>
                  <a:pt x="535011" y="406940"/>
                  <a:pt x="528069" y="420004"/>
                </a:cubicBezTo>
                <a:lnTo>
                  <a:pt x="554414" y="446310"/>
                </a:lnTo>
                <a:cubicBezTo>
                  <a:pt x="564294" y="456263"/>
                  <a:pt x="564294" y="472260"/>
                  <a:pt x="554414" y="482125"/>
                </a:cubicBezTo>
                <a:lnTo>
                  <a:pt x="482854" y="553577"/>
                </a:lnTo>
                <a:cubicBezTo>
                  <a:pt x="472974" y="563442"/>
                  <a:pt x="456953" y="563442"/>
                  <a:pt x="446985" y="553577"/>
                </a:cubicBezTo>
                <a:lnTo>
                  <a:pt x="420639" y="527271"/>
                </a:lnTo>
                <a:cubicBezTo>
                  <a:pt x="407555" y="534203"/>
                  <a:pt x="393849" y="539802"/>
                  <a:pt x="379786" y="544246"/>
                </a:cubicBezTo>
                <a:lnTo>
                  <a:pt x="379786" y="581394"/>
                </a:lnTo>
                <a:cubicBezTo>
                  <a:pt x="379786" y="595435"/>
                  <a:pt x="368393" y="606722"/>
                  <a:pt x="354419" y="606722"/>
                </a:cubicBezTo>
                <a:lnTo>
                  <a:pt x="253131" y="606722"/>
                </a:lnTo>
                <a:cubicBezTo>
                  <a:pt x="239157" y="606722"/>
                  <a:pt x="227854" y="595435"/>
                  <a:pt x="227854" y="581394"/>
                </a:cubicBezTo>
                <a:lnTo>
                  <a:pt x="227854" y="544246"/>
                </a:lnTo>
                <a:cubicBezTo>
                  <a:pt x="213791" y="539802"/>
                  <a:pt x="200084" y="534203"/>
                  <a:pt x="186911" y="527271"/>
                </a:cubicBezTo>
                <a:lnTo>
                  <a:pt x="160566" y="553577"/>
                </a:lnTo>
                <a:cubicBezTo>
                  <a:pt x="150686" y="563442"/>
                  <a:pt x="134665" y="563442"/>
                  <a:pt x="124786" y="553577"/>
                </a:cubicBezTo>
                <a:lnTo>
                  <a:pt x="53225" y="482125"/>
                </a:lnTo>
                <a:cubicBezTo>
                  <a:pt x="43257" y="472260"/>
                  <a:pt x="43257" y="456263"/>
                  <a:pt x="53225" y="446310"/>
                </a:cubicBezTo>
                <a:lnTo>
                  <a:pt x="79482" y="420004"/>
                </a:lnTo>
                <a:cubicBezTo>
                  <a:pt x="72629" y="406940"/>
                  <a:pt x="66932" y="393254"/>
                  <a:pt x="62482" y="379212"/>
                </a:cubicBezTo>
                <a:lnTo>
                  <a:pt x="25278" y="379212"/>
                </a:lnTo>
                <a:cubicBezTo>
                  <a:pt x="11304" y="379212"/>
                  <a:pt x="0" y="367926"/>
                  <a:pt x="0" y="353884"/>
                </a:cubicBezTo>
                <a:lnTo>
                  <a:pt x="0" y="252749"/>
                </a:lnTo>
                <a:cubicBezTo>
                  <a:pt x="0" y="238796"/>
                  <a:pt x="11304" y="227510"/>
                  <a:pt x="25278" y="227510"/>
                </a:cubicBezTo>
                <a:lnTo>
                  <a:pt x="62482" y="227510"/>
                </a:lnTo>
                <a:cubicBezTo>
                  <a:pt x="66932" y="213468"/>
                  <a:pt x="72629" y="199782"/>
                  <a:pt x="79482" y="186629"/>
                </a:cubicBezTo>
                <a:lnTo>
                  <a:pt x="53225" y="160323"/>
                </a:lnTo>
                <a:cubicBezTo>
                  <a:pt x="43257" y="150459"/>
                  <a:pt x="43257" y="134462"/>
                  <a:pt x="53225" y="124597"/>
                </a:cubicBezTo>
                <a:lnTo>
                  <a:pt x="124786" y="53145"/>
                </a:lnTo>
                <a:cubicBezTo>
                  <a:pt x="134665" y="43191"/>
                  <a:pt x="150686" y="43191"/>
                  <a:pt x="160566" y="53145"/>
                </a:cubicBezTo>
                <a:lnTo>
                  <a:pt x="186911" y="79451"/>
                </a:lnTo>
                <a:cubicBezTo>
                  <a:pt x="200084" y="72519"/>
                  <a:pt x="213791" y="66831"/>
                  <a:pt x="227854" y="62387"/>
                </a:cubicBezTo>
                <a:lnTo>
                  <a:pt x="227854" y="25239"/>
                </a:lnTo>
                <a:cubicBezTo>
                  <a:pt x="227854" y="11287"/>
                  <a:pt x="239157" y="0"/>
                  <a:pt x="25313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3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3" name="ïṧľíďê">
            <a:extLst>
              <a:ext uri="{FF2B5EF4-FFF2-40B4-BE49-F238E27FC236}">
                <a16:creationId xmlns:a16="http://schemas.microsoft.com/office/drawing/2014/main" id="{83AC56C8-BB22-4DB6-8372-AA84DFFA3A81}"/>
              </a:ext>
            </a:extLst>
          </p:cNvPr>
          <p:cNvSpPr/>
          <p:nvPr/>
        </p:nvSpPr>
        <p:spPr bwMode="auto">
          <a:xfrm>
            <a:off x="2929952" y="2434646"/>
            <a:ext cx="166302" cy="166030"/>
          </a:xfrm>
          <a:custGeom>
            <a:avLst/>
            <a:gdLst>
              <a:gd name="connsiteX0" fmla="*/ 380418 w 604181"/>
              <a:gd name="connsiteY0" fmla="*/ 268007 h 603193"/>
              <a:gd name="connsiteX1" fmla="*/ 519220 w 604181"/>
              <a:gd name="connsiteY1" fmla="*/ 339187 h 603193"/>
              <a:gd name="connsiteX2" fmla="*/ 519220 w 604181"/>
              <a:gd name="connsiteY2" fmla="*/ 355820 h 603193"/>
              <a:gd name="connsiteX3" fmla="*/ 380418 w 604181"/>
              <a:gd name="connsiteY3" fmla="*/ 426850 h 603193"/>
              <a:gd name="connsiteX4" fmla="*/ 380418 w 604181"/>
              <a:gd name="connsiteY4" fmla="*/ 406320 h 603193"/>
              <a:gd name="connsiteX5" fmla="*/ 498212 w 604181"/>
              <a:gd name="connsiteY5" fmla="*/ 347728 h 603193"/>
              <a:gd name="connsiteX6" fmla="*/ 498212 w 604181"/>
              <a:gd name="connsiteY6" fmla="*/ 347129 h 603193"/>
              <a:gd name="connsiteX7" fmla="*/ 380418 w 604181"/>
              <a:gd name="connsiteY7" fmla="*/ 288687 h 603193"/>
              <a:gd name="connsiteX8" fmla="*/ 216565 w 604181"/>
              <a:gd name="connsiteY8" fmla="*/ 268007 h 603193"/>
              <a:gd name="connsiteX9" fmla="*/ 216565 w 604181"/>
              <a:gd name="connsiteY9" fmla="*/ 288687 h 603193"/>
              <a:gd name="connsiteX10" fmla="*/ 99664 w 604181"/>
              <a:gd name="connsiteY10" fmla="*/ 347129 h 603193"/>
              <a:gd name="connsiteX11" fmla="*/ 99664 w 604181"/>
              <a:gd name="connsiteY11" fmla="*/ 347728 h 603193"/>
              <a:gd name="connsiteX12" fmla="*/ 216565 w 604181"/>
              <a:gd name="connsiteY12" fmla="*/ 406320 h 603193"/>
              <a:gd name="connsiteX13" fmla="*/ 216565 w 604181"/>
              <a:gd name="connsiteY13" fmla="*/ 426850 h 603193"/>
              <a:gd name="connsiteX14" fmla="*/ 77904 w 604181"/>
              <a:gd name="connsiteY14" fmla="*/ 355521 h 603193"/>
              <a:gd name="connsiteX15" fmla="*/ 77904 w 604181"/>
              <a:gd name="connsiteY15" fmla="*/ 339486 h 603193"/>
              <a:gd name="connsiteX16" fmla="*/ 338273 w 604181"/>
              <a:gd name="connsiteY16" fmla="*/ 222493 h 603193"/>
              <a:gd name="connsiteX17" fmla="*/ 358684 w 604181"/>
              <a:gd name="connsiteY17" fmla="*/ 222493 h 603193"/>
              <a:gd name="connsiteX18" fmla="*/ 253179 w 604181"/>
              <a:gd name="connsiteY18" fmla="*/ 482103 h 603193"/>
              <a:gd name="connsiteX19" fmla="*/ 233219 w 604181"/>
              <a:gd name="connsiteY19" fmla="*/ 482103 h 603193"/>
              <a:gd name="connsiteX20" fmla="*/ 28813 w 604181"/>
              <a:gd name="connsiteY20" fmla="*/ 128849 h 603193"/>
              <a:gd name="connsiteX21" fmla="*/ 28813 w 604181"/>
              <a:gd name="connsiteY21" fmla="*/ 557497 h 603193"/>
              <a:gd name="connsiteX22" fmla="*/ 45921 w 604181"/>
              <a:gd name="connsiteY22" fmla="*/ 574427 h 603193"/>
              <a:gd name="connsiteX23" fmla="*/ 558410 w 604181"/>
              <a:gd name="connsiteY23" fmla="*/ 574427 h 603193"/>
              <a:gd name="connsiteX24" fmla="*/ 575368 w 604181"/>
              <a:gd name="connsiteY24" fmla="*/ 557497 h 603193"/>
              <a:gd name="connsiteX25" fmla="*/ 575368 w 604181"/>
              <a:gd name="connsiteY25" fmla="*/ 128849 h 603193"/>
              <a:gd name="connsiteX26" fmla="*/ 502734 w 604181"/>
              <a:gd name="connsiteY26" fmla="*/ 43149 h 603193"/>
              <a:gd name="connsiteX27" fmla="*/ 502734 w 604181"/>
              <a:gd name="connsiteY27" fmla="*/ 77309 h 603193"/>
              <a:gd name="connsiteX28" fmla="*/ 537100 w 604181"/>
              <a:gd name="connsiteY28" fmla="*/ 77309 h 603193"/>
              <a:gd name="connsiteX29" fmla="*/ 537100 w 604181"/>
              <a:gd name="connsiteY29" fmla="*/ 43149 h 603193"/>
              <a:gd name="connsiteX30" fmla="*/ 423197 w 604181"/>
              <a:gd name="connsiteY30" fmla="*/ 43149 h 603193"/>
              <a:gd name="connsiteX31" fmla="*/ 423197 w 604181"/>
              <a:gd name="connsiteY31" fmla="*/ 77309 h 603193"/>
              <a:gd name="connsiteX32" fmla="*/ 457563 w 604181"/>
              <a:gd name="connsiteY32" fmla="*/ 77309 h 603193"/>
              <a:gd name="connsiteX33" fmla="*/ 457563 w 604181"/>
              <a:gd name="connsiteY33" fmla="*/ 43149 h 603193"/>
              <a:gd name="connsiteX34" fmla="*/ 45921 w 604181"/>
              <a:gd name="connsiteY34" fmla="*/ 0 h 603193"/>
              <a:gd name="connsiteX35" fmla="*/ 558410 w 604181"/>
              <a:gd name="connsiteY35" fmla="*/ 0 h 603193"/>
              <a:gd name="connsiteX36" fmla="*/ 604181 w 604181"/>
              <a:gd name="connsiteY36" fmla="*/ 45846 h 603193"/>
              <a:gd name="connsiteX37" fmla="*/ 604181 w 604181"/>
              <a:gd name="connsiteY37" fmla="*/ 557497 h 603193"/>
              <a:gd name="connsiteX38" fmla="*/ 558410 w 604181"/>
              <a:gd name="connsiteY38" fmla="*/ 603193 h 603193"/>
              <a:gd name="connsiteX39" fmla="*/ 45921 w 604181"/>
              <a:gd name="connsiteY39" fmla="*/ 603193 h 603193"/>
              <a:gd name="connsiteX40" fmla="*/ 0 w 604181"/>
              <a:gd name="connsiteY40" fmla="*/ 557497 h 603193"/>
              <a:gd name="connsiteX41" fmla="*/ 0 w 604181"/>
              <a:gd name="connsiteY41" fmla="*/ 45846 h 603193"/>
              <a:gd name="connsiteX42" fmla="*/ 45921 w 604181"/>
              <a:gd name="connsiteY42" fmla="*/ 0 h 603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04181" h="603193">
                <a:moveTo>
                  <a:pt x="380418" y="268007"/>
                </a:moveTo>
                <a:lnTo>
                  <a:pt x="519220" y="339187"/>
                </a:lnTo>
                <a:lnTo>
                  <a:pt x="519220" y="355820"/>
                </a:lnTo>
                <a:lnTo>
                  <a:pt x="380418" y="426850"/>
                </a:lnTo>
                <a:lnTo>
                  <a:pt x="380418" y="406320"/>
                </a:lnTo>
                <a:lnTo>
                  <a:pt x="498212" y="347728"/>
                </a:lnTo>
                <a:lnTo>
                  <a:pt x="498212" y="347129"/>
                </a:lnTo>
                <a:lnTo>
                  <a:pt x="380418" y="288687"/>
                </a:lnTo>
                <a:close/>
                <a:moveTo>
                  <a:pt x="216565" y="268007"/>
                </a:moveTo>
                <a:lnTo>
                  <a:pt x="216565" y="288687"/>
                </a:lnTo>
                <a:lnTo>
                  <a:pt x="99664" y="347129"/>
                </a:lnTo>
                <a:lnTo>
                  <a:pt x="99664" y="347728"/>
                </a:lnTo>
                <a:lnTo>
                  <a:pt x="216565" y="406320"/>
                </a:lnTo>
                <a:lnTo>
                  <a:pt x="216565" y="426850"/>
                </a:lnTo>
                <a:lnTo>
                  <a:pt x="77904" y="355521"/>
                </a:lnTo>
                <a:lnTo>
                  <a:pt x="77904" y="339486"/>
                </a:lnTo>
                <a:close/>
                <a:moveTo>
                  <a:pt x="338273" y="222493"/>
                </a:moveTo>
                <a:lnTo>
                  <a:pt x="358684" y="222493"/>
                </a:lnTo>
                <a:lnTo>
                  <a:pt x="253179" y="482103"/>
                </a:lnTo>
                <a:lnTo>
                  <a:pt x="233219" y="482103"/>
                </a:lnTo>
                <a:close/>
                <a:moveTo>
                  <a:pt x="28813" y="128849"/>
                </a:moveTo>
                <a:lnTo>
                  <a:pt x="28813" y="557497"/>
                </a:lnTo>
                <a:cubicBezTo>
                  <a:pt x="28813" y="566786"/>
                  <a:pt x="36467" y="574427"/>
                  <a:pt x="45921" y="574427"/>
                </a:cubicBezTo>
                <a:lnTo>
                  <a:pt x="558410" y="574427"/>
                </a:lnTo>
                <a:cubicBezTo>
                  <a:pt x="567714" y="574427"/>
                  <a:pt x="575368" y="566786"/>
                  <a:pt x="575368" y="557497"/>
                </a:cubicBezTo>
                <a:lnTo>
                  <a:pt x="575368" y="128849"/>
                </a:lnTo>
                <a:close/>
                <a:moveTo>
                  <a:pt x="502734" y="43149"/>
                </a:moveTo>
                <a:lnTo>
                  <a:pt x="502734" y="77309"/>
                </a:lnTo>
                <a:lnTo>
                  <a:pt x="537100" y="77309"/>
                </a:lnTo>
                <a:lnTo>
                  <a:pt x="537100" y="43149"/>
                </a:lnTo>
                <a:close/>
                <a:moveTo>
                  <a:pt x="423197" y="43149"/>
                </a:moveTo>
                <a:lnTo>
                  <a:pt x="423197" y="77309"/>
                </a:lnTo>
                <a:lnTo>
                  <a:pt x="457563" y="77309"/>
                </a:lnTo>
                <a:lnTo>
                  <a:pt x="457563" y="43149"/>
                </a:lnTo>
                <a:close/>
                <a:moveTo>
                  <a:pt x="45921" y="0"/>
                </a:moveTo>
                <a:lnTo>
                  <a:pt x="558410" y="0"/>
                </a:lnTo>
                <a:cubicBezTo>
                  <a:pt x="583621" y="0"/>
                  <a:pt x="604181" y="20526"/>
                  <a:pt x="604181" y="45846"/>
                </a:cubicBezTo>
                <a:lnTo>
                  <a:pt x="604181" y="557497"/>
                </a:lnTo>
                <a:cubicBezTo>
                  <a:pt x="604181" y="582667"/>
                  <a:pt x="583621" y="603193"/>
                  <a:pt x="558410" y="603193"/>
                </a:cubicBezTo>
                <a:lnTo>
                  <a:pt x="45921" y="603193"/>
                </a:lnTo>
                <a:cubicBezTo>
                  <a:pt x="20560" y="603193"/>
                  <a:pt x="0" y="582667"/>
                  <a:pt x="0" y="557497"/>
                </a:cubicBezTo>
                <a:lnTo>
                  <a:pt x="0" y="45846"/>
                </a:lnTo>
                <a:cubicBezTo>
                  <a:pt x="0" y="20526"/>
                  <a:pt x="20560" y="0"/>
                  <a:pt x="4592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3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4" name="îṣḻîḍé">
            <a:extLst>
              <a:ext uri="{FF2B5EF4-FFF2-40B4-BE49-F238E27FC236}">
                <a16:creationId xmlns:a16="http://schemas.microsoft.com/office/drawing/2014/main" id="{716A4AAF-66FE-4462-901E-658C29D84AD8}"/>
              </a:ext>
            </a:extLst>
          </p:cNvPr>
          <p:cNvSpPr/>
          <p:nvPr/>
        </p:nvSpPr>
        <p:spPr bwMode="auto">
          <a:xfrm>
            <a:off x="2692644" y="2717715"/>
            <a:ext cx="166302" cy="166050"/>
          </a:xfrm>
          <a:custGeom>
            <a:avLst/>
            <a:gdLst>
              <a:gd name="T0" fmla="*/ 6624 w 7154"/>
              <a:gd name="T1" fmla="*/ 2037 h 7154"/>
              <a:gd name="T2" fmla="*/ 6106 w 7154"/>
              <a:gd name="T3" fmla="*/ 1048 h 7154"/>
              <a:gd name="T4" fmla="*/ 5117 w 7154"/>
              <a:gd name="T5" fmla="*/ 530 h 7154"/>
              <a:gd name="T6" fmla="*/ 4643 w 7154"/>
              <a:gd name="T7" fmla="*/ 334 h 7154"/>
              <a:gd name="T8" fmla="*/ 3577 w 7154"/>
              <a:gd name="T9" fmla="*/ 0 h 7154"/>
              <a:gd name="T10" fmla="*/ 2511 w 7154"/>
              <a:gd name="T11" fmla="*/ 334 h 7154"/>
              <a:gd name="T12" fmla="*/ 2037 w 7154"/>
              <a:gd name="T13" fmla="*/ 530 h 7154"/>
              <a:gd name="T14" fmla="*/ 1048 w 7154"/>
              <a:gd name="T15" fmla="*/ 1048 h 7154"/>
              <a:gd name="T16" fmla="*/ 530 w 7154"/>
              <a:gd name="T17" fmla="*/ 2037 h 7154"/>
              <a:gd name="T18" fmla="*/ 334 w 7154"/>
              <a:gd name="T19" fmla="*/ 2511 h 7154"/>
              <a:gd name="T20" fmla="*/ 0 w 7154"/>
              <a:gd name="T21" fmla="*/ 3577 h 7154"/>
              <a:gd name="T22" fmla="*/ 334 w 7154"/>
              <a:gd name="T23" fmla="*/ 4643 h 7154"/>
              <a:gd name="T24" fmla="*/ 530 w 7154"/>
              <a:gd name="T25" fmla="*/ 5117 h 7154"/>
              <a:gd name="T26" fmla="*/ 1048 w 7154"/>
              <a:gd name="T27" fmla="*/ 6106 h 7154"/>
              <a:gd name="T28" fmla="*/ 2037 w 7154"/>
              <a:gd name="T29" fmla="*/ 6624 h 7154"/>
              <a:gd name="T30" fmla="*/ 2511 w 7154"/>
              <a:gd name="T31" fmla="*/ 6820 h 7154"/>
              <a:gd name="T32" fmla="*/ 3577 w 7154"/>
              <a:gd name="T33" fmla="*/ 7154 h 7154"/>
              <a:gd name="T34" fmla="*/ 4643 w 7154"/>
              <a:gd name="T35" fmla="*/ 6820 h 7154"/>
              <a:gd name="T36" fmla="*/ 5117 w 7154"/>
              <a:gd name="T37" fmla="*/ 6624 h 7154"/>
              <a:gd name="T38" fmla="*/ 6106 w 7154"/>
              <a:gd name="T39" fmla="*/ 6106 h 7154"/>
              <a:gd name="T40" fmla="*/ 6624 w 7154"/>
              <a:gd name="T41" fmla="*/ 5117 h 7154"/>
              <a:gd name="T42" fmla="*/ 6820 w 7154"/>
              <a:gd name="T43" fmla="*/ 4643 h 7154"/>
              <a:gd name="T44" fmla="*/ 7154 w 7154"/>
              <a:gd name="T45" fmla="*/ 3577 h 7154"/>
              <a:gd name="T46" fmla="*/ 6820 w 7154"/>
              <a:gd name="T47" fmla="*/ 2511 h 7154"/>
              <a:gd name="T48" fmla="*/ 6624 w 7154"/>
              <a:gd name="T49" fmla="*/ 2037 h 7154"/>
              <a:gd name="T50" fmla="*/ 5857 w 7154"/>
              <a:gd name="T51" fmla="*/ 2406 h 7154"/>
              <a:gd name="T52" fmla="*/ 3286 w 7154"/>
              <a:gd name="T53" fmla="*/ 4976 h 7154"/>
              <a:gd name="T54" fmla="*/ 2875 w 7154"/>
              <a:gd name="T55" fmla="*/ 5387 h 7154"/>
              <a:gd name="T56" fmla="*/ 2464 w 7154"/>
              <a:gd name="T57" fmla="*/ 5387 h 7154"/>
              <a:gd name="T58" fmla="*/ 2053 w 7154"/>
              <a:gd name="T59" fmla="*/ 4976 h 7154"/>
              <a:gd name="T60" fmla="*/ 1297 w 7154"/>
              <a:gd name="T61" fmla="*/ 4221 h 7154"/>
              <a:gd name="T62" fmla="*/ 1297 w 7154"/>
              <a:gd name="T63" fmla="*/ 3809 h 7154"/>
              <a:gd name="T64" fmla="*/ 1708 w 7154"/>
              <a:gd name="T65" fmla="*/ 3398 h 7154"/>
              <a:gd name="T66" fmla="*/ 2120 w 7154"/>
              <a:gd name="T67" fmla="*/ 3398 h 7154"/>
              <a:gd name="T68" fmla="*/ 2669 w 7154"/>
              <a:gd name="T69" fmla="*/ 3948 h 7154"/>
              <a:gd name="T70" fmla="*/ 5034 w 7154"/>
              <a:gd name="T71" fmla="*/ 1583 h 7154"/>
              <a:gd name="T72" fmla="*/ 5445 w 7154"/>
              <a:gd name="T73" fmla="*/ 1583 h 7154"/>
              <a:gd name="T74" fmla="*/ 5857 w 7154"/>
              <a:gd name="T75" fmla="*/ 1994 h 7154"/>
              <a:gd name="T76" fmla="*/ 5857 w 7154"/>
              <a:gd name="T77" fmla="*/ 2406 h 7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154" h="7154">
                <a:moveTo>
                  <a:pt x="6624" y="2037"/>
                </a:moveTo>
                <a:cubicBezTo>
                  <a:pt x="6580" y="1703"/>
                  <a:pt x="6403" y="1345"/>
                  <a:pt x="6106" y="1048"/>
                </a:cubicBezTo>
                <a:cubicBezTo>
                  <a:pt x="5809" y="751"/>
                  <a:pt x="5451" y="574"/>
                  <a:pt x="5117" y="530"/>
                </a:cubicBezTo>
                <a:cubicBezTo>
                  <a:pt x="4966" y="510"/>
                  <a:pt x="4764" y="427"/>
                  <a:pt x="4643" y="334"/>
                </a:cubicBezTo>
                <a:cubicBezTo>
                  <a:pt x="4375" y="128"/>
                  <a:pt x="3997" y="0"/>
                  <a:pt x="3577" y="0"/>
                </a:cubicBezTo>
                <a:cubicBezTo>
                  <a:pt x="3157" y="0"/>
                  <a:pt x="2779" y="128"/>
                  <a:pt x="2511" y="334"/>
                </a:cubicBezTo>
                <a:cubicBezTo>
                  <a:pt x="2390" y="427"/>
                  <a:pt x="2188" y="510"/>
                  <a:pt x="2037" y="530"/>
                </a:cubicBezTo>
                <a:cubicBezTo>
                  <a:pt x="1702" y="574"/>
                  <a:pt x="1345" y="751"/>
                  <a:pt x="1048" y="1048"/>
                </a:cubicBezTo>
                <a:cubicBezTo>
                  <a:pt x="751" y="1345"/>
                  <a:pt x="574" y="1703"/>
                  <a:pt x="530" y="2037"/>
                </a:cubicBezTo>
                <a:cubicBezTo>
                  <a:pt x="510" y="2188"/>
                  <a:pt x="427" y="2390"/>
                  <a:pt x="334" y="2511"/>
                </a:cubicBezTo>
                <a:cubicBezTo>
                  <a:pt x="128" y="2779"/>
                  <a:pt x="0" y="3157"/>
                  <a:pt x="0" y="3577"/>
                </a:cubicBezTo>
                <a:cubicBezTo>
                  <a:pt x="0" y="3997"/>
                  <a:pt x="128" y="4375"/>
                  <a:pt x="334" y="4643"/>
                </a:cubicBezTo>
                <a:cubicBezTo>
                  <a:pt x="427" y="4764"/>
                  <a:pt x="510" y="4966"/>
                  <a:pt x="530" y="5117"/>
                </a:cubicBezTo>
                <a:cubicBezTo>
                  <a:pt x="574" y="5451"/>
                  <a:pt x="751" y="5809"/>
                  <a:pt x="1048" y="6106"/>
                </a:cubicBezTo>
                <a:cubicBezTo>
                  <a:pt x="1345" y="6403"/>
                  <a:pt x="1702" y="6580"/>
                  <a:pt x="2037" y="6624"/>
                </a:cubicBezTo>
                <a:cubicBezTo>
                  <a:pt x="2188" y="6644"/>
                  <a:pt x="2390" y="6727"/>
                  <a:pt x="2511" y="6820"/>
                </a:cubicBezTo>
                <a:cubicBezTo>
                  <a:pt x="2779" y="7025"/>
                  <a:pt x="3157" y="7154"/>
                  <a:pt x="3577" y="7154"/>
                </a:cubicBezTo>
                <a:cubicBezTo>
                  <a:pt x="3997" y="7154"/>
                  <a:pt x="4375" y="7025"/>
                  <a:pt x="4643" y="6820"/>
                </a:cubicBezTo>
                <a:cubicBezTo>
                  <a:pt x="4764" y="6727"/>
                  <a:pt x="4966" y="6644"/>
                  <a:pt x="5117" y="6624"/>
                </a:cubicBezTo>
                <a:cubicBezTo>
                  <a:pt x="5451" y="6580"/>
                  <a:pt x="5809" y="6403"/>
                  <a:pt x="6106" y="6106"/>
                </a:cubicBezTo>
                <a:cubicBezTo>
                  <a:pt x="6403" y="5809"/>
                  <a:pt x="6580" y="5451"/>
                  <a:pt x="6624" y="5117"/>
                </a:cubicBezTo>
                <a:cubicBezTo>
                  <a:pt x="6644" y="4966"/>
                  <a:pt x="6727" y="4764"/>
                  <a:pt x="6820" y="4643"/>
                </a:cubicBezTo>
                <a:cubicBezTo>
                  <a:pt x="7026" y="4375"/>
                  <a:pt x="7154" y="3997"/>
                  <a:pt x="7154" y="3577"/>
                </a:cubicBezTo>
                <a:cubicBezTo>
                  <a:pt x="7154" y="3157"/>
                  <a:pt x="7026" y="2779"/>
                  <a:pt x="6820" y="2511"/>
                </a:cubicBezTo>
                <a:cubicBezTo>
                  <a:pt x="6727" y="2390"/>
                  <a:pt x="6644" y="2188"/>
                  <a:pt x="6624" y="2037"/>
                </a:cubicBezTo>
                <a:close/>
                <a:moveTo>
                  <a:pt x="5857" y="2406"/>
                </a:moveTo>
                <a:lnTo>
                  <a:pt x="3286" y="4976"/>
                </a:lnTo>
                <a:lnTo>
                  <a:pt x="2875" y="5387"/>
                </a:lnTo>
                <a:cubicBezTo>
                  <a:pt x="2762" y="5501"/>
                  <a:pt x="2577" y="5501"/>
                  <a:pt x="2464" y="5387"/>
                </a:cubicBezTo>
                <a:lnTo>
                  <a:pt x="2053" y="4976"/>
                </a:lnTo>
                <a:lnTo>
                  <a:pt x="1297" y="4221"/>
                </a:lnTo>
                <a:cubicBezTo>
                  <a:pt x="1183" y="4107"/>
                  <a:pt x="1183" y="3923"/>
                  <a:pt x="1297" y="3809"/>
                </a:cubicBezTo>
                <a:lnTo>
                  <a:pt x="1708" y="3398"/>
                </a:lnTo>
                <a:cubicBezTo>
                  <a:pt x="1822" y="3285"/>
                  <a:pt x="2006" y="3285"/>
                  <a:pt x="2120" y="3398"/>
                </a:cubicBezTo>
                <a:lnTo>
                  <a:pt x="2669" y="3948"/>
                </a:lnTo>
                <a:lnTo>
                  <a:pt x="5034" y="1583"/>
                </a:lnTo>
                <a:cubicBezTo>
                  <a:pt x="5148" y="1470"/>
                  <a:pt x="5332" y="1470"/>
                  <a:pt x="5445" y="1583"/>
                </a:cubicBezTo>
                <a:lnTo>
                  <a:pt x="5857" y="1994"/>
                </a:lnTo>
                <a:cubicBezTo>
                  <a:pt x="5970" y="2108"/>
                  <a:pt x="5970" y="2292"/>
                  <a:pt x="5857" y="2406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3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5" name="iṧḷiḑé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477961" y="2140578"/>
            <a:ext cx="1375520" cy="207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按分布模式进行配置</a:t>
            </a:r>
            <a:endParaRPr lang="en-US" altLang="zh-CN" sz="1100" dirty="0"/>
          </a:p>
        </p:txBody>
      </p:sp>
      <p:sp>
        <p:nvSpPr>
          <p:cNvPr id="216" name="îṧḻiḑe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237552" y="2426858"/>
            <a:ext cx="1375520" cy="207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运行第一个实例</a:t>
            </a:r>
            <a:endParaRPr lang="en-US" altLang="zh-CN" sz="1100" dirty="0"/>
          </a:p>
        </p:txBody>
      </p:sp>
      <p:sp>
        <p:nvSpPr>
          <p:cNvPr id="217" name="îṣľïd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2997214" y="2713139"/>
            <a:ext cx="1375520" cy="207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开心</a:t>
            </a:r>
            <a:r>
              <a:rPr lang="en-US" altLang="zh-CN" sz="1100" dirty="0" err="1"/>
              <a:t>ing</a:t>
            </a:r>
            <a:r>
              <a:rPr lang="en-US" altLang="zh-CN" sz="1100" dirty="0"/>
              <a:t>~</a:t>
            </a:r>
          </a:p>
        </p:txBody>
      </p:sp>
      <p:sp>
        <p:nvSpPr>
          <p:cNvPr id="218" name="íṧ1îd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718270" y="1854297"/>
            <a:ext cx="1375520" cy="207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 解压</a:t>
            </a:r>
            <a:endParaRPr lang="en-US" altLang="zh-CN" sz="1100" dirty="0"/>
          </a:p>
        </p:txBody>
      </p:sp>
      <p:sp>
        <p:nvSpPr>
          <p:cNvPr id="219" name="îs1ïḋ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961608" y="1568015"/>
            <a:ext cx="1375520" cy="207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配置环境变量 使之生效</a:t>
            </a:r>
            <a:endParaRPr lang="en-US" altLang="zh-CN" sz="1100" dirty="0"/>
          </a:p>
        </p:txBody>
      </p:sp>
      <p:sp>
        <p:nvSpPr>
          <p:cNvPr id="220" name="íšliḓ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4201932" y="1281735"/>
            <a:ext cx="1375520" cy="207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>
                <a:solidFill>
                  <a:schemeClr val="bg1"/>
                </a:solidFill>
              </a:rPr>
              <a:t>在官网下载安装包</a:t>
            </a:r>
            <a:r>
              <a:rPr lang="en-US" altLang="zh-CN" sz="1100" dirty="0">
                <a:solidFill>
                  <a:schemeClr val="bg1"/>
                </a:solidFill>
              </a:rPr>
              <a:t> </a:t>
            </a:r>
            <a:r>
              <a:rPr lang="zh-CN" altLang="en-US" sz="1100" dirty="0">
                <a:solidFill>
                  <a:schemeClr val="bg1"/>
                </a:solidFill>
              </a:rPr>
              <a:t>解压</a:t>
            </a: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72" name="íSľîḍe">
            <a:extLst>
              <a:ext uri="{FF2B5EF4-FFF2-40B4-BE49-F238E27FC236}">
                <a16:creationId xmlns:a16="http://schemas.microsoft.com/office/drawing/2014/main" id="{A5994CFB-BDDD-4F97-B2DB-89DB6EB85CBD}"/>
              </a:ext>
            </a:extLst>
          </p:cNvPr>
          <p:cNvSpPr/>
          <p:nvPr/>
        </p:nvSpPr>
        <p:spPr>
          <a:xfrm>
            <a:off x="2188093" y="3494498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下载</a:t>
            </a:r>
          </a:p>
        </p:txBody>
      </p:sp>
      <p:sp>
        <p:nvSpPr>
          <p:cNvPr id="80" name="îṩḷïḍé">
            <a:extLst>
              <a:ext uri="{FF2B5EF4-FFF2-40B4-BE49-F238E27FC236}">
                <a16:creationId xmlns:a16="http://schemas.microsoft.com/office/drawing/2014/main" id="{8C0A7377-43ED-4772-94B4-3EB2E7A6E293}"/>
              </a:ext>
            </a:extLst>
          </p:cNvPr>
          <p:cNvSpPr>
            <a:spLocks/>
          </p:cNvSpPr>
          <p:nvPr/>
        </p:nvSpPr>
        <p:spPr bwMode="auto">
          <a:xfrm>
            <a:off x="2453830" y="3611872"/>
            <a:ext cx="532037" cy="532037"/>
          </a:xfrm>
          <a:custGeom>
            <a:avLst/>
            <a:gdLst>
              <a:gd name="connsiteX0" fmla="*/ 39602 w 536368"/>
              <a:gd name="connsiteY0" fmla="*/ 407445 h 587881"/>
              <a:gd name="connsiteX1" fmla="*/ 79294 w 536368"/>
              <a:gd name="connsiteY1" fmla="*/ 446999 h 587881"/>
              <a:gd name="connsiteX2" fmla="*/ 79294 w 536368"/>
              <a:gd name="connsiteY2" fmla="*/ 508685 h 587881"/>
              <a:gd name="connsiteX3" fmla="*/ 457074 w 536368"/>
              <a:gd name="connsiteY3" fmla="*/ 508685 h 587881"/>
              <a:gd name="connsiteX4" fmla="*/ 457074 w 536368"/>
              <a:gd name="connsiteY4" fmla="*/ 446999 h 587881"/>
              <a:gd name="connsiteX5" fmla="*/ 496677 w 536368"/>
              <a:gd name="connsiteY5" fmla="*/ 407445 h 587881"/>
              <a:gd name="connsiteX6" fmla="*/ 536368 w 536368"/>
              <a:gd name="connsiteY6" fmla="*/ 446999 h 587881"/>
              <a:gd name="connsiteX7" fmla="*/ 536368 w 536368"/>
              <a:gd name="connsiteY7" fmla="*/ 548238 h 587881"/>
              <a:gd name="connsiteX8" fmla="*/ 496677 w 536368"/>
              <a:gd name="connsiteY8" fmla="*/ 587881 h 587881"/>
              <a:gd name="connsiteX9" fmla="*/ 39602 w 536368"/>
              <a:gd name="connsiteY9" fmla="*/ 587881 h 587881"/>
              <a:gd name="connsiteX10" fmla="*/ 0 w 536368"/>
              <a:gd name="connsiteY10" fmla="*/ 548238 h 587881"/>
              <a:gd name="connsiteX11" fmla="*/ 0 w 536368"/>
              <a:gd name="connsiteY11" fmla="*/ 446999 h 587881"/>
              <a:gd name="connsiteX12" fmla="*/ 39602 w 536368"/>
              <a:gd name="connsiteY12" fmla="*/ 407445 h 587881"/>
              <a:gd name="connsiteX13" fmla="*/ 223430 w 536368"/>
              <a:gd name="connsiteY13" fmla="*/ 0 h 587881"/>
              <a:gd name="connsiteX14" fmla="*/ 312886 w 536368"/>
              <a:gd name="connsiteY14" fmla="*/ 0 h 587881"/>
              <a:gd name="connsiteX15" fmla="*/ 343773 w 536368"/>
              <a:gd name="connsiteY15" fmla="*/ 30926 h 587881"/>
              <a:gd name="connsiteX16" fmla="*/ 343773 w 536368"/>
              <a:gd name="connsiteY16" fmla="*/ 286685 h 587881"/>
              <a:gd name="connsiteX17" fmla="*/ 409018 w 536368"/>
              <a:gd name="connsiteY17" fmla="*/ 286685 h 587881"/>
              <a:gd name="connsiteX18" fmla="*/ 422103 w 536368"/>
              <a:gd name="connsiteY18" fmla="*/ 295394 h 587881"/>
              <a:gd name="connsiteX19" fmla="*/ 418988 w 536368"/>
              <a:gd name="connsiteY19" fmla="*/ 310857 h 587881"/>
              <a:gd name="connsiteX20" fmla="*/ 280130 w 536368"/>
              <a:gd name="connsiteY20" fmla="*/ 449489 h 587881"/>
              <a:gd name="connsiteX21" fmla="*/ 256186 w 536368"/>
              <a:gd name="connsiteY21" fmla="*/ 449489 h 587881"/>
              <a:gd name="connsiteX22" fmla="*/ 117239 w 536368"/>
              <a:gd name="connsiteY22" fmla="*/ 310857 h 587881"/>
              <a:gd name="connsiteX23" fmla="*/ 114213 w 536368"/>
              <a:gd name="connsiteY23" fmla="*/ 295394 h 587881"/>
              <a:gd name="connsiteX24" fmla="*/ 127297 w 536368"/>
              <a:gd name="connsiteY24" fmla="*/ 286685 h 587881"/>
              <a:gd name="connsiteX25" fmla="*/ 192543 w 536368"/>
              <a:gd name="connsiteY25" fmla="*/ 286685 h 587881"/>
              <a:gd name="connsiteX26" fmla="*/ 192543 w 536368"/>
              <a:gd name="connsiteY26" fmla="*/ 30926 h 587881"/>
              <a:gd name="connsiteX27" fmla="*/ 223430 w 536368"/>
              <a:gd name="connsiteY27" fmla="*/ 0 h 587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536368" h="587881">
                <a:moveTo>
                  <a:pt x="39602" y="407445"/>
                </a:moveTo>
                <a:cubicBezTo>
                  <a:pt x="61495" y="407445"/>
                  <a:pt x="79294" y="425133"/>
                  <a:pt x="79294" y="446999"/>
                </a:cubicBezTo>
                <a:lnTo>
                  <a:pt x="79294" y="508685"/>
                </a:lnTo>
                <a:lnTo>
                  <a:pt x="457074" y="508685"/>
                </a:lnTo>
                <a:lnTo>
                  <a:pt x="457074" y="446999"/>
                </a:lnTo>
                <a:cubicBezTo>
                  <a:pt x="457074" y="425133"/>
                  <a:pt x="474873" y="407445"/>
                  <a:pt x="496677" y="407445"/>
                </a:cubicBezTo>
                <a:cubicBezTo>
                  <a:pt x="518569" y="407445"/>
                  <a:pt x="536368" y="425133"/>
                  <a:pt x="536368" y="446999"/>
                </a:cubicBezTo>
                <a:lnTo>
                  <a:pt x="536368" y="548238"/>
                </a:lnTo>
                <a:cubicBezTo>
                  <a:pt x="536368" y="570104"/>
                  <a:pt x="518569" y="587881"/>
                  <a:pt x="496677" y="587881"/>
                </a:cubicBezTo>
                <a:lnTo>
                  <a:pt x="39602" y="587881"/>
                </a:lnTo>
                <a:cubicBezTo>
                  <a:pt x="17710" y="587881"/>
                  <a:pt x="0" y="570104"/>
                  <a:pt x="0" y="548238"/>
                </a:cubicBezTo>
                <a:lnTo>
                  <a:pt x="0" y="446999"/>
                </a:lnTo>
                <a:cubicBezTo>
                  <a:pt x="0" y="425133"/>
                  <a:pt x="17710" y="407445"/>
                  <a:pt x="39602" y="407445"/>
                </a:cubicBezTo>
                <a:close/>
                <a:moveTo>
                  <a:pt x="223430" y="0"/>
                </a:moveTo>
                <a:lnTo>
                  <a:pt x="312886" y="0"/>
                </a:lnTo>
                <a:cubicBezTo>
                  <a:pt x="329976" y="0"/>
                  <a:pt x="343773" y="13863"/>
                  <a:pt x="343773" y="30926"/>
                </a:cubicBezTo>
                <a:lnTo>
                  <a:pt x="343773" y="286685"/>
                </a:lnTo>
                <a:lnTo>
                  <a:pt x="409018" y="286685"/>
                </a:lnTo>
                <a:cubicBezTo>
                  <a:pt x="414715" y="286685"/>
                  <a:pt x="419878" y="290151"/>
                  <a:pt x="422103" y="295394"/>
                </a:cubicBezTo>
                <a:cubicBezTo>
                  <a:pt x="424239" y="300726"/>
                  <a:pt x="423082" y="306769"/>
                  <a:pt x="418988" y="310857"/>
                </a:cubicBezTo>
                <a:lnTo>
                  <a:pt x="280130" y="449489"/>
                </a:lnTo>
                <a:cubicBezTo>
                  <a:pt x="273543" y="456065"/>
                  <a:pt x="262773" y="456065"/>
                  <a:pt x="256186" y="449489"/>
                </a:cubicBezTo>
                <a:lnTo>
                  <a:pt x="117239" y="310857"/>
                </a:lnTo>
                <a:cubicBezTo>
                  <a:pt x="113233" y="306769"/>
                  <a:pt x="111987" y="300726"/>
                  <a:pt x="114213" y="295394"/>
                </a:cubicBezTo>
                <a:cubicBezTo>
                  <a:pt x="116438" y="290151"/>
                  <a:pt x="121511" y="286685"/>
                  <a:pt x="127297" y="286685"/>
                </a:cubicBezTo>
                <a:lnTo>
                  <a:pt x="192543" y="286685"/>
                </a:lnTo>
                <a:lnTo>
                  <a:pt x="192543" y="30926"/>
                </a:lnTo>
                <a:cubicBezTo>
                  <a:pt x="192543" y="13863"/>
                  <a:pt x="206339" y="0"/>
                  <a:pt x="223430" y="0"/>
                </a:cubicBezTo>
                <a:close/>
              </a:path>
            </a:pathLst>
          </a:cu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sz="2400" b="1"/>
          </a:p>
        </p:txBody>
      </p:sp>
      <p:sp>
        <p:nvSpPr>
          <p:cNvPr id="73" name="íṩ1íďê">
            <a:extLst>
              <a:ext uri="{FF2B5EF4-FFF2-40B4-BE49-F238E27FC236}">
                <a16:creationId xmlns:a16="http://schemas.microsoft.com/office/drawing/2014/main" id="{A7D64309-FEDA-48E8-8C49-3BA3DE29F631}"/>
              </a:ext>
            </a:extLst>
          </p:cNvPr>
          <p:cNvSpPr/>
          <p:nvPr/>
        </p:nvSpPr>
        <p:spPr>
          <a:xfrm>
            <a:off x="1221539" y="4640590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官网</a:t>
            </a:r>
          </a:p>
        </p:txBody>
      </p:sp>
      <p:sp>
        <p:nvSpPr>
          <p:cNvPr id="81" name="íŝḻíḍê">
            <a:extLst>
              <a:ext uri="{FF2B5EF4-FFF2-40B4-BE49-F238E27FC236}">
                <a16:creationId xmlns:a16="http://schemas.microsoft.com/office/drawing/2014/main" id="{A4CACE7B-1F11-4801-8759-C4B5C3900A24}"/>
              </a:ext>
            </a:extLst>
          </p:cNvPr>
          <p:cNvSpPr>
            <a:spLocks/>
          </p:cNvSpPr>
          <p:nvPr/>
        </p:nvSpPr>
        <p:spPr bwMode="auto">
          <a:xfrm>
            <a:off x="1494845" y="4793255"/>
            <a:ext cx="532037" cy="532037"/>
          </a:xfrm>
          <a:custGeom>
            <a:avLst/>
            <a:gdLst>
              <a:gd name="connsiteX0" fmla="*/ 454514 w 613046"/>
              <a:gd name="connsiteY0" fmla="*/ 373741 h 610326"/>
              <a:gd name="connsiteX1" fmla="*/ 595797 w 613046"/>
              <a:gd name="connsiteY1" fmla="*/ 511272 h 610326"/>
              <a:gd name="connsiteX2" fmla="*/ 595797 w 613046"/>
              <a:gd name="connsiteY2" fmla="*/ 593135 h 610326"/>
              <a:gd name="connsiteX3" fmla="*/ 513656 w 613046"/>
              <a:gd name="connsiteY3" fmla="*/ 593135 h 610326"/>
              <a:gd name="connsiteX4" fmla="*/ 372373 w 613046"/>
              <a:gd name="connsiteY4" fmla="*/ 452330 h 610326"/>
              <a:gd name="connsiteX5" fmla="*/ 454514 w 613046"/>
              <a:gd name="connsiteY5" fmla="*/ 373741 h 610326"/>
              <a:gd name="connsiteX6" fmla="*/ 231364 w 613046"/>
              <a:gd name="connsiteY6" fmla="*/ 94462 h 610326"/>
              <a:gd name="connsiteX7" fmla="*/ 231364 w 613046"/>
              <a:gd name="connsiteY7" fmla="*/ 133729 h 610326"/>
              <a:gd name="connsiteX8" fmla="*/ 135499 w 613046"/>
              <a:gd name="connsiteY8" fmla="*/ 228625 h 610326"/>
              <a:gd name="connsiteX9" fmla="*/ 95831 w 613046"/>
              <a:gd name="connsiteY9" fmla="*/ 228625 h 610326"/>
              <a:gd name="connsiteX10" fmla="*/ 231364 w 613046"/>
              <a:gd name="connsiteY10" fmla="*/ 94462 h 610326"/>
              <a:gd name="connsiteX11" fmla="*/ 230271 w 613046"/>
              <a:gd name="connsiteY11" fmla="*/ 55689 h 610326"/>
              <a:gd name="connsiteX12" fmla="*/ 55923 w 613046"/>
              <a:gd name="connsiteY12" fmla="*/ 229310 h 610326"/>
              <a:gd name="connsiteX13" fmla="*/ 230271 w 613046"/>
              <a:gd name="connsiteY13" fmla="*/ 399655 h 610326"/>
              <a:gd name="connsiteX14" fmla="*/ 401329 w 613046"/>
              <a:gd name="connsiteY14" fmla="*/ 229310 h 610326"/>
              <a:gd name="connsiteX15" fmla="*/ 230271 w 613046"/>
              <a:gd name="connsiteY15" fmla="*/ 55689 h 610326"/>
              <a:gd name="connsiteX16" fmla="*/ 230271 w 613046"/>
              <a:gd name="connsiteY16" fmla="*/ 0 h 610326"/>
              <a:gd name="connsiteX17" fmla="*/ 457252 w 613046"/>
              <a:gd name="connsiteY17" fmla="*/ 229310 h 610326"/>
              <a:gd name="connsiteX18" fmla="*/ 230271 w 613046"/>
              <a:gd name="connsiteY18" fmla="*/ 458620 h 610326"/>
              <a:gd name="connsiteX19" fmla="*/ 0 w 613046"/>
              <a:gd name="connsiteY19" fmla="*/ 229310 h 610326"/>
              <a:gd name="connsiteX20" fmla="*/ 230271 w 613046"/>
              <a:gd name="connsiteY20" fmla="*/ 0 h 610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613046" h="610326">
                <a:moveTo>
                  <a:pt x="454514" y="373741"/>
                </a:moveTo>
                <a:cubicBezTo>
                  <a:pt x="454514" y="373741"/>
                  <a:pt x="454514" y="373741"/>
                  <a:pt x="595797" y="511272"/>
                </a:cubicBezTo>
                <a:cubicBezTo>
                  <a:pt x="618796" y="534194"/>
                  <a:pt x="618796" y="570214"/>
                  <a:pt x="595797" y="593135"/>
                </a:cubicBezTo>
                <a:cubicBezTo>
                  <a:pt x="572797" y="616057"/>
                  <a:pt x="536655" y="616057"/>
                  <a:pt x="513656" y="593135"/>
                </a:cubicBezTo>
                <a:cubicBezTo>
                  <a:pt x="513656" y="593135"/>
                  <a:pt x="513656" y="593135"/>
                  <a:pt x="372373" y="452330"/>
                </a:cubicBezTo>
                <a:cubicBezTo>
                  <a:pt x="405229" y="432683"/>
                  <a:pt x="434800" y="406487"/>
                  <a:pt x="454514" y="373741"/>
                </a:cubicBezTo>
                <a:close/>
                <a:moveTo>
                  <a:pt x="231364" y="94462"/>
                </a:moveTo>
                <a:cubicBezTo>
                  <a:pt x="231364" y="94462"/>
                  <a:pt x="231364" y="94462"/>
                  <a:pt x="231364" y="133729"/>
                </a:cubicBezTo>
                <a:cubicBezTo>
                  <a:pt x="178473" y="133729"/>
                  <a:pt x="135499" y="176269"/>
                  <a:pt x="135499" y="228625"/>
                </a:cubicBezTo>
                <a:cubicBezTo>
                  <a:pt x="135499" y="228625"/>
                  <a:pt x="135499" y="228625"/>
                  <a:pt x="95831" y="228625"/>
                </a:cubicBezTo>
                <a:cubicBezTo>
                  <a:pt x="95831" y="153363"/>
                  <a:pt x="155333" y="94462"/>
                  <a:pt x="231364" y="94462"/>
                </a:cubicBezTo>
                <a:close/>
                <a:moveTo>
                  <a:pt x="230271" y="55689"/>
                </a:moveTo>
                <a:cubicBezTo>
                  <a:pt x="134873" y="55689"/>
                  <a:pt x="55923" y="134310"/>
                  <a:pt x="55923" y="229310"/>
                </a:cubicBezTo>
                <a:cubicBezTo>
                  <a:pt x="55923" y="324310"/>
                  <a:pt x="134873" y="399655"/>
                  <a:pt x="230271" y="399655"/>
                </a:cubicBezTo>
                <a:cubicBezTo>
                  <a:pt x="322379" y="399655"/>
                  <a:pt x="401329" y="324310"/>
                  <a:pt x="401329" y="229310"/>
                </a:cubicBezTo>
                <a:cubicBezTo>
                  <a:pt x="401329" y="134310"/>
                  <a:pt x="322379" y="55689"/>
                  <a:pt x="230271" y="55689"/>
                </a:cubicBezTo>
                <a:close/>
                <a:moveTo>
                  <a:pt x="230271" y="0"/>
                </a:moveTo>
                <a:cubicBezTo>
                  <a:pt x="355275" y="0"/>
                  <a:pt x="457252" y="101551"/>
                  <a:pt x="457252" y="229310"/>
                </a:cubicBezTo>
                <a:cubicBezTo>
                  <a:pt x="457252" y="353792"/>
                  <a:pt x="355275" y="458620"/>
                  <a:pt x="230271" y="458620"/>
                </a:cubicBezTo>
                <a:cubicBezTo>
                  <a:pt x="101977" y="458620"/>
                  <a:pt x="0" y="353792"/>
                  <a:pt x="0" y="229310"/>
                </a:cubicBezTo>
                <a:cubicBezTo>
                  <a:pt x="0" y="101551"/>
                  <a:pt x="101977" y="0"/>
                  <a:pt x="230271" y="0"/>
                </a:cubicBezTo>
                <a:close/>
              </a:path>
            </a:pathLst>
          </a:cu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sz="2400" b="1"/>
          </a:p>
        </p:txBody>
      </p:sp>
      <p:cxnSp>
        <p:nvCxnSpPr>
          <p:cNvPr id="87" name="肘形连接符 18">
            <a:extLst>
              <a:ext uri="{FF2B5EF4-FFF2-40B4-BE49-F238E27FC236}">
                <a16:creationId xmlns:a16="http://schemas.microsoft.com/office/drawing/2014/main" id="{49C7B27A-80FA-4D72-A63D-747D60D6F69D}"/>
              </a:ext>
            </a:extLst>
          </p:cNvPr>
          <p:cNvCxnSpPr>
            <a:stCxn id="72" idx="2"/>
          </p:cNvCxnSpPr>
          <p:nvPr/>
        </p:nvCxnSpPr>
        <p:spPr>
          <a:xfrm rot="10800000" flipV="1">
            <a:off x="1779013" y="4033823"/>
            <a:ext cx="409081" cy="617746"/>
          </a:xfrm>
          <a:prstGeom prst="bentConnector2">
            <a:avLst/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肘形连接符 19">
            <a:extLst>
              <a:ext uri="{FF2B5EF4-FFF2-40B4-BE49-F238E27FC236}">
                <a16:creationId xmlns:a16="http://schemas.microsoft.com/office/drawing/2014/main" id="{06D3E04B-3064-46E8-8C1F-44DE0D901F5F}"/>
              </a:ext>
            </a:extLst>
          </p:cNvPr>
          <p:cNvCxnSpPr>
            <a:cxnSpLocks/>
            <a:endCxn id="72" idx="6"/>
          </p:cNvCxnSpPr>
          <p:nvPr/>
        </p:nvCxnSpPr>
        <p:spPr>
          <a:xfrm rot="10800000" flipV="1">
            <a:off x="3266745" y="4030444"/>
            <a:ext cx="831461" cy="3380"/>
          </a:xfrm>
          <a:prstGeom prst="bentConnector3">
            <a:avLst>
              <a:gd name="adj1" fmla="val 50000"/>
            </a:avLst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肘形连接符 20">
            <a:extLst>
              <a:ext uri="{FF2B5EF4-FFF2-40B4-BE49-F238E27FC236}">
                <a16:creationId xmlns:a16="http://schemas.microsoft.com/office/drawing/2014/main" id="{1A9C97C5-2432-4CDB-804F-1553A54FE14B}"/>
              </a:ext>
            </a:extLst>
          </p:cNvPr>
          <p:cNvCxnSpPr/>
          <p:nvPr/>
        </p:nvCxnSpPr>
        <p:spPr>
          <a:xfrm rot="16200000" flipV="1">
            <a:off x="2604525" y="4674555"/>
            <a:ext cx="606891" cy="410880"/>
          </a:xfrm>
          <a:prstGeom prst="bentConnector3">
            <a:avLst>
              <a:gd name="adj1" fmla="val 1739"/>
            </a:avLst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íšḷíḍê">
            <a:extLst>
              <a:ext uri="{FF2B5EF4-FFF2-40B4-BE49-F238E27FC236}">
                <a16:creationId xmlns:a16="http://schemas.microsoft.com/office/drawing/2014/main" id="{773C01DB-73CD-4929-8AF7-D80062D9C000}"/>
              </a:ext>
            </a:extLst>
          </p:cNvPr>
          <p:cNvSpPr txBox="1"/>
          <p:nvPr/>
        </p:nvSpPr>
        <p:spPr>
          <a:xfrm>
            <a:off x="1225111" y="2883765"/>
            <a:ext cx="6697350" cy="50414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SzPct val="25000"/>
            </a:pPr>
            <a:r>
              <a:rPr lang="zh-CN" altLang="en-US" sz="2000" b="1" i="1" dirty="0"/>
              <a:t>安装</a:t>
            </a:r>
            <a:r>
              <a:rPr lang="en-US" altLang="zh-CN" sz="2000" b="1" i="1" dirty="0"/>
              <a:t>JAVA</a:t>
            </a:r>
            <a:r>
              <a:rPr lang="zh-CN" altLang="en-US" sz="2000" b="1" i="1" dirty="0"/>
              <a:t>的步骤</a:t>
            </a:r>
            <a:endParaRPr lang="en-US" sz="2000" b="1" i="1" dirty="0"/>
          </a:p>
        </p:txBody>
      </p:sp>
      <p:grpSp>
        <p:nvGrpSpPr>
          <p:cNvPr id="96" name="îšlïḍe">
            <a:extLst>
              <a:ext uri="{FF2B5EF4-FFF2-40B4-BE49-F238E27FC236}">
                <a16:creationId xmlns:a16="http://schemas.microsoft.com/office/drawing/2014/main" id="{A8C20F7A-B88F-4CAA-A8B8-5FE1B9B4FB44}"/>
              </a:ext>
            </a:extLst>
          </p:cNvPr>
          <p:cNvGrpSpPr/>
          <p:nvPr/>
        </p:nvGrpSpPr>
        <p:grpSpPr>
          <a:xfrm>
            <a:off x="1223920" y="5793581"/>
            <a:ext cx="1948045" cy="849253"/>
            <a:chOff x="8563614" y="4934816"/>
            <a:chExt cx="2955286" cy="1008290"/>
          </a:xfrm>
        </p:grpSpPr>
        <p:sp>
          <p:nvSpPr>
            <p:cNvPr id="106" name="íšľiḋé">
              <a:extLst>
                <a:ext uri="{FF2B5EF4-FFF2-40B4-BE49-F238E27FC236}">
                  <a16:creationId xmlns:a16="http://schemas.microsoft.com/office/drawing/2014/main" id="{1CA9D6AA-7AF2-4B6B-83E3-C3ABFF7C0325}"/>
                </a:ext>
              </a:extLst>
            </p:cNvPr>
            <p:cNvSpPr txBox="1"/>
            <p:nvPr/>
          </p:nvSpPr>
          <p:spPr bwMode="auto">
            <a:xfrm>
              <a:off x="8563614" y="4934816"/>
              <a:ext cx="2955286" cy="480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b="1" dirty="0"/>
                <a:t>搜索 下载</a:t>
              </a:r>
              <a:endParaRPr lang="en-US" altLang="zh-CN" b="1" dirty="0"/>
            </a:p>
          </p:txBody>
        </p:sp>
        <p:sp>
          <p:nvSpPr>
            <p:cNvPr id="107" name="íṧḷidé">
              <a:extLst>
                <a:ext uri="{FF2B5EF4-FFF2-40B4-BE49-F238E27FC236}">
                  <a16:creationId xmlns:a16="http://schemas.microsoft.com/office/drawing/2014/main" id="{4E4AECE9-BB8C-4A65-A6C1-FC2C180AA3E0}"/>
                </a:ext>
              </a:extLst>
            </p:cNvPr>
            <p:cNvSpPr/>
            <p:nvPr/>
          </p:nvSpPr>
          <p:spPr bwMode="auto">
            <a:xfrm>
              <a:off x="8563614" y="5415115"/>
              <a:ext cx="2955286" cy="5279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zh-CN" altLang="en-US" sz="1100" dirty="0"/>
                <a:t>在</a:t>
              </a:r>
              <a:r>
                <a:rPr lang="en-US" altLang="zh-CN" sz="1100" dirty="0"/>
                <a:t>Ubuntu</a:t>
              </a:r>
              <a:r>
                <a:rPr lang="zh-CN" altLang="en-US" sz="1100" dirty="0"/>
                <a:t>中直接使用浏览器</a:t>
              </a:r>
              <a:endParaRPr lang="en-US" altLang="zh-CN" sz="1100" dirty="0"/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Or</a:t>
              </a:r>
              <a:r>
                <a:rPr lang="zh-CN" altLang="en-US" sz="1100" dirty="0"/>
                <a:t>把下好的拖进</a:t>
              </a:r>
              <a:r>
                <a:rPr lang="en-US" altLang="zh-CN" sz="1100" dirty="0"/>
                <a:t>Ubuntu(</a:t>
              </a:r>
              <a:r>
                <a:rPr lang="zh-CN" altLang="en-US" sz="1100" dirty="0"/>
                <a:t>虚拟机</a:t>
              </a:r>
              <a:r>
                <a:rPr lang="en-US" altLang="zh-CN" sz="1100" dirty="0"/>
                <a:t>)</a:t>
              </a:r>
            </a:p>
          </p:txBody>
        </p:sp>
      </p:grpSp>
      <p:grpSp>
        <p:nvGrpSpPr>
          <p:cNvPr id="97" name="î$ļíḋé">
            <a:extLst>
              <a:ext uri="{FF2B5EF4-FFF2-40B4-BE49-F238E27FC236}">
                <a16:creationId xmlns:a16="http://schemas.microsoft.com/office/drawing/2014/main" id="{E78420F6-8631-48AB-8DEA-8F2D461170B6}"/>
              </a:ext>
            </a:extLst>
          </p:cNvPr>
          <p:cNvGrpSpPr/>
          <p:nvPr/>
        </p:nvGrpSpPr>
        <p:grpSpPr>
          <a:xfrm>
            <a:off x="3400929" y="5793583"/>
            <a:ext cx="1948047" cy="849256"/>
            <a:chOff x="8737934" y="4934814"/>
            <a:chExt cx="2955288" cy="1008293"/>
          </a:xfrm>
        </p:grpSpPr>
        <p:sp>
          <p:nvSpPr>
            <p:cNvPr id="104" name="ïṡ1îḑê">
              <a:extLst>
                <a:ext uri="{FF2B5EF4-FFF2-40B4-BE49-F238E27FC236}">
                  <a16:creationId xmlns:a16="http://schemas.microsoft.com/office/drawing/2014/main" id="{7C1DD7A7-1546-4EA4-8413-9A07BBE20266}"/>
                </a:ext>
              </a:extLst>
            </p:cNvPr>
            <p:cNvSpPr txBox="1"/>
            <p:nvPr/>
          </p:nvSpPr>
          <p:spPr bwMode="auto">
            <a:xfrm>
              <a:off x="8737934" y="4934814"/>
              <a:ext cx="2955285" cy="480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b="1" dirty="0"/>
                <a:t>解压</a:t>
              </a:r>
              <a:endParaRPr lang="en-US" altLang="zh-CN" b="1" dirty="0"/>
            </a:p>
          </p:txBody>
        </p:sp>
        <p:sp>
          <p:nvSpPr>
            <p:cNvPr id="105" name="iṩliḋe">
              <a:extLst>
                <a:ext uri="{FF2B5EF4-FFF2-40B4-BE49-F238E27FC236}">
                  <a16:creationId xmlns:a16="http://schemas.microsoft.com/office/drawing/2014/main" id="{E6DF86A7-6D09-4489-9B86-21DE0F6056CC}"/>
                </a:ext>
              </a:extLst>
            </p:cNvPr>
            <p:cNvSpPr/>
            <p:nvPr/>
          </p:nvSpPr>
          <p:spPr bwMode="auto">
            <a:xfrm>
              <a:off x="8737934" y="5415115"/>
              <a:ext cx="2955288" cy="527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solidFill>
                    <a:schemeClr val="accent1"/>
                  </a:solidFill>
                </a:rPr>
                <a:t>tar -</a:t>
              </a:r>
              <a:r>
                <a:rPr lang="en-US" altLang="zh-CN" sz="1100" dirty="0" err="1">
                  <a:solidFill>
                    <a:schemeClr val="accent1"/>
                  </a:solidFill>
                </a:rPr>
                <a:t>zxvf</a:t>
              </a:r>
              <a:r>
                <a:rPr lang="en-US" altLang="zh-CN" sz="1100" dirty="0">
                  <a:solidFill>
                    <a:schemeClr val="accent1"/>
                  </a:solidFill>
                </a:rPr>
                <a:t> java-jdk*****.jar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solidFill>
                    <a:schemeClr val="accent1"/>
                  </a:solidFill>
                </a:rPr>
                <a:t>or</a:t>
              </a:r>
              <a:r>
                <a:rPr lang="zh-CN" altLang="en-US" sz="1100" dirty="0">
                  <a:solidFill>
                    <a:schemeClr val="accent1"/>
                  </a:solidFill>
                </a:rPr>
                <a:t>左键！右键！</a:t>
              </a:r>
              <a:endParaRPr lang="en-US" altLang="zh-CN" sz="11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74" name="išlïḓe">
            <a:extLst>
              <a:ext uri="{FF2B5EF4-FFF2-40B4-BE49-F238E27FC236}">
                <a16:creationId xmlns:a16="http://schemas.microsoft.com/office/drawing/2014/main" id="{FF48FDDB-DCB5-4E9E-BEB8-EB22690E072A}"/>
              </a:ext>
            </a:extLst>
          </p:cNvPr>
          <p:cNvSpPr/>
          <p:nvPr/>
        </p:nvSpPr>
        <p:spPr>
          <a:xfrm>
            <a:off x="3132989" y="4640590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解压</a:t>
            </a:r>
          </a:p>
        </p:txBody>
      </p:sp>
      <p:pic>
        <p:nvPicPr>
          <p:cNvPr id="6" name="图形 5">
            <a:extLst>
              <a:ext uri="{FF2B5EF4-FFF2-40B4-BE49-F238E27FC236}">
                <a16:creationId xmlns:a16="http://schemas.microsoft.com/office/drawing/2014/main" id="{79AB755B-431E-4F33-8A6F-5DAAF0BDFD5D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01663" y="4774311"/>
            <a:ext cx="532037" cy="532037"/>
          </a:xfrm>
          <a:prstGeom prst="rect">
            <a:avLst/>
          </a:prstGeom>
        </p:spPr>
      </p:pic>
      <p:sp>
        <p:nvSpPr>
          <p:cNvPr id="71" name="íṣ1ídè">
            <a:extLst>
              <a:ext uri="{FF2B5EF4-FFF2-40B4-BE49-F238E27FC236}">
                <a16:creationId xmlns:a16="http://schemas.microsoft.com/office/drawing/2014/main" id="{1E624F1D-8EA4-4292-8C70-BBAB12417C14}"/>
              </a:ext>
            </a:extLst>
          </p:cNvPr>
          <p:cNvSpPr/>
          <p:nvPr/>
        </p:nvSpPr>
        <p:spPr>
          <a:xfrm>
            <a:off x="4112534" y="3494498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解压</a:t>
            </a:r>
          </a:p>
        </p:txBody>
      </p:sp>
      <p:pic>
        <p:nvPicPr>
          <p:cNvPr id="110" name="图形 109">
            <a:extLst>
              <a:ext uri="{FF2B5EF4-FFF2-40B4-BE49-F238E27FC236}">
                <a16:creationId xmlns:a16="http://schemas.microsoft.com/office/drawing/2014/main" id="{D2AD9E4C-7F25-4DE5-A8B2-2BC08F8DA503}"/>
              </a:ext>
            </a:extLst>
          </p:cNvPr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85670" y="3622522"/>
            <a:ext cx="532037" cy="532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087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xit" presetSubtype="54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" dur="500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53" presetClass="exit" presetSubtype="544" fill="hold" nodeType="withEffect">
                                  <p:stCondLst>
                                    <p:cond delay="501"/>
                                  </p:stCondLst>
                                  <p:childTnLst>
                                    <p:anim calcmode="lin" valueType="num">
                                      <p:cBhvr>
                                        <p:cTn id="13" dur="500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53" presetClass="exit" presetSubtype="544" fill="hold" nodeType="withEffect">
                                  <p:stCondLst>
                                    <p:cond delay="37"/>
                                  </p:stCondLst>
                                  <p:childTnLst>
                                    <p:anim calcmode="lin" valueType="num">
                                      <p:cBhvr>
                                        <p:cTn id="20" dur="500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500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53" presetClass="exit" presetSubtype="544" fill="hold" nodeType="withEffect">
                                  <p:stCondLst>
                                    <p:cond delay="229"/>
                                  </p:stCondLst>
                                  <p:childTnLst>
                                    <p:anim calcmode="lin" valueType="num">
                                      <p:cBhvr>
                                        <p:cTn id="27" dur="500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500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53" presetClass="exit" presetSubtype="544" fill="hold" nodeType="withEffect">
                                  <p:stCondLst>
                                    <p:cond delay="498"/>
                                  </p:stCondLst>
                                  <p:childTnLst>
                                    <p:anim calcmode="lin" valueType="num">
                                      <p:cBhvr>
                                        <p:cTn id="34" dur="500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500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53" presetClass="exit" presetSubtype="544" fill="hold" grpId="0" nodeType="withEffect">
                                  <p:stCondLst>
                                    <p:cond delay="126"/>
                                  </p:stCondLst>
                                  <p:childTnLst>
                                    <p:anim calcmode="lin" valueType="num">
                                      <p:cBhvr>
                                        <p:cTn id="41" dur="500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500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53" presetClass="exit" presetSubtype="544" fill="hold" grpId="0" nodeType="withEffect">
                                  <p:stCondLst>
                                    <p:cond delay="361"/>
                                  </p:stCondLst>
                                  <p:childTnLst>
                                    <p:anim calcmode="lin" valueType="num">
                                      <p:cBhvr>
                                        <p:cTn id="48" dur="500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0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500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53" presetClass="exit" presetSubtype="544" fill="hold" grpId="0" nodeType="withEffect">
                                  <p:stCondLst>
                                    <p:cond delay="119"/>
                                  </p:stCondLst>
                                  <p:childTnLst>
                                    <p:anim calcmode="lin" valueType="num">
                                      <p:cBhvr>
                                        <p:cTn id="55" dur="500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500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53" presetClass="exit" presetSubtype="544" fill="hold" grpId="0" nodeType="withEffect">
                                  <p:stCondLst>
                                    <p:cond delay="17"/>
                                  </p:stCondLst>
                                  <p:childTnLst>
                                    <p:anim calcmode="lin" valueType="num">
                                      <p:cBhvr>
                                        <p:cTn id="62" dur="500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500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53" presetClass="exit" presetSubtype="544" fill="hold" grpId="0" nodeType="withEffect">
                                  <p:stCondLst>
                                    <p:cond delay="80"/>
                                  </p:stCondLst>
                                  <p:childTnLst>
                                    <p:anim calcmode="lin" valueType="num">
                                      <p:cBhvr>
                                        <p:cTn id="69" dur="500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71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500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53" presetClass="exit" presetSubtype="544" fill="hold" grpId="0" nodeType="withEffect">
                                  <p:stCondLst>
                                    <p:cond delay="62"/>
                                  </p:stCondLst>
                                  <p:childTnLst>
                                    <p:anim calcmode="lin" valueType="num">
                                      <p:cBhvr>
                                        <p:cTn id="76" dur="500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78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" dur="500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53" presetClass="exit" presetSubtype="544" fill="hold" nodeType="withEffect">
                                  <p:stCondLst>
                                    <p:cond delay="353"/>
                                  </p:stCondLst>
                                  <p:childTnLst>
                                    <p:anim calcmode="lin" valueType="num">
                                      <p:cBhvr>
                                        <p:cTn id="83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6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53" presetClass="exit" presetSubtype="544" fill="hold" grpId="0" nodeType="withEffect">
                                  <p:stCondLst>
                                    <p:cond delay="321"/>
                                  </p:stCondLst>
                                  <p:childTnLst>
                                    <p:anim calcmode="lin" valueType="num">
                                      <p:cBhvr>
                                        <p:cTn id="90" dur="500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2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3" dur="500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500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6" presetID="53" presetClass="exit" presetSubtype="544" fill="hold" nodeType="withEffect">
                                  <p:stCondLst>
                                    <p:cond delay="421"/>
                                  </p:stCondLst>
                                  <p:childTnLst>
                                    <p:anim calcmode="lin" valueType="num">
                                      <p:cBhvr>
                                        <p:cTn id="97" dur="500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9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0" dur="500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500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 animBg="1"/>
      <p:bldP spid="80" grpId="0" animBg="1"/>
      <p:bldP spid="73" grpId="0" animBg="1"/>
      <p:bldP spid="81" grpId="0" animBg="1"/>
      <p:bldP spid="95" grpId="0"/>
      <p:bldP spid="74" grpId="0" animBg="1"/>
      <p:bldP spid="71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000" dirty="0"/>
              <a:t>Hadoop</a:t>
            </a:r>
            <a:r>
              <a:rPr lang="zh-CN" altLang="en-US" sz="2000" dirty="0"/>
              <a:t>的部署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1</a:t>
            </a:fld>
            <a:endParaRPr lang="zh-CN" altLang="en-US"/>
          </a:p>
        </p:txBody>
      </p:sp>
      <p:sp>
        <p:nvSpPr>
          <p:cNvPr id="195" name="iṧḻîďè">
            <a:extLst>
              <a:ext uri="{FF2B5EF4-FFF2-40B4-BE49-F238E27FC236}">
                <a16:creationId xmlns:a16="http://schemas.microsoft.com/office/drawing/2014/main" id="{6FC8272D-4563-47EB-B741-E738A21C2623}"/>
              </a:ext>
            </a:extLst>
          </p:cNvPr>
          <p:cNvSpPr/>
          <p:nvPr/>
        </p:nvSpPr>
        <p:spPr bwMode="auto">
          <a:xfrm>
            <a:off x="4127680" y="4366717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搞定！</a:t>
            </a:r>
            <a:endParaRPr lang="en-US" altLang="zh-CN" b="1" dirty="0"/>
          </a:p>
        </p:txBody>
      </p:sp>
      <p:sp>
        <p:nvSpPr>
          <p:cNvPr id="196" name="îŝḻiḋé">
            <a:extLst>
              <a:ext uri="{FF2B5EF4-FFF2-40B4-BE49-F238E27FC236}">
                <a16:creationId xmlns:a16="http://schemas.microsoft.com/office/drawing/2014/main" id="{C05C75D7-4258-49B9-958F-F2EEF0B840E0}"/>
              </a:ext>
            </a:extLst>
          </p:cNvPr>
          <p:cNvSpPr/>
          <p:nvPr/>
        </p:nvSpPr>
        <p:spPr bwMode="auto">
          <a:xfrm>
            <a:off x="4532019" y="3878935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测试</a:t>
            </a:r>
            <a:endParaRPr lang="en-US" altLang="zh-CN" b="1" dirty="0"/>
          </a:p>
        </p:txBody>
      </p:sp>
      <p:sp>
        <p:nvSpPr>
          <p:cNvPr id="197" name="íṥḷíďê">
            <a:extLst>
              <a:ext uri="{FF2B5EF4-FFF2-40B4-BE49-F238E27FC236}">
                <a16:creationId xmlns:a16="http://schemas.microsoft.com/office/drawing/2014/main" id="{D4FCC7AE-5767-4EC4-BB68-B94457D3AE6D}"/>
              </a:ext>
            </a:extLst>
          </p:cNvPr>
          <p:cNvSpPr/>
          <p:nvPr/>
        </p:nvSpPr>
        <p:spPr bwMode="auto">
          <a:xfrm>
            <a:off x="4927756" y="3391153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/>
              <a:t>配置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8" name="ïś1ïḓè">
            <a:extLst>
              <a:ext uri="{FF2B5EF4-FFF2-40B4-BE49-F238E27FC236}">
                <a16:creationId xmlns:a16="http://schemas.microsoft.com/office/drawing/2014/main" id="{F32E844B-E27C-4A92-9B60-95E4AD88D81F}"/>
              </a:ext>
            </a:extLst>
          </p:cNvPr>
          <p:cNvSpPr/>
          <p:nvPr/>
        </p:nvSpPr>
        <p:spPr bwMode="auto">
          <a:xfrm>
            <a:off x="5331236" y="2903371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 dirty="0"/>
              <a:t>安装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9" name="îśļïḍè">
            <a:extLst>
              <a:ext uri="{FF2B5EF4-FFF2-40B4-BE49-F238E27FC236}">
                <a16:creationId xmlns:a16="http://schemas.microsoft.com/office/drawing/2014/main" id="{F812BB55-77DE-4E23-95E6-156A22FAD363}"/>
              </a:ext>
            </a:extLst>
          </p:cNvPr>
          <p:cNvSpPr/>
          <p:nvPr/>
        </p:nvSpPr>
        <p:spPr bwMode="auto">
          <a:xfrm>
            <a:off x="5707535" y="2415588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>
                <a:solidFill>
                  <a:schemeClr val="bg1"/>
                </a:solidFill>
              </a:rPr>
              <a:t>配置</a:t>
            </a:r>
            <a:r>
              <a:rPr lang="en-US" altLang="zh-CN" sz="1750" b="1" dirty="0">
                <a:solidFill>
                  <a:schemeClr val="bg1"/>
                </a:solidFill>
              </a:rPr>
              <a:t>JAVA</a:t>
            </a:r>
          </a:p>
        </p:txBody>
      </p:sp>
      <p:sp>
        <p:nvSpPr>
          <p:cNvPr id="200" name="ï$1íḍé">
            <a:extLst>
              <a:ext uri="{FF2B5EF4-FFF2-40B4-BE49-F238E27FC236}">
                <a16:creationId xmlns:a16="http://schemas.microsoft.com/office/drawing/2014/main" id="{48245F16-84E7-4201-9485-85B5E5B15ECD}"/>
              </a:ext>
            </a:extLst>
          </p:cNvPr>
          <p:cNvSpPr/>
          <p:nvPr/>
        </p:nvSpPr>
        <p:spPr bwMode="auto">
          <a:xfrm>
            <a:off x="6097761" y="1927806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安装</a:t>
            </a:r>
            <a:r>
              <a:rPr lang="en-US" altLang="zh-CN" b="1" dirty="0"/>
              <a:t>JAVA</a:t>
            </a:r>
          </a:p>
        </p:txBody>
      </p:sp>
      <p:sp>
        <p:nvSpPr>
          <p:cNvPr id="201" name="îṥľïďê">
            <a:extLst>
              <a:ext uri="{FF2B5EF4-FFF2-40B4-BE49-F238E27FC236}">
                <a16:creationId xmlns:a16="http://schemas.microsoft.com/office/drawing/2014/main" id="{920DFBAA-02E5-4206-86B0-FE10F93A7509}"/>
              </a:ext>
            </a:extLst>
          </p:cNvPr>
          <p:cNvSpPr/>
          <p:nvPr/>
        </p:nvSpPr>
        <p:spPr bwMode="auto">
          <a:xfrm>
            <a:off x="3815241" y="3025428"/>
            <a:ext cx="2806439" cy="929672"/>
          </a:xfrm>
          <a:custGeom>
            <a:avLst/>
            <a:gdLst>
              <a:gd name="T0" fmla="*/ 179 w 203"/>
              <a:gd name="T1" fmla="*/ 82 h 82"/>
              <a:gd name="T2" fmla="*/ 203 w 203"/>
              <a:gd name="T3" fmla="*/ 29 h 82"/>
              <a:gd name="T4" fmla="*/ 65 w 203"/>
              <a:gd name="T5" fmla="*/ 27 h 82"/>
              <a:gd name="T6" fmla="*/ 59 w 203"/>
              <a:gd name="T7" fmla="*/ 0 h 82"/>
              <a:gd name="T8" fmla="*/ 59 w 203"/>
              <a:gd name="T9" fmla="*/ 0 h 82"/>
              <a:gd name="T10" fmla="*/ 0 w 203"/>
              <a:gd name="T11" fmla="*/ 80 h 82"/>
              <a:gd name="T12" fmla="*/ 61 w 203"/>
              <a:gd name="T13" fmla="*/ 82 h 82"/>
              <a:gd name="T14" fmla="*/ 179 w 203"/>
              <a:gd name="T15" fmla="*/ 8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3" h="82">
                <a:moveTo>
                  <a:pt x="179" y="82"/>
                </a:moveTo>
                <a:lnTo>
                  <a:pt x="203" y="29"/>
                </a:lnTo>
                <a:lnTo>
                  <a:pt x="65" y="27"/>
                </a:lnTo>
                <a:lnTo>
                  <a:pt x="59" y="0"/>
                </a:lnTo>
                <a:lnTo>
                  <a:pt x="59" y="0"/>
                </a:lnTo>
                <a:lnTo>
                  <a:pt x="0" y="80"/>
                </a:lnTo>
                <a:lnTo>
                  <a:pt x="61" y="82"/>
                </a:lnTo>
                <a:lnTo>
                  <a:pt x="179" y="8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2" name="i$ḻíḋè">
            <a:extLst>
              <a:ext uri="{FF2B5EF4-FFF2-40B4-BE49-F238E27FC236}">
                <a16:creationId xmlns:a16="http://schemas.microsoft.com/office/drawing/2014/main" id="{430BE7EB-B6F0-4F05-80EA-1F517165029F}"/>
              </a:ext>
            </a:extLst>
          </p:cNvPr>
          <p:cNvSpPr/>
          <p:nvPr/>
        </p:nvSpPr>
        <p:spPr bwMode="auto">
          <a:xfrm>
            <a:off x="5924572" y="1927806"/>
            <a:ext cx="1048730" cy="185748"/>
          </a:xfrm>
          <a:prstGeom prst="triangle">
            <a:avLst>
              <a:gd name="adj" fmla="val 14726"/>
            </a:avLst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3" name="işľiḋe">
            <a:extLst>
              <a:ext uri="{FF2B5EF4-FFF2-40B4-BE49-F238E27FC236}">
                <a16:creationId xmlns:a16="http://schemas.microsoft.com/office/drawing/2014/main" id="{E4DECB97-43D1-4D26-8C48-41447675AE79}"/>
              </a:ext>
            </a:extLst>
          </p:cNvPr>
          <p:cNvSpPr/>
          <p:nvPr/>
        </p:nvSpPr>
        <p:spPr bwMode="auto">
          <a:xfrm>
            <a:off x="2656434" y="1800982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4" name="iś1íďé">
            <a:extLst>
              <a:ext uri="{FF2B5EF4-FFF2-40B4-BE49-F238E27FC236}">
                <a16:creationId xmlns:a16="http://schemas.microsoft.com/office/drawing/2014/main" id="{6E7EA96A-F20A-4912-AC31-63A0F19E66DE}"/>
              </a:ext>
            </a:extLst>
          </p:cNvPr>
          <p:cNvSpPr/>
          <p:nvPr/>
        </p:nvSpPr>
        <p:spPr bwMode="auto">
          <a:xfrm>
            <a:off x="2246957" y="2288764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5" name="ïŝlíḋe">
            <a:extLst>
              <a:ext uri="{FF2B5EF4-FFF2-40B4-BE49-F238E27FC236}">
                <a16:creationId xmlns:a16="http://schemas.microsoft.com/office/drawing/2014/main" id="{66D30D6F-26C9-4C2C-BC01-900AC07DC57E}"/>
              </a:ext>
            </a:extLst>
          </p:cNvPr>
          <p:cNvSpPr/>
          <p:nvPr/>
        </p:nvSpPr>
        <p:spPr bwMode="auto">
          <a:xfrm>
            <a:off x="1832342" y="2776547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6" name="îSliďè">
            <a:extLst>
              <a:ext uri="{FF2B5EF4-FFF2-40B4-BE49-F238E27FC236}">
                <a16:creationId xmlns:a16="http://schemas.microsoft.com/office/drawing/2014/main" id="{2F6D5554-EACD-4DDD-892F-2E5F97A9C421}"/>
              </a:ext>
            </a:extLst>
          </p:cNvPr>
          <p:cNvSpPr/>
          <p:nvPr/>
        </p:nvSpPr>
        <p:spPr bwMode="auto">
          <a:xfrm>
            <a:off x="1422890" y="3264329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7" name="îSliďé">
            <a:extLst>
              <a:ext uri="{FF2B5EF4-FFF2-40B4-BE49-F238E27FC236}">
                <a16:creationId xmlns:a16="http://schemas.microsoft.com/office/drawing/2014/main" id="{2E278F3F-C8D8-4E2A-A3EA-29ADCF1A02AA}"/>
              </a:ext>
            </a:extLst>
          </p:cNvPr>
          <p:cNvSpPr/>
          <p:nvPr/>
        </p:nvSpPr>
        <p:spPr bwMode="auto">
          <a:xfrm>
            <a:off x="1013267" y="3752111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8" name="îs1iďé">
            <a:extLst>
              <a:ext uri="{FF2B5EF4-FFF2-40B4-BE49-F238E27FC236}">
                <a16:creationId xmlns:a16="http://schemas.microsoft.com/office/drawing/2014/main" id="{EB74D0C2-5677-4F3F-A043-44D01A3F3D48}"/>
              </a:ext>
            </a:extLst>
          </p:cNvPr>
          <p:cNvSpPr/>
          <p:nvPr/>
        </p:nvSpPr>
        <p:spPr bwMode="auto">
          <a:xfrm>
            <a:off x="603765" y="4239893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9" name="ïṣḻïḋe">
            <a:extLst>
              <a:ext uri="{FF2B5EF4-FFF2-40B4-BE49-F238E27FC236}">
                <a16:creationId xmlns:a16="http://schemas.microsoft.com/office/drawing/2014/main" id="{7709F84E-C33F-462F-B538-51CB71C9284E}"/>
              </a:ext>
            </a:extLst>
          </p:cNvPr>
          <p:cNvSpPr/>
          <p:nvPr/>
        </p:nvSpPr>
        <p:spPr bwMode="auto">
          <a:xfrm>
            <a:off x="3339328" y="2225719"/>
            <a:ext cx="283355" cy="282961"/>
          </a:xfrm>
          <a:custGeom>
            <a:avLst/>
            <a:gdLst>
              <a:gd name="T0" fmla="*/ 400 w 11264"/>
              <a:gd name="T1" fmla="*/ 7099 h 11264"/>
              <a:gd name="T2" fmla="*/ 4165 w 11264"/>
              <a:gd name="T3" fmla="*/ 7099 h 11264"/>
              <a:gd name="T4" fmla="*/ 4165 w 11264"/>
              <a:gd name="T5" fmla="*/ 10864 h 11264"/>
              <a:gd name="T6" fmla="*/ 4565 w 11264"/>
              <a:gd name="T7" fmla="*/ 11264 h 11264"/>
              <a:gd name="T8" fmla="*/ 6699 w 11264"/>
              <a:gd name="T9" fmla="*/ 11264 h 11264"/>
              <a:gd name="T10" fmla="*/ 7099 w 11264"/>
              <a:gd name="T11" fmla="*/ 10864 h 11264"/>
              <a:gd name="T12" fmla="*/ 7099 w 11264"/>
              <a:gd name="T13" fmla="*/ 7099 h 11264"/>
              <a:gd name="T14" fmla="*/ 10864 w 11264"/>
              <a:gd name="T15" fmla="*/ 7099 h 11264"/>
              <a:gd name="T16" fmla="*/ 11264 w 11264"/>
              <a:gd name="T17" fmla="*/ 6699 h 11264"/>
              <a:gd name="T18" fmla="*/ 11264 w 11264"/>
              <a:gd name="T19" fmla="*/ 4565 h 11264"/>
              <a:gd name="T20" fmla="*/ 10864 w 11264"/>
              <a:gd name="T21" fmla="*/ 4165 h 11264"/>
              <a:gd name="T22" fmla="*/ 7099 w 11264"/>
              <a:gd name="T23" fmla="*/ 4165 h 11264"/>
              <a:gd name="T24" fmla="*/ 7099 w 11264"/>
              <a:gd name="T25" fmla="*/ 400 h 11264"/>
              <a:gd name="T26" fmla="*/ 6699 w 11264"/>
              <a:gd name="T27" fmla="*/ 0 h 11264"/>
              <a:gd name="T28" fmla="*/ 4565 w 11264"/>
              <a:gd name="T29" fmla="*/ 0 h 11264"/>
              <a:gd name="T30" fmla="*/ 4165 w 11264"/>
              <a:gd name="T31" fmla="*/ 400 h 11264"/>
              <a:gd name="T32" fmla="*/ 4165 w 11264"/>
              <a:gd name="T33" fmla="*/ 4165 h 11264"/>
              <a:gd name="T34" fmla="*/ 400 w 11264"/>
              <a:gd name="T35" fmla="*/ 4165 h 11264"/>
              <a:gd name="T36" fmla="*/ 0 w 11264"/>
              <a:gd name="T37" fmla="*/ 4565 h 11264"/>
              <a:gd name="T38" fmla="*/ 0 w 11264"/>
              <a:gd name="T39" fmla="*/ 6699 h 11264"/>
              <a:gd name="T40" fmla="*/ 400 w 11264"/>
              <a:gd name="T41" fmla="*/ 7099 h 11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264" h="11264">
                <a:moveTo>
                  <a:pt x="400" y="7099"/>
                </a:moveTo>
                <a:lnTo>
                  <a:pt x="4165" y="7099"/>
                </a:lnTo>
                <a:lnTo>
                  <a:pt x="4165" y="10864"/>
                </a:lnTo>
                <a:cubicBezTo>
                  <a:pt x="4165" y="11085"/>
                  <a:pt x="4344" y="11264"/>
                  <a:pt x="4565" y="11264"/>
                </a:cubicBezTo>
                <a:lnTo>
                  <a:pt x="6699" y="11264"/>
                </a:lnTo>
                <a:cubicBezTo>
                  <a:pt x="6920" y="11264"/>
                  <a:pt x="7099" y="11085"/>
                  <a:pt x="7099" y="10864"/>
                </a:cubicBezTo>
                <a:lnTo>
                  <a:pt x="7099" y="7099"/>
                </a:lnTo>
                <a:lnTo>
                  <a:pt x="10864" y="7099"/>
                </a:lnTo>
                <a:cubicBezTo>
                  <a:pt x="11085" y="7099"/>
                  <a:pt x="11264" y="6920"/>
                  <a:pt x="11264" y="6699"/>
                </a:cubicBezTo>
                <a:lnTo>
                  <a:pt x="11264" y="4565"/>
                </a:lnTo>
                <a:cubicBezTo>
                  <a:pt x="11264" y="4344"/>
                  <a:pt x="11085" y="4165"/>
                  <a:pt x="10864" y="4165"/>
                </a:cubicBezTo>
                <a:lnTo>
                  <a:pt x="7099" y="4165"/>
                </a:lnTo>
                <a:lnTo>
                  <a:pt x="7099" y="400"/>
                </a:lnTo>
                <a:cubicBezTo>
                  <a:pt x="7099" y="179"/>
                  <a:pt x="6920" y="0"/>
                  <a:pt x="6699" y="0"/>
                </a:cubicBezTo>
                <a:lnTo>
                  <a:pt x="4565" y="0"/>
                </a:lnTo>
                <a:cubicBezTo>
                  <a:pt x="4344" y="0"/>
                  <a:pt x="4165" y="179"/>
                  <a:pt x="4165" y="400"/>
                </a:cubicBezTo>
                <a:lnTo>
                  <a:pt x="4165" y="4165"/>
                </a:lnTo>
                <a:lnTo>
                  <a:pt x="400" y="4165"/>
                </a:lnTo>
                <a:cubicBezTo>
                  <a:pt x="179" y="4165"/>
                  <a:pt x="0" y="4344"/>
                  <a:pt x="0" y="4565"/>
                </a:cubicBezTo>
                <a:lnTo>
                  <a:pt x="0" y="6699"/>
                </a:lnTo>
                <a:cubicBezTo>
                  <a:pt x="0" y="6920"/>
                  <a:pt x="179" y="7099"/>
                  <a:pt x="400" y="7099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0" name="îsḷïde">
            <a:extLst>
              <a:ext uri="{FF2B5EF4-FFF2-40B4-BE49-F238E27FC236}">
                <a16:creationId xmlns:a16="http://schemas.microsoft.com/office/drawing/2014/main" id="{F7027C89-1BCC-4A00-9535-016DE4C49FD7}"/>
              </a:ext>
            </a:extLst>
          </p:cNvPr>
          <p:cNvSpPr/>
          <p:nvPr/>
        </p:nvSpPr>
        <p:spPr bwMode="auto">
          <a:xfrm>
            <a:off x="2952042" y="2707850"/>
            <a:ext cx="277477" cy="283355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  <a:gd name="connsiteX107" fmla="*/ 373273 h 605239"/>
              <a:gd name="connsiteY107" fmla="*/ 373273 h 605239"/>
              <a:gd name="connsiteX108" fmla="*/ 373273 h 605239"/>
              <a:gd name="connsiteY108" fmla="*/ 373273 h 605239"/>
              <a:gd name="connsiteX109" fmla="*/ 373273 h 605239"/>
              <a:gd name="connsiteY109" fmla="*/ 373273 h 605239"/>
              <a:gd name="connsiteX110" fmla="*/ 373273 h 605239"/>
              <a:gd name="connsiteY110" fmla="*/ 373273 h 605239"/>
              <a:gd name="connsiteX111" fmla="*/ 373273 h 605239"/>
              <a:gd name="connsiteY111" fmla="*/ 373273 h 605239"/>
              <a:gd name="connsiteX112" fmla="*/ 373273 h 605239"/>
              <a:gd name="connsiteY112" fmla="*/ 373273 h 605239"/>
              <a:gd name="connsiteX113" fmla="*/ 373273 h 605239"/>
              <a:gd name="connsiteY113" fmla="*/ 373273 h 605239"/>
              <a:gd name="connsiteX114" fmla="*/ 373273 h 605239"/>
              <a:gd name="connsiteY114" fmla="*/ 373273 h 605239"/>
              <a:gd name="connsiteX115" fmla="*/ 373273 h 605239"/>
              <a:gd name="connsiteY115" fmla="*/ 373273 h 605239"/>
              <a:gd name="connsiteX116" fmla="*/ 373273 h 605239"/>
              <a:gd name="connsiteY116" fmla="*/ 373273 h 605239"/>
              <a:gd name="connsiteX117" fmla="*/ 373273 h 605239"/>
              <a:gd name="connsiteY117" fmla="*/ 373273 h 605239"/>
              <a:gd name="connsiteX118" fmla="*/ 373273 h 605239"/>
              <a:gd name="connsiteY118" fmla="*/ 373273 h 605239"/>
              <a:gd name="connsiteX119" fmla="*/ 373273 h 605239"/>
              <a:gd name="connsiteY119" fmla="*/ 373273 h 605239"/>
              <a:gd name="connsiteX120" fmla="*/ 373273 h 605239"/>
              <a:gd name="connsiteY120" fmla="*/ 373273 h 605239"/>
              <a:gd name="connsiteX121" fmla="*/ 373273 h 605239"/>
              <a:gd name="connsiteY121" fmla="*/ 373273 h 605239"/>
              <a:gd name="connsiteX122" fmla="*/ 373273 h 605239"/>
              <a:gd name="connsiteY122" fmla="*/ 373273 h 605239"/>
              <a:gd name="connsiteX123" fmla="*/ 373273 h 605239"/>
              <a:gd name="connsiteY123" fmla="*/ 373273 h 605239"/>
              <a:gd name="connsiteX124" fmla="*/ 373273 h 605239"/>
              <a:gd name="connsiteY124" fmla="*/ 373273 h 605239"/>
              <a:gd name="connsiteX125" fmla="*/ 373273 h 605239"/>
              <a:gd name="connsiteY125" fmla="*/ 373273 h 605239"/>
              <a:gd name="connsiteX126" fmla="*/ 373273 h 605239"/>
              <a:gd name="connsiteY126" fmla="*/ 373273 h 605239"/>
              <a:gd name="connsiteX127" fmla="*/ 373273 h 605239"/>
              <a:gd name="connsiteY127" fmla="*/ 373273 h 605239"/>
              <a:gd name="connsiteX128" fmla="*/ 373273 h 605239"/>
              <a:gd name="connsiteY128" fmla="*/ 373273 h 605239"/>
              <a:gd name="connsiteX129" fmla="*/ 373273 h 605239"/>
              <a:gd name="connsiteY12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593733" h="606309">
                <a:moveTo>
                  <a:pt x="353250" y="302855"/>
                </a:moveTo>
                <a:cubicBezTo>
                  <a:pt x="318468" y="302855"/>
                  <a:pt x="290232" y="331146"/>
                  <a:pt x="290232" y="365879"/>
                </a:cubicBezTo>
                <a:cubicBezTo>
                  <a:pt x="290232" y="374189"/>
                  <a:pt x="296964" y="380912"/>
                  <a:pt x="305285" y="380912"/>
                </a:cubicBezTo>
                <a:cubicBezTo>
                  <a:pt x="313607" y="380912"/>
                  <a:pt x="320338" y="374189"/>
                  <a:pt x="320338" y="365879"/>
                </a:cubicBezTo>
                <a:cubicBezTo>
                  <a:pt x="320338" y="347672"/>
                  <a:pt x="335111" y="333014"/>
                  <a:pt x="353250" y="333014"/>
                </a:cubicBezTo>
                <a:cubicBezTo>
                  <a:pt x="361665" y="333014"/>
                  <a:pt x="368397" y="326291"/>
                  <a:pt x="368397" y="317888"/>
                </a:cubicBezTo>
                <a:cubicBezTo>
                  <a:pt x="368397" y="309578"/>
                  <a:pt x="361665" y="302855"/>
                  <a:pt x="353250" y="302855"/>
                </a:cubicBezTo>
                <a:close/>
                <a:moveTo>
                  <a:pt x="353250" y="265041"/>
                </a:moveTo>
                <a:cubicBezTo>
                  <a:pt x="409163" y="265041"/>
                  <a:pt x="454229" y="310232"/>
                  <a:pt x="454229" y="365879"/>
                </a:cubicBezTo>
                <a:cubicBezTo>
                  <a:pt x="454229" y="421527"/>
                  <a:pt x="408976" y="466717"/>
                  <a:pt x="353250" y="466717"/>
                </a:cubicBezTo>
                <a:cubicBezTo>
                  <a:pt x="297525" y="466717"/>
                  <a:pt x="252271" y="421527"/>
                  <a:pt x="252271" y="365879"/>
                </a:cubicBezTo>
                <a:cubicBezTo>
                  <a:pt x="252271" y="310232"/>
                  <a:pt x="297431" y="265041"/>
                  <a:pt x="353250" y="265041"/>
                </a:cubicBezTo>
                <a:close/>
                <a:moveTo>
                  <a:pt x="427779" y="133781"/>
                </a:moveTo>
                <a:cubicBezTo>
                  <a:pt x="432818" y="131960"/>
                  <a:pt x="438547" y="132054"/>
                  <a:pt x="443784" y="134482"/>
                </a:cubicBezTo>
                <a:lnTo>
                  <a:pt x="473245" y="148209"/>
                </a:lnTo>
                <a:cubicBezTo>
                  <a:pt x="483720" y="153158"/>
                  <a:pt x="488209" y="165671"/>
                  <a:pt x="483346" y="176130"/>
                </a:cubicBezTo>
                <a:lnTo>
                  <a:pt x="470252" y="203957"/>
                </a:lnTo>
                <a:cubicBezTo>
                  <a:pt x="492231" y="219646"/>
                  <a:pt x="511123" y="240003"/>
                  <a:pt x="525526" y="264095"/>
                </a:cubicBezTo>
                <a:lnTo>
                  <a:pt x="554426" y="253636"/>
                </a:lnTo>
                <a:cubicBezTo>
                  <a:pt x="565368" y="249714"/>
                  <a:pt x="577340" y="255411"/>
                  <a:pt x="581361" y="266243"/>
                </a:cubicBezTo>
                <a:lnTo>
                  <a:pt x="592491" y="296592"/>
                </a:lnTo>
                <a:cubicBezTo>
                  <a:pt x="596419" y="307612"/>
                  <a:pt x="590714" y="319564"/>
                  <a:pt x="579865" y="323486"/>
                </a:cubicBezTo>
                <a:lnTo>
                  <a:pt x="550965" y="333945"/>
                </a:lnTo>
                <a:cubicBezTo>
                  <a:pt x="555455" y="361586"/>
                  <a:pt x="553958" y="389414"/>
                  <a:pt x="547224" y="415561"/>
                </a:cubicBezTo>
                <a:lnTo>
                  <a:pt x="575095" y="428634"/>
                </a:lnTo>
                <a:cubicBezTo>
                  <a:pt x="585570" y="433490"/>
                  <a:pt x="590059" y="445910"/>
                  <a:pt x="585102" y="456649"/>
                </a:cubicBezTo>
                <a:lnTo>
                  <a:pt x="571354" y="485970"/>
                </a:lnTo>
                <a:cubicBezTo>
                  <a:pt x="566397" y="496429"/>
                  <a:pt x="553958" y="500911"/>
                  <a:pt x="543483" y="496056"/>
                </a:cubicBezTo>
                <a:lnTo>
                  <a:pt x="515238" y="482982"/>
                </a:lnTo>
                <a:cubicBezTo>
                  <a:pt x="499526" y="504833"/>
                  <a:pt x="479137" y="523510"/>
                  <a:pt x="455007" y="537704"/>
                </a:cubicBezTo>
                <a:lnTo>
                  <a:pt x="465763" y="567026"/>
                </a:lnTo>
                <a:cubicBezTo>
                  <a:pt x="469784" y="578045"/>
                  <a:pt x="463986" y="589997"/>
                  <a:pt x="453137" y="593919"/>
                </a:cubicBezTo>
                <a:lnTo>
                  <a:pt x="422741" y="605032"/>
                </a:lnTo>
                <a:cubicBezTo>
                  <a:pt x="411798" y="609047"/>
                  <a:pt x="399827" y="603258"/>
                  <a:pt x="395805" y="592425"/>
                </a:cubicBezTo>
                <a:lnTo>
                  <a:pt x="385050" y="562823"/>
                </a:lnTo>
                <a:cubicBezTo>
                  <a:pt x="357646" y="567212"/>
                  <a:pt x="330056" y="565718"/>
                  <a:pt x="304149" y="558995"/>
                </a:cubicBezTo>
                <a:lnTo>
                  <a:pt x="290682" y="587756"/>
                </a:lnTo>
                <a:cubicBezTo>
                  <a:pt x="285725" y="598215"/>
                  <a:pt x="273192" y="602697"/>
                  <a:pt x="262717" y="597841"/>
                </a:cubicBezTo>
                <a:lnTo>
                  <a:pt x="233350" y="584114"/>
                </a:lnTo>
                <a:cubicBezTo>
                  <a:pt x="222875" y="579165"/>
                  <a:pt x="218385" y="566652"/>
                  <a:pt x="223249" y="556193"/>
                </a:cubicBezTo>
                <a:lnTo>
                  <a:pt x="236810" y="527338"/>
                </a:lnTo>
                <a:cubicBezTo>
                  <a:pt x="215112" y="511650"/>
                  <a:pt x="196407" y="491480"/>
                  <a:pt x="182284" y="467668"/>
                </a:cubicBezTo>
                <a:lnTo>
                  <a:pt x="152169" y="478687"/>
                </a:lnTo>
                <a:cubicBezTo>
                  <a:pt x="141133" y="482609"/>
                  <a:pt x="129161" y="476912"/>
                  <a:pt x="125233" y="466080"/>
                </a:cubicBezTo>
                <a:lnTo>
                  <a:pt x="114104" y="435731"/>
                </a:lnTo>
                <a:cubicBezTo>
                  <a:pt x="110082" y="424712"/>
                  <a:pt x="115881" y="412759"/>
                  <a:pt x="126730" y="408837"/>
                </a:cubicBezTo>
                <a:lnTo>
                  <a:pt x="156845" y="397818"/>
                </a:lnTo>
                <a:cubicBezTo>
                  <a:pt x="153852" y="379422"/>
                  <a:pt x="153478" y="361026"/>
                  <a:pt x="155629" y="342910"/>
                </a:cubicBezTo>
                <a:lnTo>
                  <a:pt x="158622" y="343097"/>
                </a:lnTo>
                <a:cubicBezTo>
                  <a:pt x="181162" y="344030"/>
                  <a:pt x="200522" y="327408"/>
                  <a:pt x="203141" y="305370"/>
                </a:cubicBezTo>
                <a:cubicBezTo>
                  <a:pt x="207723" y="303876"/>
                  <a:pt x="212119" y="302195"/>
                  <a:pt x="216515" y="300515"/>
                </a:cubicBezTo>
                <a:cubicBezTo>
                  <a:pt x="220349" y="304063"/>
                  <a:pt x="224745" y="306958"/>
                  <a:pt x="229609" y="308919"/>
                </a:cubicBezTo>
                <a:cubicBezTo>
                  <a:pt x="219227" y="330957"/>
                  <a:pt x="214831" y="355983"/>
                  <a:pt x="217824" y="381943"/>
                </a:cubicBezTo>
                <a:cubicBezTo>
                  <a:pt x="226709" y="456462"/>
                  <a:pt x="294329" y="509876"/>
                  <a:pt x="368963" y="501192"/>
                </a:cubicBezTo>
                <a:cubicBezTo>
                  <a:pt x="443691" y="492320"/>
                  <a:pt x="497188" y="424899"/>
                  <a:pt x="488490" y="350287"/>
                </a:cubicBezTo>
                <a:cubicBezTo>
                  <a:pt x="479605" y="275675"/>
                  <a:pt x="411985" y="222260"/>
                  <a:pt x="337351" y="231038"/>
                </a:cubicBezTo>
                <a:cubicBezTo>
                  <a:pt x="324632" y="232532"/>
                  <a:pt x="312473" y="235707"/>
                  <a:pt x="301156" y="240376"/>
                </a:cubicBezTo>
                <a:cubicBezTo>
                  <a:pt x="299660" y="236268"/>
                  <a:pt x="297509" y="232345"/>
                  <a:pt x="294797" y="228890"/>
                </a:cubicBezTo>
                <a:cubicBezTo>
                  <a:pt x="297041" y="224688"/>
                  <a:pt x="299005" y="220393"/>
                  <a:pt x="300782" y="216097"/>
                </a:cubicBezTo>
                <a:cubicBezTo>
                  <a:pt x="311164" y="215817"/>
                  <a:pt x="320891" y="211802"/>
                  <a:pt x="328466" y="204891"/>
                </a:cubicBezTo>
                <a:cubicBezTo>
                  <a:pt x="336977" y="197141"/>
                  <a:pt x="341934" y="186589"/>
                  <a:pt x="342402" y="175103"/>
                </a:cubicBezTo>
                <a:lnTo>
                  <a:pt x="342776" y="166978"/>
                </a:lnTo>
                <a:cubicBezTo>
                  <a:pt x="363164" y="165764"/>
                  <a:pt x="383460" y="167912"/>
                  <a:pt x="402820" y="172768"/>
                </a:cubicBezTo>
                <a:lnTo>
                  <a:pt x="415913" y="144567"/>
                </a:lnTo>
                <a:cubicBezTo>
                  <a:pt x="418392" y="139338"/>
                  <a:pt x="422741" y="135602"/>
                  <a:pt x="427779" y="133781"/>
                </a:cubicBezTo>
                <a:close/>
                <a:moveTo>
                  <a:pt x="159906" y="88589"/>
                </a:moveTo>
                <a:cubicBezTo>
                  <a:pt x="142487" y="87818"/>
                  <a:pt x="124764" y="93678"/>
                  <a:pt x="110828" y="106378"/>
                </a:cubicBezTo>
                <a:cubicBezTo>
                  <a:pt x="96145" y="119731"/>
                  <a:pt x="88663" y="138127"/>
                  <a:pt x="88663" y="156523"/>
                </a:cubicBezTo>
                <a:cubicBezTo>
                  <a:pt x="88663" y="172958"/>
                  <a:pt x="94555" y="189393"/>
                  <a:pt x="106526" y="202467"/>
                </a:cubicBezTo>
                <a:cubicBezTo>
                  <a:pt x="131965" y="230294"/>
                  <a:pt x="175081" y="232162"/>
                  <a:pt x="202764" y="206762"/>
                </a:cubicBezTo>
                <a:cubicBezTo>
                  <a:pt x="217448" y="193409"/>
                  <a:pt x="224930" y="175013"/>
                  <a:pt x="224930" y="156523"/>
                </a:cubicBezTo>
                <a:cubicBezTo>
                  <a:pt x="224930" y="140088"/>
                  <a:pt x="219132" y="123653"/>
                  <a:pt x="207160" y="110580"/>
                </a:cubicBezTo>
                <a:cubicBezTo>
                  <a:pt x="194441" y="96760"/>
                  <a:pt x="177325" y="89359"/>
                  <a:pt x="159906" y="88589"/>
                </a:cubicBezTo>
                <a:close/>
                <a:moveTo>
                  <a:pt x="153289" y="17"/>
                </a:moveTo>
                <a:lnTo>
                  <a:pt x="173678" y="951"/>
                </a:lnTo>
                <a:cubicBezTo>
                  <a:pt x="180786" y="1325"/>
                  <a:pt x="186304" y="7114"/>
                  <a:pt x="186304" y="14118"/>
                </a:cubicBezTo>
                <a:lnTo>
                  <a:pt x="186304" y="14771"/>
                </a:lnTo>
                <a:lnTo>
                  <a:pt x="185462" y="34755"/>
                </a:lnTo>
                <a:cubicBezTo>
                  <a:pt x="201923" y="38677"/>
                  <a:pt x="217729" y="45774"/>
                  <a:pt x="231851" y="56232"/>
                </a:cubicBezTo>
                <a:lnTo>
                  <a:pt x="246535" y="42786"/>
                </a:lnTo>
                <a:cubicBezTo>
                  <a:pt x="251866" y="37930"/>
                  <a:pt x="260283" y="38303"/>
                  <a:pt x="265240" y="43626"/>
                </a:cubicBezTo>
                <a:lnTo>
                  <a:pt x="279082" y="58660"/>
                </a:lnTo>
                <a:cubicBezTo>
                  <a:pt x="281420" y="61275"/>
                  <a:pt x="282542" y="64450"/>
                  <a:pt x="282542" y="67625"/>
                </a:cubicBezTo>
                <a:cubicBezTo>
                  <a:pt x="282542" y="71173"/>
                  <a:pt x="281233" y="74722"/>
                  <a:pt x="278334" y="77337"/>
                </a:cubicBezTo>
                <a:lnTo>
                  <a:pt x="263744" y="90690"/>
                </a:lnTo>
                <a:cubicBezTo>
                  <a:pt x="273096" y="105537"/>
                  <a:pt x="278988" y="121973"/>
                  <a:pt x="281420" y="138781"/>
                </a:cubicBezTo>
                <a:lnTo>
                  <a:pt x="301061" y="139621"/>
                </a:lnTo>
                <a:cubicBezTo>
                  <a:pt x="308169" y="139995"/>
                  <a:pt x="313593" y="145878"/>
                  <a:pt x="313593" y="152788"/>
                </a:cubicBezTo>
                <a:lnTo>
                  <a:pt x="313593" y="153442"/>
                </a:lnTo>
                <a:lnTo>
                  <a:pt x="312751" y="173892"/>
                </a:lnTo>
                <a:cubicBezTo>
                  <a:pt x="312377" y="181083"/>
                  <a:pt x="306298" y="186779"/>
                  <a:pt x="298910" y="186405"/>
                </a:cubicBezTo>
                <a:lnTo>
                  <a:pt x="279456" y="185565"/>
                </a:lnTo>
                <a:cubicBezTo>
                  <a:pt x="275622" y="202093"/>
                  <a:pt x="268327" y="218061"/>
                  <a:pt x="257758" y="232162"/>
                </a:cubicBezTo>
                <a:lnTo>
                  <a:pt x="270852" y="246449"/>
                </a:lnTo>
                <a:cubicBezTo>
                  <a:pt x="273190" y="249064"/>
                  <a:pt x="274312" y="252145"/>
                  <a:pt x="274312" y="255414"/>
                </a:cubicBezTo>
                <a:cubicBezTo>
                  <a:pt x="274312" y="258869"/>
                  <a:pt x="273003" y="262511"/>
                  <a:pt x="270104" y="265126"/>
                </a:cubicBezTo>
                <a:lnTo>
                  <a:pt x="255046" y="278946"/>
                </a:lnTo>
                <a:cubicBezTo>
                  <a:pt x="249621" y="283802"/>
                  <a:pt x="241297" y="283428"/>
                  <a:pt x="236340" y="278106"/>
                </a:cubicBezTo>
                <a:lnTo>
                  <a:pt x="223247" y="263724"/>
                </a:lnTo>
                <a:cubicBezTo>
                  <a:pt x="208282" y="272970"/>
                  <a:pt x="191635" y="278853"/>
                  <a:pt x="174800" y="281187"/>
                </a:cubicBezTo>
                <a:lnTo>
                  <a:pt x="173958" y="300610"/>
                </a:lnTo>
                <a:cubicBezTo>
                  <a:pt x="173584" y="307801"/>
                  <a:pt x="167505" y="313590"/>
                  <a:pt x="160117" y="313217"/>
                </a:cubicBezTo>
                <a:lnTo>
                  <a:pt x="139634" y="312283"/>
                </a:lnTo>
                <a:cubicBezTo>
                  <a:pt x="132526" y="311909"/>
                  <a:pt x="127102" y="306120"/>
                  <a:pt x="127102" y="299116"/>
                </a:cubicBezTo>
                <a:lnTo>
                  <a:pt x="127102" y="298463"/>
                </a:lnTo>
                <a:lnTo>
                  <a:pt x="128037" y="279039"/>
                </a:lnTo>
                <a:cubicBezTo>
                  <a:pt x="111577" y="275211"/>
                  <a:pt x="95771" y="267834"/>
                  <a:pt x="81648" y="257281"/>
                </a:cubicBezTo>
                <a:lnTo>
                  <a:pt x="67058" y="270635"/>
                </a:lnTo>
                <a:cubicBezTo>
                  <a:pt x="61727" y="275491"/>
                  <a:pt x="53403" y="275117"/>
                  <a:pt x="48353" y="269701"/>
                </a:cubicBezTo>
                <a:lnTo>
                  <a:pt x="34511" y="254667"/>
                </a:lnTo>
                <a:cubicBezTo>
                  <a:pt x="32173" y="252052"/>
                  <a:pt x="31051" y="248970"/>
                  <a:pt x="31051" y="245702"/>
                </a:cubicBezTo>
                <a:cubicBezTo>
                  <a:pt x="31051" y="242247"/>
                  <a:pt x="32453" y="238605"/>
                  <a:pt x="35259" y="235990"/>
                </a:cubicBezTo>
                <a:lnTo>
                  <a:pt x="50036" y="222544"/>
                </a:lnTo>
                <a:cubicBezTo>
                  <a:pt x="40777" y="207696"/>
                  <a:pt x="35072" y="191261"/>
                  <a:pt x="32640" y="174639"/>
                </a:cubicBezTo>
                <a:lnTo>
                  <a:pt x="12626" y="173705"/>
                </a:lnTo>
                <a:cubicBezTo>
                  <a:pt x="5518" y="173332"/>
                  <a:pt x="0" y="167542"/>
                  <a:pt x="0" y="160539"/>
                </a:cubicBezTo>
                <a:lnTo>
                  <a:pt x="0" y="159885"/>
                </a:lnTo>
                <a:lnTo>
                  <a:pt x="842" y="139621"/>
                </a:lnTo>
                <a:cubicBezTo>
                  <a:pt x="1216" y="132431"/>
                  <a:pt x="7388" y="126642"/>
                  <a:pt x="14683" y="127015"/>
                </a:cubicBezTo>
                <a:lnTo>
                  <a:pt x="34885" y="127949"/>
                </a:lnTo>
                <a:cubicBezTo>
                  <a:pt x="38813" y="111514"/>
                  <a:pt x="46015" y="95826"/>
                  <a:pt x="56490" y="81819"/>
                </a:cubicBezTo>
                <a:lnTo>
                  <a:pt x="42741" y="66878"/>
                </a:lnTo>
                <a:cubicBezTo>
                  <a:pt x="40403" y="64263"/>
                  <a:pt x="39281" y="61182"/>
                  <a:pt x="39281" y="57913"/>
                </a:cubicBezTo>
                <a:cubicBezTo>
                  <a:pt x="39281" y="54458"/>
                  <a:pt x="40684" y="50816"/>
                  <a:pt x="43490" y="48202"/>
                </a:cubicBezTo>
                <a:lnTo>
                  <a:pt x="58641" y="34381"/>
                </a:lnTo>
                <a:cubicBezTo>
                  <a:pt x="63972" y="29526"/>
                  <a:pt x="72296" y="29899"/>
                  <a:pt x="77346" y="35315"/>
                </a:cubicBezTo>
                <a:lnTo>
                  <a:pt x="90627" y="50256"/>
                </a:lnTo>
                <a:cubicBezTo>
                  <a:pt x="105591" y="41011"/>
                  <a:pt x="121864" y="35128"/>
                  <a:pt x="138512" y="32794"/>
                </a:cubicBezTo>
                <a:lnTo>
                  <a:pt x="139447" y="12624"/>
                </a:lnTo>
                <a:cubicBezTo>
                  <a:pt x="139821" y="5433"/>
                  <a:pt x="145901" y="-356"/>
                  <a:pt x="153289" y="17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1" name="îṣḻïḓè">
            <a:extLst>
              <a:ext uri="{FF2B5EF4-FFF2-40B4-BE49-F238E27FC236}">
                <a16:creationId xmlns:a16="http://schemas.microsoft.com/office/drawing/2014/main" id="{30C8A656-A69C-4844-9B4C-38593487F7D6}"/>
              </a:ext>
            </a:extLst>
          </p:cNvPr>
          <p:cNvSpPr/>
          <p:nvPr/>
        </p:nvSpPr>
        <p:spPr bwMode="auto">
          <a:xfrm>
            <a:off x="2572805" y="3190455"/>
            <a:ext cx="283355" cy="282804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81741" h="580612">
                <a:moveTo>
                  <a:pt x="291612" y="187916"/>
                </a:moveTo>
                <a:cubicBezTo>
                  <a:pt x="304876" y="187916"/>
                  <a:pt x="315648" y="198758"/>
                  <a:pt x="315648" y="212088"/>
                </a:cubicBezTo>
                <a:lnTo>
                  <a:pt x="315648" y="491836"/>
                </a:lnTo>
                <a:lnTo>
                  <a:pt x="331227" y="473974"/>
                </a:lnTo>
                <a:cubicBezTo>
                  <a:pt x="339863" y="463932"/>
                  <a:pt x="355086" y="462866"/>
                  <a:pt x="365145" y="471574"/>
                </a:cubicBezTo>
                <a:cubicBezTo>
                  <a:pt x="375116" y="480372"/>
                  <a:pt x="376184" y="495657"/>
                  <a:pt x="367460" y="505699"/>
                </a:cubicBezTo>
                <a:lnTo>
                  <a:pt x="309773" y="572348"/>
                </a:lnTo>
                <a:cubicBezTo>
                  <a:pt x="305143" y="577502"/>
                  <a:pt x="298556" y="580612"/>
                  <a:pt x="291612" y="580612"/>
                </a:cubicBezTo>
                <a:cubicBezTo>
                  <a:pt x="284579" y="580612"/>
                  <a:pt x="278080" y="577680"/>
                  <a:pt x="273451" y="572348"/>
                </a:cubicBezTo>
                <a:lnTo>
                  <a:pt x="215764" y="505699"/>
                </a:lnTo>
                <a:cubicBezTo>
                  <a:pt x="207039" y="495657"/>
                  <a:pt x="208108" y="480372"/>
                  <a:pt x="218078" y="471574"/>
                </a:cubicBezTo>
                <a:cubicBezTo>
                  <a:pt x="228049" y="462866"/>
                  <a:pt x="243272" y="463932"/>
                  <a:pt x="252085" y="473974"/>
                </a:cubicBezTo>
                <a:lnTo>
                  <a:pt x="267486" y="491747"/>
                </a:lnTo>
                <a:lnTo>
                  <a:pt x="267486" y="212088"/>
                </a:lnTo>
                <a:cubicBezTo>
                  <a:pt x="267486" y="198758"/>
                  <a:pt x="278258" y="187916"/>
                  <a:pt x="291612" y="187916"/>
                </a:cubicBezTo>
                <a:close/>
                <a:moveTo>
                  <a:pt x="329499" y="0"/>
                </a:moveTo>
                <a:cubicBezTo>
                  <a:pt x="426248" y="0"/>
                  <a:pt x="465322" y="80426"/>
                  <a:pt x="473332" y="108153"/>
                </a:cubicBezTo>
                <a:cubicBezTo>
                  <a:pt x="535280" y="120684"/>
                  <a:pt x="581474" y="175693"/>
                  <a:pt x="581741" y="241190"/>
                </a:cubicBezTo>
                <a:cubicBezTo>
                  <a:pt x="581741" y="315840"/>
                  <a:pt x="521306" y="376537"/>
                  <a:pt x="446987" y="376537"/>
                </a:cubicBezTo>
                <a:lnTo>
                  <a:pt x="372756" y="376537"/>
                </a:lnTo>
                <a:cubicBezTo>
                  <a:pt x="359316" y="376537"/>
                  <a:pt x="348546" y="365606"/>
                  <a:pt x="348546" y="352276"/>
                </a:cubicBezTo>
                <a:cubicBezTo>
                  <a:pt x="348546" y="338857"/>
                  <a:pt x="359316" y="327926"/>
                  <a:pt x="372756" y="327926"/>
                </a:cubicBezTo>
                <a:lnTo>
                  <a:pt x="446987" y="327926"/>
                </a:lnTo>
                <a:cubicBezTo>
                  <a:pt x="494605" y="327926"/>
                  <a:pt x="533322" y="289090"/>
                  <a:pt x="533322" y="241190"/>
                </a:cubicBezTo>
                <a:cubicBezTo>
                  <a:pt x="533322" y="195334"/>
                  <a:pt x="497720" y="157298"/>
                  <a:pt x="452238" y="154632"/>
                </a:cubicBezTo>
                <a:cubicBezTo>
                  <a:pt x="440934" y="153921"/>
                  <a:pt x="431589" y="145478"/>
                  <a:pt x="429809" y="134192"/>
                </a:cubicBezTo>
                <a:cubicBezTo>
                  <a:pt x="421709" y="84692"/>
                  <a:pt x="379609" y="48789"/>
                  <a:pt x="329677" y="48789"/>
                </a:cubicBezTo>
                <a:cubicBezTo>
                  <a:pt x="279567" y="48789"/>
                  <a:pt x="238001" y="84781"/>
                  <a:pt x="229457" y="134192"/>
                </a:cubicBezTo>
                <a:cubicBezTo>
                  <a:pt x="226520" y="151521"/>
                  <a:pt x="212190" y="162807"/>
                  <a:pt x="192964" y="151077"/>
                </a:cubicBezTo>
                <a:cubicBezTo>
                  <a:pt x="178011" y="141834"/>
                  <a:pt x="160922" y="136947"/>
                  <a:pt x="143299" y="136947"/>
                </a:cubicBezTo>
                <a:cubicBezTo>
                  <a:pt x="90964" y="136947"/>
                  <a:pt x="48419" y="179693"/>
                  <a:pt x="48419" y="232303"/>
                </a:cubicBezTo>
                <a:cubicBezTo>
                  <a:pt x="48419" y="284913"/>
                  <a:pt x="90964" y="327748"/>
                  <a:pt x="143299" y="327748"/>
                </a:cubicBezTo>
                <a:lnTo>
                  <a:pt x="218776" y="327748"/>
                </a:lnTo>
                <a:cubicBezTo>
                  <a:pt x="232216" y="327748"/>
                  <a:pt x="242986" y="338590"/>
                  <a:pt x="242986" y="352009"/>
                </a:cubicBezTo>
                <a:cubicBezTo>
                  <a:pt x="242986" y="365429"/>
                  <a:pt x="232216" y="376271"/>
                  <a:pt x="218776" y="376271"/>
                </a:cubicBezTo>
                <a:lnTo>
                  <a:pt x="143299" y="376271"/>
                </a:lnTo>
                <a:cubicBezTo>
                  <a:pt x="64262" y="376271"/>
                  <a:pt x="0" y="311574"/>
                  <a:pt x="0" y="232214"/>
                </a:cubicBezTo>
                <a:cubicBezTo>
                  <a:pt x="0" y="152854"/>
                  <a:pt x="64262" y="88158"/>
                  <a:pt x="143210" y="88158"/>
                </a:cubicBezTo>
                <a:cubicBezTo>
                  <a:pt x="159231" y="88158"/>
                  <a:pt x="174896" y="90735"/>
                  <a:pt x="189849" y="95978"/>
                </a:cubicBezTo>
                <a:cubicBezTo>
                  <a:pt x="198749" y="73050"/>
                  <a:pt x="238891" y="0"/>
                  <a:pt x="329499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2" name="iş1iḑe">
            <a:extLst>
              <a:ext uri="{FF2B5EF4-FFF2-40B4-BE49-F238E27FC236}">
                <a16:creationId xmlns:a16="http://schemas.microsoft.com/office/drawing/2014/main" id="{79D5FAF9-096B-4C61-A299-6A26A276E128}"/>
              </a:ext>
            </a:extLst>
          </p:cNvPr>
          <p:cNvSpPr/>
          <p:nvPr/>
        </p:nvSpPr>
        <p:spPr bwMode="auto">
          <a:xfrm>
            <a:off x="2168646" y="3672721"/>
            <a:ext cx="283355" cy="282927"/>
          </a:xfrm>
          <a:custGeom>
            <a:avLst/>
            <a:gdLst>
              <a:gd name="connsiteX0" fmla="*/ 303820 w 607639"/>
              <a:gd name="connsiteY0" fmla="*/ 278099 h 606722"/>
              <a:gd name="connsiteX1" fmla="*/ 329118 w 607639"/>
              <a:gd name="connsiteY1" fmla="*/ 303362 h 606722"/>
              <a:gd name="connsiteX2" fmla="*/ 303820 w 607639"/>
              <a:gd name="connsiteY2" fmla="*/ 328625 h 606722"/>
              <a:gd name="connsiteX3" fmla="*/ 278522 w 607639"/>
              <a:gd name="connsiteY3" fmla="*/ 303362 h 606722"/>
              <a:gd name="connsiteX4" fmla="*/ 303820 w 607639"/>
              <a:gd name="connsiteY4" fmla="*/ 278099 h 606722"/>
              <a:gd name="connsiteX5" fmla="*/ 303775 w 607639"/>
              <a:gd name="connsiteY5" fmla="*/ 252735 h 606722"/>
              <a:gd name="connsiteX6" fmla="*/ 253140 w 607639"/>
              <a:gd name="connsiteY6" fmla="*/ 303317 h 606722"/>
              <a:gd name="connsiteX7" fmla="*/ 303775 w 607639"/>
              <a:gd name="connsiteY7" fmla="*/ 353900 h 606722"/>
              <a:gd name="connsiteX8" fmla="*/ 354410 w 607639"/>
              <a:gd name="connsiteY8" fmla="*/ 303317 h 606722"/>
              <a:gd name="connsiteX9" fmla="*/ 303775 w 607639"/>
              <a:gd name="connsiteY9" fmla="*/ 252735 h 606722"/>
              <a:gd name="connsiteX10" fmla="*/ 303775 w 607639"/>
              <a:gd name="connsiteY10" fmla="*/ 202241 h 606722"/>
              <a:gd name="connsiteX11" fmla="*/ 405045 w 607639"/>
              <a:gd name="connsiteY11" fmla="*/ 303317 h 606722"/>
              <a:gd name="connsiteX12" fmla="*/ 303775 w 607639"/>
              <a:gd name="connsiteY12" fmla="*/ 404482 h 606722"/>
              <a:gd name="connsiteX13" fmla="*/ 202593 w 607639"/>
              <a:gd name="connsiteY13" fmla="*/ 303317 h 606722"/>
              <a:gd name="connsiteX14" fmla="*/ 303775 w 607639"/>
              <a:gd name="connsiteY14" fmla="*/ 202241 h 606722"/>
              <a:gd name="connsiteX15" fmla="*/ 303775 w 607639"/>
              <a:gd name="connsiteY15" fmla="*/ 151703 h 606722"/>
              <a:gd name="connsiteX16" fmla="*/ 151932 w 607639"/>
              <a:gd name="connsiteY16" fmla="*/ 303317 h 606722"/>
              <a:gd name="connsiteX17" fmla="*/ 303775 w 607639"/>
              <a:gd name="connsiteY17" fmla="*/ 455019 h 606722"/>
              <a:gd name="connsiteX18" fmla="*/ 455707 w 607639"/>
              <a:gd name="connsiteY18" fmla="*/ 303317 h 606722"/>
              <a:gd name="connsiteX19" fmla="*/ 303775 w 607639"/>
              <a:gd name="connsiteY19" fmla="*/ 151703 h 606722"/>
              <a:gd name="connsiteX20" fmla="*/ 253131 w 607639"/>
              <a:gd name="connsiteY20" fmla="*/ 0 h 606722"/>
              <a:gd name="connsiteX21" fmla="*/ 354419 w 607639"/>
              <a:gd name="connsiteY21" fmla="*/ 0 h 606722"/>
              <a:gd name="connsiteX22" fmla="*/ 379786 w 607639"/>
              <a:gd name="connsiteY22" fmla="*/ 25239 h 606722"/>
              <a:gd name="connsiteX23" fmla="*/ 379786 w 607639"/>
              <a:gd name="connsiteY23" fmla="*/ 62387 h 606722"/>
              <a:gd name="connsiteX24" fmla="*/ 420639 w 607639"/>
              <a:gd name="connsiteY24" fmla="*/ 79451 h 606722"/>
              <a:gd name="connsiteX25" fmla="*/ 446985 w 607639"/>
              <a:gd name="connsiteY25" fmla="*/ 53145 h 606722"/>
              <a:gd name="connsiteX26" fmla="*/ 482854 w 607639"/>
              <a:gd name="connsiteY26" fmla="*/ 53145 h 606722"/>
              <a:gd name="connsiteX27" fmla="*/ 554414 w 607639"/>
              <a:gd name="connsiteY27" fmla="*/ 124597 h 606722"/>
              <a:gd name="connsiteX28" fmla="*/ 554414 w 607639"/>
              <a:gd name="connsiteY28" fmla="*/ 160323 h 606722"/>
              <a:gd name="connsiteX29" fmla="*/ 528069 w 607639"/>
              <a:gd name="connsiteY29" fmla="*/ 186629 h 606722"/>
              <a:gd name="connsiteX30" fmla="*/ 545158 w 607639"/>
              <a:gd name="connsiteY30" fmla="*/ 227510 h 606722"/>
              <a:gd name="connsiteX31" fmla="*/ 582273 w 607639"/>
              <a:gd name="connsiteY31" fmla="*/ 227510 h 606722"/>
              <a:gd name="connsiteX32" fmla="*/ 607639 w 607639"/>
              <a:gd name="connsiteY32" fmla="*/ 252749 h 606722"/>
              <a:gd name="connsiteX33" fmla="*/ 607639 w 607639"/>
              <a:gd name="connsiteY33" fmla="*/ 353884 h 606722"/>
              <a:gd name="connsiteX34" fmla="*/ 582273 w 607639"/>
              <a:gd name="connsiteY34" fmla="*/ 379212 h 606722"/>
              <a:gd name="connsiteX35" fmla="*/ 545158 w 607639"/>
              <a:gd name="connsiteY35" fmla="*/ 379212 h 606722"/>
              <a:gd name="connsiteX36" fmla="*/ 528069 w 607639"/>
              <a:gd name="connsiteY36" fmla="*/ 420004 h 606722"/>
              <a:gd name="connsiteX37" fmla="*/ 554414 w 607639"/>
              <a:gd name="connsiteY37" fmla="*/ 446310 h 606722"/>
              <a:gd name="connsiteX38" fmla="*/ 554414 w 607639"/>
              <a:gd name="connsiteY38" fmla="*/ 482125 h 606722"/>
              <a:gd name="connsiteX39" fmla="*/ 482854 w 607639"/>
              <a:gd name="connsiteY39" fmla="*/ 553577 h 606722"/>
              <a:gd name="connsiteX40" fmla="*/ 446985 w 607639"/>
              <a:gd name="connsiteY40" fmla="*/ 553577 h 606722"/>
              <a:gd name="connsiteX41" fmla="*/ 420639 w 607639"/>
              <a:gd name="connsiteY41" fmla="*/ 527271 h 606722"/>
              <a:gd name="connsiteX42" fmla="*/ 379786 w 607639"/>
              <a:gd name="connsiteY42" fmla="*/ 544246 h 606722"/>
              <a:gd name="connsiteX43" fmla="*/ 379786 w 607639"/>
              <a:gd name="connsiteY43" fmla="*/ 581394 h 606722"/>
              <a:gd name="connsiteX44" fmla="*/ 354419 w 607639"/>
              <a:gd name="connsiteY44" fmla="*/ 606722 h 606722"/>
              <a:gd name="connsiteX45" fmla="*/ 253131 w 607639"/>
              <a:gd name="connsiteY45" fmla="*/ 606722 h 606722"/>
              <a:gd name="connsiteX46" fmla="*/ 227854 w 607639"/>
              <a:gd name="connsiteY46" fmla="*/ 581394 h 606722"/>
              <a:gd name="connsiteX47" fmla="*/ 227854 w 607639"/>
              <a:gd name="connsiteY47" fmla="*/ 544246 h 606722"/>
              <a:gd name="connsiteX48" fmla="*/ 186911 w 607639"/>
              <a:gd name="connsiteY48" fmla="*/ 527271 h 606722"/>
              <a:gd name="connsiteX49" fmla="*/ 160566 w 607639"/>
              <a:gd name="connsiteY49" fmla="*/ 553577 h 606722"/>
              <a:gd name="connsiteX50" fmla="*/ 124786 w 607639"/>
              <a:gd name="connsiteY50" fmla="*/ 553577 h 606722"/>
              <a:gd name="connsiteX51" fmla="*/ 53225 w 607639"/>
              <a:gd name="connsiteY51" fmla="*/ 482125 h 606722"/>
              <a:gd name="connsiteX52" fmla="*/ 53225 w 607639"/>
              <a:gd name="connsiteY52" fmla="*/ 446310 h 606722"/>
              <a:gd name="connsiteX53" fmla="*/ 79482 w 607639"/>
              <a:gd name="connsiteY53" fmla="*/ 420004 h 606722"/>
              <a:gd name="connsiteX54" fmla="*/ 62482 w 607639"/>
              <a:gd name="connsiteY54" fmla="*/ 379212 h 606722"/>
              <a:gd name="connsiteX55" fmla="*/ 25278 w 607639"/>
              <a:gd name="connsiteY55" fmla="*/ 379212 h 606722"/>
              <a:gd name="connsiteX56" fmla="*/ 0 w 607639"/>
              <a:gd name="connsiteY56" fmla="*/ 353884 h 606722"/>
              <a:gd name="connsiteX57" fmla="*/ 0 w 607639"/>
              <a:gd name="connsiteY57" fmla="*/ 252749 h 606722"/>
              <a:gd name="connsiteX58" fmla="*/ 25278 w 607639"/>
              <a:gd name="connsiteY58" fmla="*/ 227510 h 606722"/>
              <a:gd name="connsiteX59" fmla="*/ 62482 w 607639"/>
              <a:gd name="connsiteY59" fmla="*/ 227510 h 606722"/>
              <a:gd name="connsiteX60" fmla="*/ 79482 w 607639"/>
              <a:gd name="connsiteY60" fmla="*/ 186629 h 606722"/>
              <a:gd name="connsiteX61" fmla="*/ 53225 w 607639"/>
              <a:gd name="connsiteY61" fmla="*/ 160323 h 606722"/>
              <a:gd name="connsiteX62" fmla="*/ 53225 w 607639"/>
              <a:gd name="connsiteY62" fmla="*/ 124597 h 606722"/>
              <a:gd name="connsiteX63" fmla="*/ 124786 w 607639"/>
              <a:gd name="connsiteY63" fmla="*/ 53145 h 606722"/>
              <a:gd name="connsiteX64" fmla="*/ 160566 w 607639"/>
              <a:gd name="connsiteY64" fmla="*/ 53145 h 606722"/>
              <a:gd name="connsiteX65" fmla="*/ 186911 w 607639"/>
              <a:gd name="connsiteY65" fmla="*/ 79451 h 606722"/>
              <a:gd name="connsiteX66" fmla="*/ 227854 w 607639"/>
              <a:gd name="connsiteY66" fmla="*/ 62387 h 606722"/>
              <a:gd name="connsiteX67" fmla="*/ 227854 w 607639"/>
              <a:gd name="connsiteY67" fmla="*/ 25239 h 606722"/>
              <a:gd name="connsiteX68" fmla="*/ 253131 w 607639"/>
              <a:gd name="connsiteY68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07639" h="606722">
                <a:moveTo>
                  <a:pt x="303820" y="278099"/>
                </a:moveTo>
                <a:cubicBezTo>
                  <a:pt x="317792" y="278099"/>
                  <a:pt x="329118" y="289410"/>
                  <a:pt x="329118" y="303362"/>
                </a:cubicBezTo>
                <a:cubicBezTo>
                  <a:pt x="329118" y="317314"/>
                  <a:pt x="317792" y="328625"/>
                  <a:pt x="303820" y="328625"/>
                </a:cubicBezTo>
                <a:cubicBezTo>
                  <a:pt x="289848" y="328625"/>
                  <a:pt x="278522" y="317314"/>
                  <a:pt x="278522" y="303362"/>
                </a:cubicBezTo>
                <a:cubicBezTo>
                  <a:pt x="278522" y="289410"/>
                  <a:pt x="289848" y="278099"/>
                  <a:pt x="303820" y="278099"/>
                </a:cubicBezTo>
                <a:close/>
                <a:moveTo>
                  <a:pt x="303775" y="252735"/>
                </a:moveTo>
                <a:cubicBezTo>
                  <a:pt x="275921" y="252735"/>
                  <a:pt x="253140" y="275492"/>
                  <a:pt x="253140" y="303317"/>
                </a:cubicBezTo>
                <a:cubicBezTo>
                  <a:pt x="253140" y="331231"/>
                  <a:pt x="275921" y="353900"/>
                  <a:pt x="303775" y="353900"/>
                </a:cubicBezTo>
                <a:cubicBezTo>
                  <a:pt x="331718" y="353900"/>
                  <a:pt x="354410" y="331231"/>
                  <a:pt x="354410" y="303317"/>
                </a:cubicBezTo>
                <a:cubicBezTo>
                  <a:pt x="354410" y="275492"/>
                  <a:pt x="331718" y="252735"/>
                  <a:pt x="303775" y="252735"/>
                </a:cubicBezTo>
                <a:close/>
                <a:moveTo>
                  <a:pt x="303775" y="202241"/>
                </a:moveTo>
                <a:cubicBezTo>
                  <a:pt x="359660" y="202241"/>
                  <a:pt x="405045" y="247579"/>
                  <a:pt x="405045" y="303317"/>
                </a:cubicBezTo>
                <a:cubicBezTo>
                  <a:pt x="405045" y="359144"/>
                  <a:pt x="359660" y="404482"/>
                  <a:pt x="303775" y="404482"/>
                </a:cubicBezTo>
                <a:cubicBezTo>
                  <a:pt x="247978" y="404482"/>
                  <a:pt x="202593" y="359144"/>
                  <a:pt x="202593" y="303317"/>
                </a:cubicBezTo>
                <a:cubicBezTo>
                  <a:pt x="202593" y="247579"/>
                  <a:pt x="247978" y="202241"/>
                  <a:pt x="303775" y="202241"/>
                </a:cubicBezTo>
                <a:close/>
                <a:moveTo>
                  <a:pt x="303775" y="151703"/>
                </a:moveTo>
                <a:cubicBezTo>
                  <a:pt x="220021" y="151703"/>
                  <a:pt x="151932" y="219689"/>
                  <a:pt x="151932" y="303317"/>
                </a:cubicBezTo>
                <a:cubicBezTo>
                  <a:pt x="151932" y="387033"/>
                  <a:pt x="220021" y="455019"/>
                  <a:pt x="303775" y="455019"/>
                </a:cubicBezTo>
                <a:cubicBezTo>
                  <a:pt x="387618" y="455019"/>
                  <a:pt x="455707" y="387033"/>
                  <a:pt x="455707" y="303317"/>
                </a:cubicBezTo>
                <a:cubicBezTo>
                  <a:pt x="455707" y="219689"/>
                  <a:pt x="387618" y="151703"/>
                  <a:pt x="303775" y="151703"/>
                </a:cubicBezTo>
                <a:close/>
                <a:moveTo>
                  <a:pt x="253131" y="0"/>
                </a:moveTo>
                <a:lnTo>
                  <a:pt x="354419" y="0"/>
                </a:lnTo>
                <a:cubicBezTo>
                  <a:pt x="368482" y="0"/>
                  <a:pt x="379786" y="11287"/>
                  <a:pt x="379786" y="25239"/>
                </a:cubicBezTo>
                <a:lnTo>
                  <a:pt x="379786" y="62387"/>
                </a:lnTo>
                <a:cubicBezTo>
                  <a:pt x="393849" y="66831"/>
                  <a:pt x="407555" y="72519"/>
                  <a:pt x="420639" y="79451"/>
                </a:cubicBezTo>
                <a:lnTo>
                  <a:pt x="446985" y="53145"/>
                </a:lnTo>
                <a:cubicBezTo>
                  <a:pt x="456953" y="43191"/>
                  <a:pt x="472974" y="43191"/>
                  <a:pt x="482854" y="53145"/>
                </a:cubicBezTo>
                <a:lnTo>
                  <a:pt x="554414" y="124597"/>
                </a:lnTo>
                <a:cubicBezTo>
                  <a:pt x="564294" y="134462"/>
                  <a:pt x="564294" y="150459"/>
                  <a:pt x="554414" y="160323"/>
                </a:cubicBezTo>
                <a:lnTo>
                  <a:pt x="528069" y="186629"/>
                </a:lnTo>
                <a:cubicBezTo>
                  <a:pt x="535011" y="199782"/>
                  <a:pt x="540707" y="213468"/>
                  <a:pt x="545158" y="227510"/>
                </a:cubicBezTo>
                <a:lnTo>
                  <a:pt x="582273" y="227510"/>
                </a:lnTo>
                <a:cubicBezTo>
                  <a:pt x="596336" y="227510"/>
                  <a:pt x="607639" y="238796"/>
                  <a:pt x="607639" y="252749"/>
                </a:cubicBezTo>
                <a:lnTo>
                  <a:pt x="607639" y="353884"/>
                </a:lnTo>
                <a:cubicBezTo>
                  <a:pt x="607639" y="367926"/>
                  <a:pt x="596247" y="379212"/>
                  <a:pt x="582273" y="379212"/>
                </a:cubicBezTo>
                <a:lnTo>
                  <a:pt x="545158" y="379212"/>
                </a:lnTo>
                <a:cubicBezTo>
                  <a:pt x="540707" y="393254"/>
                  <a:pt x="535011" y="406940"/>
                  <a:pt x="528069" y="420004"/>
                </a:cubicBezTo>
                <a:lnTo>
                  <a:pt x="554414" y="446310"/>
                </a:lnTo>
                <a:cubicBezTo>
                  <a:pt x="564294" y="456263"/>
                  <a:pt x="564294" y="472260"/>
                  <a:pt x="554414" y="482125"/>
                </a:cubicBezTo>
                <a:lnTo>
                  <a:pt x="482854" y="553577"/>
                </a:lnTo>
                <a:cubicBezTo>
                  <a:pt x="472974" y="563442"/>
                  <a:pt x="456953" y="563442"/>
                  <a:pt x="446985" y="553577"/>
                </a:cubicBezTo>
                <a:lnTo>
                  <a:pt x="420639" y="527271"/>
                </a:lnTo>
                <a:cubicBezTo>
                  <a:pt x="407555" y="534203"/>
                  <a:pt x="393849" y="539802"/>
                  <a:pt x="379786" y="544246"/>
                </a:cubicBezTo>
                <a:lnTo>
                  <a:pt x="379786" y="581394"/>
                </a:lnTo>
                <a:cubicBezTo>
                  <a:pt x="379786" y="595435"/>
                  <a:pt x="368393" y="606722"/>
                  <a:pt x="354419" y="606722"/>
                </a:cubicBezTo>
                <a:lnTo>
                  <a:pt x="253131" y="606722"/>
                </a:lnTo>
                <a:cubicBezTo>
                  <a:pt x="239157" y="606722"/>
                  <a:pt x="227854" y="595435"/>
                  <a:pt x="227854" y="581394"/>
                </a:cubicBezTo>
                <a:lnTo>
                  <a:pt x="227854" y="544246"/>
                </a:lnTo>
                <a:cubicBezTo>
                  <a:pt x="213791" y="539802"/>
                  <a:pt x="200084" y="534203"/>
                  <a:pt x="186911" y="527271"/>
                </a:cubicBezTo>
                <a:lnTo>
                  <a:pt x="160566" y="553577"/>
                </a:lnTo>
                <a:cubicBezTo>
                  <a:pt x="150686" y="563442"/>
                  <a:pt x="134665" y="563442"/>
                  <a:pt x="124786" y="553577"/>
                </a:cubicBezTo>
                <a:lnTo>
                  <a:pt x="53225" y="482125"/>
                </a:lnTo>
                <a:cubicBezTo>
                  <a:pt x="43257" y="472260"/>
                  <a:pt x="43257" y="456263"/>
                  <a:pt x="53225" y="446310"/>
                </a:cubicBezTo>
                <a:lnTo>
                  <a:pt x="79482" y="420004"/>
                </a:lnTo>
                <a:cubicBezTo>
                  <a:pt x="72629" y="406940"/>
                  <a:pt x="66932" y="393254"/>
                  <a:pt x="62482" y="379212"/>
                </a:cubicBezTo>
                <a:lnTo>
                  <a:pt x="25278" y="379212"/>
                </a:lnTo>
                <a:cubicBezTo>
                  <a:pt x="11304" y="379212"/>
                  <a:pt x="0" y="367926"/>
                  <a:pt x="0" y="353884"/>
                </a:cubicBezTo>
                <a:lnTo>
                  <a:pt x="0" y="252749"/>
                </a:lnTo>
                <a:cubicBezTo>
                  <a:pt x="0" y="238796"/>
                  <a:pt x="11304" y="227510"/>
                  <a:pt x="25278" y="227510"/>
                </a:cubicBezTo>
                <a:lnTo>
                  <a:pt x="62482" y="227510"/>
                </a:lnTo>
                <a:cubicBezTo>
                  <a:pt x="66932" y="213468"/>
                  <a:pt x="72629" y="199782"/>
                  <a:pt x="79482" y="186629"/>
                </a:cubicBezTo>
                <a:lnTo>
                  <a:pt x="53225" y="160323"/>
                </a:lnTo>
                <a:cubicBezTo>
                  <a:pt x="43257" y="150459"/>
                  <a:pt x="43257" y="134462"/>
                  <a:pt x="53225" y="124597"/>
                </a:cubicBezTo>
                <a:lnTo>
                  <a:pt x="124786" y="53145"/>
                </a:lnTo>
                <a:cubicBezTo>
                  <a:pt x="134665" y="43191"/>
                  <a:pt x="150686" y="43191"/>
                  <a:pt x="160566" y="53145"/>
                </a:cubicBezTo>
                <a:lnTo>
                  <a:pt x="186911" y="79451"/>
                </a:lnTo>
                <a:cubicBezTo>
                  <a:pt x="200084" y="72519"/>
                  <a:pt x="213791" y="66831"/>
                  <a:pt x="227854" y="62387"/>
                </a:cubicBezTo>
                <a:lnTo>
                  <a:pt x="227854" y="25239"/>
                </a:lnTo>
                <a:cubicBezTo>
                  <a:pt x="227854" y="11287"/>
                  <a:pt x="239157" y="0"/>
                  <a:pt x="25313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3" name="ïṧľíďê">
            <a:extLst>
              <a:ext uri="{FF2B5EF4-FFF2-40B4-BE49-F238E27FC236}">
                <a16:creationId xmlns:a16="http://schemas.microsoft.com/office/drawing/2014/main" id="{83AC56C8-BB22-4DB6-8372-AA84DFFA3A81}"/>
              </a:ext>
            </a:extLst>
          </p:cNvPr>
          <p:cNvSpPr/>
          <p:nvPr/>
        </p:nvSpPr>
        <p:spPr bwMode="auto">
          <a:xfrm>
            <a:off x="1773587" y="4155068"/>
            <a:ext cx="283355" cy="282891"/>
          </a:xfrm>
          <a:custGeom>
            <a:avLst/>
            <a:gdLst>
              <a:gd name="connsiteX0" fmla="*/ 380418 w 604181"/>
              <a:gd name="connsiteY0" fmla="*/ 268007 h 603193"/>
              <a:gd name="connsiteX1" fmla="*/ 519220 w 604181"/>
              <a:gd name="connsiteY1" fmla="*/ 339187 h 603193"/>
              <a:gd name="connsiteX2" fmla="*/ 519220 w 604181"/>
              <a:gd name="connsiteY2" fmla="*/ 355820 h 603193"/>
              <a:gd name="connsiteX3" fmla="*/ 380418 w 604181"/>
              <a:gd name="connsiteY3" fmla="*/ 426850 h 603193"/>
              <a:gd name="connsiteX4" fmla="*/ 380418 w 604181"/>
              <a:gd name="connsiteY4" fmla="*/ 406320 h 603193"/>
              <a:gd name="connsiteX5" fmla="*/ 498212 w 604181"/>
              <a:gd name="connsiteY5" fmla="*/ 347728 h 603193"/>
              <a:gd name="connsiteX6" fmla="*/ 498212 w 604181"/>
              <a:gd name="connsiteY6" fmla="*/ 347129 h 603193"/>
              <a:gd name="connsiteX7" fmla="*/ 380418 w 604181"/>
              <a:gd name="connsiteY7" fmla="*/ 288687 h 603193"/>
              <a:gd name="connsiteX8" fmla="*/ 216565 w 604181"/>
              <a:gd name="connsiteY8" fmla="*/ 268007 h 603193"/>
              <a:gd name="connsiteX9" fmla="*/ 216565 w 604181"/>
              <a:gd name="connsiteY9" fmla="*/ 288687 h 603193"/>
              <a:gd name="connsiteX10" fmla="*/ 99664 w 604181"/>
              <a:gd name="connsiteY10" fmla="*/ 347129 h 603193"/>
              <a:gd name="connsiteX11" fmla="*/ 99664 w 604181"/>
              <a:gd name="connsiteY11" fmla="*/ 347728 h 603193"/>
              <a:gd name="connsiteX12" fmla="*/ 216565 w 604181"/>
              <a:gd name="connsiteY12" fmla="*/ 406320 h 603193"/>
              <a:gd name="connsiteX13" fmla="*/ 216565 w 604181"/>
              <a:gd name="connsiteY13" fmla="*/ 426850 h 603193"/>
              <a:gd name="connsiteX14" fmla="*/ 77904 w 604181"/>
              <a:gd name="connsiteY14" fmla="*/ 355521 h 603193"/>
              <a:gd name="connsiteX15" fmla="*/ 77904 w 604181"/>
              <a:gd name="connsiteY15" fmla="*/ 339486 h 603193"/>
              <a:gd name="connsiteX16" fmla="*/ 338273 w 604181"/>
              <a:gd name="connsiteY16" fmla="*/ 222493 h 603193"/>
              <a:gd name="connsiteX17" fmla="*/ 358684 w 604181"/>
              <a:gd name="connsiteY17" fmla="*/ 222493 h 603193"/>
              <a:gd name="connsiteX18" fmla="*/ 253179 w 604181"/>
              <a:gd name="connsiteY18" fmla="*/ 482103 h 603193"/>
              <a:gd name="connsiteX19" fmla="*/ 233219 w 604181"/>
              <a:gd name="connsiteY19" fmla="*/ 482103 h 603193"/>
              <a:gd name="connsiteX20" fmla="*/ 28813 w 604181"/>
              <a:gd name="connsiteY20" fmla="*/ 128849 h 603193"/>
              <a:gd name="connsiteX21" fmla="*/ 28813 w 604181"/>
              <a:gd name="connsiteY21" fmla="*/ 557497 h 603193"/>
              <a:gd name="connsiteX22" fmla="*/ 45921 w 604181"/>
              <a:gd name="connsiteY22" fmla="*/ 574427 h 603193"/>
              <a:gd name="connsiteX23" fmla="*/ 558410 w 604181"/>
              <a:gd name="connsiteY23" fmla="*/ 574427 h 603193"/>
              <a:gd name="connsiteX24" fmla="*/ 575368 w 604181"/>
              <a:gd name="connsiteY24" fmla="*/ 557497 h 603193"/>
              <a:gd name="connsiteX25" fmla="*/ 575368 w 604181"/>
              <a:gd name="connsiteY25" fmla="*/ 128849 h 603193"/>
              <a:gd name="connsiteX26" fmla="*/ 502734 w 604181"/>
              <a:gd name="connsiteY26" fmla="*/ 43149 h 603193"/>
              <a:gd name="connsiteX27" fmla="*/ 502734 w 604181"/>
              <a:gd name="connsiteY27" fmla="*/ 77309 h 603193"/>
              <a:gd name="connsiteX28" fmla="*/ 537100 w 604181"/>
              <a:gd name="connsiteY28" fmla="*/ 77309 h 603193"/>
              <a:gd name="connsiteX29" fmla="*/ 537100 w 604181"/>
              <a:gd name="connsiteY29" fmla="*/ 43149 h 603193"/>
              <a:gd name="connsiteX30" fmla="*/ 423197 w 604181"/>
              <a:gd name="connsiteY30" fmla="*/ 43149 h 603193"/>
              <a:gd name="connsiteX31" fmla="*/ 423197 w 604181"/>
              <a:gd name="connsiteY31" fmla="*/ 77309 h 603193"/>
              <a:gd name="connsiteX32" fmla="*/ 457563 w 604181"/>
              <a:gd name="connsiteY32" fmla="*/ 77309 h 603193"/>
              <a:gd name="connsiteX33" fmla="*/ 457563 w 604181"/>
              <a:gd name="connsiteY33" fmla="*/ 43149 h 603193"/>
              <a:gd name="connsiteX34" fmla="*/ 45921 w 604181"/>
              <a:gd name="connsiteY34" fmla="*/ 0 h 603193"/>
              <a:gd name="connsiteX35" fmla="*/ 558410 w 604181"/>
              <a:gd name="connsiteY35" fmla="*/ 0 h 603193"/>
              <a:gd name="connsiteX36" fmla="*/ 604181 w 604181"/>
              <a:gd name="connsiteY36" fmla="*/ 45846 h 603193"/>
              <a:gd name="connsiteX37" fmla="*/ 604181 w 604181"/>
              <a:gd name="connsiteY37" fmla="*/ 557497 h 603193"/>
              <a:gd name="connsiteX38" fmla="*/ 558410 w 604181"/>
              <a:gd name="connsiteY38" fmla="*/ 603193 h 603193"/>
              <a:gd name="connsiteX39" fmla="*/ 45921 w 604181"/>
              <a:gd name="connsiteY39" fmla="*/ 603193 h 603193"/>
              <a:gd name="connsiteX40" fmla="*/ 0 w 604181"/>
              <a:gd name="connsiteY40" fmla="*/ 557497 h 603193"/>
              <a:gd name="connsiteX41" fmla="*/ 0 w 604181"/>
              <a:gd name="connsiteY41" fmla="*/ 45846 h 603193"/>
              <a:gd name="connsiteX42" fmla="*/ 45921 w 604181"/>
              <a:gd name="connsiteY42" fmla="*/ 0 h 603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04181" h="603193">
                <a:moveTo>
                  <a:pt x="380418" y="268007"/>
                </a:moveTo>
                <a:lnTo>
                  <a:pt x="519220" y="339187"/>
                </a:lnTo>
                <a:lnTo>
                  <a:pt x="519220" y="355820"/>
                </a:lnTo>
                <a:lnTo>
                  <a:pt x="380418" y="426850"/>
                </a:lnTo>
                <a:lnTo>
                  <a:pt x="380418" y="406320"/>
                </a:lnTo>
                <a:lnTo>
                  <a:pt x="498212" y="347728"/>
                </a:lnTo>
                <a:lnTo>
                  <a:pt x="498212" y="347129"/>
                </a:lnTo>
                <a:lnTo>
                  <a:pt x="380418" y="288687"/>
                </a:lnTo>
                <a:close/>
                <a:moveTo>
                  <a:pt x="216565" y="268007"/>
                </a:moveTo>
                <a:lnTo>
                  <a:pt x="216565" y="288687"/>
                </a:lnTo>
                <a:lnTo>
                  <a:pt x="99664" y="347129"/>
                </a:lnTo>
                <a:lnTo>
                  <a:pt x="99664" y="347728"/>
                </a:lnTo>
                <a:lnTo>
                  <a:pt x="216565" y="406320"/>
                </a:lnTo>
                <a:lnTo>
                  <a:pt x="216565" y="426850"/>
                </a:lnTo>
                <a:lnTo>
                  <a:pt x="77904" y="355521"/>
                </a:lnTo>
                <a:lnTo>
                  <a:pt x="77904" y="339486"/>
                </a:lnTo>
                <a:close/>
                <a:moveTo>
                  <a:pt x="338273" y="222493"/>
                </a:moveTo>
                <a:lnTo>
                  <a:pt x="358684" y="222493"/>
                </a:lnTo>
                <a:lnTo>
                  <a:pt x="253179" y="482103"/>
                </a:lnTo>
                <a:lnTo>
                  <a:pt x="233219" y="482103"/>
                </a:lnTo>
                <a:close/>
                <a:moveTo>
                  <a:pt x="28813" y="128849"/>
                </a:moveTo>
                <a:lnTo>
                  <a:pt x="28813" y="557497"/>
                </a:lnTo>
                <a:cubicBezTo>
                  <a:pt x="28813" y="566786"/>
                  <a:pt x="36467" y="574427"/>
                  <a:pt x="45921" y="574427"/>
                </a:cubicBezTo>
                <a:lnTo>
                  <a:pt x="558410" y="574427"/>
                </a:lnTo>
                <a:cubicBezTo>
                  <a:pt x="567714" y="574427"/>
                  <a:pt x="575368" y="566786"/>
                  <a:pt x="575368" y="557497"/>
                </a:cubicBezTo>
                <a:lnTo>
                  <a:pt x="575368" y="128849"/>
                </a:lnTo>
                <a:close/>
                <a:moveTo>
                  <a:pt x="502734" y="43149"/>
                </a:moveTo>
                <a:lnTo>
                  <a:pt x="502734" y="77309"/>
                </a:lnTo>
                <a:lnTo>
                  <a:pt x="537100" y="77309"/>
                </a:lnTo>
                <a:lnTo>
                  <a:pt x="537100" y="43149"/>
                </a:lnTo>
                <a:close/>
                <a:moveTo>
                  <a:pt x="423197" y="43149"/>
                </a:moveTo>
                <a:lnTo>
                  <a:pt x="423197" y="77309"/>
                </a:lnTo>
                <a:lnTo>
                  <a:pt x="457563" y="77309"/>
                </a:lnTo>
                <a:lnTo>
                  <a:pt x="457563" y="43149"/>
                </a:lnTo>
                <a:close/>
                <a:moveTo>
                  <a:pt x="45921" y="0"/>
                </a:moveTo>
                <a:lnTo>
                  <a:pt x="558410" y="0"/>
                </a:lnTo>
                <a:cubicBezTo>
                  <a:pt x="583621" y="0"/>
                  <a:pt x="604181" y="20526"/>
                  <a:pt x="604181" y="45846"/>
                </a:cubicBezTo>
                <a:lnTo>
                  <a:pt x="604181" y="557497"/>
                </a:lnTo>
                <a:cubicBezTo>
                  <a:pt x="604181" y="582667"/>
                  <a:pt x="583621" y="603193"/>
                  <a:pt x="558410" y="603193"/>
                </a:cubicBezTo>
                <a:lnTo>
                  <a:pt x="45921" y="603193"/>
                </a:lnTo>
                <a:cubicBezTo>
                  <a:pt x="20560" y="603193"/>
                  <a:pt x="0" y="582667"/>
                  <a:pt x="0" y="557497"/>
                </a:cubicBezTo>
                <a:lnTo>
                  <a:pt x="0" y="45846"/>
                </a:lnTo>
                <a:cubicBezTo>
                  <a:pt x="0" y="20526"/>
                  <a:pt x="20560" y="0"/>
                  <a:pt x="4592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4" name="îṣḻîḍé">
            <a:extLst>
              <a:ext uri="{FF2B5EF4-FFF2-40B4-BE49-F238E27FC236}">
                <a16:creationId xmlns:a16="http://schemas.microsoft.com/office/drawing/2014/main" id="{716A4AAF-66FE-4462-901E-658C29D84AD8}"/>
              </a:ext>
            </a:extLst>
          </p:cNvPr>
          <p:cNvSpPr/>
          <p:nvPr/>
        </p:nvSpPr>
        <p:spPr bwMode="auto">
          <a:xfrm>
            <a:off x="1369248" y="4637379"/>
            <a:ext cx="283355" cy="282926"/>
          </a:xfrm>
          <a:custGeom>
            <a:avLst/>
            <a:gdLst>
              <a:gd name="T0" fmla="*/ 6624 w 7154"/>
              <a:gd name="T1" fmla="*/ 2037 h 7154"/>
              <a:gd name="T2" fmla="*/ 6106 w 7154"/>
              <a:gd name="T3" fmla="*/ 1048 h 7154"/>
              <a:gd name="T4" fmla="*/ 5117 w 7154"/>
              <a:gd name="T5" fmla="*/ 530 h 7154"/>
              <a:gd name="T6" fmla="*/ 4643 w 7154"/>
              <a:gd name="T7" fmla="*/ 334 h 7154"/>
              <a:gd name="T8" fmla="*/ 3577 w 7154"/>
              <a:gd name="T9" fmla="*/ 0 h 7154"/>
              <a:gd name="T10" fmla="*/ 2511 w 7154"/>
              <a:gd name="T11" fmla="*/ 334 h 7154"/>
              <a:gd name="T12" fmla="*/ 2037 w 7154"/>
              <a:gd name="T13" fmla="*/ 530 h 7154"/>
              <a:gd name="T14" fmla="*/ 1048 w 7154"/>
              <a:gd name="T15" fmla="*/ 1048 h 7154"/>
              <a:gd name="T16" fmla="*/ 530 w 7154"/>
              <a:gd name="T17" fmla="*/ 2037 h 7154"/>
              <a:gd name="T18" fmla="*/ 334 w 7154"/>
              <a:gd name="T19" fmla="*/ 2511 h 7154"/>
              <a:gd name="T20" fmla="*/ 0 w 7154"/>
              <a:gd name="T21" fmla="*/ 3577 h 7154"/>
              <a:gd name="T22" fmla="*/ 334 w 7154"/>
              <a:gd name="T23" fmla="*/ 4643 h 7154"/>
              <a:gd name="T24" fmla="*/ 530 w 7154"/>
              <a:gd name="T25" fmla="*/ 5117 h 7154"/>
              <a:gd name="T26" fmla="*/ 1048 w 7154"/>
              <a:gd name="T27" fmla="*/ 6106 h 7154"/>
              <a:gd name="T28" fmla="*/ 2037 w 7154"/>
              <a:gd name="T29" fmla="*/ 6624 h 7154"/>
              <a:gd name="T30" fmla="*/ 2511 w 7154"/>
              <a:gd name="T31" fmla="*/ 6820 h 7154"/>
              <a:gd name="T32" fmla="*/ 3577 w 7154"/>
              <a:gd name="T33" fmla="*/ 7154 h 7154"/>
              <a:gd name="T34" fmla="*/ 4643 w 7154"/>
              <a:gd name="T35" fmla="*/ 6820 h 7154"/>
              <a:gd name="T36" fmla="*/ 5117 w 7154"/>
              <a:gd name="T37" fmla="*/ 6624 h 7154"/>
              <a:gd name="T38" fmla="*/ 6106 w 7154"/>
              <a:gd name="T39" fmla="*/ 6106 h 7154"/>
              <a:gd name="T40" fmla="*/ 6624 w 7154"/>
              <a:gd name="T41" fmla="*/ 5117 h 7154"/>
              <a:gd name="T42" fmla="*/ 6820 w 7154"/>
              <a:gd name="T43" fmla="*/ 4643 h 7154"/>
              <a:gd name="T44" fmla="*/ 7154 w 7154"/>
              <a:gd name="T45" fmla="*/ 3577 h 7154"/>
              <a:gd name="T46" fmla="*/ 6820 w 7154"/>
              <a:gd name="T47" fmla="*/ 2511 h 7154"/>
              <a:gd name="T48" fmla="*/ 6624 w 7154"/>
              <a:gd name="T49" fmla="*/ 2037 h 7154"/>
              <a:gd name="T50" fmla="*/ 5857 w 7154"/>
              <a:gd name="T51" fmla="*/ 2406 h 7154"/>
              <a:gd name="T52" fmla="*/ 3286 w 7154"/>
              <a:gd name="T53" fmla="*/ 4976 h 7154"/>
              <a:gd name="T54" fmla="*/ 2875 w 7154"/>
              <a:gd name="T55" fmla="*/ 5387 h 7154"/>
              <a:gd name="T56" fmla="*/ 2464 w 7154"/>
              <a:gd name="T57" fmla="*/ 5387 h 7154"/>
              <a:gd name="T58" fmla="*/ 2053 w 7154"/>
              <a:gd name="T59" fmla="*/ 4976 h 7154"/>
              <a:gd name="T60" fmla="*/ 1297 w 7154"/>
              <a:gd name="T61" fmla="*/ 4221 h 7154"/>
              <a:gd name="T62" fmla="*/ 1297 w 7154"/>
              <a:gd name="T63" fmla="*/ 3809 h 7154"/>
              <a:gd name="T64" fmla="*/ 1708 w 7154"/>
              <a:gd name="T65" fmla="*/ 3398 h 7154"/>
              <a:gd name="T66" fmla="*/ 2120 w 7154"/>
              <a:gd name="T67" fmla="*/ 3398 h 7154"/>
              <a:gd name="T68" fmla="*/ 2669 w 7154"/>
              <a:gd name="T69" fmla="*/ 3948 h 7154"/>
              <a:gd name="T70" fmla="*/ 5034 w 7154"/>
              <a:gd name="T71" fmla="*/ 1583 h 7154"/>
              <a:gd name="T72" fmla="*/ 5445 w 7154"/>
              <a:gd name="T73" fmla="*/ 1583 h 7154"/>
              <a:gd name="T74" fmla="*/ 5857 w 7154"/>
              <a:gd name="T75" fmla="*/ 1994 h 7154"/>
              <a:gd name="T76" fmla="*/ 5857 w 7154"/>
              <a:gd name="T77" fmla="*/ 2406 h 7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154" h="7154">
                <a:moveTo>
                  <a:pt x="6624" y="2037"/>
                </a:moveTo>
                <a:cubicBezTo>
                  <a:pt x="6580" y="1703"/>
                  <a:pt x="6403" y="1345"/>
                  <a:pt x="6106" y="1048"/>
                </a:cubicBezTo>
                <a:cubicBezTo>
                  <a:pt x="5809" y="751"/>
                  <a:pt x="5451" y="574"/>
                  <a:pt x="5117" y="530"/>
                </a:cubicBezTo>
                <a:cubicBezTo>
                  <a:pt x="4966" y="510"/>
                  <a:pt x="4764" y="427"/>
                  <a:pt x="4643" y="334"/>
                </a:cubicBezTo>
                <a:cubicBezTo>
                  <a:pt x="4375" y="128"/>
                  <a:pt x="3997" y="0"/>
                  <a:pt x="3577" y="0"/>
                </a:cubicBezTo>
                <a:cubicBezTo>
                  <a:pt x="3157" y="0"/>
                  <a:pt x="2779" y="128"/>
                  <a:pt x="2511" y="334"/>
                </a:cubicBezTo>
                <a:cubicBezTo>
                  <a:pt x="2390" y="427"/>
                  <a:pt x="2188" y="510"/>
                  <a:pt x="2037" y="530"/>
                </a:cubicBezTo>
                <a:cubicBezTo>
                  <a:pt x="1702" y="574"/>
                  <a:pt x="1345" y="751"/>
                  <a:pt x="1048" y="1048"/>
                </a:cubicBezTo>
                <a:cubicBezTo>
                  <a:pt x="751" y="1345"/>
                  <a:pt x="574" y="1703"/>
                  <a:pt x="530" y="2037"/>
                </a:cubicBezTo>
                <a:cubicBezTo>
                  <a:pt x="510" y="2188"/>
                  <a:pt x="427" y="2390"/>
                  <a:pt x="334" y="2511"/>
                </a:cubicBezTo>
                <a:cubicBezTo>
                  <a:pt x="128" y="2779"/>
                  <a:pt x="0" y="3157"/>
                  <a:pt x="0" y="3577"/>
                </a:cubicBezTo>
                <a:cubicBezTo>
                  <a:pt x="0" y="3997"/>
                  <a:pt x="128" y="4375"/>
                  <a:pt x="334" y="4643"/>
                </a:cubicBezTo>
                <a:cubicBezTo>
                  <a:pt x="427" y="4764"/>
                  <a:pt x="510" y="4966"/>
                  <a:pt x="530" y="5117"/>
                </a:cubicBezTo>
                <a:cubicBezTo>
                  <a:pt x="574" y="5451"/>
                  <a:pt x="751" y="5809"/>
                  <a:pt x="1048" y="6106"/>
                </a:cubicBezTo>
                <a:cubicBezTo>
                  <a:pt x="1345" y="6403"/>
                  <a:pt x="1702" y="6580"/>
                  <a:pt x="2037" y="6624"/>
                </a:cubicBezTo>
                <a:cubicBezTo>
                  <a:pt x="2188" y="6644"/>
                  <a:pt x="2390" y="6727"/>
                  <a:pt x="2511" y="6820"/>
                </a:cubicBezTo>
                <a:cubicBezTo>
                  <a:pt x="2779" y="7025"/>
                  <a:pt x="3157" y="7154"/>
                  <a:pt x="3577" y="7154"/>
                </a:cubicBezTo>
                <a:cubicBezTo>
                  <a:pt x="3997" y="7154"/>
                  <a:pt x="4375" y="7025"/>
                  <a:pt x="4643" y="6820"/>
                </a:cubicBezTo>
                <a:cubicBezTo>
                  <a:pt x="4764" y="6727"/>
                  <a:pt x="4966" y="6644"/>
                  <a:pt x="5117" y="6624"/>
                </a:cubicBezTo>
                <a:cubicBezTo>
                  <a:pt x="5451" y="6580"/>
                  <a:pt x="5809" y="6403"/>
                  <a:pt x="6106" y="6106"/>
                </a:cubicBezTo>
                <a:cubicBezTo>
                  <a:pt x="6403" y="5809"/>
                  <a:pt x="6580" y="5451"/>
                  <a:pt x="6624" y="5117"/>
                </a:cubicBezTo>
                <a:cubicBezTo>
                  <a:pt x="6644" y="4966"/>
                  <a:pt x="6727" y="4764"/>
                  <a:pt x="6820" y="4643"/>
                </a:cubicBezTo>
                <a:cubicBezTo>
                  <a:pt x="7026" y="4375"/>
                  <a:pt x="7154" y="3997"/>
                  <a:pt x="7154" y="3577"/>
                </a:cubicBezTo>
                <a:cubicBezTo>
                  <a:pt x="7154" y="3157"/>
                  <a:pt x="7026" y="2779"/>
                  <a:pt x="6820" y="2511"/>
                </a:cubicBezTo>
                <a:cubicBezTo>
                  <a:pt x="6727" y="2390"/>
                  <a:pt x="6644" y="2188"/>
                  <a:pt x="6624" y="2037"/>
                </a:cubicBezTo>
                <a:close/>
                <a:moveTo>
                  <a:pt x="5857" y="2406"/>
                </a:moveTo>
                <a:lnTo>
                  <a:pt x="3286" y="4976"/>
                </a:lnTo>
                <a:lnTo>
                  <a:pt x="2875" y="5387"/>
                </a:lnTo>
                <a:cubicBezTo>
                  <a:pt x="2762" y="5501"/>
                  <a:pt x="2577" y="5501"/>
                  <a:pt x="2464" y="5387"/>
                </a:cubicBezTo>
                <a:lnTo>
                  <a:pt x="2053" y="4976"/>
                </a:lnTo>
                <a:lnTo>
                  <a:pt x="1297" y="4221"/>
                </a:lnTo>
                <a:cubicBezTo>
                  <a:pt x="1183" y="4107"/>
                  <a:pt x="1183" y="3923"/>
                  <a:pt x="1297" y="3809"/>
                </a:cubicBezTo>
                <a:lnTo>
                  <a:pt x="1708" y="3398"/>
                </a:lnTo>
                <a:cubicBezTo>
                  <a:pt x="1822" y="3285"/>
                  <a:pt x="2006" y="3285"/>
                  <a:pt x="2120" y="3398"/>
                </a:cubicBezTo>
                <a:lnTo>
                  <a:pt x="2669" y="3948"/>
                </a:lnTo>
                <a:lnTo>
                  <a:pt x="5034" y="1583"/>
                </a:lnTo>
                <a:cubicBezTo>
                  <a:pt x="5148" y="1470"/>
                  <a:pt x="5332" y="1470"/>
                  <a:pt x="5445" y="1583"/>
                </a:cubicBezTo>
                <a:lnTo>
                  <a:pt x="5857" y="1994"/>
                </a:lnTo>
                <a:cubicBezTo>
                  <a:pt x="5970" y="2108"/>
                  <a:pt x="5970" y="2292"/>
                  <a:pt x="5857" y="2406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5" name="iṧḷiḑé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2707316" y="3654018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按分布模式进行配置</a:t>
            </a:r>
            <a:endParaRPr lang="en-US" altLang="zh-CN" sz="1100" dirty="0"/>
          </a:p>
        </p:txBody>
      </p:sp>
      <p:sp>
        <p:nvSpPr>
          <p:cNvPr id="216" name="îṧḻiḑe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2297693" y="4141800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运行第一个实例</a:t>
            </a:r>
            <a:endParaRPr lang="en-US" altLang="zh-CN" sz="1100" dirty="0"/>
          </a:p>
        </p:txBody>
      </p:sp>
      <p:sp>
        <p:nvSpPr>
          <p:cNvPr id="217" name="îṣľïd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1888191" y="4629582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开心</a:t>
            </a:r>
            <a:r>
              <a:rPr lang="en-US" altLang="zh-CN" sz="1100" dirty="0" err="1"/>
              <a:t>ing</a:t>
            </a:r>
            <a:r>
              <a:rPr lang="en-US" altLang="zh-CN" sz="1100" dirty="0"/>
              <a:t>~</a:t>
            </a:r>
          </a:p>
        </p:txBody>
      </p:sp>
      <p:sp>
        <p:nvSpPr>
          <p:cNvPr id="218" name="íṧ1îd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116769" y="3166236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 解压</a:t>
            </a:r>
            <a:endParaRPr lang="en-US" altLang="zh-CN" sz="1100" dirty="0"/>
          </a:p>
        </p:txBody>
      </p:sp>
      <p:sp>
        <p:nvSpPr>
          <p:cNvPr id="219" name="îs1ïḋ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531383" y="2678453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>
                <a:solidFill>
                  <a:schemeClr val="bg1"/>
                </a:solidFill>
              </a:rPr>
              <a:t>配置环境变量 使之生效</a:t>
            </a: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20" name="íšliḓ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940861" y="2190671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</a:t>
            </a:r>
            <a:r>
              <a:rPr lang="en-US" altLang="zh-CN" sz="1100" dirty="0"/>
              <a:t> </a:t>
            </a:r>
            <a:r>
              <a:rPr lang="zh-CN" altLang="en-US" sz="1100" dirty="0"/>
              <a:t>解压</a:t>
            </a:r>
            <a:endParaRPr lang="en-US" altLang="zh-CN" sz="1100" dirty="0"/>
          </a:p>
        </p:txBody>
      </p:sp>
      <p:sp>
        <p:nvSpPr>
          <p:cNvPr id="64" name="íSľîḍe">
            <a:extLst>
              <a:ext uri="{FF2B5EF4-FFF2-40B4-BE49-F238E27FC236}">
                <a16:creationId xmlns:a16="http://schemas.microsoft.com/office/drawing/2014/main" id="{85C27895-6060-400A-9D9F-F306F79A504C}"/>
              </a:ext>
            </a:extLst>
          </p:cNvPr>
          <p:cNvSpPr/>
          <p:nvPr/>
        </p:nvSpPr>
        <p:spPr>
          <a:xfrm>
            <a:off x="-5877962" y="3494498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下载</a:t>
            </a:r>
          </a:p>
        </p:txBody>
      </p:sp>
      <p:sp>
        <p:nvSpPr>
          <p:cNvPr id="65" name="îṩḷïḍé">
            <a:extLst>
              <a:ext uri="{FF2B5EF4-FFF2-40B4-BE49-F238E27FC236}">
                <a16:creationId xmlns:a16="http://schemas.microsoft.com/office/drawing/2014/main" id="{D584BAC0-AB21-48D9-B82B-C0758994A289}"/>
              </a:ext>
            </a:extLst>
          </p:cNvPr>
          <p:cNvSpPr>
            <a:spLocks/>
          </p:cNvSpPr>
          <p:nvPr/>
        </p:nvSpPr>
        <p:spPr bwMode="auto">
          <a:xfrm>
            <a:off x="-5612225" y="3611872"/>
            <a:ext cx="532037" cy="532037"/>
          </a:xfrm>
          <a:custGeom>
            <a:avLst/>
            <a:gdLst>
              <a:gd name="connsiteX0" fmla="*/ 39602 w 536368"/>
              <a:gd name="connsiteY0" fmla="*/ 407445 h 587881"/>
              <a:gd name="connsiteX1" fmla="*/ 79294 w 536368"/>
              <a:gd name="connsiteY1" fmla="*/ 446999 h 587881"/>
              <a:gd name="connsiteX2" fmla="*/ 79294 w 536368"/>
              <a:gd name="connsiteY2" fmla="*/ 508685 h 587881"/>
              <a:gd name="connsiteX3" fmla="*/ 457074 w 536368"/>
              <a:gd name="connsiteY3" fmla="*/ 508685 h 587881"/>
              <a:gd name="connsiteX4" fmla="*/ 457074 w 536368"/>
              <a:gd name="connsiteY4" fmla="*/ 446999 h 587881"/>
              <a:gd name="connsiteX5" fmla="*/ 496677 w 536368"/>
              <a:gd name="connsiteY5" fmla="*/ 407445 h 587881"/>
              <a:gd name="connsiteX6" fmla="*/ 536368 w 536368"/>
              <a:gd name="connsiteY6" fmla="*/ 446999 h 587881"/>
              <a:gd name="connsiteX7" fmla="*/ 536368 w 536368"/>
              <a:gd name="connsiteY7" fmla="*/ 548238 h 587881"/>
              <a:gd name="connsiteX8" fmla="*/ 496677 w 536368"/>
              <a:gd name="connsiteY8" fmla="*/ 587881 h 587881"/>
              <a:gd name="connsiteX9" fmla="*/ 39602 w 536368"/>
              <a:gd name="connsiteY9" fmla="*/ 587881 h 587881"/>
              <a:gd name="connsiteX10" fmla="*/ 0 w 536368"/>
              <a:gd name="connsiteY10" fmla="*/ 548238 h 587881"/>
              <a:gd name="connsiteX11" fmla="*/ 0 w 536368"/>
              <a:gd name="connsiteY11" fmla="*/ 446999 h 587881"/>
              <a:gd name="connsiteX12" fmla="*/ 39602 w 536368"/>
              <a:gd name="connsiteY12" fmla="*/ 407445 h 587881"/>
              <a:gd name="connsiteX13" fmla="*/ 223430 w 536368"/>
              <a:gd name="connsiteY13" fmla="*/ 0 h 587881"/>
              <a:gd name="connsiteX14" fmla="*/ 312886 w 536368"/>
              <a:gd name="connsiteY14" fmla="*/ 0 h 587881"/>
              <a:gd name="connsiteX15" fmla="*/ 343773 w 536368"/>
              <a:gd name="connsiteY15" fmla="*/ 30926 h 587881"/>
              <a:gd name="connsiteX16" fmla="*/ 343773 w 536368"/>
              <a:gd name="connsiteY16" fmla="*/ 286685 h 587881"/>
              <a:gd name="connsiteX17" fmla="*/ 409018 w 536368"/>
              <a:gd name="connsiteY17" fmla="*/ 286685 h 587881"/>
              <a:gd name="connsiteX18" fmla="*/ 422103 w 536368"/>
              <a:gd name="connsiteY18" fmla="*/ 295394 h 587881"/>
              <a:gd name="connsiteX19" fmla="*/ 418988 w 536368"/>
              <a:gd name="connsiteY19" fmla="*/ 310857 h 587881"/>
              <a:gd name="connsiteX20" fmla="*/ 280130 w 536368"/>
              <a:gd name="connsiteY20" fmla="*/ 449489 h 587881"/>
              <a:gd name="connsiteX21" fmla="*/ 256186 w 536368"/>
              <a:gd name="connsiteY21" fmla="*/ 449489 h 587881"/>
              <a:gd name="connsiteX22" fmla="*/ 117239 w 536368"/>
              <a:gd name="connsiteY22" fmla="*/ 310857 h 587881"/>
              <a:gd name="connsiteX23" fmla="*/ 114213 w 536368"/>
              <a:gd name="connsiteY23" fmla="*/ 295394 h 587881"/>
              <a:gd name="connsiteX24" fmla="*/ 127297 w 536368"/>
              <a:gd name="connsiteY24" fmla="*/ 286685 h 587881"/>
              <a:gd name="connsiteX25" fmla="*/ 192543 w 536368"/>
              <a:gd name="connsiteY25" fmla="*/ 286685 h 587881"/>
              <a:gd name="connsiteX26" fmla="*/ 192543 w 536368"/>
              <a:gd name="connsiteY26" fmla="*/ 30926 h 587881"/>
              <a:gd name="connsiteX27" fmla="*/ 223430 w 536368"/>
              <a:gd name="connsiteY27" fmla="*/ 0 h 587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536368" h="587881">
                <a:moveTo>
                  <a:pt x="39602" y="407445"/>
                </a:moveTo>
                <a:cubicBezTo>
                  <a:pt x="61495" y="407445"/>
                  <a:pt x="79294" y="425133"/>
                  <a:pt x="79294" y="446999"/>
                </a:cubicBezTo>
                <a:lnTo>
                  <a:pt x="79294" y="508685"/>
                </a:lnTo>
                <a:lnTo>
                  <a:pt x="457074" y="508685"/>
                </a:lnTo>
                <a:lnTo>
                  <a:pt x="457074" y="446999"/>
                </a:lnTo>
                <a:cubicBezTo>
                  <a:pt x="457074" y="425133"/>
                  <a:pt x="474873" y="407445"/>
                  <a:pt x="496677" y="407445"/>
                </a:cubicBezTo>
                <a:cubicBezTo>
                  <a:pt x="518569" y="407445"/>
                  <a:pt x="536368" y="425133"/>
                  <a:pt x="536368" y="446999"/>
                </a:cubicBezTo>
                <a:lnTo>
                  <a:pt x="536368" y="548238"/>
                </a:lnTo>
                <a:cubicBezTo>
                  <a:pt x="536368" y="570104"/>
                  <a:pt x="518569" y="587881"/>
                  <a:pt x="496677" y="587881"/>
                </a:cubicBezTo>
                <a:lnTo>
                  <a:pt x="39602" y="587881"/>
                </a:lnTo>
                <a:cubicBezTo>
                  <a:pt x="17710" y="587881"/>
                  <a:pt x="0" y="570104"/>
                  <a:pt x="0" y="548238"/>
                </a:cubicBezTo>
                <a:lnTo>
                  <a:pt x="0" y="446999"/>
                </a:lnTo>
                <a:cubicBezTo>
                  <a:pt x="0" y="425133"/>
                  <a:pt x="17710" y="407445"/>
                  <a:pt x="39602" y="407445"/>
                </a:cubicBezTo>
                <a:close/>
                <a:moveTo>
                  <a:pt x="223430" y="0"/>
                </a:moveTo>
                <a:lnTo>
                  <a:pt x="312886" y="0"/>
                </a:lnTo>
                <a:cubicBezTo>
                  <a:pt x="329976" y="0"/>
                  <a:pt x="343773" y="13863"/>
                  <a:pt x="343773" y="30926"/>
                </a:cubicBezTo>
                <a:lnTo>
                  <a:pt x="343773" y="286685"/>
                </a:lnTo>
                <a:lnTo>
                  <a:pt x="409018" y="286685"/>
                </a:lnTo>
                <a:cubicBezTo>
                  <a:pt x="414715" y="286685"/>
                  <a:pt x="419878" y="290151"/>
                  <a:pt x="422103" y="295394"/>
                </a:cubicBezTo>
                <a:cubicBezTo>
                  <a:pt x="424239" y="300726"/>
                  <a:pt x="423082" y="306769"/>
                  <a:pt x="418988" y="310857"/>
                </a:cubicBezTo>
                <a:lnTo>
                  <a:pt x="280130" y="449489"/>
                </a:lnTo>
                <a:cubicBezTo>
                  <a:pt x="273543" y="456065"/>
                  <a:pt x="262773" y="456065"/>
                  <a:pt x="256186" y="449489"/>
                </a:cubicBezTo>
                <a:lnTo>
                  <a:pt x="117239" y="310857"/>
                </a:lnTo>
                <a:cubicBezTo>
                  <a:pt x="113233" y="306769"/>
                  <a:pt x="111987" y="300726"/>
                  <a:pt x="114213" y="295394"/>
                </a:cubicBezTo>
                <a:cubicBezTo>
                  <a:pt x="116438" y="290151"/>
                  <a:pt x="121511" y="286685"/>
                  <a:pt x="127297" y="286685"/>
                </a:cubicBezTo>
                <a:lnTo>
                  <a:pt x="192543" y="286685"/>
                </a:lnTo>
                <a:lnTo>
                  <a:pt x="192543" y="30926"/>
                </a:lnTo>
                <a:cubicBezTo>
                  <a:pt x="192543" y="13863"/>
                  <a:pt x="206339" y="0"/>
                  <a:pt x="223430" y="0"/>
                </a:cubicBezTo>
                <a:close/>
              </a:path>
            </a:pathLst>
          </a:cu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sz="2400" b="1"/>
          </a:p>
        </p:txBody>
      </p:sp>
      <p:sp>
        <p:nvSpPr>
          <p:cNvPr id="66" name="íṩ1íďê">
            <a:extLst>
              <a:ext uri="{FF2B5EF4-FFF2-40B4-BE49-F238E27FC236}">
                <a16:creationId xmlns:a16="http://schemas.microsoft.com/office/drawing/2014/main" id="{6C739A0C-92BD-432C-A30E-1317392532CA}"/>
              </a:ext>
            </a:extLst>
          </p:cNvPr>
          <p:cNvSpPr/>
          <p:nvPr/>
        </p:nvSpPr>
        <p:spPr>
          <a:xfrm>
            <a:off x="-6844516" y="4640590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官网</a:t>
            </a:r>
          </a:p>
        </p:txBody>
      </p:sp>
      <p:sp>
        <p:nvSpPr>
          <p:cNvPr id="67" name="íŝḻíḍê">
            <a:extLst>
              <a:ext uri="{FF2B5EF4-FFF2-40B4-BE49-F238E27FC236}">
                <a16:creationId xmlns:a16="http://schemas.microsoft.com/office/drawing/2014/main" id="{2B7CDFC9-E2B6-48F7-A63C-2C639A18772F}"/>
              </a:ext>
            </a:extLst>
          </p:cNvPr>
          <p:cNvSpPr>
            <a:spLocks/>
          </p:cNvSpPr>
          <p:nvPr/>
        </p:nvSpPr>
        <p:spPr bwMode="auto">
          <a:xfrm>
            <a:off x="-6571210" y="4793255"/>
            <a:ext cx="532037" cy="532037"/>
          </a:xfrm>
          <a:custGeom>
            <a:avLst/>
            <a:gdLst>
              <a:gd name="connsiteX0" fmla="*/ 454514 w 613046"/>
              <a:gd name="connsiteY0" fmla="*/ 373741 h 610326"/>
              <a:gd name="connsiteX1" fmla="*/ 595797 w 613046"/>
              <a:gd name="connsiteY1" fmla="*/ 511272 h 610326"/>
              <a:gd name="connsiteX2" fmla="*/ 595797 w 613046"/>
              <a:gd name="connsiteY2" fmla="*/ 593135 h 610326"/>
              <a:gd name="connsiteX3" fmla="*/ 513656 w 613046"/>
              <a:gd name="connsiteY3" fmla="*/ 593135 h 610326"/>
              <a:gd name="connsiteX4" fmla="*/ 372373 w 613046"/>
              <a:gd name="connsiteY4" fmla="*/ 452330 h 610326"/>
              <a:gd name="connsiteX5" fmla="*/ 454514 w 613046"/>
              <a:gd name="connsiteY5" fmla="*/ 373741 h 610326"/>
              <a:gd name="connsiteX6" fmla="*/ 231364 w 613046"/>
              <a:gd name="connsiteY6" fmla="*/ 94462 h 610326"/>
              <a:gd name="connsiteX7" fmla="*/ 231364 w 613046"/>
              <a:gd name="connsiteY7" fmla="*/ 133729 h 610326"/>
              <a:gd name="connsiteX8" fmla="*/ 135499 w 613046"/>
              <a:gd name="connsiteY8" fmla="*/ 228625 h 610326"/>
              <a:gd name="connsiteX9" fmla="*/ 95831 w 613046"/>
              <a:gd name="connsiteY9" fmla="*/ 228625 h 610326"/>
              <a:gd name="connsiteX10" fmla="*/ 231364 w 613046"/>
              <a:gd name="connsiteY10" fmla="*/ 94462 h 610326"/>
              <a:gd name="connsiteX11" fmla="*/ 230271 w 613046"/>
              <a:gd name="connsiteY11" fmla="*/ 55689 h 610326"/>
              <a:gd name="connsiteX12" fmla="*/ 55923 w 613046"/>
              <a:gd name="connsiteY12" fmla="*/ 229310 h 610326"/>
              <a:gd name="connsiteX13" fmla="*/ 230271 w 613046"/>
              <a:gd name="connsiteY13" fmla="*/ 399655 h 610326"/>
              <a:gd name="connsiteX14" fmla="*/ 401329 w 613046"/>
              <a:gd name="connsiteY14" fmla="*/ 229310 h 610326"/>
              <a:gd name="connsiteX15" fmla="*/ 230271 w 613046"/>
              <a:gd name="connsiteY15" fmla="*/ 55689 h 610326"/>
              <a:gd name="connsiteX16" fmla="*/ 230271 w 613046"/>
              <a:gd name="connsiteY16" fmla="*/ 0 h 610326"/>
              <a:gd name="connsiteX17" fmla="*/ 457252 w 613046"/>
              <a:gd name="connsiteY17" fmla="*/ 229310 h 610326"/>
              <a:gd name="connsiteX18" fmla="*/ 230271 w 613046"/>
              <a:gd name="connsiteY18" fmla="*/ 458620 h 610326"/>
              <a:gd name="connsiteX19" fmla="*/ 0 w 613046"/>
              <a:gd name="connsiteY19" fmla="*/ 229310 h 610326"/>
              <a:gd name="connsiteX20" fmla="*/ 230271 w 613046"/>
              <a:gd name="connsiteY20" fmla="*/ 0 h 610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613046" h="610326">
                <a:moveTo>
                  <a:pt x="454514" y="373741"/>
                </a:moveTo>
                <a:cubicBezTo>
                  <a:pt x="454514" y="373741"/>
                  <a:pt x="454514" y="373741"/>
                  <a:pt x="595797" y="511272"/>
                </a:cubicBezTo>
                <a:cubicBezTo>
                  <a:pt x="618796" y="534194"/>
                  <a:pt x="618796" y="570214"/>
                  <a:pt x="595797" y="593135"/>
                </a:cubicBezTo>
                <a:cubicBezTo>
                  <a:pt x="572797" y="616057"/>
                  <a:pt x="536655" y="616057"/>
                  <a:pt x="513656" y="593135"/>
                </a:cubicBezTo>
                <a:cubicBezTo>
                  <a:pt x="513656" y="593135"/>
                  <a:pt x="513656" y="593135"/>
                  <a:pt x="372373" y="452330"/>
                </a:cubicBezTo>
                <a:cubicBezTo>
                  <a:pt x="405229" y="432683"/>
                  <a:pt x="434800" y="406487"/>
                  <a:pt x="454514" y="373741"/>
                </a:cubicBezTo>
                <a:close/>
                <a:moveTo>
                  <a:pt x="231364" y="94462"/>
                </a:moveTo>
                <a:cubicBezTo>
                  <a:pt x="231364" y="94462"/>
                  <a:pt x="231364" y="94462"/>
                  <a:pt x="231364" y="133729"/>
                </a:cubicBezTo>
                <a:cubicBezTo>
                  <a:pt x="178473" y="133729"/>
                  <a:pt x="135499" y="176269"/>
                  <a:pt x="135499" y="228625"/>
                </a:cubicBezTo>
                <a:cubicBezTo>
                  <a:pt x="135499" y="228625"/>
                  <a:pt x="135499" y="228625"/>
                  <a:pt x="95831" y="228625"/>
                </a:cubicBezTo>
                <a:cubicBezTo>
                  <a:pt x="95831" y="153363"/>
                  <a:pt x="155333" y="94462"/>
                  <a:pt x="231364" y="94462"/>
                </a:cubicBezTo>
                <a:close/>
                <a:moveTo>
                  <a:pt x="230271" y="55689"/>
                </a:moveTo>
                <a:cubicBezTo>
                  <a:pt x="134873" y="55689"/>
                  <a:pt x="55923" y="134310"/>
                  <a:pt x="55923" y="229310"/>
                </a:cubicBezTo>
                <a:cubicBezTo>
                  <a:pt x="55923" y="324310"/>
                  <a:pt x="134873" y="399655"/>
                  <a:pt x="230271" y="399655"/>
                </a:cubicBezTo>
                <a:cubicBezTo>
                  <a:pt x="322379" y="399655"/>
                  <a:pt x="401329" y="324310"/>
                  <a:pt x="401329" y="229310"/>
                </a:cubicBezTo>
                <a:cubicBezTo>
                  <a:pt x="401329" y="134310"/>
                  <a:pt x="322379" y="55689"/>
                  <a:pt x="230271" y="55689"/>
                </a:cubicBezTo>
                <a:close/>
                <a:moveTo>
                  <a:pt x="230271" y="0"/>
                </a:moveTo>
                <a:cubicBezTo>
                  <a:pt x="355275" y="0"/>
                  <a:pt x="457252" y="101551"/>
                  <a:pt x="457252" y="229310"/>
                </a:cubicBezTo>
                <a:cubicBezTo>
                  <a:pt x="457252" y="353792"/>
                  <a:pt x="355275" y="458620"/>
                  <a:pt x="230271" y="458620"/>
                </a:cubicBezTo>
                <a:cubicBezTo>
                  <a:pt x="101977" y="458620"/>
                  <a:pt x="0" y="353792"/>
                  <a:pt x="0" y="229310"/>
                </a:cubicBezTo>
                <a:cubicBezTo>
                  <a:pt x="0" y="101551"/>
                  <a:pt x="101977" y="0"/>
                  <a:pt x="230271" y="0"/>
                </a:cubicBezTo>
                <a:close/>
              </a:path>
            </a:pathLst>
          </a:cu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sz="2400" b="1"/>
          </a:p>
        </p:txBody>
      </p:sp>
      <p:cxnSp>
        <p:nvCxnSpPr>
          <p:cNvPr id="68" name="肘形连接符 18">
            <a:extLst>
              <a:ext uri="{FF2B5EF4-FFF2-40B4-BE49-F238E27FC236}">
                <a16:creationId xmlns:a16="http://schemas.microsoft.com/office/drawing/2014/main" id="{7DD9C3EB-A4D1-4FBE-87F3-59ECAD7BF0CD}"/>
              </a:ext>
            </a:extLst>
          </p:cNvPr>
          <p:cNvCxnSpPr>
            <a:stCxn id="64" idx="2"/>
          </p:cNvCxnSpPr>
          <p:nvPr/>
        </p:nvCxnSpPr>
        <p:spPr>
          <a:xfrm rot="10800000" flipV="1">
            <a:off x="-6287042" y="4033823"/>
            <a:ext cx="409081" cy="617746"/>
          </a:xfrm>
          <a:prstGeom prst="bentConnector2">
            <a:avLst/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肘形连接符 19">
            <a:extLst>
              <a:ext uri="{FF2B5EF4-FFF2-40B4-BE49-F238E27FC236}">
                <a16:creationId xmlns:a16="http://schemas.microsoft.com/office/drawing/2014/main" id="{B562200F-2712-429E-A2CF-3DECFFD189C4}"/>
              </a:ext>
            </a:extLst>
          </p:cNvPr>
          <p:cNvCxnSpPr>
            <a:cxnSpLocks/>
            <a:endCxn id="64" idx="6"/>
          </p:cNvCxnSpPr>
          <p:nvPr/>
        </p:nvCxnSpPr>
        <p:spPr>
          <a:xfrm rot="10800000" flipV="1">
            <a:off x="-4799310" y="4030444"/>
            <a:ext cx="831461" cy="3380"/>
          </a:xfrm>
          <a:prstGeom prst="bentConnector3">
            <a:avLst>
              <a:gd name="adj1" fmla="val 50000"/>
            </a:avLst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肘形连接符 20">
            <a:extLst>
              <a:ext uri="{FF2B5EF4-FFF2-40B4-BE49-F238E27FC236}">
                <a16:creationId xmlns:a16="http://schemas.microsoft.com/office/drawing/2014/main" id="{AFCC411B-A8F0-491C-AF34-1A0D5F251B55}"/>
              </a:ext>
            </a:extLst>
          </p:cNvPr>
          <p:cNvCxnSpPr/>
          <p:nvPr/>
        </p:nvCxnSpPr>
        <p:spPr>
          <a:xfrm rot="16200000" flipV="1">
            <a:off x="-5461530" y="4674555"/>
            <a:ext cx="606891" cy="410880"/>
          </a:xfrm>
          <a:prstGeom prst="bentConnector3">
            <a:avLst>
              <a:gd name="adj1" fmla="val 1739"/>
            </a:avLst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íšḷíḍê">
            <a:extLst>
              <a:ext uri="{FF2B5EF4-FFF2-40B4-BE49-F238E27FC236}">
                <a16:creationId xmlns:a16="http://schemas.microsoft.com/office/drawing/2014/main" id="{EAFF013B-D2AD-43B9-8329-DF50BF36F5F0}"/>
              </a:ext>
            </a:extLst>
          </p:cNvPr>
          <p:cNvSpPr txBox="1"/>
          <p:nvPr/>
        </p:nvSpPr>
        <p:spPr>
          <a:xfrm>
            <a:off x="-6840944" y="2883765"/>
            <a:ext cx="6697350" cy="50414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SzPct val="25000"/>
            </a:pPr>
            <a:r>
              <a:rPr lang="zh-CN" altLang="en-US" sz="2000" b="1" i="1" dirty="0"/>
              <a:t>安装</a:t>
            </a:r>
            <a:r>
              <a:rPr lang="en-US" altLang="zh-CN" sz="2000" b="1" i="1" dirty="0"/>
              <a:t>JAVA</a:t>
            </a:r>
            <a:r>
              <a:rPr lang="zh-CN" altLang="en-US" sz="2000" b="1" i="1" dirty="0"/>
              <a:t>的步骤</a:t>
            </a:r>
            <a:endParaRPr lang="en-US" sz="2000" b="1" i="1" dirty="0"/>
          </a:p>
        </p:txBody>
      </p:sp>
      <p:grpSp>
        <p:nvGrpSpPr>
          <p:cNvPr id="75" name="îšlïḍe">
            <a:extLst>
              <a:ext uri="{FF2B5EF4-FFF2-40B4-BE49-F238E27FC236}">
                <a16:creationId xmlns:a16="http://schemas.microsoft.com/office/drawing/2014/main" id="{112FB72B-BD9E-45EA-B767-934526C562AE}"/>
              </a:ext>
            </a:extLst>
          </p:cNvPr>
          <p:cNvGrpSpPr/>
          <p:nvPr/>
        </p:nvGrpSpPr>
        <p:grpSpPr>
          <a:xfrm>
            <a:off x="-6842135" y="5793581"/>
            <a:ext cx="1948045" cy="849253"/>
            <a:chOff x="8563614" y="4934816"/>
            <a:chExt cx="2955286" cy="1008290"/>
          </a:xfrm>
        </p:grpSpPr>
        <p:sp>
          <p:nvSpPr>
            <p:cNvPr id="76" name="íšľiḋé">
              <a:extLst>
                <a:ext uri="{FF2B5EF4-FFF2-40B4-BE49-F238E27FC236}">
                  <a16:creationId xmlns:a16="http://schemas.microsoft.com/office/drawing/2014/main" id="{EA8DAE7D-A7AA-4526-B4B8-4F2F1EC0CF3F}"/>
                </a:ext>
              </a:extLst>
            </p:cNvPr>
            <p:cNvSpPr txBox="1"/>
            <p:nvPr/>
          </p:nvSpPr>
          <p:spPr bwMode="auto">
            <a:xfrm>
              <a:off x="8563614" y="4934816"/>
              <a:ext cx="2955286" cy="480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b="1" dirty="0"/>
                <a:t>搜索 下载</a:t>
              </a:r>
              <a:endParaRPr lang="en-US" altLang="zh-CN" b="1" dirty="0"/>
            </a:p>
          </p:txBody>
        </p:sp>
        <p:sp>
          <p:nvSpPr>
            <p:cNvPr id="77" name="íṧḷidé">
              <a:extLst>
                <a:ext uri="{FF2B5EF4-FFF2-40B4-BE49-F238E27FC236}">
                  <a16:creationId xmlns:a16="http://schemas.microsoft.com/office/drawing/2014/main" id="{9D6262AB-BF09-4971-A77C-8D96AB770D38}"/>
                </a:ext>
              </a:extLst>
            </p:cNvPr>
            <p:cNvSpPr/>
            <p:nvPr/>
          </p:nvSpPr>
          <p:spPr bwMode="auto">
            <a:xfrm>
              <a:off x="8563614" y="5415115"/>
              <a:ext cx="2955286" cy="5279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zh-CN" altLang="en-US" sz="1100" dirty="0"/>
                <a:t>在</a:t>
              </a:r>
              <a:r>
                <a:rPr lang="en-US" altLang="zh-CN" sz="1100" dirty="0"/>
                <a:t>Ubuntu</a:t>
              </a:r>
              <a:r>
                <a:rPr lang="zh-CN" altLang="en-US" sz="1100" dirty="0"/>
                <a:t>中直接使用浏览器</a:t>
              </a:r>
              <a:endParaRPr lang="en-US" altLang="zh-CN" sz="1100" dirty="0"/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Or</a:t>
              </a:r>
              <a:r>
                <a:rPr lang="zh-CN" altLang="en-US" sz="1100" dirty="0"/>
                <a:t>把下好的拖进</a:t>
              </a:r>
              <a:r>
                <a:rPr lang="en-US" altLang="zh-CN" sz="1100" dirty="0"/>
                <a:t>Ubuntu(</a:t>
              </a:r>
              <a:r>
                <a:rPr lang="zh-CN" altLang="en-US" sz="1100" dirty="0"/>
                <a:t>虚拟机</a:t>
              </a:r>
              <a:r>
                <a:rPr lang="en-US" altLang="zh-CN" sz="1100" dirty="0"/>
                <a:t>)</a:t>
              </a:r>
            </a:p>
          </p:txBody>
        </p:sp>
      </p:grpSp>
      <p:grpSp>
        <p:nvGrpSpPr>
          <p:cNvPr id="78" name="î$ļíḋé">
            <a:extLst>
              <a:ext uri="{FF2B5EF4-FFF2-40B4-BE49-F238E27FC236}">
                <a16:creationId xmlns:a16="http://schemas.microsoft.com/office/drawing/2014/main" id="{F6311A23-CE7A-4F25-A93C-6C9426C80E45}"/>
              </a:ext>
            </a:extLst>
          </p:cNvPr>
          <p:cNvGrpSpPr/>
          <p:nvPr/>
        </p:nvGrpSpPr>
        <p:grpSpPr>
          <a:xfrm>
            <a:off x="-4665126" y="5793583"/>
            <a:ext cx="1948047" cy="849256"/>
            <a:chOff x="8737934" y="4934814"/>
            <a:chExt cx="2955288" cy="1008293"/>
          </a:xfrm>
        </p:grpSpPr>
        <p:sp>
          <p:nvSpPr>
            <p:cNvPr id="79" name="ïṡ1îḑê">
              <a:extLst>
                <a:ext uri="{FF2B5EF4-FFF2-40B4-BE49-F238E27FC236}">
                  <a16:creationId xmlns:a16="http://schemas.microsoft.com/office/drawing/2014/main" id="{7446C965-35AF-4C41-A752-86F29C1140B6}"/>
                </a:ext>
              </a:extLst>
            </p:cNvPr>
            <p:cNvSpPr txBox="1"/>
            <p:nvPr/>
          </p:nvSpPr>
          <p:spPr bwMode="auto">
            <a:xfrm>
              <a:off x="8737934" y="4934814"/>
              <a:ext cx="2955285" cy="480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b="1" dirty="0"/>
                <a:t>解压</a:t>
              </a:r>
              <a:endParaRPr lang="en-US" altLang="zh-CN" b="1" dirty="0"/>
            </a:p>
          </p:txBody>
        </p:sp>
        <p:sp>
          <p:nvSpPr>
            <p:cNvPr id="80" name="iṩliḋe">
              <a:extLst>
                <a:ext uri="{FF2B5EF4-FFF2-40B4-BE49-F238E27FC236}">
                  <a16:creationId xmlns:a16="http://schemas.microsoft.com/office/drawing/2014/main" id="{6B70E9CF-380F-4B18-8376-EFFED7701E5A}"/>
                </a:ext>
              </a:extLst>
            </p:cNvPr>
            <p:cNvSpPr/>
            <p:nvPr/>
          </p:nvSpPr>
          <p:spPr bwMode="auto">
            <a:xfrm>
              <a:off x="8737934" y="5415115"/>
              <a:ext cx="2955288" cy="527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solidFill>
                    <a:schemeClr val="accent1"/>
                  </a:solidFill>
                </a:rPr>
                <a:t>tar -</a:t>
              </a:r>
              <a:r>
                <a:rPr lang="en-US" altLang="zh-CN" sz="1100" dirty="0" err="1">
                  <a:solidFill>
                    <a:schemeClr val="accent1"/>
                  </a:solidFill>
                </a:rPr>
                <a:t>zxvf</a:t>
              </a:r>
              <a:r>
                <a:rPr lang="en-US" altLang="zh-CN" sz="1100" dirty="0">
                  <a:solidFill>
                    <a:schemeClr val="accent1"/>
                  </a:solidFill>
                </a:rPr>
                <a:t> java-jdk*****.jar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solidFill>
                    <a:schemeClr val="accent1"/>
                  </a:solidFill>
                </a:rPr>
                <a:t>or</a:t>
              </a:r>
              <a:r>
                <a:rPr lang="zh-CN" altLang="en-US" sz="1100" dirty="0">
                  <a:solidFill>
                    <a:schemeClr val="accent1"/>
                  </a:solidFill>
                </a:rPr>
                <a:t>左键！右键！</a:t>
              </a:r>
              <a:endParaRPr lang="en-US" altLang="zh-CN" sz="11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84" name="išlïḓe">
            <a:extLst>
              <a:ext uri="{FF2B5EF4-FFF2-40B4-BE49-F238E27FC236}">
                <a16:creationId xmlns:a16="http://schemas.microsoft.com/office/drawing/2014/main" id="{324EDA68-F5C4-4602-9244-45BC70845A31}"/>
              </a:ext>
            </a:extLst>
          </p:cNvPr>
          <p:cNvSpPr/>
          <p:nvPr/>
        </p:nvSpPr>
        <p:spPr>
          <a:xfrm>
            <a:off x="-4933066" y="4640590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解压</a:t>
            </a:r>
          </a:p>
        </p:txBody>
      </p:sp>
      <p:pic>
        <p:nvPicPr>
          <p:cNvPr id="85" name="图形 84">
            <a:extLst>
              <a:ext uri="{FF2B5EF4-FFF2-40B4-BE49-F238E27FC236}">
                <a16:creationId xmlns:a16="http://schemas.microsoft.com/office/drawing/2014/main" id="{5A9BCF80-F9FF-45FC-94D7-1FC7F9515556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4664392" y="4774311"/>
            <a:ext cx="532037" cy="532037"/>
          </a:xfrm>
          <a:prstGeom prst="rect">
            <a:avLst/>
          </a:prstGeom>
        </p:spPr>
      </p:pic>
      <p:sp>
        <p:nvSpPr>
          <p:cNvPr id="86" name="íṣ1ídè">
            <a:extLst>
              <a:ext uri="{FF2B5EF4-FFF2-40B4-BE49-F238E27FC236}">
                <a16:creationId xmlns:a16="http://schemas.microsoft.com/office/drawing/2014/main" id="{4C4EE859-FAF2-455F-B5A1-FB28F25213F2}"/>
              </a:ext>
            </a:extLst>
          </p:cNvPr>
          <p:cNvSpPr/>
          <p:nvPr/>
        </p:nvSpPr>
        <p:spPr>
          <a:xfrm>
            <a:off x="-3953521" y="3494498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解压</a:t>
            </a:r>
          </a:p>
        </p:txBody>
      </p:sp>
      <p:pic>
        <p:nvPicPr>
          <p:cNvPr id="87" name="图形 86">
            <a:extLst>
              <a:ext uri="{FF2B5EF4-FFF2-40B4-BE49-F238E27FC236}">
                <a16:creationId xmlns:a16="http://schemas.microsoft.com/office/drawing/2014/main" id="{491759A9-8874-4419-962B-0FB675EFD63A}"/>
              </a:ext>
            </a:extLst>
          </p:cNvPr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3680385" y="3622522"/>
            <a:ext cx="532037" cy="532037"/>
          </a:xfrm>
          <a:prstGeom prst="rect">
            <a:avLst/>
          </a:prstGeom>
        </p:spPr>
      </p:pic>
      <p:cxnSp>
        <p:nvCxnSpPr>
          <p:cNvPr id="93" name="肘形连接符 21">
            <a:extLst>
              <a:ext uri="{FF2B5EF4-FFF2-40B4-BE49-F238E27FC236}">
                <a16:creationId xmlns:a16="http://schemas.microsoft.com/office/drawing/2014/main" id="{21625A56-21A7-4C18-841E-31B8D86258A1}"/>
              </a:ext>
            </a:extLst>
          </p:cNvPr>
          <p:cNvCxnSpPr>
            <a:cxnSpLocks/>
          </p:cNvCxnSpPr>
          <p:nvPr/>
        </p:nvCxnSpPr>
        <p:spPr>
          <a:xfrm rot="10800000" flipV="1">
            <a:off x="-2876871" y="4030444"/>
            <a:ext cx="856963" cy="3380"/>
          </a:xfrm>
          <a:prstGeom prst="bentConnector3">
            <a:avLst>
              <a:gd name="adj1" fmla="val 50000"/>
            </a:avLst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肘形连接符 22">
            <a:extLst>
              <a:ext uri="{FF2B5EF4-FFF2-40B4-BE49-F238E27FC236}">
                <a16:creationId xmlns:a16="http://schemas.microsoft.com/office/drawing/2014/main" id="{4479A28D-009B-4CDA-A4A2-E6B06343EC6E}"/>
              </a:ext>
            </a:extLst>
          </p:cNvPr>
          <p:cNvCxnSpPr>
            <a:cxnSpLocks/>
          </p:cNvCxnSpPr>
          <p:nvPr/>
        </p:nvCxnSpPr>
        <p:spPr>
          <a:xfrm rot="10800000">
            <a:off x="-3856417" y="5179917"/>
            <a:ext cx="851714" cy="3527"/>
          </a:xfrm>
          <a:prstGeom prst="bentConnector3">
            <a:avLst>
              <a:gd name="adj1" fmla="val 50000"/>
            </a:avLst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直接连接符 94">
            <a:extLst>
              <a:ext uri="{FF2B5EF4-FFF2-40B4-BE49-F238E27FC236}">
                <a16:creationId xmlns:a16="http://schemas.microsoft.com/office/drawing/2014/main" id="{75251BC1-4D27-42B3-96AD-B09B86DD18A3}"/>
              </a:ext>
            </a:extLst>
          </p:cNvPr>
          <p:cNvCxnSpPr>
            <a:cxnSpLocks/>
          </p:cNvCxnSpPr>
          <p:nvPr/>
        </p:nvCxnSpPr>
        <p:spPr>
          <a:xfrm>
            <a:off x="-921416" y="4030444"/>
            <a:ext cx="775820" cy="0"/>
          </a:xfrm>
          <a:prstGeom prst="line">
            <a:avLst/>
          </a:prstGeom>
          <a:ln w="28575" cmpd="sng">
            <a:solidFill>
              <a:schemeClr val="bg1">
                <a:lumMod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6" name="ïṩľïdé">
            <a:extLst>
              <a:ext uri="{FF2B5EF4-FFF2-40B4-BE49-F238E27FC236}">
                <a16:creationId xmlns:a16="http://schemas.microsoft.com/office/drawing/2014/main" id="{00D388DC-89E8-4EA5-BDB0-349E24F34586}"/>
              </a:ext>
            </a:extLst>
          </p:cNvPr>
          <p:cNvGrpSpPr/>
          <p:nvPr/>
        </p:nvGrpSpPr>
        <p:grpSpPr>
          <a:xfrm>
            <a:off x="-2570037" y="5576265"/>
            <a:ext cx="2422060" cy="1066564"/>
            <a:chOff x="9219108" y="5109917"/>
            <a:chExt cx="2955286" cy="833191"/>
          </a:xfrm>
        </p:grpSpPr>
        <p:sp>
          <p:nvSpPr>
            <p:cNvPr id="97" name="îŝļïḋê">
              <a:extLst>
                <a:ext uri="{FF2B5EF4-FFF2-40B4-BE49-F238E27FC236}">
                  <a16:creationId xmlns:a16="http://schemas.microsoft.com/office/drawing/2014/main" id="{0058EC53-F873-430A-9CA9-D333986380A8}"/>
                </a:ext>
              </a:extLst>
            </p:cNvPr>
            <p:cNvSpPr txBox="1"/>
            <p:nvPr/>
          </p:nvSpPr>
          <p:spPr bwMode="auto">
            <a:xfrm>
              <a:off x="9219108" y="5109917"/>
              <a:ext cx="2955286" cy="305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b="1" dirty="0"/>
                <a:t>配置</a:t>
              </a:r>
              <a:endParaRPr lang="en-US" altLang="zh-CN" b="1" dirty="0"/>
            </a:p>
          </p:txBody>
        </p:sp>
        <p:sp>
          <p:nvSpPr>
            <p:cNvPr id="98" name="ïṥlîḑê">
              <a:extLst>
                <a:ext uri="{FF2B5EF4-FFF2-40B4-BE49-F238E27FC236}">
                  <a16:creationId xmlns:a16="http://schemas.microsoft.com/office/drawing/2014/main" id="{B527DF29-CFA0-4D2A-B045-1B616C96985D}"/>
                </a:ext>
              </a:extLst>
            </p:cNvPr>
            <p:cNvSpPr/>
            <p:nvPr/>
          </p:nvSpPr>
          <p:spPr bwMode="auto">
            <a:xfrm>
              <a:off x="9219108" y="5415117"/>
              <a:ext cx="2955286" cy="5279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800" dirty="0"/>
                <a:t>vim /</a:t>
              </a:r>
              <a:r>
                <a:rPr lang="en-US" altLang="zh-CN" sz="800" dirty="0" err="1"/>
                <a:t>etc</a:t>
              </a:r>
              <a:r>
                <a:rPr lang="en-US" altLang="zh-CN" sz="800" dirty="0"/>
                <a:t>/profile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800" dirty="0"/>
                <a:t>export JAVA_HOME=/jdk1.7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800" dirty="0"/>
                <a:t>export PATH=$PATH:$JAVA_HOME/bin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800" dirty="0"/>
                <a:t>source /</a:t>
              </a:r>
              <a:r>
                <a:rPr lang="en-US" altLang="zh-CN" sz="800" dirty="0" err="1"/>
                <a:t>etc</a:t>
              </a:r>
              <a:r>
                <a:rPr lang="en-US" altLang="zh-CN" sz="800" dirty="0"/>
                <a:t>/profile</a:t>
              </a:r>
            </a:p>
          </p:txBody>
        </p:sp>
      </p:grpSp>
      <p:sp>
        <p:nvSpPr>
          <p:cNvPr id="99" name="islíďê">
            <a:extLst>
              <a:ext uri="{FF2B5EF4-FFF2-40B4-BE49-F238E27FC236}">
                <a16:creationId xmlns:a16="http://schemas.microsoft.com/office/drawing/2014/main" id="{6BBAC889-021F-4FC1-B0F7-05BA0D188B28}"/>
              </a:ext>
            </a:extLst>
          </p:cNvPr>
          <p:cNvSpPr>
            <a:spLocks/>
          </p:cNvSpPr>
          <p:nvPr/>
        </p:nvSpPr>
        <p:spPr>
          <a:xfrm>
            <a:off x="-2000067" y="3488215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配置</a:t>
            </a:r>
          </a:p>
        </p:txBody>
      </p:sp>
      <p:pic>
        <p:nvPicPr>
          <p:cNvPr id="100" name="图形 99">
            <a:extLst>
              <a:ext uri="{FF2B5EF4-FFF2-40B4-BE49-F238E27FC236}">
                <a16:creationId xmlns:a16="http://schemas.microsoft.com/office/drawing/2014/main" id="{30152334-74CC-4092-8743-7D8928546BA8}"/>
              </a:ext>
            </a:extLst>
          </p:cNvPr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1719189" y="3628242"/>
            <a:ext cx="532037" cy="532037"/>
          </a:xfrm>
          <a:prstGeom prst="rect">
            <a:avLst/>
          </a:prstGeom>
        </p:spPr>
      </p:pic>
      <p:sp>
        <p:nvSpPr>
          <p:cNvPr id="101" name="íṥľíďê">
            <a:extLst>
              <a:ext uri="{FF2B5EF4-FFF2-40B4-BE49-F238E27FC236}">
                <a16:creationId xmlns:a16="http://schemas.microsoft.com/office/drawing/2014/main" id="{C5650A11-AAD0-425D-B5F7-F7AE81E8ABF2}"/>
              </a:ext>
            </a:extLst>
          </p:cNvPr>
          <p:cNvSpPr/>
          <p:nvPr/>
        </p:nvSpPr>
        <p:spPr>
          <a:xfrm>
            <a:off x="-2992388" y="4640590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配置</a:t>
            </a:r>
          </a:p>
        </p:txBody>
      </p:sp>
      <p:pic>
        <p:nvPicPr>
          <p:cNvPr id="102" name="图形 101">
            <a:extLst>
              <a:ext uri="{FF2B5EF4-FFF2-40B4-BE49-F238E27FC236}">
                <a16:creationId xmlns:a16="http://schemas.microsoft.com/office/drawing/2014/main" id="{7408F065-12D1-4B26-A125-CDA4A4A70707}"/>
              </a:ext>
            </a:extLst>
          </p:cNvPr>
          <p:cNvPicPr>
            <a:picLocks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-2719082" y="4793254"/>
            <a:ext cx="532037" cy="532037"/>
          </a:xfrm>
          <a:prstGeom prst="rect">
            <a:avLst/>
          </a:prstGeom>
        </p:spPr>
      </p:pic>
      <p:cxnSp>
        <p:nvCxnSpPr>
          <p:cNvPr id="103" name="直接连接符 102">
            <a:extLst>
              <a:ext uri="{FF2B5EF4-FFF2-40B4-BE49-F238E27FC236}">
                <a16:creationId xmlns:a16="http://schemas.microsoft.com/office/drawing/2014/main" id="{0A94CFB2-1A1C-46DE-A203-DE367D6B4A5F}"/>
              </a:ext>
            </a:extLst>
          </p:cNvPr>
          <p:cNvCxnSpPr>
            <a:cxnSpLocks/>
          </p:cNvCxnSpPr>
          <p:nvPr/>
        </p:nvCxnSpPr>
        <p:spPr>
          <a:xfrm>
            <a:off x="-1913737" y="5170430"/>
            <a:ext cx="775820" cy="0"/>
          </a:xfrm>
          <a:prstGeom prst="line">
            <a:avLst/>
          </a:prstGeom>
          <a:ln w="28575" cmpd="sng">
            <a:solidFill>
              <a:schemeClr val="bg1">
                <a:lumMod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81417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000" dirty="0"/>
              <a:t>Hadoop</a:t>
            </a:r>
            <a:r>
              <a:rPr lang="zh-CN" altLang="en-US" sz="2000" dirty="0"/>
              <a:t>的部署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2</a:t>
            </a:fld>
            <a:endParaRPr lang="zh-CN" altLang="en-US"/>
          </a:p>
        </p:txBody>
      </p:sp>
      <p:sp>
        <p:nvSpPr>
          <p:cNvPr id="195" name="iṧḻîďè">
            <a:extLst>
              <a:ext uri="{FF2B5EF4-FFF2-40B4-BE49-F238E27FC236}">
                <a16:creationId xmlns:a16="http://schemas.microsoft.com/office/drawing/2014/main" id="{6FC8272D-4563-47EB-B741-E738A21C2623}"/>
              </a:ext>
            </a:extLst>
          </p:cNvPr>
          <p:cNvSpPr/>
          <p:nvPr/>
        </p:nvSpPr>
        <p:spPr bwMode="auto">
          <a:xfrm>
            <a:off x="4330016" y="2533248"/>
            <a:ext cx="1331348" cy="278440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搞定！</a:t>
            </a:r>
            <a:endParaRPr lang="en-US" altLang="zh-CN" b="1" dirty="0"/>
          </a:p>
        </p:txBody>
      </p:sp>
      <p:sp>
        <p:nvSpPr>
          <p:cNvPr id="196" name="îŝḻiḋé">
            <a:extLst>
              <a:ext uri="{FF2B5EF4-FFF2-40B4-BE49-F238E27FC236}">
                <a16:creationId xmlns:a16="http://schemas.microsoft.com/office/drawing/2014/main" id="{C05C75D7-4258-49B9-958F-F2EEF0B840E0}"/>
              </a:ext>
            </a:extLst>
          </p:cNvPr>
          <p:cNvSpPr/>
          <p:nvPr/>
        </p:nvSpPr>
        <p:spPr bwMode="auto">
          <a:xfrm>
            <a:off x="4550521" y="2267238"/>
            <a:ext cx="1331348" cy="278440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测试</a:t>
            </a:r>
            <a:endParaRPr lang="en-US" altLang="zh-CN" b="1" dirty="0"/>
          </a:p>
        </p:txBody>
      </p:sp>
      <p:sp>
        <p:nvSpPr>
          <p:cNvPr id="197" name="íṥḷíďê">
            <a:extLst>
              <a:ext uri="{FF2B5EF4-FFF2-40B4-BE49-F238E27FC236}">
                <a16:creationId xmlns:a16="http://schemas.microsoft.com/office/drawing/2014/main" id="{D4FCC7AE-5767-4EC4-BB68-B94457D3AE6D}"/>
              </a:ext>
            </a:extLst>
          </p:cNvPr>
          <p:cNvSpPr/>
          <p:nvPr/>
        </p:nvSpPr>
        <p:spPr bwMode="auto">
          <a:xfrm>
            <a:off x="4766335" y="2001227"/>
            <a:ext cx="1331348" cy="278440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/>
              <a:t>配置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8" name="ïś1ïḓè">
            <a:extLst>
              <a:ext uri="{FF2B5EF4-FFF2-40B4-BE49-F238E27FC236}">
                <a16:creationId xmlns:a16="http://schemas.microsoft.com/office/drawing/2014/main" id="{F32E844B-E27C-4A92-9B60-95E4AD88D81F}"/>
              </a:ext>
            </a:extLst>
          </p:cNvPr>
          <p:cNvSpPr/>
          <p:nvPr/>
        </p:nvSpPr>
        <p:spPr bwMode="auto">
          <a:xfrm>
            <a:off x="4986372" y="1735216"/>
            <a:ext cx="1331348" cy="278440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 dirty="0"/>
              <a:t>安装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9" name="îśļïḍè">
            <a:extLst>
              <a:ext uri="{FF2B5EF4-FFF2-40B4-BE49-F238E27FC236}">
                <a16:creationId xmlns:a16="http://schemas.microsoft.com/office/drawing/2014/main" id="{F812BB55-77DE-4E23-95E6-156A22FAD363}"/>
              </a:ext>
            </a:extLst>
          </p:cNvPr>
          <p:cNvSpPr/>
          <p:nvPr/>
        </p:nvSpPr>
        <p:spPr bwMode="auto">
          <a:xfrm>
            <a:off x="5191586" y="1469205"/>
            <a:ext cx="1331348" cy="278440"/>
          </a:xfrm>
          <a:prstGeom prst="parallelogram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>
                <a:solidFill>
                  <a:schemeClr val="bg1"/>
                </a:solidFill>
              </a:rPr>
              <a:t>配置</a:t>
            </a:r>
            <a:r>
              <a:rPr lang="en-US" altLang="zh-CN" sz="1750" b="1" dirty="0">
                <a:solidFill>
                  <a:schemeClr val="bg1"/>
                </a:solidFill>
              </a:rPr>
              <a:t>JAVA</a:t>
            </a:r>
          </a:p>
        </p:txBody>
      </p:sp>
      <p:sp>
        <p:nvSpPr>
          <p:cNvPr id="200" name="ï$1íḍé">
            <a:extLst>
              <a:ext uri="{FF2B5EF4-FFF2-40B4-BE49-F238E27FC236}">
                <a16:creationId xmlns:a16="http://schemas.microsoft.com/office/drawing/2014/main" id="{48245F16-84E7-4201-9485-85B5E5B15ECD}"/>
              </a:ext>
            </a:extLst>
          </p:cNvPr>
          <p:cNvSpPr/>
          <p:nvPr/>
        </p:nvSpPr>
        <p:spPr bwMode="auto">
          <a:xfrm>
            <a:off x="5404395" y="1203194"/>
            <a:ext cx="1331348" cy="278440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安装</a:t>
            </a:r>
            <a:r>
              <a:rPr lang="en-US" altLang="zh-CN" b="1" dirty="0"/>
              <a:t>JAVA</a:t>
            </a:r>
          </a:p>
        </p:txBody>
      </p:sp>
      <p:sp>
        <p:nvSpPr>
          <p:cNvPr id="201" name="îṥľïďê">
            <a:extLst>
              <a:ext uri="{FF2B5EF4-FFF2-40B4-BE49-F238E27FC236}">
                <a16:creationId xmlns:a16="http://schemas.microsoft.com/office/drawing/2014/main" id="{920DFBAA-02E5-4206-86B0-FE10F93A7509}"/>
              </a:ext>
            </a:extLst>
          </p:cNvPr>
          <p:cNvSpPr/>
          <p:nvPr/>
        </p:nvSpPr>
        <p:spPr bwMode="auto">
          <a:xfrm>
            <a:off x="4159628" y="1801780"/>
            <a:ext cx="1530485" cy="506994"/>
          </a:xfrm>
          <a:custGeom>
            <a:avLst/>
            <a:gdLst>
              <a:gd name="T0" fmla="*/ 179 w 203"/>
              <a:gd name="T1" fmla="*/ 82 h 82"/>
              <a:gd name="T2" fmla="*/ 203 w 203"/>
              <a:gd name="T3" fmla="*/ 29 h 82"/>
              <a:gd name="T4" fmla="*/ 65 w 203"/>
              <a:gd name="T5" fmla="*/ 27 h 82"/>
              <a:gd name="T6" fmla="*/ 59 w 203"/>
              <a:gd name="T7" fmla="*/ 0 h 82"/>
              <a:gd name="T8" fmla="*/ 59 w 203"/>
              <a:gd name="T9" fmla="*/ 0 h 82"/>
              <a:gd name="T10" fmla="*/ 0 w 203"/>
              <a:gd name="T11" fmla="*/ 80 h 82"/>
              <a:gd name="T12" fmla="*/ 61 w 203"/>
              <a:gd name="T13" fmla="*/ 82 h 82"/>
              <a:gd name="T14" fmla="*/ 179 w 203"/>
              <a:gd name="T15" fmla="*/ 8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3" h="82">
                <a:moveTo>
                  <a:pt x="179" y="82"/>
                </a:moveTo>
                <a:lnTo>
                  <a:pt x="203" y="29"/>
                </a:lnTo>
                <a:lnTo>
                  <a:pt x="65" y="27"/>
                </a:lnTo>
                <a:lnTo>
                  <a:pt x="59" y="0"/>
                </a:lnTo>
                <a:lnTo>
                  <a:pt x="59" y="0"/>
                </a:lnTo>
                <a:lnTo>
                  <a:pt x="0" y="80"/>
                </a:lnTo>
                <a:lnTo>
                  <a:pt x="61" y="82"/>
                </a:lnTo>
                <a:lnTo>
                  <a:pt x="179" y="8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2" name="i$ḻíḋè">
            <a:extLst>
              <a:ext uri="{FF2B5EF4-FFF2-40B4-BE49-F238E27FC236}">
                <a16:creationId xmlns:a16="http://schemas.microsoft.com/office/drawing/2014/main" id="{430BE7EB-B6F0-4F05-80EA-1F517165029F}"/>
              </a:ext>
            </a:extLst>
          </p:cNvPr>
          <p:cNvSpPr/>
          <p:nvPr/>
        </p:nvSpPr>
        <p:spPr bwMode="auto">
          <a:xfrm>
            <a:off x="5309947" y="1203194"/>
            <a:ext cx="571923" cy="101297"/>
          </a:xfrm>
          <a:prstGeom prst="triangle">
            <a:avLst>
              <a:gd name="adj" fmla="val 14726"/>
            </a:avLst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3" name="işľiḋe">
            <a:extLst>
              <a:ext uri="{FF2B5EF4-FFF2-40B4-BE49-F238E27FC236}">
                <a16:creationId xmlns:a16="http://schemas.microsoft.com/office/drawing/2014/main" id="{E4DECB97-43D1-4D26-8C48-41447675AE79}"/>
              </a:ext>
            </a:extLst>
          </p:cNvPr>
          <p:cNvSpPr/>
          <p:nvPr/>
        </p:nvSpPr>
        <p:spPr bwMode="auto">
          <a:xfrm>
            <a:off x="3527675" y="1134031"/>
            <a:ext cx="2354194" cy="445616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4" name="iś1íďé">
            <a:extLst>
              <a:ext uri="{FF2B5EF4-FFF2-40B4-BE49-F238E27FC236}">
                <a16:creationId xmlns:a16="http://schemas.microsoft.com/office/drawing/2014/main" id="{6E7EA96A-F20A-4912-AC31-63A0F19E66DE}"/>
              </a:ext>
            </a:extLst>
          </p:cNvPr>
          <p:cNvSpPr/>
          <p:nvPr/>
        </p:nvSpPr>
        <p:spPr bwMode="auto">
          <a:xfrm>
            <a:off x="3304368" y="1400042"/>
            <a:ext cx="2354194" cy="445616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5" name="ïŝlíḋe">
            <a:extLst>
              <a:ext uri="{FF2B5EF4-FFF2-40B4-BE49-F238E27FC236}">
                <a16:creationId xmlns:a16="http://schemas.microsoft.com/office/drawing/2014/main" id="{66D30D6F-26C9-4C2C-BC01-900AC07DC57E}"/>
              </a:ext>
            </a:extLst>
          </p:cNvPr>
          <p:cNvSpPr/>
          <p:nvPr/>
        </p:nvSpPr>
        <p:spPr bwMode="auto">
          <a:xfrm>
            <a:off x="3078259" y="1666053"/>
            <a:ext cx="2354194" cy="445616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6" name="îSliďè">
            <a:extLst>
              <a:ext uri="{FF2B5EF4-FFF2-40B4-BE49-F238E27FC236}">
                <a16:creationId xmlns:a16="http://schemas.microsoft.com/office/drawing/2014/main" id="{2F6D5554-EACD-4DDD-892F-2E5F97A9C421}"/>
              </a:ext>
            </a:extLst>
          </p:cNvPr>
          <p:cNvSpPr/>
          <p:nvPr/>
        </p:nvSpPr>
        <p:spPr bwMode="auto">
          <a:xfrm>
            <a:off x="2854965" y="1932064"/>
            <a:ext cx="2354194" cy="445616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7" name="îSliďé">
            <a:extLst>
              <a:ext uri="{FF2B5EF4-FFF2-40B4-BE49-F238E27FC236}">
                <a16:creationId xmlns:a16="http://schemas.microsoft.com/office/drawing/2014/main" id="{2E278F3F-C8D8-4E2A-A3EA-29ADCF1A02AA}"/>
              </a:ext>
            </a:extLst>
          </p:cNvPr>
          <p:cNvSpPr/>
          <p:nvPr/>
        </p:nvSpPr>
        <p:spPr bwMode="auto">
          <a:xfrm>
            <a:off x="2631578" y="2198075"/>
            <a:ext cx="2354194" cy="445616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8" name="îs1iďé">
            <a:extLst>
              <a:ext uri="{FF2B5EF4-FFF2-40B4-BE49-F238E27FC236}">
                <a16:creationId xmlns:a16="http://schemas.microsoft.com/office/drawing/2014/main" id="{EB74D0C2-5677-4F3F-A043-44D01A3F3D48}"/>
              </a:ext>
            </a:extLst>
          </p:cNvPr>
          <p:cNvSpPr/>
          <p:nvPr/>
        </p:nvSpPr>
        <p:spPr bwMode="auto">
          <a:xfrm>
            <a:off x="2408257" y="2464086"/>
            <a:ext cx="2354194" cy="445616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9" name="ïṣḻïḋe">
            <a:extLst>
              <a:ext uri="{FF2B5EF4-FFF2-40B4-BE49-F238E27FC236}">
                <a16:creationId xmlns:a16="http://schemas.microsoft.com/office/drawing/2014/main" id="{7709F84E-C33F-462F-B538-51CB71C9284E}"/>
              </a:ext>
            </a:extLst>
          </p:cNvPr>
          <p:cNvSpPr/>
          <p:nvPr/>
        </p:nvSpPr>
        <p:spPr bwMode="auto">
          <a:xfrm>
            <a:off x="3900090" y="1365660"/>
            <a:ext cx="154527" cy="154312"/>
          </a:xfrm>
          <a:custGeom>
            <a:avLst/>
            <a:gdLst>
              <a:gd name="T0" fmla="*/ 400 w 11264"/>
              <a:gd name="T1" fmla="*/ 7099 h 11264"/>
              <a:gd name="T2" fmla="*/ 4165 w 11264"/>
              <a:gd name="T3" fmla="*/ 7099 h 11264"/>
              <a:gd name="T4" fmla="*/ 4165 w 11264"/>
              <a:gd name="T5" fmla="*/ 10864 h 11264"/>
              <a:gd name="T6" fmla="*/ 4565 w 11264"/>
              <a:gd name="T7" fmla="*/ 11264 h 11264"/>
              <a:gd name="T8" fmla="*/ 6699 w 11264"/>
              <a:gd name="T9" fmla="*/ 11264 h 11264"/>
              <a:gd name="T10" fmla="*/ 7099 w 11264"/>
              <a:gd name="T11" fmla="*/ 10864 h 11264"/>
              <a:gd name="T12" fmla="*/ 7099 w 11264"/>
              <a:gd name="T13" fmla="*/ 7099 h 11264"/>
              <a:gd name="T14" fmla="*/ 10864 w 11264"/>
              <a:gd name="T15" fmla="*/ 7099 h 11264"/>
              <a:gd name="T16" fmla="*/ 11264 w 11264"/>
              <a:gd name="T17" fmla="*/ 6699 h 11264"/>
              <a:gd name="T18" fmla="*/ 11264 w 11264"/>
              <a:gd name="T19" fmla="*/ 4565 h 11264"/>
              <a:gd name="T20" fmla="*/ 10864 w 11264"/>
              <a:gd name="T21" fmla="*/ 4165 h 11264"/>
              <a:gd name="T22" fmla="*/ 7099 w 11264"/>
              <a:gd name="T23" fmla="*/ 4165 h 11264"/>
              <a:gd name="T24" fmla="*/ 7099 w 11264"/>
              <a:gd name="T25" fmla="*/ 400 h 11264"/>
              <a:gd name="T26" fmla="*/ 6699 w 11264"/>
              <a:gd name="T27" fmla="*/ 0 h 11264"/>
              <a:gd name="T28" fmla="*/ 4565 w 11264"/>
              <a:gd name="T29" fmla="*/ 0 h 11264"/>
              <a:gd name="T30" fmla="*/ 4165 w 11264"/>
              <a:gd name="T31" fmla="*/ 400 h 11264"/>
              <a:gd name="T32" fmla="*/ 4165 w 11264"/>
              <a:gd name="T33" fmla="*/ 4165 h 11264"/>
              <a:gd name="T34" fmla="*/ 400 w 11264"/>
              <a:gd name="T35" fmla="*/ 4165 h 11264"/>
              <a:gd name="T36" fmla="*/ 0 w 11264"/>
              <a:gd name="T37" fmla="*/ 4565 h 11264"/>
              <a:gd name="T38" fmla="*/ 0 w 11264"/>
              <a:gd name="T39" fmla="*/ 6699 h 11264"/>
              <a:gd name="T40" fmla="*/ 400 w 11264"/>
              <a:gd name="T41" fmla="*/ 7099 h 11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264" h="11264">
                <a:moveTo>
                  <a:pt x="400" y="7099"/>
                </a:moveTo>
                <a:lnTo>
                  <a:pt x="4165" y="7099"/>
                </a:lnTo>
                <a:lnTo>
                  <a:pt x="4165" y="10864"/>
                </a:lnTo>
                <a:cubicBezTo>
                  <a:pt x="4165" y="11085"/>
                  <a:pt x="4344" y="11264"/>
                  <a:pt x="4565" y="11264"/>
                </a:cubicBezTo>
                <a:lnTo>
                  <a:pt x="6699" y="11264"/>
                </a:lnTo>
                <a:cubicBezTo>
                  <a:pt x="6920" y="11264"/>
                  <a:pt x="7099" y="11085"/>
                  <a:pt x="7099" y="10864"/>
                </a:cubicBezTo>
                <a:lnTo>
                  <a:pt x="7099" y="7099"/>
                </a:lnTo>
                <a:lnTo>
                  <a:pt x="10864" y="7099"/>
                </a:lnTo>
                <a:cubicBezTo>
                  <a:pt x="11085" y="7099"/>
                  <a:pt x="11264" y="6920"/>
                  <a:pt x="11264" y="6699"/>
                </a:cubicBezTo>
                <a:lnTo>
                  <a:pt x="11264" y="4565"/>
                </a:lnTo>
                <a:cubicBezTo>
                  <a:pt x="11264" y="4344"/>
                  <a:pt x="11085" y="4165"/>
                  <a:pt x="10864" y="4165"/>
                </a:cubicBezTo>
                <a:lnTo>
                  <a:pt x="7099" y="4165"/>
                </a:lnTo>
                <a:lnTo>
                  <a:pt x="7099" y="400"/>
                </a:lnTo>
                <a:cubicBezTo>
                  <a:pt x="7099" y="179"/>
                  <a:pt x="6920" y="0"/>
                  <a:pt x="6699" y="0"/>
                </a:cubicBezTo>
                <a:lnTo>
                  <a:pt x="4565" y="0"/>
                </a:lnTo>
                <a:cubicBezTo>
                  <a:pt x="4344" y="0"/>
                  <a:pt x="4165" y="179"/>
                  <a:pt x="4165" y="400"/>
                </a:cubicBezTo>
                <a:lnTo>
                  <a:pt x="4165" y="4165"/>
                </a:lnTo>
                <a:lnTo>
                  <a:pt x="400" y="4165"/>
                </a:lnTo>
                <a:cubicBezTo>
                  <a:pt x="179" y="4165"/>
                  <a:pt x="0" y="4344"/>
                  <a:pt x="0" y="4565"/>
                </a:cubicBezTo>
                <a:lnTo>
                  <a:pt x="0" y="6699"/>
                </a:lnTo>
                <a:cubicBezTo>
                  <a:pt x="0" y="6920"/>
                  <a:pt x="179" y="7099"/>
                  <a:pt x="400" y="7099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0" name="îsḷïde">
            <a:extLst>
              <a:ext uri="{FF2B5EF4-FFF2-40B4-BE49-F238E27FC236}">
                <a16:creationId xmlns:a16="http://schemas.microsoft.com/office/drawing/2014/main" id="{F7027C89-1BCC-4A00-9535-016DE4C49FD7}"/>
              </a:ext>
            </a:extLst>
          </p:cNvPr>
          <p:cNvSpPr/>
          <p:nvPr/>
        </p:nvSpPr>
        <p:spPr bwMode="auto">
          <a:xfrm>
            <a:off x="3688884" y="1628589"/>
            <a:ext cx="151321" cy="154527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  <a:gd name="connsiteX107" fmla="*/ 373273 h 605239"/>
              <a:gd name="connsiteY107" fmla="*/ 373273 h 605239"/>
              <a:gd name="connsiteX108" fmla="*/ 373273 h 605239"/>
              <a:gd name="connsiteY108" fmla="*/ 373273 h 605239"/>
              <a:gd name="connsiteX109" fmla="*/ 373273 h 605239"/>
              <a:gd name="connsiteY109" fmla="*/ 373273 h 605239"/>
              <a:gd name="connsiteX110" fmla="*/ 373273 h 605239"/>
              <a:gd name="connsiteY110" fmla="*/ 373273 h 605239"/>
              <a:gd name="connsiteX111" fmla="*/ 373273 h 605239"/>
              <a:gd name="connsiteY111" fmla="*/ 373273 h 605239"/>
              <a:gd name="connsiteX112" fmla="*/ 373273 h 605239"/>
              <a:gd name="connsiteY112" fmla="*/ 373273 h 605239"/>
              <a:gd name="connsiteX113" fmla="*/ 373273 h 605239"/>
              <a:gd name="connsiteY113" fmla="*/ 373273 h 605239"/>
              <a:gd name="connsiteX114" fmla="*/ 373273 h 605239"/>
              <a:gd name="connsiteY114" fmla="*/ 373273 h 605239"/>
              <a:gd name="connsiteX115" fmla="*/ 373273 h 605239"/>
              <a:gd name="connsiteY115" fmla="*/ 373273 h 605239"/>
              <a:gd name="connsiteX116" fmla="*/ 373273 h 605239"/>
              <a:gd name="connsiteY116" fmla="*/ 373273 h 605239"/>
              <a:gd name="connsiteX117" fmla="*/ 373273 h 605239"/>
              <a:gd name="connsiteY117" fmla="*/ 373273 h 605239"/>
              <a:gd name="connsiteX118" fmla="*/ 373273 h 605239"/>
              <a:gd name="connsiteY118" fmla="*/ 373273 h 605239"/>
              <a:gd name="connsiteX119" fmla="*/ 373273 h 605239"/>
              <a:gd name="connsiteY119" fmla="*/ 373273 h 605239"/>
              <a:gd name="connsiteX120" fmla="*/ 373273 h 605239"/>
              <a:gd name="connsiteY120" fmla="*/ 373273 h 605239"/>
              <a:gd name="connsiteX121" fmla="*/ 373273 h 605239"/>
              <a:gd name="connsiteY121" fmla="*/ 373273 h 605239"/>
              <a:gd name="connsiteX122" fmla="*/ 373273 h 605239"/>
              <a:gd name="connsiteY122" fmla="*/ 373273 h 605239"/>
              <a:gd name="connsiteX123" fmla="*/ 373273 h 605239"/>
              <a:gd name="connsiteY123" fmla="*/ 373273 h 605239"/>
              <a:gd name="connsiteX124" fmla="*/ 373273 h 605239"/>
              <a:gd name="connsiteY124" fmla="*/ 373273 h 605239"/>
              <a:gd name="connsiteX125" fmla="*/ 373273 h 605239"/>
              <a:gd name="connsiteY125" fmla="*/ 373273 h 605239"/>
              <a:gd name="connsiteX126" fmla="*/ 373273 h 605239"/>
              <a:gd name="connsiteY126" fmla="*/ 373273 h 605239"/>
              <a:gd name="connsiteX127" fmla="*/ 373273 h 605239"/>
              <a:gd name="connsiteY127" fmla="*/ 373273 h 605239"/>
              <a:gd name="connsiteX128" fmla="*/ 373273 h 605239"/>
              <a:gd name="connsiteY128" fmla="*/ 373273 h 605239"/>
              <a:gd name="connsiteX129" fmla="*/ 373273 h 605239"/>
              <a:gd name="connsiteY12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593733" h="606309">
                <a:moveTo>
                  <a:pt x="353250" y="302855"/>
                </a:moveTo>
                <a:cubicBezTo>
                  <a:pt x="318468" y="302855"/>
                  <a:pt x="290232" y="331146"/>
                  <a:pt x="290232" y="365879"/>
                </a:cubicBezTo>
                <a:cubicBezTo>
                  <a:pt x="290232" y="374189"/>
                  <a:pt x="296964" y="380912"/>
                  <a:pt x="305285" y="380912"/>
                </a:cubicBezTo>
                <a:cubicBezTo>
                  <a:pt x="313607" y="380912"/>
                  <a:pt x="320338" y="374189"/>
                  <a:pt x="320338" y="365879"/>
                </a:cubicBezTo>
                <a:cubicBezTo>
                  <a:pt x="320338" y="347672"/>
                  <a:pt x="335111" y="333014"/>
                  <a:pt x="353250" y="333014"/>
                </a:cubicBezTo>
                <a:cubicBezTo>
                  <a:pt x="361665" y="333014"/>
                  <a:pt x="368397" y="326291"/>
                  <a:pt x="368397" y="317888"/>
                </a:cubicBezTo>
                <a:cubicBezTo>
                  <a:pt x="368397" y="309578"/>
                  <a:pt x="361665" y="302855"/>
                  <a:pt x="353250" y="302855"/>
                </a:cubicBezTo>
                <a:close/>
                <a:moveTo>
                  <a:pt x="353250" y="265041"/>
                </a:moveTo>
                <a:cubicBezTo>
                  <a:pt x="409163" y="265041"/>
                  <a:pt x="454229" y="310232"/>
                  <a:pt x="454229" y="365879"/>
                </a:cubicBezTo>
                <a:cubicBezTo>
                  <a:pt x="454229" y="421527"/>
                  <a:pt x="408976" y="466717"/>
                  <a:pt x="353250" y="466717"/>
                </a:cubicBezTo>
                <a:cubicBezTo>
                  <a:pt x="297525" y="466717"/>
                  <a:pt x="252271" y="421527"/>
                  <a:pt x="252271" y="365879"/>
                </a:cubicBezTo>
                <a:cubicBezTo>
                  <a:pt x="252271" y="310232"/>
                  <a:pt x="297431" y="265041"/>
                  <a:pt x="353250" y="265041"/>
                </a:cubicBezTo>
                <a:close/>
                <a:moveTo>
                  <a:pt x="427779" y="133781"/>
                </a:moveTo>
                <a:cubicBezTo>
                  <a:pt x="432818" y="131960"/>
                  <a:pt x="438547" y="132054"/>
                  <a:pt x="443784" y="134482"/>
                </a:cubicBezTo>
                <a:lnTo>
                  <a:pt x="473245" y="148209"/>
                </a:lnTo>
                <a:cubicBezTo>
                  <a:pt x="483720" y="153158"/>
                  <a:pt x="488209" y="165671"/>
                  <a:pt x="483346" y="176130"/>
                </a:cubicBezTo>
                <a:lnTo>
                  <a:pt x="470252" y="203957"/>
                </a:lnTo>
                <a:cubicBezTo>
                  <a:pt x="492231" y="219646"/>
                  <a:pt x="511123" y="240003"/>
                  <a:pt x="525526" y="264095"/>
                </a:cubicBezTo>
                <a:lnTo>
                  <a:pt x="554426" y="253636"/>
                </a:lnTo>
                <a:cubicBezTo>
                  <a:pt x="565368" y="249714"/>
                  <a:pt x="577340" y="255411"/>
                  <a:pt x="581361" y="266243"/>
                </a:cubicBezTo>
                <a:lnTo>
                  <a:pt x="592491" y="296592"/>
                </a:lnTo>
                <a:cubicBezTo>
                  <a:pt x="596419" y="307612"/>
                  <a:pt x="590714" y="319564"/>
                  <a:pt x="579865" y="323486"/>
                </a:cubicBezTo>
                <a:lnTo>
                  <a:pt x="550965" y="333945"/>
                </a:lnTo>
                <a:cubicBezTo>
                  <a:pt x="555455" y="361586"/>
                  <a:pt x="553958" y="389414"/>
                  <a:pt x="547224" y="415561"/>
                </a:cubicBezTo>
                <a:lnTo>
                  <a:pt x="575095" y="428634"/>
                </a:lnTo>
                <a:cubicBezTo>
                  <a:pt x="585570" y="433490"/>
                  <a:pt x="590059" y="445910"/>
                  <a:pt x="585102" y="456649"/>
                </a:cubicBezTo>
                <a:lnTo>
                  <a:pt x="571354" y="485970"/>
                </a:lnTo>
                <a:cubicBezTo>
                  <a:pt x="566397" y="496429"/>
                  <a:pt x="553958" y="500911"/>
                  <a:pt x="543483" y="496056"/>
                </a:cubicBezTo>
                <a:lnTo>
                  <a:pt x="515238" y="482982"/>
                </a:lnTo>
                <a:cubicBezTo>
                  <a:pt x="499526" y="504833"/>
                  <a:pt x="479137" y="523510"/>
                  <a:pt x="455007" y="537704"/>
                </a:cubicBezTo>
                <a:lnTo>
                  <a:pt x="465763" y="567026"/>
                </a:lnTo>
                <a:cubicBezTo>
                  <a:pt x="469784" y="578045"/>
                  <a:pt x="463986" y="589997"/>
                  <a:pt x="453137" y="593919"/>
                </a:cubicBezTo>
                <a:lnTo>
                  <a:pt x="422741" y="605032"/>
                </a:lnTo>
                <a:cubicBezTo>
                  <a:pt x="411798" y="609047"/>
                  <a:pt x="399827" y="603258"/>
                  <a:pt x="395805" y="592425"/>
                </a:cubicBezTo>
                <a:lnTo>
                  <a:pt x="385050" y="562823"/>
                </a:lnTo>
                <a:cubicBezTo>
                  <a:pt x="357646" y="567212"/>
                  <a:pt x="330056" y="565718"/>
                  <a:pt x="304149" y="558995"/>
                </a:cubicBezTo>
                <a:lnTo>
                  <a:pt x="290682" y="587756"/>
                </a:lnTo>
                <a:cubicBezTo>
                  <a:pt x="285725" y="598215"/>
                  <a:pt x="273192" y="602697"/>
                  <a:pt x="262717" y="597841"/>
                </a:cubicBezTo>
                <a:lnTo>
                  <a:pt x="233350" y="584114"/>
                </a:lnTo>
                <a:cubicBezTo>
                  <a:pt x="222875" y="579165"/>
                  <a:pt x="218385" y="566652"/>
                  <a:pt x="223249" y="556193"/>
                </a:cubicBezTo>
                <a:lnTo>
                  <a:pt x="236810" y="527338"/>
                </a:lnTo>
                <a:cubicBezTo>
                  <a:pt x="215112" y="511650"/>
                  <a:pt x="196407" y="491480"/>
                  <a:pt x="182284" y="467668"/>
                </a:cubicBezTo>
                <a:lnTo>
                  <a:pt x="152169" y="478687"/>
                </a:lnTo>
                <a:cubicBezTo>
                  <a:pt x="141133" y="482609"/>
                  <a:pt x="129161" y="476912"/>
                  <a:pt x="125233" y="466080"/>
                </a:cubicBezTo>
                <a:lnTo>
                  <a:pt x="114104" y="435731"/>
                </a:lnTo>
                <a:cubicBezTo>
                  <a:pt x="110082" y="424712"/>
                  <a:pt x="115881" y="412759"/>
                  <a:pt x="126730" y="408837"/>
                </a:cubicBezTo>
                <a:lnTo>
                  <a:pt x="156845" y="397818"/>
                </a:lnTo>
                <a:cubicBezTo>
                  <a:pt x="153852" y="379422"/>
                  <a:pt x="153478" y="361026"/>
                  <a:pt x="155629" y="342910"/>
                </a:cubicBezTo>
                <a:lnTo>
                  <a:pt x="158622" y="343097"/>
                </a:lnTo>
                <a:cubicBezTo>
                  <a:pt x="181162" y="344030"/>
                  <a:pt x="200522" y="327408"/>
                  <a:pt x="203141" y="305370"/>
                </a:cubicBezTo>
                <a:cubicBezTo>
                  <a:pt x="207723" y="303876"/>
                  <a:pt x="212119" y="302195"/>
                  <a:pt x="216515" y="300515"/>
                </a:cubicBezTo>
                <a:cubicBezTo>
                  <a:pt x="220349" y="304063"/>
                  <a:pt x="224745" y="306958"/>
                  <a:pt x="229609" y="308919"/>
                </a:cubicBezTo>
                <a:cubicBezTo>
                  <a:pt x="219227" y="330957"/>
                  <a:pt x="214831" y="355983"/>
                  <a:pt x="217824" y="381943"/>
                </a:cubicBezTo>
                <a:cubicBezTo>
                  <a:pt x="226709" y="456462"/>
                  <a:pt x="294329" y="509876"/>
                  <a:pt x="368963" y="501192"/>
                </a:cubicBezTo>
                <a:cubicBezTo>
                  <a:pt x="443691" y="492320"/>
                  <a:pt x="497188" y="424899"/>
                  <a:pt x="488490" y="350287"/>
                </a:cubicBezTo>
                <a:cubicBezTo>
                  <a:pt x="479605" y="275675"/>
                  <a:pt x="411985" y="222260"/>
                  <a:pt x="337351" y="231038"/>
                </a:cubicBezTo>
                <a:cubicBezTo>
                  <a:pt x="324632" y="232532"/>
                  <a:pt x="312473" y="235707"/>
                  <a:pt x="301156" y="240376"/>
                </a:cubicBezTo>
                <a:cubicBezTo>
                  <a:pt x="299660" y="236268"/>
                  <a:pt x="297509" y="232345"/>
                  <a:pt x="294797" y="228890"/>
                </a:cubicBezTo>
                <a:cubicBezTo>
                  <a:pt x="297041" y="224688"/>
                  <a:pt x="299005" y="220393"/>
                  <a:pt x="300782" y="216097"/>
                </a:cubicBezTo>
                <a:cubicBezTo>
                  <a:pt x="311164" y="215817"/>
                  <a:pt x="320891" y="211802"/>
                  <a:pt x="328466" y="204891"/>
                </a:cubicBezTo>
                <a:cubicBezTo>
                  <a:pt x="336977" y="197141"/>
                  <a:pt x="341934" y="186589"/>
                  <a:pt x="342402" y="175103"/>
                </a:cubicBezTo>
                <a:lnTo>
                  <a:pt x="342776" y="166978"/>
                </a:lnTo>
                <a:cubicBezTo>
                  <a:pt x="363164" y="165764"/>
                  <a:pt x="383460" y="167912"/>
                  <a:pt x="402820" y="172768"/>
                </a:cubicBezTo>
                <a:lnTo>
                  <a:pt x="415913" y="144567"/>
                </a:lnTo>
                <a:cubicBezTo>
                  <a:pt x="418392" y="139338"/>
                  <a:pt x="422741" y="135602"/>
                  <a:pt x="427779" y="133781"/>
                </a:cubicBezTo>
                <a:close/>
                <a:moveTo>
                  <a:pt x="159906" y="88589"/>
                </a:moveTo>
                <a:cubicBezTo>
                  <a:pt x="142487" y="87818"/>
                  <a:pt x="124764" y="93678"/>
                  <a:pt x="110828" y="106378"/>
                </a:cubicBezTo>
                <a:cubicBezTo>
                  <a:pt x="96145" y="119731"/>
                  <a:pt x="88663" y="138127"/>
                  <a:pt x="88663" y="156523"/>
                </a:cubicBezTo>
                <a:cubicBezTo>
                  <a:pt x="88663" y="172958"/>
                  <a:pt x="94555" y="189393"/>
                  <a:pt x="106526" y="202467"/>
                </a:cubicBezTo>
                <a:cubicBezTo>
                  <a:pt x="131965" y="230294"/>
                  <a:pt x="175081" y="232162"/>
                  <a:pt x="202764" y="206762"/>
                </a:cubicBezTo>
                <a:cubicBezTo>
                  <a:pt x="217448" y="193409"/>
                  <a:pt x="224930" y="175013"/>
                  <a:pt x="224930" y="156523"/>
                </a:cubicBezTo>
                <a:cubicBezTo>
                  <a:pt x="224930" y="140088"/>
                  <a:pt x="219132" y="123653"/>
                  <a:pt x="207160" y="110580"/>
                </a:cubicBezTo>
                <a:cubicBezTo>
                  <a:pt x="194441" y="96760"/>
                  <a:pt x="177325" y="89359"/>
                  <a:pt x="159906" y="88589"/>
                </a:cubicBezTo>
                <a:close/>
                <a:moveTo>
                  <a:pt x="153289" y="17"/>
                </a:moveTo>
                <a:lnTo>
                  <a:pt x="173678" y="951"/>
                </a:lnTo>
                <a:cubicBezTo>
                  <a:pt x="180786" y="1325"/>
                  <a:pt x="186304" y="7114"/>
                  <a:pt x="186304" y="14118"/>
                </a:cubicBezTo>
                <a:lnTo>
                  <a:pt x="186304" y="14771"/>
                </a:lnTo>
                <a:lnTo>
                  <a:pt x="185462" y="34755"/>
                </a:lnTo>
                <a:cubicBezTo>
                  <a:pt x="201923" y="38677"/>
                  <a:pt x="217729" y="45774"/>
                  <a:pt x="231851" y="56232"/>
                </a:cubicBezTo>
                <a:lnTo>
                  <a:pt x="246535" y="42786"/>
                </a:lnTo>
                <a:cubicBezTo>
                  <a:pt x="251866" y="37930"/>
                  <a:pt x="260283" y="38303"/>
                  <a:pt x="265240" y="43626"/>
                </a:cubicBezTo>
                <a:lnTo>
                  <a:pt x="279082" y="58660"/>
                </a:lnTo>
                <a:cubicBezTo>
                  <a:pt x="281420" y="61275"/>
                  <a:pt x="282542" y="64450"/>
                  <a:pt x="282542" y="67625"/>
                </a:cubicBezTo>
                <a:cubicBezTo>
                  <a:pt x="282542" y="71173"/>
                  <a:pt x="281233" y="74722"/>
                  <a:pt x="278334" y="77337"/>
                </a:cubicBezTo>
                <a:lnTo>
                  <a:pt x="263744" y="90690"/>
                </a:lnTo>
                <a:cubicBezTo>
                  <a:pt x="273096" y="105537"/>
                  <a:pt x="278988" y="121973"/>
                  <a:pt x="281420" y="138781"/>
                </a:cubicBezTo>
                <a:lnTo>
                  <a:pt x="301061" y="139621"/>
                </a:lnTo>
                <a:cubicBezTo>
                  <a:pt x="308169" y="139995"/>
                  <a:pt x="313593" y="145878"/>
                  <a:pt x="313593" y="152788"/>
                </a:cubicBezTo>
                <a:lnTo>
                  <a:pt x="313593" y="153442"/>
                </a:lnTo>
                <a:lnTo>
                  <a:pt x="312751" y="173892"/>
                </a:lnTo>
                <a:cubicBezTo>
                  <a:pt x="312377" y="181083"/>
                  <a:pt x="306298" y="186779"/>
                  <a:pt x="298910" y="186405"/>
                </a:cubicBezTo>
                <a:lnTo>
                  <a:pt x="279456" y="185565"/>
                </a:lnTo>
                <a:cubicBezTo>
                  <a:pt x="275622" y="202093"/>
                  <a:pt x="268327" y="218061"/>
                  <a:pt x="257758" y="232162"/>
                </a:cubicBezTo>
                <a:lnTo>
                  <a:pt x="270852" y="246449"/>
                </a:lnTo>
                <a:cubicBezTo>
                  <a:pt x="273190" y="249064"/>
                  <a:pt x="274312" y="252145"/>
                  <a:pt x="274312" y="255414"/>
                </a:cubicBezTo>
                <a:cubicBezTo>
                  <a:pt x="274312" y="258869"/>
                  <a:pt x="273003" y="262511"/>
                  <a:pt x="270104" y="265126"/>
                </a:cubicBezTo>
                <a:lnTo>
                  <a:pt x="255046" y="278946"/>
                </a:lnTo>
                <a:cubicBezTo>
                  <a:pt x="249621" y="283802"/>
                  <a:pt x="241297" y="283428"/>
                  <a:pt x="236340" y="278106"/>
                </a:cubicBezTo>
                <a:lnTo>
                  <a:pt x="223247" y="263724"/>
                </a:lnTo>
                <a:cubicBezTo>
                  <a:pt x="208282" y="272970"/>
                  <a:pt x="191635" y="278853"/>
                  <a:pt x="174800" y="281187"/>
                </a:cubicBezTo>
                <a:lnTo>
                  <a:pt x="173958" y="300610"/>
                </a:lnTo>
                <a:cubicBezTo>
                  <a:pt x="173584" y="307801"/>
                  <a:pt x="167505" y="313590"/>
                  <a:pt x="160117" y="313217"/>
                </a:cubicBezTo>
                <a:lnTo>
                  <a:pt x="139634" y="312283"/>
                </a:lnTo>
                <a:cubicBezTo>
                  <a:pt x="132526" y="311909"/>
                  <a:pt x="127102" y="306120"/>
                  <a:pt x="127102" y="299116"/>
                </a:cubicBezTo>
                <a:lnTo>
                  <a:pt x="127102" y="298463"/>
                </a:lnTo>
                <a:lnTo>
                  <a:pt x="128037" y="279039"/>
                </a:lnTo>
                <a:cubicBezTo>
                  <a:pt x="111577" y="275211"/>
                  <a:pt x="95771" y="267834"/>
                  <a:pt x="81648" y="257281"/>
                </a:cubicBezTo>
                <a:lnTo>
                  <a:pt x="67058" y="270635"/>
                </a:lnTo>
                <a:cubicBezTo>
                  <a:pt x="61727" y="275491"/>
                  <a:pt x="53403" y="275117"/>
                  <a:pt x="48353" y="269701"/>
                </a:cubicBezTo>
                <a:lnTo>
                  <a:pt x="34511" y="254667"/>
                </a:lnTo>
                <a:cubicBezTo>
                  <a:pt x="32173" y="252052"/>
                  <a:pt x="31051" y="248970"/>
                  <a:pt x="31051" y="245702"/>
                </a:cubicBezTo>
                <a:cubicBezTo>
                  <a:pt x="31051" y="242247"/>
                  <a:pt x="32453" y="238605"/>
                  <a:pt x="35259" y="235990"/>
                </a:cubicBezTo>
                <a:lnTo>
                  <a:pt x="50036" y="222544"/>
                </a:lnTo>
                <a:cubicBezTo>
                  <a:pt x="40777" y="207696"/>
                  <a:pt x="35072" y="191261"/>
                  <a:pt x="32640" y="174639"/>
                </a:cubicBezTo>
                <a:lnTo>
                  <a:pt x="12626" y="173705"/>
                </a:lnTo>
                <a:cubicBezTo>
                  <a:pt x="5518" y="173332"/>
                  <a:pt x="0" y="167542"/>
                  <a:pt x="0" y="160539"/>
                </a:cubicBezTo>
                <a:lnTo>
                  <a:pt x="0" y="159885"/>
                </a:lnTo>
                <a:lnTo>
                  <a:pt x="842" y="139621"/>
                </a:lnTo>
                <a:cubicBezTo>
                  <a:pt x="1216" y="132431"/>
                  <a:pt x="7388" y="126642"/>
                  <a:pt x="14683" y="127015"/>
                </a:cubicBezTo>
                <a:lnTo>
                  <a:pt x="34885" y="127949"/>
                </a:lnTo>
                <a:cubicBezTo>
                  <a:pt x="38813" y="111514"/>
                  <a:pt x="46015" y="95826"/>
                  <a:pt x="56490" y="81819"/>
                </a:cubicBezTo>
                <a:lnTo>
                  <a:pt x="42741" y="66878"/>
                </a:lnTo>
                <a:cubicBezTo>
                  <a:pt x="40403" y="64263"/>
                  <a:pt x="39281" y="61182"/>
                  <a:pt x="39281" y="57913"/>
                </a:cubicBezTo>
                <a:cubicBezTo>
                  <a:pt x="39281" y="54458"/>
                  <a:pt x="40684" y="50816"/>
                  <a:pt x="43490" y="48202"/>
                </a:cubicBezTo>
                <a:lnTo>
                  <a:pt x="58641" y="34381"/>
                </a:lnTo>
                <a:cubicBezTo>
                  <a:pt x="63972" y="29526"/>
                  <a:pt x="72296" y="29899"/>
                  <a:pt x="77346" y="35315"/>
                </a:cubicBezTo>
                <a:lnTo>
                  <a:pt x="90627" y="50256"/>
                </a:lnTo>
                <a:cubicBezTo>
                  <a:pt x="105591" y="41011"/>
                  <a:pt x="121864" y="35128"/>
                  <a:pt x="138512" y="32794"/>
                </a:cubicBezTo>
                <a:lnTo>
                  <a:pt x="139447" y="12624"/>
                </a:lnTo>
                <a:cubicBezTo>
                  <a:pt x="139821" y="5433"/>
                  <a:pt x="145901" y="-356"/>
                  <a:pt x="153289" y="17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1" name="îṣḻïḓè">
            <a:extLst>
              <a:ext uri="{FF2B5EF4-FFF2-40B4-BE49-F238E27FC236}">
                <a16:creationId xmlns:a16="http://schemas.microsoft.com/office/drawing/2014/main" id="{30C8A656-A69C-4844-9B4C-38593487F7D6}"/>
              </a:ext>
            </a:extLst>
          </p:cNvPr>
          <p:cNvSpPr/>
          <p:nvPr/>
        </p:nvSpPr>
        <p:spPr bwMode="auto">
          <a:xfrm>
            <a:off x="3482068" y="1891777"/>
            <a:ext cx="154527" cy="154227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81741" h="580612">
                <a:moveTo>
                  <a:pt x="291612" y="187916"/>
                </a:moveTo>
                <a:cubicBezTo>
                  <a:pt x="304876" y="187916"/>
                  <a:pt x="315648" y="198758"/>
                  <a:pt x="315648" y="212088"/>
                </a:cubicBezTo>
                <a:lnTo>
                  <a:pt x="315648" y="491836"/>
                </a:lnTo>
                <a:lnTo>
                  <a:pt x="331227" y="473974"/>
                </a:lnTo>
                <a:cubicBezTo>
                  <a:pt x="339863" y="463932"/>
                  <a:pt x="355086" y="462866"/>
                  <a:pt x="365145" y="471574"/>
                </a:cubicBezTo>
                <a:cubicBezTo>
                  <a:pt x="375116" y="480372"/>
                  <a:pt x="376184" y="495657"/>
                  <a:pt x="367460" y="505699"/>
                </a:cubicBezTo>
                <a:lnTo>
                  <a:pt x="309773" y="572348"/>
                </a:lnTo>
                <a:cubicBezTo>
                  <a:pt x="305143" y="577502"/>
                  <a:pt x="298556" y="580612"/>
                  <a:pt x="291612" y="580612"/>
                </a:cubicBezTo>
                <a:cubicBezTo>
                  <a:pt x="284579" y="580612"/>
                  <a:pt x="278080" y="577680"/>
                  <a:pt x="273451" y="572348"/>
                </a:cubicBezTo>
                <a:lnTo>
                  <a:pt x="215764" y="505699"/>
                </a:lnTo>
                <a:cubicBezTo>
                  <a:pt x="207039" y="495657"/>
                  <a:pt x="208108" y="480372"/>
                  <a:pt x="218078" y="471574"/>
                </a:cubicBezTo>
                <a:cubicBezTo>
                  <a:pt x="228049" y="462866"/>
                  <a:pt x="243272" y="463932"/>
                  <a:pt x="252085" y="473974"/>
                </a:cubicBezTo>
                <a:lnTo>
                  <a:pt x="267486" y="491747"/>
                </a:lnTo>
                <a:lnTo>
                  <a:pt x="267486" y="212088"/>
                </a:lnTo>
                <a:cubicBezTo>
                  <a:pt x="267486" y="198758"/>
                  <a:pt x="278258" y="187916"/>
                  <a:pt x="291612" y="187916"/>
                </a:cubicBezTo>
                <a:close/>
                <a:moveTo>
                  <a:pt x="329499" y="0"/>
                </a:moveTo>
                <a:cubicBezTo>
                  <a:pt x="426248" y="0"/>
                  <a:pt x="465322" y="80426"/>
                  <a:pt x="473332" y="108153"/>
                </a:cubicBezTo>
                <a:cubicBezTo>
                  <a:pt x="535280" y="120684"/>
                  <a:pt x="581474" y="175693"/>
                  <a:pt x="581741" y="241190"/>
                </a:cubicBezTo>
                <a:cubicBezTo>
                  <a:pt x="581741" y="315840"/>
                  <a:pt x="521306" y="376537"/>
                  <a:pt x="446987" y="376537"/>
                </a:cubicBezTo>
                <a:lnTo>
                  <a:pt x="372756" y="376537"/>
                </a:lnTo>
                <a:cubicBezTo>
                  <a:pt x="359316" y="376537"/>
                  <a:pt x="348546" y="365606"/>
                  <a:pt x="348546" y="352276"/>
                </a:cubicBezTo>
                <a:cubicBezTo>
                  <a:pt x="348546" y="338857"/>
                  <a:pt x="359316" y="327926"/>
                  <a:pt x="372756" y="327926"/>
                </a:cubicBezTo>
                <a:lnTo>
                  <a:pt x="446987" y="327926"/>
                </a:lnTo>
                <a:cubicBezTo>
                  <a:pt x="494605" y="327926"/>
                  <a:pt x="533322" y="289090"/>
                  <a:pt x="533322" y="241190"/>
                </a:cubicBezTo>
                <a:cubicBezTo>
                  <a:pt x="533322" y="195334"/>
                  <a:pt x="497720" y="157298"/>
                  <a:pt x="452238" y="154632"/>
                </a:cubicBezTo>
                <a:cubicBezTo>
                  <a:pt x="440934" y="153921"/>
                  <a:pt x="431589" y="145478"/>
                  <a:pt x="429809" y="134192"/>
                </a:cubicBezTo>
                <a:cubicBezTo>
                  <a:pt x="421709" y="84692"/>
                  <a:pt x="379609" y="48789"/>
                  <a:pt x="329677" y="48789"/>
                </a:cubicBezTo>
                <a:cubicBezTo>
                  <a:pt x="279567" y="48789"/>
                  <a:pt x="238001" y="84781"/>
                  <a:pt x="229457" y="134192"/>
                </a:cubicBezTo>
                <a:cubicBezTo>
                  <a:pt x="226520" y="151521"/>
                  <a:pt x="212190" y="162807"/>
                  <a:pt x="192964" y="151077"/>
                </a:cubicBezTo>
                <a:cubicBezTo>
                  <a:pt x="178011" y="141834"/>
                  <a:pt x="160922" y="136947"/>
                  <a:pt x="143299" y="136947"/>
                </a:cubicBezTo>
                <a:cubicBezTo>
                  <a:pt x="90964" y="136947"/>
                  <a:pt x="48419" y="179693"/>
                  <a:pt x="48419" y="232303"/>
                </a:cubicBezTo>
                <a:cubicBezTo>
                  <a:pt x="48419" y="284913"/>
                  <a:pt x="90964" y="327748"/>
                  <a:pt x="143299" y="327748"/>
                </a:cubicBezTo>
                <a:lnTo>
                  <a:pt x="218776" y="327748"/>
                </a:lnTo>
                <a:cubicBezTo>
                  <a:pt x="232216" y="327748"/>
                  <a:pt x="242986" y="338590"/>
                  <a:pt x="242986" y="352009"/>
                </a:cubicBezTo>
                <a:cubicBezTo>
                  <a:pt x="242986" y="365429"/>
                  <a:pt x="232216" y="376271"/>
                  <a:pt x="218776" y="376271"/>
                </a:cubicBezTo>
                <a:lnTo>
                  <a:pt x="143299" y="376271"/>
                </a:lnTo>
                <a:cubicBezTo>
                  <a:pt x="64262" y="376271"/>
                  <a:pt x="0" y="311574"/>
                  <a:pt x="0" y="232214"/>
                </a:cubicBezTo>
                <a:cubicBezTo>
                  <a:pt x="0" y="152854"/>
                  <a:pt x="64262" y="88158"/>
                  <a:pt x="143210" y="88158"/>
                </a:cubicBezTo>
                <a:cubicBezTo>
                  <a:pt x="159231" y="88158"/>
                  <a:pt x="174896" y="90735"/>
                  <a:pt x="189849" y="95978"/>
                </a:cubicBezTo>
                <a:cubicBezTo>
                  <a:pt x="198749" y="73050"/>
                  <a:pt x="238891" y="0"/>
                  <a:pt x="329499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2" name="iş1iḑe">
            <a:extLst>
              <a:ext uri="{FF2B5EF4-FFF2-40B4-BE49-F238E27FC236}">
                <a16:creationId xmlns:a16="http://schemas.microsoft.com/office/drawing/2014/main" id="{79D5FAF9-096B-4C61-A299-6A26A276E128}"/>
              </a:ext>
            </a:extLst>
          </p:cNvPr>
          <p:cNvSpPr/>
          <p:nvPr/>
        </p:nvSpPr>
        <p:spPr bwMode="auto">
          <a:xfrm>
            <a:off x="3261661" y="2154780"/>
            <a:ext cx="154527" cy="154294"/>
          </a:xfrm>
          <a:custGeom>
            <a:avLst/>
            <a:gdLst>
              <a:gd name="connsiteX0" fmla="*/ 303820 w 607639"/>
              <a:gd name="connsiteY0" fmla="*/ 278099 h 606722"/>
              <a:gd name="connsiteX1" fmla="*/ 329118 w 607639"/>
              <a:gd name="connsiteY1" fmla="*/ 303362 h 606722"/>
              <a:gd name="connsiteX2" fmla="*/ 303820 w 607639"/>
              <a:gd name="connsiteY2" fmla="*/ 328625 h 606722"/>
              <a:gd name="connsiteX3" fmla="*/ 278522 w 607639"/>
              <a:gd name="connsiteY3" fmla="*/ 303362 h 606722"/>
              <a:gd name="connsiteX4" fmla="*/ 303820 w 607639"/>
              <a:gd name="connsiteY4" fmla="*/ 278099 h 606722"/>
              <a:gd name="connsiteX5" fmla="*/ 303775 w 607639"/>
              <a:gd name="connsiteY5" fmla="*/ 252735 h 606722"/>
              <a:gd name="connsiteX6" fmla="*/ 253140 w 607639"/>
              <a:gd name="connsiteY6" fmla="*/ 303317 h 606722"/>
              <a:gd name="connsiteX7" fmla="*/ 303775 w 607639"/>
              <a:gd name="connsiteY7" fmla="*/ 353900 h 606722"/>
              <a:gd name="connsiteX8" fmla="*/ 354410 w 607639"/>
              <a:gd name="connsiteY8" fmla="*/ 303317 h 606722"/>
              <a:gd name="connsiteX9" fmla="*/ 303775 w 607639"/>
              <a:gd name="connsiteY9" fmla="*/ 252735 h 606722"/>
              <a:gd name="connsiteX10" fmla="*/ 303775 w 607639"/>
              <a:gd name="connsiteY10" fmla="*/ 202241 h 606722"/>
              <a:gd name="connsiteX11" fmla="*/ 405045 w 607639"/>
              <a:gd name="connsiteY11" fmla="*/ 303317 h 606722"/>
              <a:gd name="connsiteX12" fmla="*/ 303775 w 607639"/>
              <a:gd name="connsiteY12" fmla="*/ 404482 h 606722"/>
              <a:gd name="connsiteX13" fmla="*/ 202593 w 607639"/>
              <a:gd name="connsiteY13" fmla="*/ 303317 h 606722"/>
              <a:gd name="connsiteX14" fmla="*/ 303775 w 607639"/>
              <a:gd name="connsiteY14" fmla="*/ 202241 h 606722"/>
              <a:gd name="connsiteX15" fmla="*/ 303775 w 607639"/>
              <a:gd name="connsiteY15" fmla="*/ 151703 h 606722"/>
              <a:gd name="connsiteX16" fmla="*/ 151932 w 607639"/>
              <a:gd name="connsiteY16" fmla="*/ 303317 h 606722"/>
              <a:gd name="connsiteX17" fmla="*/ 303775 w 607639"/>
              <a:gd name="connsiteY17" fmla="*/ 455019 h 606722"/>
              <a:gd name="connsiteX18" fmla="*/ 455707 w 607639"/>
              <a:gd name="connsiteY18" fmla="*/ 303317 h 606722"/>
              <a:gd name="connsiteX19" fmla="*/ 303775 w 607639"/>
              <a:gd name="connsiteY19" fmla="*/ 151703 h 606722"/>
              <a:gd name="connsiteX20" fmla="*/ 253131 w 607639"/>
              <a:gd name="connsiteY20" fmla="*/ 0 h 606722"/>
              <a:gd name="connsiteX21" fmla="*/ 354419 w 607639"/>
              <a:gd name="connsiteY21" fmla="*/ 0 h 606722"/>
              <a:gd name="connsiteX22" fmla="*/ 379786 w 607639"/>
              <a:gd name="connsiteY22" fmla="*/ 25239 h 606722"/>
              <a:gd name="connsiteX23" fmla="*/ 379786 w 607639"/>
              <a:gd name="connsiteY23" fmla="*/ 62387 h 606722"/>
              <a:gd name="connsiteX24" fmla="*/ 420639 w 607639"/>
              <a:gd name="connsiteY24" fmla="*/ 79451 h 606722"/>
              <a:gd name="connsiteX25" fmla="*/ 446985 w 607639"/>
              <a:gd name="connsiteY25" fmla="*/ 53145 h 606722"/>
              <a:gd name="connsiteX26" fmla="*/ 482854 w 607639"/>
              <a:gd name="connsiteY26" fmla="*/ 53145 h 606722"/>
              <a:gd name="connsiteX27" fmla="*/ 554414 w 607639"/>
              <a:gd name="connsiteY27" fmla="*/ 124597 h 606722"/>
              <a:gd name="connsiteX28" fmla="*/ 554414 w 607639"/>
              <a:gd name="connsiteY28" fmla="*/ 160323 h 606722"/>
              <a:gd name="connsiteX29" fmla="*/ 528069 w 607639"/>
              <a:gd name="connsiteY29" fmla="*/ 186629 h 606722"/>
              <a:gd name="connsiteX30" fmla="*/ 545158 w 607639"/>
              <a:gd name="connsiteY30" fmla="*/ 227510 h 606722"/>
              <a:gd name="connsiteX31" fmla="*/ 582273 w 607639"/>
              <a:gd name="connsiteY31" fmla="*/ 227510 h 606722"/>
              <a:gd name="connsiteX32" fmla="*/ 607639 w 607639"/>
              <a:gd name="connsiteY32" fmla="*/ 252749 h 606722"/>
              <a:gd name="connsiteX33" fmla="*/ 607639 w 607639"/>
              <a:gd name="connsiteY33" fmla="*/ 353884 h 606722"/>
              <a:gd name="connsiteX34" fmla="*/ 582273 w 607639"/>
              <a:gd name="connsiteY34" fmla="*/ 379212 h 606722"/>
              <a:gd name="connsiteX35" fmla="*/ 545158 w 607639"/>
              <a:gd name="connsiteY35" fmla="*/ 379212 h 606722"/>
              <a:gd name="connsiteX36" fmla="*/ 528069 w 607639"/>
              <a:gd name="connsiteY36" fmla="*/ 420004 h 606722"/>
              <a:gd name="connsiteX37" fmla="*/ 554414 w 607639"/>
              <a:gd name="connsiteY37" fmla="*/ 446310 h 606722"/>
              <a:gd name="connsiteX38" fmla="*/ 554414 w 607639"/>
              <a:gd name="connsiteY38" fmla="*/ 482125 h 606722"/>
              <a:gd name="connsiteX39" fmla="*/ 482854 w 607639"/>
              <a:gd name="connsiteY39" fmla="*/ 553577 h 606722"/>
              <a:gd name="connsiteX40" fmla="*/ 446985 w 607639"/>
              <a:gd name="connsiteY40" fmla="*/ 553577 h 606722"/>
              <a:gd name="connsiteX41" fmla="*/ 420639 w 607639"/>
              <a:gd name="connsiteY41" fmla="*/ 527271 h 606722"/>
              <a:gd name="connsiteX42" fmla="*/ 379786 w 607639"/>
              <a:gd name="connsiteY42" fmla="*/ 544246 h 606722"/>
              <a:gd name="connsiteX43" fmla="*/ 379786 w 607639"/>
              <a:gd name="connsiteY43" fmla="*/ 581394 h 606722"/>
              <a:gd name="connsiteX44" fmla="*/ 354419 w 607639"/>
              <a:gd name="connsiteY44" fmla="*/ 606722 h 606722"/>
              <a:gd name="connsiteX45" fmla="*/ 253131 w 607639"/>
              <a:gd name="connsiteY45" fmla="*/ 606722 h 606722"/>
              <a:gd name="connsiteX46" fmla="*/ 227854 w 607639"/>
              <a:gd name="connsiteY46" fmla="*/ 581394 h 606722"/>
              <a:gd name="connsiteX47" fmla="*/ 227854 w 607639"/>
              <a:gd name="connsiteY47" fmla="*/ 544246 h 606722"/>
              <a:gd name="connsiteX48" fmla="*/ 186911 w 607639"/>
              <a:gd name="connsiteY48" fmla="*/ 527271 h 606722"/>
              <a:gd name="connsiteX49" fmla="*/ 160566 w 607639"/>
              <a:gd name="connsiteY49" fmla="*/ 553577 h 606722"/>
              <a:gd name="connsiteX50" fmla="*/ 124786 w 607639"/>
              <a:gd name="connsiteY50" fmla="*/ 553577 h 606722"/>
              <a:gd name="connsiteX51" fmla="*/ 53225 w 607639"/>
              <a:gd name="connsiteY51" fmla="*/ 482125 h 606722"/>
              <a:gd name="connsiteX52" fmla="*/ 53225 w 607639"/>
              <a:gd name="connsiteY52" fmla="*/ 446310 h 606722"/>
              <a:gd name="connsiteX53" fmla="*/ 79482 w 607639"/>
              <a:gd name="connsiteY53" fmla="*/ 420004 h 606722"/>
              <a:gd name="connsiteX54" fmla="*/ 62482 w 607639"/>
              <a:gd name="connsiteY54" fmla="*/ 379212 h 606722"/>
              <a:gd name="connsiteX55" fmla="*/ 25278 w 607639"/>
              <a:gd name="connsiteY55" fmla="*/ 379212 h 606722"/>
              <a:gd name="connsiteX56" fmla="*/ 0 w 607639"/>
              <a:gd name="connsiteY56" fmla="*/ 353884 h 606722"/>
              <a:gd name="connsiteX57" fmla="*/ 0 w 607639"/>
              <a:gd name="connsiteY57" fmla="*/ 252749 h 606722"/>
              <a:gd name="connsiteX58" fmla="*/ 25278 w 607639"/>
              <a:gd name="connsiteY58" fmla="*/ 227510 h 606722"/>
              <a:gd name="connsiteX59" fmla="*/ 62482 w 607639"/>
              <a:gd name="connsiteY59" fmla="*/ 227510 h 606722"/>
              <a:gd name="connsiteX60" fmla="*/ 79482 w 607639"/>
              <a:gd name="connsiteY60" fmla="*/ 186629 h 606722"/>
              <a:gd name="connsiteX61" fmla="*/ 53225 w 607639"/>
              <a:gd name="connsiteY61" fmla="*/ 160323 h 606722"/>
              <a:gd name="connsiteX62" fmla="*/ 53225 w 607639"/>
              <a:gd name="connsiteY62" fmla="*/ 124597 h 606722"/>
              <a:gd name="connsiteX63" fmla="*/ 124786 w 607639"/>
              <a:gd name="connsiteY63" fmla="*/ 53145 h 606722"/>
              <a:gd name="connsiteX64" fmla="*/ 160566 w 607639"/>
              <a:gd name="connsiteY64" fmla="*/ 53145 h 606722"/>
              <a:gd name="connsiteX65" fmla="*/ 186911 w 607639"/>
              <a:gd name="connsiteY65" fmla="*/ 79451 h 606722"/>
              <a:gd name="connsiteX66" fmla="*/ 227854 w 607639"/>
              <a:gd name="connsiteY66" fmla="*/ 62387 h 606722"/>
              <a:gd name="connsiteX67" fmla="*/ 227854 w 607639"/>
              <a:gd name="connsiteY67" fmla="*/ 25239 h 606722"/>
              <a:gd name="connsiteX68" fmla="*/ 253131 w 607639"/>
              <a:gd name="connsiteY68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07639" h="606722">
                <a:moveTo>
                  <a:pt x="303820" y="278099"/>
                </a:moveTo>
                <a:cubicBezTo>
                  <a:pt x="317792" y="278099"/>
                  <a:pt x="329118" y="289410"/>
                  <a:pt x="329118" y="303362"/>
                </a:cubicBezTo>
                <a:cubicBezTo>
                  <a:pt x="329118" y="317314"/>
                  <a:pt x="317792" y="328625"/>
                  <a:pt x="303820" y="328625"/>
                </a:cubicBezTo>
                <a:cubicBezTo>
                  <a:pt x="289848" y="328625"/>
                  <a:pt x="278522" y="317314"/>
                  <a:pt x="278522" y="303362"/>
                </a:cubicBezTo>
                <a:cubicBezTo>
                  <a:pt x="278522" y="289410"/>
                  <a:pt x="289848" y="278099"/>
                  <a:pt x="303820" y="278099"/>
                </a:cubicBezTo>
                <a:close/>
                <a:moveTo>
                  <a:pt x="303775" y="252735"/>
                </a:moveTo>
                <a:cubicBezTo>
                  <a:pt x="275921" y="252735"/>
                  <a:pt x="253140" y="275492"/>
                  <a:pt x="253140" y="303317"/>
                </a:cubicBezTo>
                <a:cubicBezTo>
                  <a:pt x="253140" y="331231"/>
                  <a:pt x="275921" y="353900"/>
                  <a:pt x="303775" y="353900"/>
                </a:cubicBezTo>
                <a:cubicBezTo>
                  <a:pt x="331718" y="353900"/>
                  <a:pt x="354410" y="331231"/>
                  <a:pt x="354410" y="303317"/>
                </a:cubicBezTo>
                <a:cubicBezTo>
                  <a:pt x="354410" y="275492"/>
                  <a:pt x="331718" y="252735"/>
                  <a:pt x="303775" y="252735"/>
                </a:cubicBezTo>
                <a:close/>
                <a:moveTo>
                  <a:pt x="303775" y="202241"/>
                </a:moveTo>
                <a:cubicBezTo>
                  <a:pt x="359660" y="202241"/>
                  <a:pt x="405045" y="247579"/>
                  <a:pt x="405045" y="303317"/>
                </a:cubicBezTo>
                <a:cubicBezTo>
                  <a:pt x="405045" y="359144"/>
                  <a:pt x="359660" y="404482"/>
                  <a:pt x="303775" y="404482"/>
                </a:cubicBezTo>
                <a:cubicBezTo>
                  <a:pt x="247978" y="404482"/>
                  <a:pt x="202593" y="359144"/>
                  <a:pt x="202593" y="303317"/>
                </a:cubicBezTo>
                <a:cubicBezTo>
                  <a:pt x="202593" y="247579"/>
                  <a:pt x="247978" y="202241"/>
                  <a:pt x="303775" y="202241"/>
                </a:cubicBezTo>
                <a:close/>
                <a:moveTo>
                  <a:pt x="303775" y="151703"/>
                </a:moveTo>
                <a:cubicBezTo>
                  <a:pt x="220021" y="151703"/>
                  <a:pt x="151932" y="219689"/>
                  <a:pt x="151932" y="303317"/>
                </a:cubicBezTo>
                <a:cubicBezTo>
                  <a:pt x="151932" y="387033"/>
                  <a:pt x="220021" y="455019"/>
                  <a:pt x="303775" y="455019"/>
                </a:cubicBezTo>
                <a:cubicBezTo>
                  <a:pt x="387618" y="455019"/>
                  <a:pt x="455707" y="387033"/>
                  <a:pt x="455707" y="303317"/>
                </a:cubicBezTo>
                <a:cubicBezTo>
                  <a:pt x="455707" y="219689"/>
                  <a:pt x="387618" y="151703"/>
                  <a:pt x="303775" y="151703"/>
                </a:cubicBezTo>
                <a:close/>
                <a:moveTo>
                  <a:pt x="253131" y="0"/>
                </a:moveTo>
                <a:lnTo>
                  <a:pt x="354419" y="0"/>
                </a:lnTo>
                <a:cubicBezTo>
                  <a:pt x="368482" y="0"/>
                  <a:pt x="379786" y="11287"/>
                  <a:pt x="379786" y="25239"/>
                </a:cubicBezTo>
                <a:lnTo>
                  <a:pt x="379786" y="62387"/>
                </a:lnTo>
                <a:cubicBezTo>
                  <a:pt x="393849" y="66831"/>
                  <a:pt x="407555" y="72519"/>
                  <a:pt x="420639" y="79451"/>
                </a:cubicBezTo>
                <a:lnTo>
                  <a:pt x="446985" y="53145"/>
                </a:lnTo>
                <a:cubicBezTo>
                  <a:pt x="456953" y="43191"/>
                  <a:pt x="472974" y="43191"/>
                  <a:pt x="482854" y="53145"/>
                </a:cubicBezTo>
                <a:lnTo>
                  <a:pt x="554414" y="124597"/>
                </a:lnTo>
                <a:cubicBezTo>
                  <a:pt x="564294" y="134462"/>
                  <a:pt x="564294" y="150459"/>
                  <a:pt x="554414" y="160323"/>
                </a:cubicBezTo>
                <a:lnTo>
                  <a:pt x="528069" y="186629"/>
                </a:lnTo>
                <a:cubicBezTo>
                  <a:pt x="535011" y="199782"/>
                  <a:pt x="540707" y="213468"/>
                  <a:pt x="545158" y="227510"/>
                </a:cubicBezTo>
                <a:lnTo>
                  <a:pt x="582273" y="227510"/>
                </a:lnTo>
                <a:cubicBezTo>
                  <a:pt x="596336" y="227510"/>
                  <a:pt x="607639" y="238796"/>
                  <a:pt x="607639" y="252749"/>
                </a:cubicBezTo>
                <a:lnTo>
                  <a:pt x="607639" y="353884"/>
                </a:lnTo>
                <a:cubicBezTo>
                  <a:pt x="607639" y="367926"/>
                  <a:pt x="596247" y="379212"/>
                  <a:pt x="582273" y="379212"/>
                </a:cubicBezTo>
                <a:lnTo>
                  <a:pt x="545158" y="379212"/>
                </a:lnTo>
                <a:cubicBezTo>
                  <a:pt x="540707" y="393254"/>
                  <a:pt x="535011" y="406940"/>
                  <a:pt x="528069" y="420004"/>
                </a:cubicBezTo>
                <a:lnTo>
                  <a:pt x="554414" y="446310"/>
                </a:lnTo>
                <a:cubicBezTo>
                  <a:pt x="564294" y="456263"/>
                  <a:pt x="564294" y="472260"/>
                  <a:pt x="554414" y="482125"/>
                </a:cubicBezTo>
                <a:lnTo>
                  <a:pt x="482854" y="553577"/>
                </a:lnTo>
                <a:cubicBezTo>
                  <a:pt x="472974" y="563442"/>
                  <a:pt x="456953" y="563442"/>
                  <a:pt x="446985" y="553577"/>
                </a:cubicBezTo>
                <a:lnTo>
                  <a:pt x="420639" y="527271"/>
                </a:lnTo>
                <a:cubicBezTo>
                  <a:pt x="407555" y="534203"/>
                  <a:pt x="393849" y="539802"/>
                  <a:pt x="379786" y="544246"/>
                </a:cubicBezTo>
                <a:lnTo>
                  <a:pt x="379786" y="581394"/>
                </a:lnTo>
                <a:cubicBezTo>
                  <a:pt x="379786" y="595435"/>
                  <a:pt x="368393" y="606722"/>
                  <a:pt x="354419" y="606722"/>
                </a:cubicBezTo>
                <a:lnTo>
                  <a:pt x="253131" y="606722"/>
                </a:lnTo>
                <a:cubicBezTo>
                  <a:pt x="239157" y="606722"/>
                  <a:pt x="227854" y="595435"/>
                  <a:pt x="227854" y="581394"/>
                </a:cubicBezTo>
                <a:lnTo>
                  <a:pt x="227854" y="544246"/>
                </a:lnTo>
                <a:cubicBezTo>
                  <a:pt x="213791" y="539802"/>
                  <a:pt x="200084" y="534203"/>
                  <a:pt x="186911" y="527271"/>
                </a:cubicBezTo>
                <a:lnTo>
                  <a:pt x="160566" y="553577"/>
                </a:lnTo>
                <a:cubicBezTo>
                  <a:pt x="150686" y="563442"/>
                  <a:pt x="134665" y="563442"/>
                  <a:pt x="124786" y="553577"/>
                </a:cubicBezTo>
                <a:lnTo>
                  <a:pt x="53225" y="482125"/>
                </a:lnTo>
                <a:cubicBezTo>
                  <a:pt x="43257" y="472260"/>
                  <a:pt x="43257" y="456263"/>
                  <a:pt x="53225" y="446310"/>
                </a:cubicBezTo>
                <a:lnTo>
                  <a:pt x="79482" y="420004"/>
                </a:lnTo>
                <a:cubicBezTo>
                  <a:pt x="72629" y="406940"/>
                  <a:pt x="66932" y="393254"/>
                  <a:pt x="62482" y="379212"/>
                </a:cubicBezTo>
                <a:lnTo>
                  <a:pt x="25278" y="379212"/>
                </a:lnTo>
                <a:cubicBezTo>
                  <a:pt x="11304" y="379212"/>
                  <a:pt x="0" y="367926"/>
                  <a:pt x="0" y="353884"/>
                </a:cubicBezTo>
                <a:lnTo>
                  <a:pt x="0" y="252749"/>
                </a:lnTo>
                <a:cubicBezTo>
                  <a:pt x="0" y="238796"/>
                  <a:pt x="11304" y="227510"/>
                  <a:pt x="25278" y="227510"/>
                </a:cubicBezTo>
                <a:lnTo>
                  <a:pt x="62482" y="227510"/>
                </a:lnTo>
                <a:cubicBezTo>
                  <a:pt x="66932" y="213468"/>
                  <a:pt x="72629" y="199782"/>
                  <a:pt x="79482" y="186629"/>
                </a:cubicBezTo>
                <a:lnTo>
                  <a:pt x="53225" y="160323"/>
                </a:lnTo>
                <a:cubicBezTo>
                  <a:pt x="43257" y="150459"/>
                  <a:pt x="43257" y="134462"/>
                  <a:pt x="53225" y="124597"/>
                </a:cubicBezTo>
                <a:lnTo>
                  <a:pt x="124786" y="53145"/>
                </a:lnTo>
                <a:cubicBezTo>
                  <a:pt x="134665" y="43191"/>
                  <a:pt x="150686" y="43191"/>
                  <a:pt x="160566" y="53145"/>
                </a:cubicBezTo>
                <a:lnTo>
                  <a:pt x="186911" y="79451"/>
                </a:lnTo>
                <a:cubicBezTo>
                  <a:pt x="200084" y="72519"/>
                  <a:pt x="213791" y="66831"/>
                  <a:pt x="227854" y="62387"/>
                </a:cubicBezTo>
                <a:lnTo>
                  <a:pt x="227854" y="25239"/>
                </a:lnTo>
                <a:cubicBezTo>
                  <a:pt x="227854" y="11287"/>
                  <a:pt x="239157" y="0"/>
                  <a:pt x="25313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3" name="ïṧľíďê">
            <a:extLst>
              <a:ext uri="{FF2B5EF4-FFF2-40B4-BE49-F238E27FC236}">
                <a16:creationId xmlns:a16="http://schemas.microsoft.com/office/drawing/2014/main" id="{83AC56C8-BB22-4DB6-8372-AA84DFFA3A81}"/>
              </a:ext>
            </a:extLst>
          </p:cNvPr>
          <p:cNvSpPr/>
          <p:nvPr/>
        </p:nvSpPr>
        <p:spPr bwMode="auto">
          <a:xfrm>
            <a:off x="3046217" y="2417826"/>
            <a:ext cx="154527" cy="154274"/>
          </a:xfrm>
          <a:custGeom>
            <a:avLst/>
            <a:gdLst>
              <a:gd name="connsiteX0" fmla="*/ 380418 w 604181"/>
              <a:gd name="connsiteY0" fmla="*/ 268007 h 603193"/>
              <a:gd name="connsiteX1" fmla="*/ 519220 w 604181"/>
              <a:gd name="connsiteY1" fmla="*/ 339187 h 603193"/>
              <a:gd name="connsiteX2" fmla="*/ 519220 w 604181"/>
              <a:gd name="connsiteY2" fmla="*/ 355820 h 603193"/>
              <a:gd name="connsiteX3" fmla="*/ 380418 w 604181"/>
              <a:gd name="connsiteY3" fmla="*/ 426850 h 603193"/>
              <a:gd name="connsiteX4" fmla="*/ 380418 w 604181"/>
              <a:gd name="connsiteY4" fmla="*/ 406320 h 603193"/>
              <a:gd name="connsiteX5" fmla="*/ 498212 w 604181"/>
              <a:gd name="connsiteY5" fmla="*/ 347728 h 603193"/>
              <a:gd name="connsiteX6" fmla="*/ 498212 w 604181"/>
              <a:gd name="connsiteY6" fmla="*/ 347129 h 603193"/>
              <a:gd name="connsiteX7" fmla="*/ 380418 w 604181"/>
              <a:gd name="connsiteY7" fmla="*/ 288687 h 603193"/>
              <a:gd name="connsiteX8" fmla="*/ 216565 w 604181"/>
              <a:gd name="connsiteY8" fmla="*/ 268007 h 603193"/>
              <a:gd name="connsiteX9" fmla="*/ 216565 w 604181"/>
              <a:gd name="connsiteY9" fmla="*/ 288687 h 603193"/>
              <a:gd name="connsiteX10" fmla="*/ 99664 w 604181"/>
              <a:gd name="connsiteY10" fmla="*/ 347129 h 603193"/>
              <a:gd name="connsiteX11" fmla="*/ 99664 w 604181"/>
              <a:gd name="connsiteY11" fmla="*/ 347728 h 603193"/>
              <a:gd name="connsiteX12" fmla="*/ 216565 w 604181"/>
              <a:gd name="connsiteY12" fmla="*/ 406320 h 603193"/>
              <a:gd name="connsiteX13" fmla="*/ 216565 w 604181"/>
              <a:gd name="connsiteY13" fmla="*/ 426850 h 603193"/>
              <a:gd name="connsiteX14" fmla="*/ 77904 w 604181"/>
              <a:gd name="connsiteY14" fmla="*/ 355521 h 603193"/>
              <a:gd name="connsiteX15" fmla="*/ 77904 w 604181"/>
              <a:gd name="connsiteY15" fmla="*/ 339486 h 603193"/>
              <a:gd name="connsiteX16" fmla="*/ 338273 w 604181"/>
              <a:gd name="connsiteY16" fmla="*/ 222493 h 603193"/>
              <a:gd name="connsiteX17" fmla="*/ 358684 w 604181"/>
              <a:gd name="connsiteY17" fmla="*/ 222493 h 603193"/>
              <a:gd name="connsiteX18" fmla="*/ 253179 w 604181"/>
              <a:gd name="connsiteY18" fmla="*/ 482103 h 603193"/>
              <a:gd name="connsiteX19" fmla="*/ 233219 w 604181"/>
              <a:gd name="connsiteY19" fmla="*/ 482103 h 603193"/>
              <a:gd name="connsiteX20" fmla="*/ 28813 w 604181"/>
              <a:gd name="connsiteY20" fmla="*/ 128849 h 603193"/>
              <a:gd name="connsiteX21" fmla="*/ 28813 w 604181"/>
              <a:gd name="connsiteY21" fmla="*/ 557497 h 603193"/>
              <a:gd name="connsiteX22" fmla="*/ 45921 w 604181"/>
              <a:gd name="connsiteY22" fmla="*/ 574427 h 603193"/>
              <a:gd name="connsiteX23" fmla="*/ 558410 w 604181"/>
              <a:gd name="connsiteY23" fmla="*/ 574427 h 603193"/>
              <a:gd name="connsiteX24" fmla="*/ 575368 w 604181"/>
              <a:gd name="connsiteY24" fmla="*/ 557497 h 603193"/>
              <a:gd name="connsiteX25" fmla="*/ 575368 w 604181"/>
              <a:gd name="connsiteY25" fmla="*/ 128849 h 603193"/>
              <a:gd name="connsiteX26" fmla="*/ 502734 w 604181"/>
              <a:gd name="connsiteY26" fmla="*/ 43149 h 603193"/>
              <a:gd name="connsiteX27" fmla="*/ 502734 w 604181"/>
              <a:gd name="connsiteY27" fmla="*/ 77309 h 603193"/>
              <a:gd name="connsiteX28" fmla="*/ 537100 w 604181"/>
              <a:gd name="connsiteY28" fmla="*/ 77309 h 603193"/>
              <a:gd name="connsiteX29" fmla="*/ 537100 w 604181"/>
              <a:gd name="connsiteY29" fmla="*/ 43149 h 603193"/>
              <a:gd name="connsiteX30" fmla="*/ 423197 w 604181"/>
              <a:gd name="connsiteY30" fmla="*/ 43149 h 603193"/>
              <a:gd name="connsiteX31" fmla="*/ 423197 w 604181"/>
              <a:gd name="connsiteY31" fmla="*/ 77309 h 603193"/>
              <a:gd name="connsiteX32" fmla="*/ 457563 w 604181"/>
              <a:gd name="connsiteY32" fmla="*/ 77309 h 603193"/>
              <a:gd name="connsiteX33" fmla="*/ 457563 w 604181"/>
              <a:gd name="connsiteY33" fmla="*/ 43149 h 603193"/>
              <a:gd name="connsiteX34" fmla="*/ 45921 w 604181"/>
              <a:gd name="connsiteY34" fmla="*/ 0 h 603193"/>
              <a:gd name="connsiteX35" fmla="*/ 558410 w 604181"/>
              <a:gd name="connsiteY35" fmla="*/ 0 h 603193"/>
              <a:gd name="connsiteX36" fmla="*/ 604181 w 604181"/>
              <a:gd name="connsiteY36" fmla="*/ 45846 h 603193"/>
              <a:gd name="connsiteX37" fmla="*/ 604181 w 604181"/>
              <a:gd name="connsiteY37" fmla="*/ 557497 h 603193"/>
              <a:gd name="connsiteX38" fmla="*/ 558410 w 604181"/>
              <a:gd name="connsiteY38" fmla="*/ 603193 h 603193"/>
              <a:gd name="connsiteX39" fmla="*/ 45921 w 604181"/>
              <a:gd name="connsiteY39" fmla="*/ 603193 h 603193"/>
              <a:gd name="connsiteX40" fmla="*/ 0 w 604181"/>
              <a:gd name="connsiteY40" fmla="*/ 557497 h 603193"/>
              <a:gd name="connsiteX41" fmla="*/ 0 w 604181"/>
              <a:gd name="connsiteY41" fmla="*/ 45846 h 603193"/>
              <a:gd name="connsiteX42" fmla="*/ 45921 w 604181"/>
              <a:gd name="connsiteY42" fmla="*/ 0 h 603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04181" h="603193">
                <a:moveTo>
                  <a:pt x="380418" y="268007"/>
                </a:moveTo>
                <a:lnTo>
                  <a:pt x="519220" y="339187"/>
                </a:lnTo>
                <a:lnTo>
                  <a:pt x="519220" y="355820"/>
                </a:lnTo>
                <a:lnTo>
                  <a:pt x="380418" y="426850"/>
                </a:lnTo>
                <a:lnTo>
                  <a:pt x="380418" y="406320"/>
                </a:lnTo>
                <a:lnTo>
                  <a:pt x="498212" y="347728"/>
                </a:lnTo>
                <a:lnTo>
                  <a:pt x="498212" y="347129"/>
                </a:lnTo>
                <a:lnTo>
                  <a:pt x="380418" y="288687"/>
                </a:lnTo>
                <a:close/>
                <a:moveTo>
                  <a:pt x="216565" y="268007"/>
                </a:moveTo>
                <a:lnTo>
                  <a:pt x="216565" y="288687"/>
                </a:lnTo>
                <a:lnTo>
                  <a:pt x="99664" y="347129"/>
                </a:lnTo>
                <a:lnTo>
                  <a:pt x="99664" y="347728"/>
                </a:lnTo>
                <a:lnTo>
                  <a:pt x="216565" y="406320"/>
                </a:lnTo>
                <a:lnTo>
                  <a:pt x="216565" y="426850"/>
                </a:lnTo>
                <a:lnTo>
                  <a:pt x="77904" y="355521"/>
                </a:lnTo>
                <a:lnTo>
                  <a:pt x="77904" y="339486"/>
                </a:lnTo>
                <a:close/>
                <a:moveTo>
                  <a:pt x="338273" y="222493"/>
                </a:moveTo>
                <a:lnTo>
                  <a:pt x="358684" y="222493"/>
                </a:lnTo>
                <a:lnTo>
                  <a:pt x="253179" y="482103"/>
                </a:lnTo>
                <a:lnTo>
                  <a:pt x="233219" y="482103"/>
                </a:lnTo>
                <a:close/>
                <a:moveTo>
                  <a:pt x="28813" y="128849"/>
                </a:moveTo>
                <a:lnTo>
                  <a:pt x="28813" y="557497"/>
                </a:lnTo>
                <a:cubicBezTo>
                  <a:pt x="28813" y="566786"/>
                  <a:pt x="36467" y="574427"/>
                  <a:pt x="45921" y="574427"/>
                </a:cubicBezTo>
                <a:lnTo>
                  <a:pt x="558410" y="574427"/>
                </a:lnTo>
                <a:cubicBezTo>
                  <a:pt x="567714" y="574427"/>
                  <a:pt x="575368" y="566786"/>
                  <a:pt x="575368" y="557497"/>
                </a:cubicBezTo>
                <a:lnTo>
                  <a:pt x="575368" y="128849"/>
                </a:lnTo>
                <a:close/>
                <a:moveTo>
                  <a:pt x="502734" y="43149"/>
                </a:moveTo>
                <a:lnTo>
                  <a:pt x="502734" y="77309"/>
                </a:lnTo>
                <a:lnTo>
                  <a:pt x="537100" y="77309"/>
                </a:lnTo>
                <a:lnTo>
                  <a:pt x="537100" y="43149"/>
                </a:lnTo>
                <a:close/>
                <a:moveTo>
                  <a:pt x="423197" y="43149"/>
                </a:moveTo>
                <a:lnTo>
                  <a:pt x="423197" y="77309"/>
                </a:lnTo>
                <a:lnTo>
                  <a:pt x="457563" y="77309"/>
                </a:lnTo>
                <a:lnTo>
                  <a:pt x="457563" y="43149"/>
                </a:lnTo>
                <a:close/>
                <a:moveTo>
                  <a:pt x="45921" y="0"/>
                </a:moveTo>
                <a:lnTo>
                  <a:pt x="558410" y="0"/>
                </a:lnTo>
                <a:cubicBezTo>
                  <a:pt x="583621" y="0"/>
                  <a:pt x="604181" y="20526"/>
                  <a:pt x="604181" y="45846"/>
                </a:cubicBezTo>
                <a:lnTo>
                  <a:pt x="604181" y="557497"/>
                </a:lnTo>
                <a:cubicBezTo>
                  <a:pt x="604181" y="582667"/>
                  <a:pt x="583621" y="603193"/>
                  <a:pt x="558410" y="603193"/>
                </a:cubicBezTo>
                <a:lnTo>
                  <a:pt x="45921" y="603193"/>
                </a:lnTo>
                <a:cubicBezTo>
                  <a:pt x="20560" y="603193"/>
                  <a:pt x="0" y="582667"/>
                  <a:pt x="0" y="557497"/>
                </a:cubicBezTo>
                <a:lnTo>
                  <a:pt x="0" y="45846"/>
                </a:lnTo>
                <a:cubicBezTo>
                  <a:pt x="0" y="20526"/>
                  <a:pt x="20560" y="0"/>
                  <a:pt x="4592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4" name="îṣḻîḍé">
            <a:extLst>
              <a:ext uri="{FF2B5EF4-FFF2-40B4-BE49-F238E27FC236}">
                <a16:creationId xmlns:a16="http://schemas.microsoft.com/office/drawing/2014/main" id="{716A4AAF-66FE-4462-901E-658C29D84AD8}"/>
              </a:ext>
            </a:extLst>
          </p:cNvPr>
          <p:cNvSpPr/>
          <p:nvPr/>
        </p:nvSpPr>
        <p:spPr bwMode="auto">
          <a:xfrm>
            <a:off x="2825711" y="2680853"/>
            <a:ext cx="154527" cy="154293"/>
          </a:xfrm>
          <a:custGeom>
            <a:avLst/>
            <a:gdLst>
              <a:gd name="T0" fmla="*/ 6624 w 7154"/>
              <a:gd name="T1" fmla="*/ 2037 h 7154"/>
              <a:gd name="T2" fmla="*/ 6106 w 7154"/>
              <a:gd name="T3" fmla="*/ 1048 h 7154"/>
              <a:gd name="T4" fmla="*/ 5117 w 7154"/>
              <a:gd name="T5" fmla="*/ 530 h 7154"/>
              <a:gd name="T6" fmla="*/ 4643 w 7154"/>
              <a:gd name="T7" fmla="*/ 334 h 7154"/>
              <a:gd name="T8" fmla="*/ 3577 w 7154"/>
              <a:gd name="T9" fmla="*/ 0 h 7154"/>
              <a:gd name="T10" fmla="*/ 2511 w 7154"/>
              <a:gd name="T11" fmla="*/ 334 h 7154"/>
              <a:gd name="T12" fmla="*/ 2037 w 7154"/>
              <a:gd name="T13" fmla="*/ 530 h 7154"/>
              <a:gd name="T14" fmla="*/ 1048 w 7154"/>
              <a:gd name="T15" fmla="*/ 1048 h 7154"/>
              <a:gd name="T16" fmla="*/ 530 w 7154"/>
              <a:gd name="T17" fmla="*/ 2037 h 7154"/>
              <a:gd name="T18" fmla="*/ 334 w 7154"/>
              <a:gd name="T19" fmla="*/ 2511 h 7154"/>
              <a:gd name="T20" fmla="*/ 0 w 7154"/>
              <a:gd name="T21" fmla="*/ 3577 h 7154"/>
              <a:gd name="T22" fmla="*/ 334 w 7154"/>
              <a:gd name="T23" fmla="*/ 4643 h 7154"/>
              <a:gd name="T24" fmla="*/ 530 w 7154"/>
              <a:gd name="T25" fmla="*/ 5117 h 7154"/>
              <a:gd name="T26" fmla="*/ 1048 w 7154"/>
              <a:gd name="T27" fmla="*/ 6106 h 7154"/>
              <a:gd name="T28" fmla="*/ 2037 w 7154"/>
              <a:gd name="T29" fmla="*/ 6624 h 7154"/>
              <a:gd name="T30" fmla="*/ 2511 w 7154"/>
              <a:gd name="T31" fmla="*/ 6820 h 7154"/>
              <a:gd name="T32" fmla="*/ 3577 w 7154"/>
              <a:gd name="T33" fmla="*/ 7154 h 7154"/>
              <a:gd name="T34" fmla="*/ 4643 w 7154"/>
              <a:gd name="T35" fmla="*/ 6820 h 7154"/>
              <a:gd name="T36" fmla="*/ 5117 w 7154"/>
              <a:gd name="T37" fmla="*/ 6624 h 7154"/>
              <a:gd name="T38" fmla="*/ 6106 w 7154"/>
              <a:gd name="T39" fmla="*/ 6106 h 7154"/>
              <a:gd name="T40" fmla="*/ 6624 w 7154"/>
              <a:gd name="T41" fmla="*/ 5117 h 7154"/>
              <a:gd name="T42" fmla="*/ 6820 w 7154"/>
              <a:gd name="T43" fmla="*/ 4643 h 7154"/>
              <a:gd name="T44" fmla="*/ 7154 w 7154"/>
              <a:gd name="T45" fmla="*/ 3577 h 7154"/>
              <a:gd name="T46" fmla="*/ 6820 w 7154"/>
              <a:gd name="T47" fmla="*/ 2511 h 7154"/>
              <a:gd name="T48" fmla="*/ 6624 w 7154"/>
              <a:gd name="T49" fmla="*/ 2037 h 7154"/>
              <a:gd name="T50" fmla="*/ 5857 w 7154"/>
              <a:gd name="T51" fmla="*/ 2406 h 7154"/>
              <a:gd name="T52" fmla="*/ 3286 w 7154"/>
              <a:gd name="T53" fmla="*/ 4976 h 7154"/>
              <a:gd name="T54" fmla="*/ 2875 w 7154"/>
              <a:gd name="T55" fmla="*/ 5387 h 7154"/>
              <a:gd name="T56" fmla="*/ 2464 w 7154"/>
              <a:gd name="T57" fmla="*/ 5387 h 7154"/>
              <a:gd name="T58" fmla="*/ 2053 w 7154"/>
              <a:gd name="T59" fmla="*/ 4976 h 7154"/>
              <a:gd name="T60" fmla="*/ 1297 w 7154"/>
              <a:gd name="T61" fmla="*/ 4221 h 7154"/>
              <a:gd name="T62" fmla="*/ 1297 w 7154"/>
              <a:gd name="T63" fmla="*/ 3809 h 7154"/>
              <a:gd name="T64" fmla="*/ 1708 w 7154"/>
              <a:gd name="T65" fmla="*/ 3398 h 7154"/>
              <a:gd name="T66" fmla="*/ 2120 w 7154"/>
              <a:gd name="T67" fmla="*/ 3398 h 7154"/>
              <a:gd name="T68" fmla="*/ 2669 w 7154"/>
              <a:gd name="T69" fmla="*/ 3948 h 7154"/>
              <a:gd name="T70" fmla="*/ 5034 w 7154"/>
              <a:gd name="T71" fmla="*/ 1583 h 7154"/>
              <a:gd name="T72" fmla="*/ 5445 w 7154"/>
              <a:gd name="T73" fmla="*/ 1583 h 7154"/>
              <a:gd name="T74" fmla="*/ 5857 w 7154"/>
              <a:gd name="T75" fmla="*/ 1994 h 7154"/>
              <a:gd name="T76" fmla="*/ 5857 w 7154"/>
              <a:gd name="T77" fmla="*/ 2406 h 7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154" h="7154">
                <a:moveTo>
                  <a:pt x="6624" y="2037"/>
                </a:moveTo>
                <a:cubicBezTo>
                  <a:pt x="6580" y="1703"/>
                  <a:pt x="6403" y="1345"/>
                  <a:pt x="6106" y="1048"/>
                </a:cubicBezTo>
                <a:cubicBezTo>
                  <a:pt x="5809" y="751"/>
                  <a:pt x="5451" y="574"/>
                  <a:pt x="5117" y="530"/>
                </a:cubicBezTo>
                <a:cubicBezTo>
                  <a:pt x="4966" y="510"/>
                  <a:pt x="4764" y="427"/>
                  <a:pt x="4643" y="334"/>
                </a:cubicBezTo>
                <a:cubicBezTo>
                  <a:pt x="4375" y="128"/>
                  <a:pt x="3997" y="0"/>
                  <a:pt x="3577" y="0"/>
                </a:cubicBezTo>
                <a:cubicBezTo>
                  <a:pt x="3157" y="0"/>
                  <a:pt x="2779" y="128"/>
                  <a:pt x="2511" y="334"/>
                </a:cubicBezTo>
                <a:cubicBezTo>
                  <a:pt x="2390" y="427"/>
                  <a:pt x="2188" y="510"/>
                  <a:pt x="2037" y="530"/>
                </a:cubicBezTo>
                <a:cubicBezTo>
                  <a:pt x="1702" y="574"/>
                  <a:pt x="1345" y="751"/>
                  <a:pt x="1048" y="1048"/>
                </a:cubicBezTo>
                <a:cubicBezTo>
                  <a:pt x="751" y="1345"/>
                  <a:pt x="574" y="1703"/>
                  <a:pt x="530" y="2037"/>
                </a:cubicBezTo>
                <a:cubicBezTo>
                  <a:pt x="510" y="2188"/>
                  <a:pt x="427" y="2390"/>
                  <a:pt x="334" y="2511"/>
                </a:cubicBezTo>
                <a:cubicBezTo>
                  <a:pt x="128" y="2779"/>
                  <a:pt x="0" y="3157"/>
                  <a:pt x="0" y="3577"/>
                </a:cubicBezTo>
                <a:cubicBezTo>
                  <a:pt x="0" y="3997"/>
                  <a:pt x="128" y="4375"/>
                  <a:pt x="334" y="4643"/>
                </a:cubicBezTo>
                <a:cubicBezTo>
                  <a:pt x="427" y="4764"/>
                  <a:pt x="510" y="4966"/>
                  <a:pt x="530" y="5117"/>
                </a:cubicBezTo>
                <a:cubicBezTo>
                  <a:pt x="574" y="5451"/>
                  <a:pt x="751" y="5809"/>
                  <a:pt x="1048" y="6106"/>
                </a:cubicBezTo>
                <a:cubicBezTo>
                  <a:pt x="1345" y="6403"/>
                  <a:pt x="1702" y="6580"/>
                  <a:pt x="2037" y="6624"/>
                </a:cubicBezTo>
                <a:cubicBezTo>
                  <a:pt x="2188" y="6644"/>
                  <a:pt x="2390" y="6727"/>
                  <a:pt x="2511" y="6820"/>
                </a:cubicBezTo>
                <a:cubicBezTo>
                  <a:pt x="2779" y="7025"/>
                  <a:pt x="3157" y="7154"/>
                  <a:pt x="3577" y="7154"/>
                </a:cubicBezTo>
                <a:cubicBezTo>
                  <a:pt x="3997" y="7154"/>
                  <a:pt x="4375" y="7025"/>
                  <a:pt x="4643" y="6820"/>
                </a:cubicBezTo>
                <a:cubicBezTo>
                  <a:pt x="4764" y="6727"/>
                  <a:pt x="4966" y="6644"/>
                  <a:pt x="5117" y="6624"/>
                </a:cubicBezTo>
                <a:cubicBezTo>
                  <a:pt x="5451" y="6580"/>
                  <a:pt x="5809" y="6403"/>
                  <a:pt x="6106" y="6106"/>
                </a:cubicBezTo>
                <a:cubicBezTo>
                  <a:pt x="6403" y="5809"/>
                  <a:pt x="6580" y="5451"/>
                  <a:pt x="6624" y="5117"/>
                </a:cubicBezTo>
                <a:cubicBezTo>
                  <a:pt x="6644" y="4966"/>
                  <a:pt x="6727" y="4764"/>
                  <a:pt x="6820" y="4643"/>
                </a:cubicBezTo>
                <a:cubicBezTo>
                  <a:pt x="7026" y="4375"/>
                  <a:pt x="7154" y="3997"/>
                  <a:pt x="7154" y="3577"/>
                </a:cubicBezTo>
                <a:cubicBezTo>
                  <a:pt x="7154" y="3157"/>
                  <a:pt x="7026" y="2779"/>
                  <a:pt x="6820" y="2511"/>
                </a:cubicBezTo>
                <a:cubicBezTo>
                  <a:pt x="6727" y="2390"/>
                  <a:pt x="6644" y="2188"/>
                  <a:pt x="6624" y="2037"/>
                </a:cubicBezTo>
                <a:close/>
                <a:moveTo>
                  <a:pt x="5857" y="2406"/>
                </a:moveTo>
                <a:lnTo>
                  <a:pt x="3286" y="4976"/>
                </a:lnTo>
                <a:lnTo>
                  <a:pt x="2875" y="5387"/>
                </a:lnTo>
                <a:cubicBezTo>
                  <a:pt x="2762" y="5501"/>
                  <a:pt x="2577" y="5501"/>
                  <a:pt x="2464" y="5387"/>
                </a:cubicBezTo>
                <a:lnTo>
                  <a:pt x="2053" y="4976"/>
                </a:lnTo>
                <a:lnTo>
                  <a:pt x="1297" y="4221"/>
                </a:lnTo>
                <a:cubicBezTo>
                  <a:pt x="1183" y="4107"/>
                  <a:pt x="1183" y="3923"/>
                  <a:pt x="1297" y="3809"/>
                </a:cubicBezTo>
                <a:lnTo>
                  <a:pt x="1708" y="3398"/>
                </a:lnTo>
                <a:cubicBezTo>
                  <a:pt x="1822" y="3285"/>
                  <a:pt x="2006" y="3285"/>
                  <a:pt x="2120" y="3398"/>
                </a:cubicBezTo>
                <a:lnTo>
                  <a:pt x="2669" y="3948"/>
                </a:lnTo>
                <a:lnTo>
                  <a:pt x="5034" y="1583"/>
                </a:lnTo>
                <a:cubicBezTo>
                  <a:pt x="5148" y="1470"/>
                  <a:pt x="5332" y="1470"/>
                  <a:pt x="5445" y="1583"/>
                </a:cubicBezTo>
                <a:lnTo>
                  <a:pt x="5857" y="1994"/>
                </a:lnTo>
                <a:cubicBezTo>
                  <a:pt x="5970" y="2108"/>
                  <a:pt x="5970" y="2292"/>
                  <a:pt x="5857" y="2406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5" name="iṧḷiḑé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555424" y="2144580"/>
            <a:ext cx="1278127" cy="19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按分布模式进行配置</a:t>
            </a:r>
            <a:endParaRPr lang="en-US" altLang="zh-CN" sz="1100" dirty="0"/>
          </a:p>
        </p:txBody>
      </p:sp>
      <p:sp>
        <p:nvSpPr>
          <p:cNvPr id="216" name="îṧḻiḑe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332037" y="2410591"/>
            <a:ext cx="1278127" cy="19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运行第一个实例</a:t>
            </a:r>
            <a:endParaRPr lang="en-US" altLang="zh-CN" sz="1100" dirty="0"/>
          </a:p>
        </p:txBody>
      </p:sp>
      <p:sp>
        <p:nvSpPr>
          <p:cNvPr id="217" name="îṣľïd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108716" y="2676601"/>
            <a:ext cx="1278127" cy="19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开心</a:t>
            </a:r>
            <a:r>
              <a:rPr lang="en-US" altLang="zh-CN" sz="1100" dirty="0" err="1"/>
              <a:t>ing</a:t>
            </a:r>
            <a:r>
              <a:rPr lang="en-US" altLang="zh-CN" sz="1100" dirty="0"/>
              <a:t>~</a:t>
            </a:r>
          </a:p>
        </p:txBody>
      </p:sp>
      <p:sp>
        <p:nvSpPr>
          <p:cNvPr id="218" name="íṧ1îd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778718" y="1878569"/>
            <a:ext cx="1278127" cy="19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 解压</a:t>
            </a:r>
            <a:endParaRPr lang="en-US" altLang="zh-CN" sz="1100" dirty="0"/>
          </a:p>
        </p:txBody>
      </p:sp>
      <p:sp>
        <p:nvSpPr>
          <p:cNvPr id="219" name="îs1ïḋ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4004827" y="1612558"/>
            <a:ext cx="1278127" cy="19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>
                <a:solidFill>
                  <a:schemeClr val="bg1"/>
                </a:solidFill>
              </a:rPr>
              <a:t>配置环境变量 使之生效</a:t>
            </a: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20" name="íšliḓ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4228134" y="1346547"/>
            <a:ext cx="1278127" cy="19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</a:t>
            </a:r>
            <a:r>
              <a:rPr lang="en-US" altLang="zh-CN" sz="1100" dirty="0"/>
              <a:t> </a:t>
            </a:r>
            <a:r>
              <a:rPr lang="zh-CN" altLang="en-US" sz="1100" dirty="0"/>
              <a:t>解压</a:t>
            </a:r>
            <a:endParaRPr lang="en-US" altLang="zh-CN" sz="1100" dirty="0"/>
          </a:p>
        </p:txBody>
      </p:sp>
      <p:sp>
        <p:nvSpPr>
          <p:cNvPr id="91" name="íSľîḍe">
            <a:extLst>
              <a:ext uri="{FF2B5EF4-FFF2-40B4-BE49-F238E27FC236}">
                <a16:creationId xmlns:a16="http://schemas.microsoft.com/office/drawing/2014/main" id="{584D921E-ABF9-4D19-9FE4-536FCFF87129}"/>
              </a:ext>
            </a:extLst>
          </p:cNvPr>
          <p:cNvSpPr/>
          <p:nvPr/>
        </p:nvSpPr>
        <p:spPr>
          <a:xfrm>
            <a:off x="2224471" y="3494498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下载</a:t>
            </a:r>
          </a:p>
        </p:txBody>
      </p:sp>
      <p:sp>
        <p:nvSpPr>
          <p:cNvPr id="92" name="îṩḷïḍé">
            <a:extLst>
              <a:ext uri="{FF2B5EF4-FFF2-40B4-BE49-F238E27FC236}">
                <a16:creationId xmlns:a16="http://schemas.microsoft.com/office/drawing/2014/main" id="{E6CC048A-2A07-488E-934A-7C38CF8ACBCE}"/>
              </a:ext>
            </a:extLst>
          </p:cNvPr>
          <p:cNvSpPr>
            <a:spLocks/>
          </p:cNvSpPr>
          <p:nvPr/>
        </p:nvSpPr>
        <p:spPr bwMode="auto">
          <a:xfrm>
            <a:off x="2490208" y="3611872"/>
            <a:ext cx="532037" cy="532037"/>
          </a:xfrm>
          <a:custGeom>
            <a:avLst/>
            <a:gdLst>
              <a:gd name="connsiteX0" fmla="*/ 39602 w 536368"/>
              <a:gd name="connsiteY0" fmla="*/ 407445 h 587881"/>
              <a:gd name="connsiteX1" fmla="*/ 79294 w 536368"/>
              <a:gd name="connsiteY1" fmla="*/ 446999 h 587881"/>
              <a:gd name="connsiteX2" fmla="*/ 79294 w 536368"/>
              <a:gd name="connsiteY2" fmla="*/ 508685 h 587881"/>
              <a:gd name="connsiteX3" fmla="*/ 457074 w 536368"/>
              <a:gd name="connsiteY3" fmla="*/ 508685 h 587881"/>
              <a:gd name="connsiteX4" fmla="*/ 457074 w 536368"/>
              <a:gd name="connsiteY4" fmla="*/ 446999 h 587881"/>
              <a:gd name="connsiteX5" fmla="*/ 496677 w 536368"/>
              <a:gd name="connsiteY5" fmla="*/ 407445 h 587881"/>
              <a:gd name="connsiteX6" fmla="*/ 536368 w 536368"/>
              <a:gd name="connsiteY6" fmla="*/ 446999 h 587881"/>
              <a:gd name="connsiteX7" fmla="*/ 536368 w 536368"/>
              <a:gd name="connsiteY7" fmla="*/ 548238 h 587881"/>
              <a:gd name="connsiteX8" fmla="*/ 496677 w 536368"/>
              <a:gd name="connsiteY8" fmla="*/ 587881 h 587881"/>
              <a:gd name="connsiteX9" fmla="*/ 39602 w 536368"/>
              <a:gd name="connsiteY9" fmla="*/ 587881 h 587881"/>
              <a:gd name="connsiteX10" fmla="*/ 0 w 536368"/>
              <a:gd name="connsiteY10" fmla="*/ 548238 h 587881"/>
              <a:gd name="connsiteX11" fmla="*/ 0 w 536368"/>
              <a:gd name="connsiteY11" fmla="*/ 446999 h 587881"/>
              <a:gd name="connsiteX12" fmla="*/ 39602 w 536368"/>
              <a:gd name="connsiteY12" fmla="*/ 407445 h 587881"/>
              <a:gd name="connsiteX13" fmla="*/ 223430 w 536368"/>
              <a:gd name="connsiteY13" fmla="*/ 0 h 587881"/>
              <a:gd name="connsiteX14" fmla="*/ 312886 w 536368"/>
              <a:gd name="connsiteY14" fmla="*/ 0 h 587881"/>
              <a:gd name="connsiteX15" fmla="*/ 343773 w 536368"/>
              <a:gd name="connsiteY15" fmla="*/ 30926 h 587881"/>
              <a:gd name="connsiteX16" fmla="*/ 343773 w 536368"/>
              <a:gd name="connsiteY16" fmla="*/ 286685 h 587881"/>
              <a:gd name="connsiteX17" fmla="*/ 409018 w 536368"/>
              <a:gd name="connsiteY17" fmla="*/ 286685 h 587881"/>
              <a:gd name="connsiteX18" fmla="*/ 422103 w 536368"/>
              <a:gd name="connsiteY18" fmla="*/ 295394 h 587881"/>
              <a:gd name="connsiteX19" fmla="*/ 418988 w 536368"/>
              <a:gd name="connsiteY19" fmla="*/ 310857 h 587881"/>
              <a:gd name="connsiteX20" fmla="*/ 280130 w 536368"/>
              <a:gd name="connsiteY20" fmla="*/ 449489 h 587881"/>
              <a:gd name="connsiteX21" fmla="*/ 256186 w 536368"/>
              <a:gd name="connsiteY21" fmla="*/ 449489 h 587881"/>
              <a:gd name="connsiteX22" fmla="*/ 117239 w 536368"/>
              <a:gd name="connsiteY22" fmla="*/ 310857 h 587881"/>
              <a:gd name="connsiteX23" fmla="*/ 114213 w 536368"/>
              <a:gd name="connsiteY23" fmla="*/ 295394 h 587881"/>
              <a:gd name="connsiteX24" fmla="*/ 127297 w 536368"/>
              <a:gd name="connsiteY24" fmla="*/ 286685 h 587881"/>
              <a:gd name="connsiteX25" fmla="*/ 192543 w 536368"/>
              <a:gd name="connsiteY25" fmla="*/ 286685 h 587881"/>
              <a:gd name="connsiteX26" fmla="*/ 192543 w 536368"/>
              <a:gd name="connsiteY26" fmla="*/ 30926 h 587881"/>
              <a:gd name="connsiteX27" fmla="*/ 223430 w 536368"/>
              <a:gd name="connsiteY27" fmla="*/ 0 h 587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536368" h="587881">
                <a:moveTo>
                  <a:pt x="39602" y="407445"/>
                </a:moveTo>
                <a:cubicBezTo>
                  <a:pt x="61495" y="407445"/>
                  <a:pt x="79294" y="425133"/>
                  <a:pt x="79294" y="446999"/>
                </a:cubicBezTo>
                <a:lnTo>
                  <a:pt x="79294" y="508685"/>
                </a:lnTo>
                <a:lnTo>
                  <a:pt x="457074" y="508685"/>
                </a:lnTo>
                <a:lnTo>
                  <a:pt x="457074" y="446999"/>
                </a:lnTo>
                <a:cubicBezTo>
                  <a:pt x="457074" y="425133"/>
                  <a:pt x="474873" y="407445"/>
                  <a:pt x="496677" y="407445"/>
                </a:cubicBezTo>
                <a:cubicBezTo>
                  <a:pt x="518569" y="407445"/>
                  <a:pt x="536368" y="425133"/>
                  <a:pt x="536368" y="446999"/>
                </a:cubicBezTo>
                <a:lnTo>
                  <a:pt x="536368" y="548238"/>
                </a:lnTo>
                <a:cubicBezTo>
                  <a:pt x="536368" y="570104"/>
                  <a:pt x="518569" y="587881"/>
                  <a:pt x="496677" y="587881"/>
                </a:cubicBezTo>
                <a:lnTo>
                  <a:pt x="39602" y="587881"/>
                </a:lnTo>
                <a:cubicBezTo>
                  <a:pt x="17710" y="587881"/>
                  <a:pt x="0" y="570104"/>
                  <a:pt x="0" y="548238"/>
                </a:cubicBezTo>
                <a:lnTo>
                  <a:pt x="0" y="446999"/>
                </a:lnTo>
                <a:cubicBezTo>
                  <a:pt x="0" y="425133"/>
                  <a:pt x="17710" y="407445"/>
                  <a:pt x="39602" y="407445"/>
                </a:cubicBezTo>
                <a:close/>
                <a:moveTo>
                  <a:pt x="223430" y="0"/>
                </a:moveTo>
                <a:lnTo>
                  <a:pt x="312886" y="0"/>
                </a:lnTo>
                <a:cubicBezTo>
                  <a:pt x="329976" y="0"/>
                  <a:pt x="343773" y="13863"/>
                  <a:pt x="343773" y="30926"/>
                </a:cubicBezTo>
                <a:lnTo>
                  <a:pt x="343773" y="286685"/>
                </a:lnTo>
                <a:lnTo>
                  <a:pt x="409018" y="286685"/>
                </a:lnTo>
                <a:cubicBezTo>
                  <a:pt x="414715" y="286685"/>
                  <a:pt x="419878" y="290151"/>
                  <a:pt x="422103" y="295394"/>
                </a:cubicBezTo>
                <a:cubicBezTo>
                  <a:pt x="424239" y="300726"/>
                  <a:pt x="423082" y="306769"/>
                  <a:pt x="418988" y="310857"/>
                </a:cubicBezTo>
                <a:lnTo>
                  <a:pt x="280130" y="449489"/>
                </a:lnTo>
                <a:cubicBezTo>
                  <a:pt x="273543" y="456065"/>
                  <a:pt x="262773" y="456065"/>
                  <a:pt x="256186" y="449489"/>
                </a:cubicBezTo>
                <a:lnTo>
                  <a:pt x="117239" y="310857"/>
                </a:lnTo>
                <a:cubicBezTo>
                  <a:pt x="113233" y="306769"/>
                  <a:pt x="111987" y="300726"/>
                  <a:pt x="114213" y="295394"/>
                </a:cubicBezTo>
                <a:cubicBezTo>
                  <a:pt x="116438" y="290151"/>
                  <a:pt x="121511" y="286685"/>
                  <a:pt x="127297" y="286685"/>
                </a:cubicBezTo>
                <a:lnTo>
                  <a:pt x="192543" y="286685"/>
                </a:lnTo>
                <a:lnTo>
                  <a:pt x="192543" y="30926"/>
                </a:lnTo>
                <a:cubicBezTo>
                  <a:pt x="192543" y="13863"/>
                  <a:pt x="206339" y="0"/>
                  <a:pt x="223430" y="0"/>
                </a:cubicBezTo>
                <a:close/>
              </a:path>
            </a:pathLst>
          </a:cu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sz="2400" b="1"/>
          </a:p>
        </p:txBody>
      </p:sp>
      <p:sp>
        <p:nvSpPr>
          <p:cNvPr id="93" name="íṩ1íďê">
            <a:extLst>
              <a:ext uri="{FF2B5EF4-FFF2-40B4-BE49-F238E27FC236}">
                <a16:creationId xmlns:a16="http://schemas.microsoft.com/office/drawing/2014/main" id="{A43C16A8-1BD6-45E9-A3E3-109EC9DE6D1C}"/>
              </a:ext>
            </a:extLst>
          </p:cNvPr>
          <p:cNvSpPr/>
          <p:nvPr/>
        </p:nvSpPr>
        <p:spPr>
          <a:xfrm>
            <a:off x="1257917" y="4640590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官网</a:t>
            </a:r>
          </a:p>
        </p:txBody>
      </p:sp>
      <p:sp>
        <p:nvSpPr>
          <p:cNvPr id="94" name="íŝḻíḍê">
            <a:extLst>
              <a:ext uri="{FF2B5EF4-FFF2-40B4-BE49-F238E27FC236}">
                <a16:creationId xmlns:a16="http://schemas.microsoft.com/office/drawing/2014/main" id="{14C184E4-7197-4EDE-A342-AAA80DC3661B}"/>
              </a:ext>
            </a:extLst>
          </p:cNvPr>
          <p:cNvSpPr>
            <a:spLocks/>
          </p:cNvSpPr>
          <p:nvPr/>
        </p:nvSpPr>
        <p:spPr bwMode="auto">
          <a:xfrm>
            <a:off x="1531223" y="4793255"/>
            <a:ext cx="532037" cy="532037"/>
          </a:xfrm>
          <a:custGeom>
            <a:avLst/>
            <a:gdLst>
              <a:gd name="connsiteX0" fmla="*/ 454514 w 613046"/>
              <a:gd name="connsiteY0" fmla="*/ 373741 h 610326"/>
              <a:gd name="connsiteX1" fmla="*/ 595797 w 613046"/>
              <a:gd name="connsiteY1" fmla="*/ 511272 h 610326"/>
              <a:gd name="connsiteX2" fmla="*/ 595797 w 613046"/>
              <a:gd name="connsiteY2" fmla="*/ 593135 h 610326"/>
              <a:gd name="connsiteX3" fmla="*/ 513656 w 613046"/>
              <a:gd name="connsiteY3" fmla="*/ 593135 h 610326"/>
              <a:gd name="connsiteX4" fmla="*/ 372373 w 613046"/>
              <a:gd name="connsiteY4" fmla="*/ 452330 h 610326"/>
              <a:gd name="connsiteX5" fmla="*/ 454514 w 613046"/>
              <a:gd name="connsiteY5" fmla="*/ 373741 h 610326"/>
              <a:gd name="connsiteX6" fmla="*/ 231364 w 613046"/>
              <a:gd name="connsiteY6" fmla="*/ 94462 h 610326"/>
              <a:gd name="connsiteX7" fmla="*/ 231364 w 613046"/>
              <a:gd name="connsiteY7" fmla="*/ 133729 h 610326"/>
              <a:gd name="connsiteX8" fmla="*/ 135499 w 613046"/>
              <a:gd name="connsiteY8" fmla="*/ 228625 h 610326"/>
              <a:gd name="connsiteX9" fmla="*/ 95831 w 613046"/>
              <a:gd name="connsiteY9" fmla="*/ 228625 h 610326"/>
              <a:gd name="connsiteX10" fmla="*/ 231364 w 613046"/>
              <a:gd name="connsiteY10" fmla="*/ 94462 h 610326"/>
              <a:gd name="connsiteX11" fmla="*/ 230271 w 613046"/>
              <a:gd name="connsiteY11" fmla="*/ 55689 h 610326"/>
              <a:gd name="connsiteX12" fmla="*/ 55923 w 613046"/>
              <a:gd name="connsiteY12" fmla="*/ 229310 h 610326"/>
              <a:gd name="connsiteX13" fmla="*/ 230271 w 613046"/>
              <a:gd name="connsiteY13" fmla="*/ 399655 h 610326"/>
              <a:gd name="connsiteX14" fmla="*/ 401329 w 613046"/>
              <a:gd name="connsiteY14" fmla="*/ 229310 h 610326"/>
              <a:gd name="connsiteX15" fmla="*/ 230271 w 613046"/>
              <a:gd name="connsiteY15" fmla="*/ 55689 h 610326"/>
              <a:gd name="connsiteX16" fmla="*/ 230271 w 613046"/>
              <a:gd name="connsiteY16" fmla="*/ 0 h 610326"/>
              <a:gd name="connsiteX17" fmla="*/ 457252 w 613046"/>
              <a:gd name="connsiteY17" fmla="*/ 229310 h 610326"/>
              <a:gd name="connsiteX18" fmla="*/ 230271 w 613046"/>
              <a:gd name="connsiteY18" fmla="*/ 458620 h 610326"/>
              <a:gd name="connsiteX19" fmla="*/ 0 w 613046"/>
              <a:gd name="connsiteY19" fmla="*/ 229310 h 610326"/>
              <a:gd name="connsiteX20" fmla="*/ 230271 w 613046"/>
              <a:gd name="connsiteY20" fmla="*/ 0 h 610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613046" h="610326">
                <a:moveTo>
                  <a:pt x="454514" y="373741"/>
                </a:moveTo>
                <a:cubicBezTo>
                  <a:pt x="454514" y="373741"/>
                  <a:pt x="454514" y="373741"/>
                  <a:pt x="595797" y="511272"/>
                </a:cubicBezTo>
                <a:cubicBezTo>
                  <a:pt x="618796" y="534194"/>
                  <a:pt x="618796" y="570214"/>
                  <a:pt x="595797" y="593135"/>
                </a:cubicBezTo>
                <a:cubicBezTo>
                  <a:pt x="572797" y="616057"/>
                  <a:pt x="536655" y="616057"/>
                  <a:pt x="513656" y="593135"/>
                </a:cubicBezTo>
                <a:cubicBezTo>
                  <a:pt x="513656" y="593135"/>
                  <a:pt x="513656" y="593135"/>
                  <a:pt x="372373" y="452330"/>
                </a:cubicBezTo>
                <a:cubicBezTo>
                  <a:pt x="405229" y="432683"/>
                  <a:pt x="434800" y="406487"/>
                  <a:pt x="454514" y="373741"/>
                </a:cubicBezTo>
                <a:close/>
                <a:moveTo>
                  <a:pt x="231364" y="94462"/>
                </a:moveTo>
                <a:cubicBezTo>
                  <a:pt x="231364" y="94462"/>
                  <a:pt x="231364" y="94462"/>
                  <a:pt x="231364" y="133729"/>
                </a:cubicBezTo>
                <a:cubicBezTo>
                  <a:pt x="178473" y="133729"/>
                  <a:pt x="135499" y="176269"/>
                  <a:pt x="135499" y="228625"/>
                </a:cubicBezTo>
                <a:cubicBezTo>
                  <a:pt x="135499" y="228625"/>
                  <a:pt x="135499" y="228625"/>
                  <a:pt x="95831" y="228625"/>
                </a:cubicBezTo>
                <a:cubicBezTo>
                  <a:pt x="95831" y="153363"/>
                  <a:pt x="155333" y="94462"/>
                  <a:pt x="231364" y="94462"/>
                </a:cubicBezTo>
                <a:close/>
                <a:moveTo>
                  <a:pt x="230271" y="55689"/>
                </a:moveTo>
                <a:cubicBezTo>
                  <a:pt x="134873" y="55689"/>
                  <a:pt x="55923" y="134310"/>
                  <a:pt x="55923" y="229310"/>
                </a:cubicBezTo>
                <a:cubicBezTo>
                  <a:pt x="55923" y="324310"/>
                  <a:pt x="134873" y="399655"/>
                  <a:pt x="230271" y="399655"/>
                </a:cubicBezTo>
                <a:cubicBezTo>
                  <a:pt x="322379" y="399655"/>
                  <a:pt x="401329" y="324310"/>
                  <a:pt x="401329" y="229310"/>
                </a:cubicBezTo>
                <a:cubicBezTo>
                  <a:pt x="401329" y="134310"/>
                  <a:pt x="322379" y="55689"/>
                  <a:pt x="230271" y="55689"/>
                </a:cubicBezTo>
                <a:close/>
                <a:moveTo>
                  <a:pt x="230271" y="0"/>
                </a:moveTo>
                <a:cubicBezTo>
                  <a:pt x="355275" y="0"/>
                  <a:pt x="457252" y="101551"/>
                  <a:pt x="457252" y="229310"/>
                </a:cubicBezTo>
                <a:cubicBezTo>
                  <a:pt x="457252" y="353792"/>
                  <a:pt x="355275" y="458620"/>
                  <a:pt x="230271" y="458620"/>
                </a:cubicBezTo>
                <a:cubicBezTo>
                  <a:pt x="101977" y="458620"/>
                  <a:pt x="0" y="353792"/>
                  <a:pt x="0" y="229310"/>
                </a:cubicBezTo>
                <a:cubicBezTo>
                  <a:pt x="0" y="101551"/>
                  <a:pt x="101977" y="0"/>
                  <a:pt x="230271" y="0"/>
                </a:cubicBezTo>
                <a:close/>
              </a:path>
            </a:pathLst>
          </a:cu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sz="2400" b="1"/>
          </a:p>
        </p:txBody>
      </p:sp>
      <p:cxnSp>
        <p:nvCxnSpPr>
          <p:cNvPr id="95" name="肘形连接符 18">
            <a:extLst>
              <a:ext uri="{FF2B5EF4-FFF2-40B4-BE49-F238E27FC236}">
                <a16:creationId xmlns:a16="http://schemas.microsoft.com/office/drawing/2014/main" id="{DBEF2027-2E66-47E1-AFC2-4A45ACDEEA31}"/>
              </a:ext>
            </a:extLst>
          </p:cNvPr>
          <p:cNvCxnSpPr>
            <a:stCxn id="91" idx="2"/>
          </p:cNvCxnSpPr>
          <p:nvPr/>
        </p:nvCxnSpPr>
        <p:spPr>
          <a:xfrm rot="10800000" flipV="1">
            <a:off x="1815391" y="4033823"/>
            <a:ext cx="409081" cy="617746"/>
          </a:xfrm>
          <a:prstGeom prst="bentConnector2">
            <a:avLst/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肘形连接符 19">
            <a:extLst>
              <a:ext uri="{FF2B5EF4-FFF2-40B4-BE49-F238E27FC236}">
                <a16:creationId xmlns:a16="http://schemas.microsoft.com/office/drawing/2014/main" id="{A98EEBA3-489A-4D48-8AF1-D8E6652F8F74}"/>
              </a:ext>
            </a:extLst>
          </p:cNvPr>
          <p:cNvCxnSpPr>
            <a:cxnSpLocks/>
            <a:endCxn id="91" idx="6"/>
          </p:cNvCxnSpPr>
          <p:nvPr/>
        </p:nvCxnSpPr>
        <p:spPr>
          <a:xfrm rot="10800000" flipV="1">
            <a:off x="3303123" y="4030444"/>
            <a:ext cx="831461" cy="3380"/>
          </a:xfrm>
          <a:prstGeom prst="bentConnector3">
            <a:avLst>
              <a:gd name="adj1" fmla="val 50000"/>
            </a:avLst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肘形连接符 20">
            <a:extLst>
              <a:ext uri="{FF2B5EF4-FFF2-40B4-BE49-F238E27FC236}">
                <a16:creationId xmlns:a16="http://schemas.microsoft.com/office/drawing/2014/main" id="{CA368562-69B7-438E-A865-B0AD60874775}"/>
              </a:ext>
            </a:extLst>
          </p:cNvPr>
          <p:cNvCxnSpPr/>
          <p:nvPr/>
        </p:nvCxnSpPr>
        <p:spPr>
          <a:xfrm rot="16200000" flipV="1">
            <a:off x="2640903" y="4674555"/>
            <a:ext cx="606891" cy="410880"/>
          </a:xfrm>
          <a:prstGeom prst="bentConnector3">
            <a:avLst>
              <a:gd name="adj1" fmla="val 1739"/>
            </a:avLst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肘形连接符 21">
            <a:extLst>
              <a:ext uri="{FF2B5EF4-FFF2-40B4-BE49-F238E27FC236}">
                <a16:creationId xmlns:a16="http://schemas.microsoft.com/office/drawing/2014/main" id="{987D895F-FC18-429E-802A-99692EB6D1C0}"/>
              </a:ext>
            </a:extLst>
          </p:cNvPr>
          <p:cNvCxnSpPr>
            <a:cxnSpLocks/>
          </p:cNvCxnSpPr>
          <p:nvPr/>
        </p:nvCxnSpPr>
        <p:spPr>
          <a:xfrm rot="10800000" flipV="1">
            <a:off x="15143449" y="4030444"/>
            <a:ext cx="856963" cy="3380"/>
          </a:xfrm>
          <a:prstGeom prst="bentConnector3">
            <a:avLst>
              <a:gd name="adj1" fmla="val 50000"/>
            </a:avLst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肘形连接符 22">
            <a:extLst>
              <a:ext uri="{FF2B5EF4-FFF2-40B4-BE49-F238E27FC236}">
                <a16:creationId xmlns:a16="http://schemas.microsoft.com/office/drawing/2014/main" id="{616E61AE-4FA0-4EC4-8CF7-484094B8E813}"/>
              </a:ext>
            </a:extLst>
          </p:cNvPr>
          <p:cNvCxnSpPr>
            <a:cxnSpLocks/>
          </p:cNvCxnSpPr>
          <p:nvPr/>
        </p:nvCxnSpPr>
        <p:spPr>
          <a:xfrm rot="10800000">
            <a:off x="14163903" y="5179917"/>
            <a:ext cx="851714" cy="3527"/>
          </a:xfrm>
          <a:prstGeom prst="bentConnector3">
            <a:avLst>
              <a:gd name="adj1" fmla="val 50000"/>
            </a:avLst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直接连接符 99">
            <a:extLst>
              <a:ext uri="{FF2B5EF4-FFF2-40B4-BE49-F238E27FC236}">
                <a16:creationId xmlns:a16="http://schemas.microsoft.com/office/drawing/2014/main" id="{662BB8BE-8BBF-4B25-8577-32E67F7D089E}"/>
              </a:ext>
            </a:extLst>
          </p:cNvPr>
          <p:cNvCxnSpPr>
            <a:cxnSpLocks/>
          </p:cNvCxnSpPr>
          <p:nvPr/>
        </p:nvCxnSpPr>
        <p:spPr>
          <a:xfrm>
            <a:off x="17098904" y="4030444"/>
            <a:ext cx="775820" cy="0"/>
          </a:xfrm>
          <a:prstGeom prst="line">
            <a:avLst/>
          </a:prstGeom>
          <a:ln w="28575" cmpd="sng">
            <a:solidFill>
              <a:schemeClr val="bg1">
                <a:lumMod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íšḷíḍê">
            <a:extLst>
              <a:ext uri="{FF2B5EF4-FFF2-40B4-BE49-F238E27FC236}">
                <a16:creationId xmlns:a16="http://schemas.microsoft.com/office/drawing/2014/main" id="{ACBECE7A-25D0-4D0E-BE38-57E8055AD739}"/>
              </a:ext>
            </a:extLst>
          </p:cNvPr>
          <p:cNvSpPr txBox="1"/>
          <p:nvPr/>
        </p:nvSpPr>
        <p:spPr>
          <a:xfrm>
            <a:off x="1261489" y="2883765"/>
            <a:ext cx="6697350" cy="50414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SzPct val="25000"/>
            </a:pPr>
            <a:r>
              <a:rPr lang="zh-CN" altLang="en-US" sz="2000" b="1" i="1" dirty="0"/>
              <a:t>安装</a:t>
            </a:r>
            <a:r>
              <a:rPr lang="en-US" altLang="zh-CN" sz="2000" b="1" i="1" dirty="0"/>
              <a:t>JAVA</a:t>
            </a:r>
            <a:r>
              <a:rPr lang="zh-CN" altLang="en-US" sz="2000" b="1" i="1" dirty="0"/>
              <a:t>的步骤</a:t>
            </a:r>
            <a:endParaRPr lang="en-US" sz="2000" b="1" i="1" dirty="0"/>
          </a:p>
        </p:txBody>
      </p:sp>
      <p:grpSp>
        <p:nvGrpSpPr>
          <p:cNvPr id="102" name="îšlïḍe">
            <a:extLst>
              <a:ext uri="{FF2B5EF4-FFF2-40B4-BE49-F238E27FC236}">
                <a16:creationId xmlns:a16="http://schemas.microsoft.com/office/drawing/2014/main" id="{2AE60538-358B-4554-94CE-2237D91D9E16}"/>
              </a:ext>
            </a:extLst>
          </p:cNvPr>
          <p:cNvGrpSpPr/>
          <p:nvPr/>
        </p:nvGrpSpPr>
        <p:grpSpPr>
          <a:xfrm>
            <a:off x="1260298" y="5793581"/>
            <a:ext cx="1948045" cy="849253"/>
            <a:chOff x="8563614" y="4934816"/>
            <a:chExt cx="2955286" cy="1008290"/>
          </a:xfrm>
        </p:grpSpPr>
        <p:sp>
          <p:nvSpPr>
            <p:cNvPr id="103" name="íšľiḋé">
              <a:extLst>
                <a:ext uri="{FF2B5EF4-FFF2-40B4-BE49-F238E27FC236}">
                  <a16:creationId xmlns:a16="http://schemas.microsoft.com/office/drawing/2014/main" id="{46F89CDD-1AC0-4C9B-9DD7-43E5E1FBD77E}"/>
                </a:ext>
              </a:extLst>
            </p:cNvPr>
            <p:cNvSpPr txBox="1"/>
            <p:nvPr/>
          </p:nvSpPr>
          <p:spPr bwMode="auto">
            <a:xfrm>
              <a:off x="8563614" y="4934816"/>
              <a:ext cx="2955286" cy="480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b="1" dirty="0"/>
                <a:t>搜索 下载</a:t>
              </a:r>
              <a:endParaRPr lang="en-US" altLang="zh-CN" b="1" dirty="0"/>
            </a:p>
          </p:txBody>
        </p:sp>
        <p:sp>
          <p:nvSpPr>
            <p:cNvPr id="104" name="íṧḷidé">
              <a:extLst>
                <a:ext uri="{FF2B5EF4-FFF2-40B4-BE49-F238E27FC236}">
                  <a16:creationId xmlns:a16="http://schemas.microsoft.com/office/drawing/2014/main" id="{8E3E20E1-41BA-43BA-9991-A9EFA7366AD7}"/>
                </a:ext>
              </a:extLst>
            </p:cNvPr>
            <p:cNvSpPr/>
            <p:nvPr/>
          </p:nvSpPr>
          <p:spPr bwMode="auto">
            <a:xfrm>
              <a:off x="8563614" y="5415115"/>
              <a:ext cx="2955286" cy="5279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zh-CN" altLang="en-US" sz="1100" dirty="0"/>
                <a:t>在</a:t>
              </a:r>
              <a:r>
                <a:rPr lang="en-US" altLang="zh-CN" sz="1100" dirty="0"/>
                <a:t>Ubuntu</a:t>
              </a:r>
              <a:r>
                <a:rPr lang="zh-CN" altLang="en-US" sz="1100" dirty="0"/>
                <a:t>中直接使用浏览器</a:t>
              </a:r>
              <a:endParaRPr lang="en-US" altLang="zh-CN" sz="1100" dirty="0"/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Or</a:t>
              </a:r>
              <a:r>
                <a:rPr lang="zh-CN" altLang="en-US" sz="1100" dirty="0"/>
                <a:t>把下好的拖进</a:t>
              </a:r>
              <a:r>
                <a:rPr lang="en-US" altLang="zh-CN" sz="1100" dirty="0"/>
                <a:t>Ubuntu(</a:t>
              </a:r>
              <a:r>
                <a:rPr lang="zh-CN" altLang="en-US" sz="1100" dirty="0"/>
                <a:t>虚拟机</a:t>
              </a:r>
              <a:r>
                <a:rPr lang="en-US" altLang="zh-CN" sz="1100" dirty="0"/>
                <a:t>)</a:t>
              </a:r>
            </a:p>
          </p:txBody>
        </p:sp>
      </p:grpSp>
      <p:grpSp>
        <p:nvGrpSpPr>
          <p:cNvPr id="105" name="î$ļíḋé">
            <a:extLst>
              <a:ext uri="{FF2B5EF4-FFF2-40B4-BE49-F238E27FC236}">
                <a16:creationId xmlns:a16="http://schemas.microsoft.com/office/drawing/2014/main" id="{EAB13176-CB67-434E-95D1-E1B474104404}"/>
              </a:ext>
            </a:extLst>
          </p:cNvPr>
          <p:cNvGrpSpPr/>
          <p:nvPr/>
        </p:nvGrpSpPr>
        <p:grpSpPr>
          <a:xfrm>
            <a:off x="3437307" y="5793583"/>
            <a:ext cx="1948047" cy="849256"/>
            <a:chOff x="8737934" y="4934814"/>
            <a:chExt cx="2955288" cy="1008293"/>
          </a:xfrm>
        </p:grpSpPr>
        <p:sp>
          <p:nvSpPr>
            <p:cNvPr id="106" name="ïṡ1îḑê">
              <a:extLst>
                <a:ext uri="{FF2B5EF4-FFF2-40B4-BE49-F238E27FC236}">
                  <a16:creationId xmlns:a16="http://schemas.microsoft.com/office/drawing/2014/main" id="{55209353-7DD9-4915-8383-941BDC223FD1}"/>
                </a:ext>
              </a:extLst>
            </p:cNvPr>
            <p:cNvSpPr txBox="1"/>
            <p:nvPr/>
          </p:nvSpPr>
          <p:spPr bwMode="auto">
            <a:xfrm>
              <a:off x="8737934" y="4934814"/>
              <a:ext cx="2955285" cy="480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b="1" dirty="0"/>
                <a:t>解压</a:t>
              </a:r>
              <a:endParaRPr lang="en-US" altLang="zh-CN" b="1" dirty="0"/>
            </a:p>
          </p:txBody>
        </p:sp>
        <p:sp>
          <p:nvSpPr>
            <p:cNvPr id="107" name="iṩliḋe">
              <a:extLst>
                <a:ext uri="{FF2B5EF4-FFF2-40B4-BE49-F238E27FC236}">
                  <a16:creationId xmlns:a16="http://schemas.microsoft.com/office/drawing/2014/main" id="{447ACB1A-F074-4439-B904-1848A675B206}"/>
                </a:ext>
              </a:extLst>
            </p:cNvPr>
            <p:cNvSpPr/>
            <p:nvPr/>
          </p:nvSpPr>
          <p:spPr bwMode="auto">
            <a:xfrm>
              <a:off x="8737934" y="5415115"/>
              <a:ext cx="2955288" cy="527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solidFill>
                    <a:schemeClr val="accent3"/>
                  </a:solidFill>
                </a:rPr>
                <a:t>tar -</a:t>
              </a:r>
              <a:r>
                <a:rPr lang="en-US" altLang="zh-CN" sz="1100" dirty="0" err="1">
                  <a:solidFill>
                    <a:schemeClr val="accent3"/>
                  </a:solidFill>
                </a:rPr>
                <a:t>zxvf</a:t>
              </a:r>
              <a:r>
                <a:rPr lang="en-US" altLang="zh-CN" sz="1100" dirty="0">
                  <a:solidFill>
                    <a:schemeClr val="accent3"/>
                  </a:solidFill>
                </a:rPr>
                <a:t> java-jdk*****.jar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solidFill>
                    <a:schemeClr val="accent1"/>
                  </a:solidFill>
                </a:rPr>
                <a:t>or</a:t>
              </a:r>
              <a:r>
                <a:rPr lang="zh-CN" altLang="en-US" sz="1100" dirty="0">
                  <a:solidFill>
                    <a:schemeClr val="accent1"/>
                  </a:solidFill>
                </a:rPr>
                <a:t>左键！右键！</a:t>
              </a:r>
              <a:endParaRPr lang="en-US" altLang="zh-CN" sz="11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108" name="ïṩľïdé">
            <a:extLst>
              <a:ext uri="{FF2B5EF4-FFF2-40B4-BE49-F238E27FC236}">
                <a16:creationId xmlns:a16="http://schemas.microsoft.com/office/drawing/2014/main" id="{604ECBA0-BD94-4037-BC63-45311FC5B1F6}"/>
              </a:ext>
            </a:extLst>
          </p:cNvPr>
          <p:cNvGrpSpPr/>
          <p:nvPr/>
        </p:nvGrpSpPr>
        <p:grpSpPr>
          <a:xfrm>
            <a:off x="15450283" y="5576265"/>
            <a:ext cx="2422060" cy="1066564"/>
            <a:chOff x="9219108" y="5109917"/>
            <a:chExt cx="2955286" cy="833191"/>
          </a:xfrm>
        </p:grpSpPr>
        <p:sp>
          <p:nvSpPr>
            <p:cNvPr id="109" name="îŝļïḋê">
              <a:extLst>
                <a:ext uri="{FF2B5EF4-FFF2-40B4-BE49-F238E27FC236}">
                  <a16:creationId xmlns:a16="http://schemas.microsoft.com/office/drawing/2014/main" id="{F2B1D23B-6CC3-4C8C-AA7C-434D4FC1843C}"/>
                </a:ext>
              </a:extLst>
            </p:cNvPr>
            <p:cNvSpPr txBox="1"/>
            <p:nvPr/>
          </p:nvSpPr>
          <p:spPr bwMode="auto">
            <a:xfrm>
              <a:off x="9219108" y="5109917"/>
              <a:ext cx="2955286" cy="305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b="1" dirty="0"/>
                <a:t>配置</a:t>
              </a:r>
              <a:endParaRPr lang="en-US" altLang="zh-CN" b="1" dirty="0"/>
            </a:p>
          </p:txBody>
        </p:sp>
        <p:sp>
          <p:nvSpPr>
            <p:cNvPr id="110" name="ïṥlîḑê">
              <a:extLst>
                <a:ext uri="{FF2B5EF4-FFF2-40B4-BE49-F238E27FC236}">
                  <a16:creationId xmlns:a16="http://schemas.microsoft.com/office/drawing/2014/main" id="{DF26B83E-0BE5-422F-A083-4F94965B31C2}"/>
                </a:ext>
              </a:extLst>
            </p:cNvPr>
            <p:cNvSpPr/>
            <p:nvPr/>
          </p:nvSpPr>
          <p:spPr bwMode="auto">
            <a:xfrm>
              <a:off x="9219108" y="5415117"/>
              <a:ext cx="2955286" cy="5279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800" dirty="0"/>
                <a:t>vim /</a:t>
              </a:r>
              <a:r>
                <a:rPr lang="en-US" altLang="zh-CN" sz="800" dirty="0" err="1"/>
                <a:t>etc</a:t>
              </a:r>
              <a:r>
                <a:rPr lang="en-US" altLang="zh-CN" sz="800" dirty="0"/>
                <a:t>/profile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800" dirty="0"/>
                <a:t>export JAVA_HOME=/jdk1.7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800" dirty="0"/>
                <a:t>export PATH=$PATH:$JAVA_HOME/bin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800" dirty="0"/>
                <a:t>source /</a:t>
              </a:r>
              <a:r>
                <a:rPr lang="en-US" altLang="zh-CN" sz="800" dirty="0" err="1"/>
                <a:t>etc</a:t>
              </a:r>
              <a:r>
                <a:rPr lang="en-US" altLang="zh-CN" sz="800" dirty="0"/>
                <a:t>/profile</a:t>
              </a:r>
            </a:p>
          </p:txBody>
        </p:sp>
      </p:grpSp>
      <p:sp>
        <p:nvSpPr>
          <p:cNvPr id="111" name="išlïḓe">
            <a:extLst>
              <a:ext uri="{FF2B5EF4-FFF2-40B4-BE49-F238E27FC236}">
                <a16:creationId xmlns:a16="http://schemas.microsoft.com/office/drawing/2014/main" id="{01A7E456-FD3C-4CEF-80E9-A7A288B8A986}"/>
              </a:ext>
            </a:extLst>
          </p:cNvPr>
          <p:cNvSpPr/>
          <p:nvPr/>
        </p:nvSpPr>
        <p:spPr>
          <a:xfrm>
            <a:off x="3169367" y="4640590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解压</a:t>
            </a:r>
          </a:p>
        </p:txBody>
      </p:sp>
      <p:pic>
        <p:nvPicPr>
          <p:cNvPr id="112" name="图形 111">
            <a:extLst>
              <a:ext uri="{FF2B5EF4-FFF2-40B4-BE49-F238E27FC236}">
                <a16:creationId xmlns:a16="http://schemas.microsoft.com/office/drawing/2014/main" id="{68D730C6-F03F-4596-A3A6-532E64CB67D8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38041" y="4774311"/>
            <a:ext cx="532037" cy="532037"/>
          </a:xfrm>
          <a:prstGeom prst="rect">
            <a:avLst/>
          </a:prstGeom>
        </p:spPr>
      </p:pic>
      <p:sp>
        <p:nvSpPr>
          <p:cNvPr id="113" name="íṣ1ídè">
            <a:extLst>
              <a:ext uri="{FF2B5EF4-FFF2-40B4-BE49-F238E27FC236}">
                <a16:creationId xmlns:a16="http://schemas.microsoft.com/office/drawing/2014/main" id="{0BC09BE5-A787-44B7-A935-CF0060D8A992}"/>
              </a:ext>
            </a:extLst>
          </p:cNvPr>
          <p:cNvSpPr/>
          <p:nvPr/>
        </p:nvSpPr>
        <p:spPr>
          <a:xfrm>
            <a:off x="4148912" y="3494498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解压</a:t>
            </a:r>
          </a:p>
        </p:txBody>
      </p:sp>
      <p:pic>
        <p:nvPicPr>
          <p:cNvPr id="114" name="图形 113">
            <a:extLst>
              <a:ext uri="{FF2B5EF4-FFF2-40B4-BE49-F238E27FC236}">
                <a16:creationId xmlns:a16="http://schemas.microsoft.com/office/drawing/2014/main" id="{FCEDDA67-8A78-40C4-93B5-504A39FEDC1F}"/>
              </a:ext>
            </a:extLst>
          </p:cNvPr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22048" y="3622522"/>
            <a:ext cx="532037" cy="532037"/>
          </a:xfrm>
          <a:prstGeom prst="rect">
            <a:avLst/>
          </a:prstGeom>
        </p:spPr>
      </p:pic>
      <p:sp>
        <p:nvSpPr>
          <p:cNvPr id="115" name="islíďê">
            <a:extLst>
              <a:ext uri="{FF2B5EF4-FFF2-40B4-BE49-F238E27FC236}">
                <a16:creationId xmlns:a16="http://schemas.microsoft.com/office/drawing/2014/main" id="{297C4ACE-6923-407D-A39C-387E00F116B7}"/>
              </a:ext>
            </a:extLst>
          </p:cNvPr>
          <p:cNvSpPr>
            <a:spLocks/>
          </p:cNvSpPr>
          <p:nvPr/>
        </p:nvSpPr>
        <p:spPr>
          <a:xfrm>
            <a:off x="16020253" y="3488215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配置</a:t>
            </a:r>
          </a:p>
        </p:txBody>
      </p:sp>
      <p:pic>
        <p:nvPicPr>
          <p:cNvPr id="116" name="图形 115">
            <a:extLst>
              <a:ext uri="{FF2B5EF4-FFF2-40B4-BE49-F238E27FC236}">
                <a16:creationId xmlns:a16="http://schemas.microsoft.com/office/drawing/2014/main" id="{1FD94976-35C1-4C56-82DB-DF7D2E3E3201}"/>
              </a:ext>
            </a:extLst>
          </p:cNvPr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301131" y="3628242"/>
            <a:ext cx="532037" cy="532037"/>
          </a:xfrm>
          <a:prstGeom prst="rect">
            <a:avLst/>
          </a:prstGeom>
        </p:spPr>
      </p:pic>
      <p:sp>
        <p:nvSpPr>
          <p:cNvPr id="117" name="íṥľíďê">
            <a:extLst>
              <a:ext uri="{FF2B5EF4-FFF2-40B4-BE49-F238E27FC236}">
                <a16:creationId xmlns:a16="http://schemas.microsoft.com/office/drawing/2014/main" id="{FD31D049-D967-4E59-8C5E-4DB9F486EC6D}"/>
              </a:ext>
            </a:extLst>
          </p:cNvPr>
          <p:cNvSpPr/>
          <p:nvPr/>
        </p:nvSpPr>
        <p:spPr>
          <a:xfrm>
            <a:off x="15027932" y="4640590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配置</a:t>
            </a:r>
          </a:p>
        </p:txBody>
      </p:sp>
      <p:pic>
        <p:nvPicPr>
          <p:cNvPr id="118" name="图形 117">
            <a:extLst>
              <a:ext uri="{FF2B5EF4-FFF2-40B4-BE49-F238E27FC236}">
                <a16:creationId xmlns:a16="http://schemas.microsoft.com/office/drawing/2014/main" id="{8C9A6AEB-68E2-46BC-8397-5C7E4773E5A3}"/>
              </a:ext>
            </a:extLst>
          </p:cNvPr>
          <p:cNvPicPr>
            <a:picLocks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5301238" y="4793254"/>
            <a:ext cx="532037" cy="532037"/>
          </a:xfrm>
          <a:prstGeom prst="rect">
            <a:avLst/>
          </a:prstGeom>
        </p:spPr>
      </p:pic>
      <p:cxnSp>
        <p:nvCxnSpPr>
          <p:cNvPr id="119" name="直接连接符 118">
            <a:extLst>
              <a:ext uri="{FF2B5EF4-FFF2-40B4-BE49-F238E27FC236}">
                <a16:creationId xmlns:a16="http://schemas.microsoft.com/office/drawing/2014/main" id="{7D362925-3695-4EBF-B85E-7D63A3F184C5}"/>
              </a:ext>
            </a:extLst>
          </p:cNvPr>
          <p:cNvCxnSpPr>
            <a:cxnSpLocks/>
          </p:cNvCxnSpPr>
          <p:nvPr/>
        </p:nvCxnSpPr>
        <p:spPr>
          <a:xfrm>
            <a:off x="16106583" y="5170430"/>
            <a:ext cx="775820" cy="0"/>
          </a:xfrm>
          <a:prstGeom prst="line">
            <a:avLst/>
          </a:prstGeom>
          <a:ln w="28575" cmpd="sng">
            <a:solidFill>
              <a:schemeClr val="bg1">
                <a:lumMod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87532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000" dirty="0"/>
              <a:t>Hadoop</a:t>
            </a:r>
            <a:r>
              <a:rPr lang="zh-CN" altLang="en-US" sz="2000" dirty="0"/>
              <a:t>的部署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3</a:t>
            </a:fld>
            <a:endParaRPr lang="zh-CN" altLang="en-US"/>
          </a:p>
        </p:txBody>
      </p:sp>
      <p:sp>
        <p:nvSpPr>
          <p:cNvPr id="195" name="iṧḻîďè">
            <a:extLst>
              <a:ext uri="{FF2B5EF4-FFF2-40B4-BE49-F238E27FC236}">
                <a16:creationId xmlns:a16="http://schemas.microsoft.com/office/drawing/2014/main" id="{6FC8272D-4563-47EB-B741-E738A21C2623}"/>
              </a:ext>
            </a:extLst>
          </p:cNvPr>
          <p:cNvSpPr/>
          <p:nvPr/>
        </p:nvSpPr>
        <p:spPr bwMode="auto">
          <a:xfrm>
            <a:off x="4330016" y="2533248"/>
            <a:ext cx="1331348" cy="278440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搞定！</a:t>
            </a:r>
            <a:endParaRPr lang="en-US" altLang="zh-CN" b="1" dirty="0"/>
          </a:p>
        </p:txBody>
      </p:sp>
      <p:sp>
        <p:nvSpPr>
          <p:cNvPr id="196" name="îŝḻiḋé">
            <a:extLst>
              <a:ext uri="{FF2B5EF4-FFF2-40B4-BE49-F238E27FC236}">
                <a16:creationId xmlns:a16="http://schemas.microsoft.com/office/drawing/2014/main" id="{C05C75D7-4258-49B9-958F-F2EEF0B840E0}"/>
              </a:ext>
            </a:extLst>
          </p:cNvPr>
          <p:cNvSpPr/>
          <p:nvPr/>
        </p:nvSpPr>
        <p:spPr bwMode="auto">
          <a:xfrm>
            <a:off x="4550521" y="2267238"/>
            <a:ext cx="1331348" cy="278440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测试</a:t>
            </a:r>
            <a:endParaRPr lang="en-US" altLang="zh-CN" b="1" dirty="0"/>
          </a:p>
        </p:txBody>
      </p:sp>
      <p:sp>
        <p:nvSpPr>
          <p:cNvPr id="197" name="íṥḷíďê">
            <a:extLst>
              <a:ext uri="{FF2B5EF4-FFF2-40B4-BE49-F238E27FC236}">
                <a16:creationId xmlns:a16="http://schemas.microsoft.com/office/drawing/2014/main" id="{D4FCC7AE-5767-4EC4-BB68-B94457D3AE6D}"/>
              </a:ext>
            </a:extLst>
          </p:cNvPr>
          <p:cNvSpPr/>
          <p:nvPr/>
        </p:nvSpPr>
        <p:spPr bwMode="auto">
          <a:xfrm>
            <a:off x="4766335" y="2001227"/>
            <a:ext cx="1331348" cy="278440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/>
              <a:t>配置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8" name="ïś1ïḓè">
            <a:extLst>
              <a:ext uri="{FF2B5EF4-FFF2-40B4-BE49-F238E27FC236}">
                <a16:creationId xmlns:a16="http://schemas.microsoft.com/office/drawing/2014/main" id="{F32E844B-E27C-4A92-9B60-95E4AD88D81F}"/>
              </a:ext>
            </a:extLst>
          </p:cNvPr>
          <p:cNvSpPr/>
          <p:nvPr/>
        </p:nvSpPr>
        <p:spPr bwMode="auto">
          <a:xfrm>
            <a:off x="4986372" y="1735216"/>
            <a:ext cx="1331348" cy="278440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 dirty="0"/>
              <a:t>安装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9" name="îśļïḍè">
            <a:extLst>
              <a:ext uri="{FF2B5EF4-FFF2-40B4-BE49-F238E27FC236}">
                <a16:creationId xmlns:a16="http://schemas.microsoft.com/office/drawing/2014/main" id="{F812BB55-77DE-4E23-95E6-156A22FAD363}"/>
              </a:ext>
            </a:extLst>
          </p:cNvPr>
          <p:cNvSpPr/>
          <p:nvPr/>
        </p:nvSpPr>
        <p:spPr bwMode="auto">
          <a:xfrm>
            <a:off x="5191586" y="1469205"/>
            <a:ext cx="1331348" cy="278440"/>
          </a:xfrm>
          <a:prstGeom prst="parallelogram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>
                <a:solidFill>
                  <a:schemeClr val="bg1"/>
                </a:solidFill>
              </a:rPr>
              <a:t>配置</a:t>
            </a:r>
            <a:r>
              <a:rPr lang="en-US" altLang="zh-CN" sz="1750" b="1" dirty="0">
                <a:solidFill>
                  <a:schemeClr val="bg1"/>
                </a:solidFill>
              </a:rPr>
              <a:t>JAVA</a:t>
            </a:r>
          </a:p>
        </p:txBody>
      </p:sp>
      <p:sp>
        <p:nvSpPr>
          <p:cNvPr id="200" name="ï$1íḍé">
            <a:extLst>
              <a:ext uri="{FF2B5EF4-FFF2-40B4-BE49-F238E27FC236}">
                <a16:creationId xmlns:a16="http://schemas.microsoft.com/office/drawing/2014/main" id="{48245F16-84E7-4201-9485-85B5E5B15ECD}"/>
              </a:ext>
            </a:extLst>
          </p:cNvPr>
          <p:cNvSpPr/>
          <p:nvPr/>
        </p:nvSpPr>
        <p:spPr bwMode="auto">
          <a:xfrm>
            <a:off x="5404395" y="1203194"/>
            <a:ext cx="1331348" cy="278440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安装</a:t>
            </a:r>
            <a:r>
              <a:rPr lang="en-US" altLang="zh-CN" b="1" dirty="0"/>
              <a:t>JAVA</a:t>
            </a:r>
          </a:p>
        </p:txBody>
      </p:sp>
      <p:sp>
        <p:nvSpPr>
          <p:cNvPr id="201" name="îṥľïďê">
            <a:extLst>
              <a:ext uri="{FF2B5EF4-FFF2-40B4-BE49-F238E27FC236}">
                <a16:creationId xmlns:a16="http://schemas.microsoft.com/office/drawing/2014/main" id="{920DFBAA-02E5-4206-86B0-FE10F93A7509}"/>
              </a:ext>
            </a:extLst>
          </p:cNvPr>
          <p:cNvSpPr/>
          <p:nvPr/>
        </p:nvSpPr>
        <p:spPr bwMode="auto">
          <a:xfrm>
            <a:off x="4159628" y="1801780"/>
            <a:ext cx="1530485" cy="506994"/>
          </a:xfrm>
          <a:custGeom>
            <a:avLst/>
            <a:gdLst>
              <a:gd name="T0" fmla="*/ 179 w 203"/>
              <a:gd name="T1" fmla="*/ 82 h 82"/>
              <a:gd name="T2" fmla="*/ 203 w 203"/>
              <a:gd name="T3" fmla="*/ 29 h 82"/>
              <a:gd name="T4" fmla="*/ 65 w 203"/>
              <a:gd name="T5" fmla="*/ 27 h 82"/>
              <a:gd name="T6" fmla="*/ 59 w 203"/>
              <a:gd name="T7" fmla="*/ 0 h 82"/>
              <a:gd name="T8" fmla="*/ 59 w 203"/>
              <a:gd name="T9" fmla="*/ 0 h 82"/>
              <a:gd name="T10" fmla="*/ 0 w 203"/>
              <a:gd name="T11" fmla="*/ 80 h 82"/>
              <a:gd name="T12" fmla="*/ 61 w 203"/>
              <a:gd name="T13" fmla="*/ 82 h 82"/>
              <a:gd name="T14" fmla="*/ 179 w 203"/>
              <a:gd name="T15" fmla="*/ 8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3" h="82">
                <a:moveTo>
                  <a:pt x="179" y="82"/>
                </a:moveTo>
                <a:lnTo>
                  <a:pt x="203" y="29"/>
                </a:lnTo>
                <a:lnTo>
                  <a:pt x="65" y="27"/>
                </a:lnTo>
                <a:lnTo>
                  <a:pt x="59" y="0"/>
                </a:lnTo>
                <a:lnTo>
                  <a:pt x="59" y="0"/>
                </a:lnTo>
                <a:lnTo>
                  <a:pt x="0" y="80"/>
                </a:lnTo>
                <a:lnTo>
                  <a:pt x="61" y="82"/>
                </a:lnTo>
                <a:lnTo>
                  <a:pt x="179" y="8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2" name="i$ḻíḋè">
            <a:extLst>
              <a:ext uri="{FF2B5EF4-FFF2-40B4-BE49-F238E27FC236}">
                <a16:creationId xmlns:a16="http://schemas.microsoft.com/office/drawing/2014/main" id="{430BE7EB-B6F0-4F05-80EA-1F517165029F}"/>
              </a:ext>
            </a:extLst>
          </p:cNvPr>
          <p:cNvSpPr/>
          <p:nvPr/>
        </p:nvSpPr>
        <p:spPr bwMode="auto">
          <a:xfrm>
            <a:off x="5309947" y="1203194"/>
            <a:ext cx="571923" cy="101297"/>
          </a:xfrm>
          <a:prstGeom prst="triangle">
            <a:avLst>
              <a:gd name="adj" fmla="val 14726"/>
            </a:avLst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3" name="işľiḋe">
            <a:extLst>
              <a:ext uri="{FF2B5EF4-FFF2-40B4-BE49-F238E27FC236}">
                <a16:creationId xmlns:a16="http://schemas.microsoft.com/office/drawing/2014/main" id="{E4DECB97-43D1-4D26-8C48-41447675AE79}"/>
              </a:ext>
            </a:extLst>
          </p:cNvPr>
          <p:cNvSpPr/>
          <p:nvPr/>
        </p:nvSpPr>
        <p:spPr bwMode="auto">
          <a:xfrm>
            <a:off x="3527675" y="1134031"/>
            <a:ext cx="2354194" cy="445616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4" name="iś1íďé">
            <a:extLst>
              <a:ext uri="{FF2B5EF4-FFF2-40B4-BE49-F238E27FC236}">
                <a16:creationId xmlns:a16="http://schemas.microsoft.com/office/drawing/2014/main" id="{6E7EA96A-F20A-4912-AC31-63A0F19E66DE}"/>
              </a:ext>
            </a:extLst>
          </p:cNvPr>
          <p:cNvSpPr/>
          <p:nvPr/>
        </p:nvSpPr>
        <p:spPr bwMode="auto">
          <a:xfrm>
            <a:off x="3304368" y="1400042"/>
            <a:ext cx="2354194" cy="445616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5" name="ïŝlíḋe">
            <a:extLst>
              <a:ext uri="{FF2B5EF4-FFF2-40B4-BE49-F238E27FC236}">
                <a16:creationId xmlns:a16="http://schemas.microsoft.com/office/drawing/2014/main" id="{66D30D6F-26C9-4C2C-BC01-900AC07DC57E}"/>
              </a:ext>
            </a:extLst>
          </p:cNvPr>
          <p:cNvSpPr/>
          <p:nvPr/>
        </p:nvSpPr>
        <p:spPr bwMode="auto">
          <a:xfrm>
            <a:off x="3078259" y="1666053"/>
            <a:ext cx="2354194" cy="445616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6" name="îSliďè">
            <a:extLst>
              <a:ext uri="{FF2B5EF4-FFF2-40B4-BE49-F238E27FC236}">
                <a16:creationId xmlns:a16="http://schemas.microsoft.com/office/drawing/2014/main" id="{2F6D5554-EACD-4DDD-892F-2E5F97A9C421}"/>
              </a:ext>
            </a:extLst>
          </p:cNvPr>
          <p:cNvSpPr/>
          <p:nvPr/>
        </p:nvSpPr>
        <p:spPr bwMode="auto">
          <a:xfrm>
            <a:off x="2854965" y="1932064"/>
            <a:ext cx="2354194" cy="445616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7" name="îSliďé">
            <a:extLst>
              <a:ext uri="{FF2B5EF4-FFF2-40B4-BE49-F238E27FC236}">
                <a16:creationId xmlns:a16="http://schemas.microsoft.com/office/drawing/2014/main" id="{2E278F3F-C8D8-4E2A-A3EA-29ADCF1A02AA}"/>
              </a:ext>
            </a:extLst>
          </p:cNvPr>
          <p:cNvSpPr/>
          <p:nvPr/>
        </p:nvSpPr>
        <p:spPr bwMode="auto">
          <a:xfrm>
            <a:off x="2631578" y="2198075"/>
            <a:ext cx="2354194" cy="445616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8" name="îs1iďé">
            <a:extLst>
              <a:ext uri="{FF2B5EF4-FFF2-40B4-BE49-F238E27FC236}">
                <a16:creationId xmlns:a16="http://schemas.microsoft.com/office/drawing/2014/main" id="{EB74D0C2-5677-4F3F-A043-44D01A3F3D48}"/>
              </a:ext>
            </a:extLst>
          </p:cNvPr>
          <p:cNvSpPr/>
          <p:nvPr/>
        </p:nvSpPr>
        <p:spPr bwMode="auto">
          <a:xfrm>
            <a:off x="2408257" y="2464086"/>
            <a:ext cx="2354194" cy="445616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9" name="ïṣḻïḋe">
            <a:extLst>
              <a:ext uri="{FF2B5EF4-FFF2-40B4-BE49-F238E27FC236}">
                <a16:creationId xmlns:a16="http://schemas.microsoft.com/office/drawing/2014/main" id="{7709F84E-C33F-462F-B538-51CB71C9284E}"/>
              </a:ext>
            </a:extLst>
          </p:cNvPr>
          <p:cNvSpPr/>
          <p:nvPr/>
        </p:nvSpPr>
        <p:spPr bwMode="auto">
          <a:xfrm>
            <a:off x="3900090" y="1365660"/>
            <a:ext cx="154527" cy="154312"/>
          </a:xfrm>
          <a:custGeom>
            <a:avLst/>
            <a:gdLst>
              <a:gd name="T0" fmla="*/ 400 w 11264"/>
              <a:gd name="T1" fmla="*/ 7099 h 11264"/>
              <a:gd name="T2" fmla="*/ 4165 w 11264"/>
              <a:gd name="T3" fmla="*/ 7099 h 11264"/>
              <a:gd name="T4" fmla="*/ 4165 w 11264"/>
              <a:gd name="T5" fmla="*/ 10864 h 11264"/>
              <a:gd name="T6" fmla="*/ 4565 w 11264"/>
              <a:gd name="T7" fmla="*/ 11264 h 11264"/>
              <a:gd name="T8" fmla="*/ 6699 w 11264"/>
              <a:gd name="T9" fmla="*/ 11264 h 11264"/>
              <a:gd name="T10" fmla="*/ 7099 w 11264"/>
              <a:gd name="T11" fmla="*/ 10864 h 11264"/>
              <a:gd name="T12" fmla="*/ 7099 w 11264"/>
              <a:gd name="T13" fmla="*/ 7099 h 11264"/>
              <a:gd name="T14" fmla="*/ 10864 w 11264"/>
              <a:gd name="T15" fmla="*/ 7099 h 11264"/>
              <a:gd name="T16" fmla="*/ 11264 w 11264"/>
              <a:gd name="T17" fmla="*/ 6699 h 11264"/>
              <a:gd name="T18" fmla="*/ 11264 w 11264"/>
              <a:gd name="T19" fmla="*/ 4565 h 11264"/>
              <a:gd name="T20" fmla="*/ 10864 w 11264"/>
              <a:gd name="T21" fmla="*/ 4165 h 11264"/>
              <a:gd name="T22" fmla="*/ 7099 w 11264"/>
              <a:gd name="T23" fmla="*/ 4165 h 11264"/>
              <a:gd name="T24" fmla="*/ 7099 w 11264"/>
              <a:gd name="T25" fmla="*/ 400 h 11264"/>
              <a:gd name="T26" fmla="*/ 6699 w 11264"/>
              <a:gd name="T27" fmla="*/ 0 h 11264"/>
              <a:gd name="T28" fmla="*/ 4565 w 11264"/>
              <a:gd name="T29" fmla="*/ 0 h 11264"/>
              <a:gd name="T30" fmla="*/ 4165 w 11264"/>
              <a:gd name="T31" fmla="*/ 400 h 11264"/>
              <a:gd name="T32" fmla="*/ 4165 w 11264"/>
              <a:gd name="T33" fmla="*/ 4165 h 11264"/>
              <a:gd name="T34" fmla="*/ 400 w 11264"/>
              <a:gd name="T35" fmla="*/ 4165 h 11264"/>
              <a:gd name="T36" fmla="*/ 0 w 11264"/>
              <a:gd name="T37" fmla="*/ 4565 h 11264"/>
              <a:gd name="T38" fmla="*/ 0 w 11264"/>
              <a:gd name="T39" fmla="*/ 6699 h 11264"/>
              <a:gd name="T40" fmla="*/ 400 w 11264"/>
              <a:gd name="T41" fmla="*/ 7099 h 11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264" h="11264">
                <a:moveTo>
                  <a:pt x="400" y="7099"/>
                </a:moveTo>
                <a:lnTo>
                  <a:pt x="4165" y="7099"/>
                </a:lnTo>
                <a:lnTo>
                  <a:pt x="4165" y="10864"/>
                </a:lnTo>
                <a:cubicBezTo>
                  <a:pt x="4165" y="11085"/>
                  <a:pt x="4344" y="11264"/>
                  <a:pt x="4565" y="11264"/>
                </a:cubicBezTo>
                <a:lnTo>
                  <a:pt x="6699" y="11264"/>
                </a:lnTo>
                <a:cubicBezTo>
                  <a:pt x="6920" y="11264"/>
                  <a:pt x="7099" y="11085"/>
                  <a:pt x="7099" y="10864"/>
                </a:cubicBezTo>
                <a:lnTo>
                  <a:pt x="7099" y="7099"/>
                </a:lnTo>
                <a:lnTo>
                  <a:pt x="10864" y="7099"/>
                </a:lnTo>
                <a:cubicBezTo>
                  <a:pt x="11085" y="7099"/>
                  <a:pt x="11264" y="6920"/>
                  <a:pt x="11264" y="6699"/>
                </a:cubicBezTo>
                <a:lnTo>
                  <a:pt x="11264" y="4565"/>
                </a:lnTo>
                <a:cubicBezTo>
                  <a:pt x="11264" y="4344"/>
                  <a:pt x="11085" y="4165"/>
                  <a:pt x="10864" y="4165"/>
                </a:cubicBezTo>
                <a:lnTo>
                  <a:pt x="7099" y="4165"/>
                </a:lnTo>
                <a:lnTo>
                  <a:pt x="7099" y="400"/>
                </a:lnTo>
                <a:cubicBezTo>
                  <a:pt x="7099" y="179"/>
                  <a:pt x="6920" y="0"/>
                  <a:pt x="6699" y="0"/>
                </a:cubicBezTo>
                <a:lnTo>
                  <a:pt x="4565" y="0"/>
                </a:lnTo>
                <a:cubicBezTo>
                  <a:pt x="4344" y="0"/>
                  <a:pt x="4165" y="179"/>
                  <a:pt x="4165" y="400"/>
                </a:cubicBezTo>
                <a:lnTo>
                  <a:pt x="4165" y="4165"/>
                </a:lnTo>
                <a:lnTo>
                  <a:pt x="400" y="4165"/>
                </a:lnTo>
                <a:cubicBezTo>
                  <a:pt x="179" y="4165"/>
                  <a:pt x="0" y="4344"/>
                  <a:pt x="0" y="4565"/>
                </a:cubicBezTo>
                <a:lnTo>
                  <a:pt x="0" y="6699"/>
                </a:lnTo>
                <a:cubicBezTo>
                  <a:pt x="0" y="6920"/>
                  <a:pt x="179" y="7099"/>
                  <a:pt x="400" y="7099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0" name="îsḷïde">
            <a:extLst>
              <a:ext uri="{FF2B5EF4-FFF2-40B4-BE49-F238E27FC236}">
                <a16:creationId xmlns:a16="http://schemas.microsoft.com/office/drawing/2014/main" id="{F7027C89-1BCC-4A00-9535-016DE4C49FD7}"/>
              </a:ext>
            </a:extLst>
          </p:cNvPr>
          <p:cNvSpPr/>
          <p:nvPr/>
        </p:nvSpPr>
        <p:spPr bwMode="auto">
          <a:xfrm>
            <a:off x="3688884" y="1628589"/>
            <a:ext cx="151321" cy="154527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  <a:gd name="connsiteX107" fmla="*/ 373273 h 605239"/>
              <a:gd name="connsiteY107" fmla="*/ 373273 h 605239"/>
              <a:gd name="connsiteX108" fmla="*/ 373273 h 605239"/>
              <a:gd name="connsiteY108" fmla="*/ 373273 h 605239"/>
              <a:gd name="connsiteX109" fmla="*/ 373273 h 605239"/>
              <a:gd name="connsiteY109" fmla="*/ 373273 h 605239"/>
              <a:gd name="connsiteX110" fmla="*/ 373273 h 605239"/>
              <a:gd name="connsiteY110" fmla="*/ 373273 h 605239"/>
              <a:gd name="connsiteX111" fmla="*/ 373273 h 605239"/>
              <a:gd name="connsiteY111" fmla="*/ 373273 h 605239"/>
              <a:gd name="connsiteX112" fmla="*/ 373273 h 605239"/>
              <a:gd name="connsiteY112" fmla="*/ 373273 h 605239"/>
              <a:gd name="connsiteX113" fmla="*/ 373273 h 605239"/>
              <a:gd name="connsiteY113" fmla="*/ 373273 h 605239"/>
              <a:gd name="connsiteX114" fmla="*/ 373273 h 605239"/>
              <a:gd name="connsiteY114" fmla="*/ 373273 h 605239"/>
              <a:gd name="connsiteX115" fmla="*/ 373273 h 605239"/>
              <a:gd name="connsiteY115" fmla="*/ 373273 h 605239"/>
              <a:gd name="connsiteX116" fmla="*/ 373273 h 605239"/>
              <a:gd name="connsiteY116" fmla="*/ 373273 h 605239"/>
              <a:gd name="connsiteX117" fmla="*/ 373273 h 605239"/>
              <a:gd name="connsiteY117" fmla="*/ 373273 h 605239"/>
              <a:gd name="connsiteX118" fmla="*/ 373273 h 605239"/>
              <a:gd name="connsiteY118" fmla="*/ 373273 h 605239"/>
              <a:gd name="connsiteX119" fmla="*/ 373273 h 605239"/>
              <a:gd name="connsiteY119" fmla="*/ 373273 h 605239"/>
              <a:gd name="connsiteX120" fmla="*/ 373273 h 605239"/>
              <a:gd name="connsiteY120" fmla="*/ 373273 h 605239"/>
              <a:gd name="connsiteX121" fmla="*/ 373273 h 605239"/>
              <a:gd name="connsiteY121" fmla="*/ 373273 h 605239"/>
              <a:gd name="connsiteX122" fmla="*/ 373273 h 605239"/>
              <a:gd name="connsiteY122" fmla="*/ 373273 h 605239"/>
              <a:gd name="connsiteX123" fmla="*/ 373273 h 605239"/>
              <a:gd name="connsiteY123" fmla="*/ 373273 h 605239"/>
              <a:gd name="connsiteX124" fmla="*/ 373273 h 605239"/>
              <a:gd name="connsiteY124" fmla="*/ 373273 h 605239"/>
              <a:gd name="connsiteX125" fmla="*/ 373273 h 605239"/>
              <a:gd name="connsiteY125" fmla="*/ 373273 h 605239"/>
              <a:gd name="connsiteX126" fmla="*/ 373273 h 605239"/>
              <a:gd name="connsiteY126" fmla="*/ 373273 h 605239"/>
              <a:gd name="connsiteX127" fmla="*/ 373273 h 605239"/>
              <a:gd name="connsiteY127" fmla="*/ 373273 h 605239"/>
              <a:gd name="connsiteX128" fmla="*/ 373273 h 605239"/>
              <a:gd name="connsiteY128" fmla="*/ 373273 h 605239"/>
              <a:gd name="connsiteX129" fmla="*/ 373273 h 605239"/>
              <a:gd name="connsiteY12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593733" h="606309">
                <a:moveTo>
                  <a:pt x="353250" y="302855"/>
                </a:moveTo>
                <a:cubicBezTo>
                  <a:pt x="318468" y="302855"/>
                  <a:pt x="290232" y="331146"/>
                  <a:pt x="290232" y="365879"/>
                </a:cubicBezTo>
                <a:cubicBezTo>
                  <a:pt x="290232" y="374189"/>
                  <a:pt x="296964" y="380912"/>
                  <a:pt x="305285" y="380912"/>
                </a:cubicBezTo>
                <a:cubicBezTo>
                  <a:pt x="313607" y="380912"/>
                  <a:pt x="320338" y="374189"/>
                  <a:pt x="320338" y="365879"/>
                </a:cubicBezTo>
                <a:cubicBezTo>
                  <a:pt x="320338" y="347672"/>
                  <a:pt x="335111" y="333014"/>
                  <a:pt x="353250" y="333014"/>
                </a:cubicBezTo>
                <a:cubicBezTo>
                  <a:pt x="361665" y="333014"/>
                  <a:pt x="368397" y="326291"/>
                  <a:pt x="368397" y="317888"/>
                </a:cubicBezTo>
                <a:cubicBezTo>
                  <a:pt x="368397" y="309578"/>
                  <a:pt x="361665" y="302855"/>
                  <a:pt x="353250" y="302855"/>
                </a:cubicBezTo>
                <a:close/>
                <a:moveTo>
                  <a:pt x="353250" y="265041"/>
                </a:moveTo>
                <a:cubicBezTo>
                  <a:pt x="409163" y="265041"/>
                  <a:pt x="454229" y="310232"/>
                  <a:pt x="454229" y="365879"/>
                </a:cubicBezTo>
                <a:cubicBezTo>
                  <a:pt x="454229" y="421527"/>
                  <a:pt x="408976" y="466717"/>
                  <a:pt x="353250" y="466717"/>
                </a:cubicBezTo>
                <a:cubicBezTo>
                  <a:pt x="297525" y="466717"/>
                  <a:pt x="252271" y="421527"/>
                  <a:pt x="252271" y="365879"/>
                </a:cubicBezTo>
                <a:cubicBezTo>
                  <a:pt x="252271" y="310232"/>
                  <a:pt x="297431" y="265041"/>
                  <a:pt x="353250" y="265041"/>
                </a:cubicBezTo>
                <a:close/>
                <a:moveTo>
                  <a:pt x="427779" y="133781"/>
                </a:moveTo>
                <a:cubicBezTo>
                  <a:pt x="432818" y="131960"/>
                  <a:pt x="438547" y="132054"/>
                  <a:pt x="443784" y="134482"/>
                </a:cubicBezTo>
                <a:lnTo>
                  <a:pt x="473245" y="148209"/>
                </a:lnTo>
                <a:cubicBezTo>
                  <a:pt x="483720" y="153158"/>
                  <a:pt x="488209" y="165671"/>
                  <a:pt x="483346" y="176130"/>
                </a:cubicBezTo>
                <a:lnTo>
                  <a:pt x="470252" y="203957"/>
                </a:lnTo>
                <a:cubicBezTo>
                  <a:pt x="492231" y="219646"/>
                  <a:pt x="511123" y="240003"/>
                  <a:pt x="525526" y="264095"/>
                </a:cubicBezTo>
                <a:lnTo>
                  <a:pt x="554426" y="253636"/>
                </a:lnTo>
                <a:cubicBezTo>
                  <a:pt x="565368" y="249714"/>
                  <a:pt x="577340" y="255411"/>
                  <a:pt x="581361" y="266243"/>
                </a:cubicBezTo>
                <a:lnTo>
                  <a:pt x="592491" y="296592"/>
                </a:lnTo>
                <a:cubicBezTo>
                  <a:pt x="596419" y="307612"/>
                  <a:pt x="590714" y="319564"/>
                  <a:pt x="579865" y="323486"/>
                </a:cubicBezTo>
                <a:lnTo>
                  <a:pt x="550965" y="333945"/>
                </a:lnTo>
                <a:cubicBezTo>
                  <a:pt x="555455" y="361586"/>
                  <a:pt x="553958" y="389414"/>
                  <a:pt x="547224" y="415561"/>
                </a:cubicBezTo>
                <a:lnTo>
                  <a:pt x="575095" y="428634"/>
                </a:lnTo>
                <a:cubicBezTo>
                  <a:pt x="585570" y="433490"/>
                  <a:pt x="590059" y="445910"/>
                  <a:pt x="585102" y="456649"/>
                </a:cubicBezTo>
                <a:lnTo>
                  <a:pt x="571354" y="485970"/>
                </a:lnTo>
                <a:cubicBezTo>
                  <a:pt x="566397" y="496429"/>
                  <a:pt x="553958" y="500911"/>
                  <a:pt x="543483" y="496056"/>
                </a:cubicBezTo>
                <a:lnTo>
                  <a:pt x="515238" y="482982"/>
                </a:lnTo>
                <a:cubicBezTo>
                  <a:pt x="499526" y="504833"/>
                  <a:pt x="479137" y="523510"/>
                  <a:pt x="455007" y="537704"/>
                </a:cubicBezTo>
                <a:lnTo>
                  <a:pt x="465763" y="567026"/>
                </a:lnTo>
                <a:cubicBezTo>
                  <a:pt x="469784" y="578045"/>
                  <a:pt x="463986" y="589997"/>
                  <a:pt x="453137" y="593919"/>
                </a:cubicBezTo>
                <a:lnTo>
                  <a:pt x="422741" y="605032"/>
                </a:lnTo>
                <a:cubicBezTo>
                  <a:pt x="411798" y="609047"/>
                  <a:pt x="399827" y="603258"/>
                  <a:pt x="395805" y="592425"/>
                </a:cubicBezTo>
                <a:lnTo>
                  <a:pt x="385050" y="562823"/>
                </a:lnTo>
                <a:cubicBezTo>
                  <a:pt x="357646" y="567212"/>
                  <a:pt x="330056" y="565718"/>
                  <a:pt x="304149" y="558995"/>
                </a:cubicBezTo>
                <a:lnTo>
                  <a:pt x="290682" y="587756"/>
                </a:lnTo>
                <a:cubicBezTo>
                  <a:pt x="285725" y="598215"/>
                  <a:pt x="273192" y="602697"/>
                  <a:pt x="262717" y="597841"/>
                </a:cubicBezTo>
                <a:lnTo>
                  <a:pt x="233350" y="584114"/>
                </a:lnTo>
                <a:cubicBezTo>
                  <a:pt x="222875" y="579165"/>
                  <a:pt x="218385" y="566652"/>
                  <a:pt x="223249" y="556193"/>
                </a:cubicBezTo>
                <a:lnTo>
                  <a:pt x="236810" y="527338"/>
                </a:lnTo>
                <a:cubicBezTo>
                  <a:pt x="215112" y="511650"/>
                  <a:pt x="196407" y="491480"/>
                  <a:pt x="182284" y="467668"/>
                </a:cubicBezTo>
                <a:lnTo>
                  <a:pt x="152169" y="478687"/>
                </a:lnTo>
                <a:cubicBezTo>
                  <a:pt x="141133" y="482609"/>
                  <a:pt x="129161" y="476912"/>
                  <a:pt x="125233" y="466080"/>
                </a:cubicBezTo>
                <a:lnTo>
                  <a:pt x="114104" y="435731"/>
                </a:lnTo>
                <a:cubicBezTo>
                  <a:pt x="110082" y="424712"/>
                  <a:pt x="115881" y="412759"/>
                  <a:pt x="126730" y="408837"/>
                </a:cubicBezTo>
                <a:lnTo>
                  <a:pt x="156845" y="397818"/>
                </a:lnTo>
                <a:cubicBezTo>
                  <a:pt x="153852" y="379422"/>
                  <a:pt x="153478" y="361026"/>
                  <a:pt x="155629" y="342910"/>
                </a:cubicBezTo>
                <a:lnTo>
                  <a:pt x="158622" y="343097"/>
                </a:lnTo>
                <a:cubicBezTo>
                  <a:pt x="181162" y="344030"/>
                  <a:pt x="200522" y="327408"/>
                  <a:pt x="203141" y="305370"/>
                </a:cubicBezTo>
                <a:cubicBezTo>
                  <a:pt x="207723" y="303876"/>
                  <a:pt x="212119" y="302195"/>
                  <a:pt x="216515" y="300515"/>
                </a:cubicBezTo>
                <a:cubicBezTo>
                  <a:pt x="220349" y="304063"/>
                  <a:pt x="224745" y="306958"/>
                  <a:pt x="229609" y="308919"/>
                </a:cubicBezTo>
                <a:cubicBezTo>
                  <a:pt x="219227" y="330957"/>
                  <a:pt x="214831" y="355983"/>
                  <a:pt x="217824" y="381943"/>
                </a:cubicBezTo>
                <a:cubicBezTo>
                  <a:pt x="226709" y="456462"/>
                  <a:pt x="294329" y="509876"/>
                  <a:pt x="368963" y="501192"/>
                </a:cubicBezTo>
                <a:cubicBezTo>
                  <a:pt x="443691" y="492320"/>
                  <a:pt x="497188" y="424899"/>
                  <a:pt x="488490" y="350287"/>
                </a:cubicBezTo>
                <a:cubicBezTo>
                  <a:pt x="479605" y="275675"/>
                  <a:pt x="411985" y="222260"/>
                  <a:pt x="337351" y="231038"/>
                </a:cubicBezTo>
                <a:cubicBezTo>
                  <a:pt x="324632" y="232532"/>
                  <a:pt x="312473" y="235707"/>
                  <a:pt x="301156" y="240376"/>
                </a:cubicBezTo>
                <a:cubicBezTo>
                  <a:pt x="299660" y="236268"/>
                  <a:pt x="297509" y="232345"/>
                  <a:pt x="294797" y="228890"/>
                </a:cubicBezTo>
                <a:cubicBezTo>
                  <a:pt x="297041" y="224688"/>
                  <a:pt x="299005" y="220393"/>
                  <a:pt x="300782" y="216097"/>
                </a:cubicBezTo>
                <a:cubicBezTo>
                  <a:pt x="311164" y="215817"/>
                  <a:pt x="320891" y="211802"/>
                  <a:pt x="328466" y="204891"/>
                </a:cubicBezTo>
                <a:cubicBezTo>
                  <a:pt x="336977" y="197141"/>
                  <a:pt x="341934" y="186589"/>
                  <a:pt x="342402" y="175103"/>
                </a:cubicBezTo>
                <a:lnTo>
                  <a:pt x="342776" y="166978"/>
                </a:lnTo>
                <a:cubicBezTo>
                  <a:pt x="363164" y="165764"/>
                  <a:pt x="383460" y="167912"/>
                  <a:pt x="402820" y="172768"/>
                </a:cubicBezTo>
                <a:lnTo>
                  <a:pt x="415913" y="144567"/>
                </a:lnTo>
                <a:cubicBezTo>
                  <a:pt x="418392" y="139338"/>
                  <a:pt x="422741" y="135602"/>
                  <a:pt x="427779" y="133781"/>
                </a:cubicBezTo>
                <a:close/>
                <a:moveTo>
                  <a:pt x="159906" y="88589"/>
                </a:moveTo>
                <a:cubicBezTo>
                  <a:pt x="142487" y="87818"/>
                  <a:pt x="124764" y="93678"/>
                  <a:pt x="110828" y="106378"/>
                </a:cubicBezTo>
                <a:cubicBezTo>
                  <a:pt x="96145" y="119731"/>
                  <a:pt x="88663" y="138127"/>
                  <a:pt x="88663" y="156523"/>
                </a:cubicBezTo>
                <a:cubicBezTo>
                  <a:pt x="88663" y="172958"/>
                  <a:pt x="94555" y="189393"/>
                  <a:pt x="106526" y="202467"/>
                </a:cubicBezTo>
                <a:cubicBezTo>
                  <a:pt x="131965" y="230294"/>
                  <a:pt x="175081" y="232162"/>
                  <a:pt x="202764" y="206762"/>
                </a:cubicBezTo>
                <a:cubicBezTo>
                  <a:pt x="217448" y="193409"/>
                  <a:pt x="224930" y="175013"/>
                  <a:pt x="224930" y="156523"/>
                </a:cubicBezTo>
                <a:cubicBezTo>
                  <a:pt x="224930" y="140088"/>
                  <a:pt x="219132" y="123653"/>
                  <a:pt x="207160" y="110580"/>
                </a:cubicBezTo>
                <a:cubicBezTo>
                  <a:pt x="194441" y="96760"/>
                  <a:pt x="177325" y="89359"/>
                  <a:pt x="159906" y="88589"/>
                </a:cubicBezTo>
                <a:close/>
                <a:moveTo>
                  <a:pt x="153289" y="17"/>
                </a:moveTo>
                <a:lnTo>
                  <a:pt x="173678" y="951"/>
                </a:lnTo>
                <a:cubicBezTo>
                  <a:pt x="180786" y="1325"/>
                  <a:pt x="186304" y="7114"/>
                  <a:pt x="186304" y="14118"/>
                </a:cubicBezTo>
                <a:lnTo>
                  <a:pt x="186304" y="14771"/>
                </a:lnTo>
                <a:lnTo>
                  <a:pt x="185462" y="34755"/>
                </a:lnTo>
                <a:cubicBezTo>
                  <a:pt x="201923" y="38677"/>
                  <a:pt x="217729" y="45774"/>
                  <a:pt x="231851" y="56232"/>
                </a:cubicBezTo>
                <a:lnTo>
                  <a:pt x="246535" y="42786"/>
                </a:lnTo>
                <a:cubicBezTo>
                  <a:pt x="251866" y="37930"/>
                  <a:pt x="260283" y="38303"/>
                  <a:pt x="265240" y="43626"/>
                </a:cubicBezTo>
                <a:lnTo>
                  <a:pt x="279082" y="58660"/>
                </a:lnTo>
                <a:cubicBezTo>
                  <a:pt x="281420" y="61275"/>
                  <a:pt x="282542" y="64450"/>
                  <a:pt x="282542" y="67625"/>
                </a:cubicBezTo>
                <a:cubicBezTo>
                  <a:pt x="282542" y="71173"/>
                  <a:pt x="281233" y="74722"/>
                  <a:pt x="278334" y="77337"/>
                </a:cubicBezTo>
                <a:lnTo>
                  <a:pt x="263744" y="90690"/>
                </a:lnTo>
                <a:cubicBezTo>
                  <a:pt x="273096" y="105537"/>
                  <a:pt x="278988" y="121973"/>
                  <a:pt x="281420" y="138781"/>
                </a:cubicBezTo>
                <a:lnTo>
                  <a:pt x="301061" y="139621"/>
                </a:lnTo>
                <a:cubicBezTo>
                  <a:pt x="308169" y="139995"/>
                  <a:pt x="313593" y="145878"/>
                  <a:pt x="313593" y="152788"/>
                </a:cubicBezTo>
                <a:lnTo>
                  <a:pt x="313593" y="153442"/>
                </a:lnTo>
                <a:lnTo>
                  <a:pt x="312751" y="173892"/>
                </a:lnTo>
                <a:cubicBezTo>
                  <a:pt x="312377" y="181083"/>
                  <a:pt x="306298" y="186779"/>
                  <a:pt x="298910" y="186405"/>
                </a:cubicBezTo>
                <a:lnTo>
                  <a:pt x="279456" y="185565"/>
                </a:lnTo>
                <a:cubicBezTo>
                  <a:pt x="275622" y="202093"/>
                  <a:pt x="268327" y="218061"/>
                  <a:pt x="257758" y="232162"/>
                </a:cubicBezTo>
                <a:lnTo>
                  <a:pt x="270852" y="246449"/>
                </a:lnTo>
                <a:cubicBezTo>
                  <a:pt x="273190" y="249064"/>
                  <a:pt x="274312" y="252145"/>
                  <a:pt x="274312" y="255414"/>
                </a:cubicBezTo>
                <a:cubicBezTo>
                  <a:pt x="274312" y="258869"/>
                  <a:pt x="273003" y="262511"/>
                  <a:pt x="270104" y="265126"/>
                </a:cubicBezTo>
                <a:lnTo>
                  <a:pt x="255046" y="278946"/>
                </a:lnTo>
                <a:cubicBezTo>
                  <a:pt x="249621" y="283802"/>
                  <a:pt x="241297" y="283428"/>
                  <a:pt x="236340" y="278106"/>
                </a:cubicBezTo>
                <a:lnTo>
                  <a:pt x="223247" y="263724"/>
                </a:lnTo>
                <a:cubicBezTo>
                  <a:pt x="208282" y="272970"/>
                  <a:pt x="191635" y="278853"/>
                  <a:pt x="174800" y="281187"/>
                </a:cubicBezTo>
                <a:lnTo>
                  <a:pt x="173958" y="300610"/>
                </a:lnTo>
                <a:cubicBezTo>
                  <a:pt x="173584" y="307801"/>
                  <a:pt x="167505" y="313590"/>
                  <a:pt x="160117" y="313217"/>
                </a:cubicBezTo>
                <a:lnTo>
                  <a:pt x="139634" y="312283"/>
                </a:lnTo>
                <a:cubicBezTo>
                  <a:pt x="132526" y="311909"/>
                  <a:pt x="127102" y="306120"/>
                  <a:pt x="127102" y="299116"/>
                </a:cubicBezTo>
                <a:lnTo>
                  <a:pt x="127102" y="298463"/>
                </a:lnTo>
                <a:lnTo>
                  <a:pt x="128037" y="279039"/>
                </a:lnTo>
                <a:cubicBezTo>
                  <a:pt x="111577" y="275211"/>
                  <a:pt x="95771" y="267834"/>
                  <a:pt x="81648" y="257281"/>
                </a:cubicBezTo>
                <a:lnTo>
                  <a:pt x="67058" y="270635"/>
                </a:lnTo>
                <a:cubicBezTo>
                  <a:pt x="61727" y="275491"/>
                  <a:pt x="53403" y="275117"/>
                  <a:pt x="48353" y="269701"/>
                </a:cubicBezTo>
                <a:lnTo>
                  <a:pt x="34511" y="254667"/>
                </a:lnTo>
                <a:cubicBezTo>
                  <a:pt x="32173" y="252052"/>
                  <a:pt x="31051" y="248970"/>
                  <a:pt x="31051" y="245702"/>
                </a:cubicBezTo>
                <a:cubicBezTo>
                  <a:pt x="31051" y="242247"/>
                  <a:pt x="32453" y="238605"/>
                  <a:pt x="35259" y="235990"/>
                </a:cubicBezTo>
                <a:lnTo>
                  <a:pt x="50036" y="222544"/>
                </a:lnTo>
                <a:cubicBezTo>
                  <a:pt x="40777" y="207696"/>
                  <a:pt x="35072" y="191261"/>
                  <a:pt x="32640" y="174639"/>
                </a:cubicBezTo>
                <a:lnTo>
                  <a:pt x="12626" y="173705"/>
                </a:lnTo>
                <a:cubicBezTo>
                  <a:pt x="5518" y="173332"/>
                  <a:pt x="0" y="167542"/>
                  <a:pt x="0" y="160539"/>
                </a:cubicBezTo>
                <a:lnTo>
                  <a:pt x="0" y="159885"/>
                </a:lnTo>
                <a:lnTo>
                  <a:pt x="842" y="139621"/>
                </a:lnTo>
                <a:cubicBezTo>
                  <a:pt x="1216" y="132431"/>
                  <a:pt x="7388" y="126642"/>
                  <a:pt x="14683" y="127015"/>
                </a:cubicBezTo>
                <a:lnTo>
                  <a:pt x="34885" y="127949"/>
                </a:lnTo>
                <a:cubicBezTo>
                  <a:pt x="38813" y="111514"/>
                  <a:pt x="46015" y="95826"/>
                  <a:pt x="56490" y="81819"/>
                </a:cubicBezTo>
                <a:lnTo>
                  <a:pt x="42741" y="66878"/>
                </a:lnTo>
                <a:cubicBezTo>
                  <a:pt x="40403" y="64263"/>
                  <a:pt x="39281" y="61182"/>
                  <a:pt x="39281" y="57913"/>
                </a:cubicBezTo>
                <a:cubicBezTo>
                  <a:pt x="39281" y="54458"/>
                  <a:pt x="40684" y="50816"/>
                  <a:pt x="43490" y="48202"/>
                </a:cubicBezTo>
                <a:lnTo>
                  <a:pt x="58641" y="34381"/>
                </a:lnTo>
                <a:cubicBezTo>
                  <a:pt x="63972" y="29526"/>
                  <a:pt x="72296" y="29899"/>
                  <a:pt x="77346" y="35315"/>
                </a:cubicBezTo>
                <a:lnTo>
                  <a:pt x="90627" y="50256"/>
                </a:lnTo>
                <a:cubicBezTo>
                  <a:pt x="105591" y="41011"/>
                  <a:pt x="121864" y="35128"/>
                  <a:pt x="138512" y="32794"/>
                </a:cubicBezTo>
                <a:lnTo>
                  <a:pt x="139447" y="12624"/>
                </a:lnTo>
                <a:cubicBezTo>
                  <a:pt x="139821" y="5433"/>
                  <a:pt x="145901" y="-356"/>
                  <a:pt x="153289" y="17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1" name="îṣḻïḓè">
            <a:extLst>
              <a:ext uri="{FF2B5EF4-FFF2-40B4-BE49-F238E27FC236}">
                <a16:creationId xmlns:a16="http://schemas.microsoft.com/office/drawing/2014/main" id="{30C8A656-A69C-4844-9B4C-38593487F7D6}"/>
              </a:ext>
            </a:extLst>
          </p:cNvPr>
          <p:cNvSpPr/>
          <p:nvPr/>
        </p:nvSpPr>
        <p:spPr bwMode="auto">
          <a:xfrm>
            <a:off x="3482068" y="1891777"/>
            <a:ext cx="154527" cy="154227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81741" h="580612">
                <a:moveTo>
                  <a:pt x="291612" y="187916"/>
                </a:moveTo>
                <a:cubicBezTo>
                  <a:pt x="304876" y="187916"/>
                  <a:pt x="315648" y="198758"/>
                  <a:pt x="315648" y="212088"/>
                </a:cubicBezTo>
                <a:lnTo>
                  <a:pt x="315648" y="491836"/>
                </a:lnTo>
                <a:lnTo>
                  <a:pt x="331227" y="473974"/>
                </a:lnTo>
                <a:cubicBezTo>
                  <a:pt x="339863" y="463932"/>
                  <a:pt x="355086" y="462866"/>
                  <a:pt x="365145" y="471574"/>
                </a:cubicBezTo>
                <a:cubicBezTo>
                  <a:pt x="375116" y="480372"/>
                  <a:pt x="376184" y="495657"/>
                  <a:pt x="367460" y="505699"/>
                </a:cubicBezTo>
                <a:lnTo>
                  <a:pt x="309773" y="572348"/>
                </a:lnTo>
                <a:cubicBezTo>
                  <a:pt x="305143" y="577502"/>
                  <a:pt x="298556" y="580612"/>
                  <a:pt x="291612" y="580612"/>
                </a:cubicBezTo>
                <a:cubicBezTo>
                  <a:pt x="284579" y="580612"/>
                  <a:pt x="278080" y="577680"/>
                  <a:pt x="273451" y="572348"/>
                </a:cubicBezTo>
                <a:lnTo>
                  <a:pt x="215764" y="505699"/>
                </a:lnTo>
                <a:cubicBezTo>
                  <a:pt x="207039" y="495657"/>
                  <a:pt x="208108" y="480372"/>
                  <a:pt x="218078" y="471574"/>
                </a:cubicBezTo>
                <a:cubicBezTo>
                  <a:pt x="228049" y="462866"/>
                  <a:pt x="243272" y="463932"/>
                  <a:pt x="252085" y="473974"/>
                </a:cubicBezTo>
                <a:lnTo>
                  <a:pt x="267486" y="491747"/>
                </a:lnTo>
                <a:lnTo>
                  <a:pt x="267486" y="212088"/>
                </a:lnTo>
                <a:cubicBezTo>
                  <a:pt x="267486" y="198758"/>
                  <a:pt x="278258" y="187916"/>
                  <a:pt x="291612" y="187916"/>
                </a:cubicBezTo>
                <a:close/>
                <a:moveTo>
                  <a:pt x="329499" y="0"/>
                </a:moveTo>
                <a:cubicBezTo>
                  <a:pt x="426248" y="0"/>
                  <a:pt x="465322" y="80426"/>
                  <a:pt x="473332" y="108153"/>
                </a:cubicBezTo>
                <a:cubicBezTo>
                  <a:pt x="535280" y="120684"/>
                  <a:pt x="581474" y="175693"/>
                  <a:pt x="581741" y="241190"/>
                </a:cubicBezTo>
                <a:cubicBezTo>
                  <a:pt x="581741" y="315840"/>
                  <a:pt x="521306" y="376537"/>
                  <a:pt x="446987" y="376537"/>
                </a:cubicBezTo>
                <a:lnTo>
                  <a:pt x="372756" y="376537"/>
                </a:lnTo>
                <a:cubicBezTo>
                  <a:pt x="359316" y="376537"/>
                  <a:pt x="348546" y="365606"/>
                  <a:pt x="348546" y="352276"/>
                </a:cubicBezTo>
                <a:cubicBezTo>
                  <a:pt x="348546" y="338857"/>
                  <a:pt x="359316" y="327926"/>
                  <a:pt x="372756" y="327926"/>
                </a:cubicBezTo>
                <a:lnTo>
                  <a:pt x="446987" y="327926"/>
                </a:lnTo>
                <a:cubicBezTo>
                  <a:pt x="494605" y="327926"/>
                  <a:pt x="533322" y="289090"/>
                  <a:pt x="533322" y="241190"/>
                </a:cubicBezTo>
                <a:cubicBezTo>
                  <a:pt x="533322" y="195334"/>
                  <a:pt x="497720" y="157298"/>
                  <a:pt x="452238" y="154632"/>
                </a:cubicBezTo>
                <a:cubicBezTo>
                  <a:pt x="440934" y="153921"/>
                  <a:pt x="431589" y="145478"/>
                  <a:pt x="429809" y="134192"/>
                </a:cubicBezTo>
                <a:cubicBezTo>
                  <a:pt x="421709" y="84692"/>
                  <a:pt x="379609" y="48789"/>
                  <a:pt x="329677" y="48789"/>
                </a:cubicBezTo>
                <a:cubicBezTo>
                  <a:pt x="279567" y="48789"/>
                  <a:pt x="238001" y="84781"/>
                  <a:pt x="229457" y="134192"/>
                </a:cubicBezTo>
                <a:cubicBezTo>
                  <a:pt x="226520" y="151521"/>
                  <a:pt x="212190" y="162807"/>
                  <a:pt x="192964" y="151077"/>
                </a:cubicBezTo>
                <a:cubicBezTo>
                  <a:pt x="178011" y="141834"/>
                  <a:pt x="160922" y="136947"/>
                  <a:pt x="143299" y="136947"/>
                </a:cubicBezTo>
                <a:cubicBezTo>
                  <a:pt x="90964" y="136947"/>
                  <a:pt x="48419" y="179693"/>
                  <a:pt x="48419" y="232303"/>
                </a:cubicBezTo>
                <a:cubicBezTo>
                  <a:pt x="48419" y="284913"/>
                  <a:pt x="90964" y="327748"/>
                  <a:pt x="143299" y="327748"/>
                </a:cubicBezTo>
                <a:lnTo>
                  <a:pt x="218776" y="327748"/>
                </a:lnTo>
                <a:cubicBezTo>
                  <a:pt x="232216" y="327748"/>
                  <a:pt x="242986" y="338590"/>
                  <a:pt x="242986" y="352009"/>
                </a:cubicBezTo>
                <a:cubicBezTo>
                  <a:pt x="242986" y="365429"/>
                  <a:pt x="232216" y="376271"/>
                  <a:pt x="218776" y="376271"/>
                </a:cubicBezTo>
                <a:lnTo>
                  <a:pt x="143299" y="376271"/>
                </a:lnTo>
                <a:cubicBezTo>
                  <a:pt x="64262" y="376271"/>
                  <a:pt x="0" y="311574"/>
                  <a:pt x="0" y="232214"/>
                </a:cubicBezTo>
                <a:cubicBezTo>
                  <a:pt x="0" y="152854"/>
                  <a:pt x="64262" y="88158"/>
                  <a:pt x="143210" y="88158"/>
                </a:cubicBezTo>
                <a:cubicBezTo>
                  <a:pt x="159231" y="88158"/>
                  <a:pt x="174896" y="90735"/>
                  <a:pt x="189849" y="95978"/>
                </a:cubicBezTo>
                <a:cubicBezTo>
                  <a:pt x="198749" y="73050"/>
                  <a:pt x="238891" y="0"/>
                  <a:pt x="329499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2" name="iş1iḑe">
            <a:extLst>
              <a:ext uri="{FF2B5EF4-FFF2-40B4-BE49-F238E27FC236}">
                <a16:creationId xmlns:a16="http://schemas.microsoft.com/office/drawing/2014/main" id="{79D5FAF9-096B-4C61-A299-6A26A276E128}"/>
              </a:ext>
            </a:extLst>
          </p:cNvPr>
          <p:cNvSpPr/>
          <p:nvPr/>
        </p:nvSpPr>
        <p:spPr bwMode="auto">
          <a:xfrm>
            <a:off x="3261661" y="2154780"/>
            <a:ext cx="154527" cy="154294"/>
          </a:xfrm>
          <a:custGeom>
            <a:avLst/>
            <a:gdLst>
              <a:gd name="connsiteX0" fmla="*/ 303820 w 607639"/>
              <a:gd name="connsiteY0" fmla="*/ 278099 h 606722"/>
              <a:gd name="connsiteX1" fmla="*/ 329118 w 607639"/>
              <a:gd name="connsiteY1" fmla="*/ 303362 h 606722"/>
              <a:gd name="connsiteX2" fmla="*/ 303820 w 607639"/>
              <a:gd name="connsiteY2" fmla="*/ 328625 h 606722"/>
              <a:gd name="connsiteX3" fmla="*/ 278522 w 607639"/>
              <a:gd name="connsiteY3" fmla="*/ 303362 h 606722"/>
              <a:gd name="connsiteX4" fmla="*/ 303820 w 607639"/>
              <a:gd name="connsiteY4" fmla="*/ 278099 h 606722"/>
              <a:gd name="connsiteX5" fmla="*/ 303775 w 607639"/>
              <a:gd name="connsiteY5" fmla="*/ 252735 h 606722"/>
              <a:gd name="connsiteX6" fmla="*/ 253140 w 607639"/>
              <a:gd name="connsiteY6" fmla="*/ 303317 h 606722"/>
              <a:gd name="connsiteX7" fmla="*/ 303775 w 607639"/>
              <a:gd name="connsiteY7" fmla="*/ 353900 h 606722"/>
              <a:gd name="connsiteX8" fmla="*/ 354410 w 607639"/>
              <a:gd name="connsiteY8" fmla="*/ 303317 h 606722"/>
              <a:gd name="connsiteX9" fmla="*/ 303775 w 607639"/>
              <a:gd name="connsiteY9" fmla="*/ 252735 h 606722"/>
              <a:gd name="connsiteX10" fmla="*/ 303775 w 607639"/>
              <a:gd name="connsiteY10" fmla="*/ 202241 h 606722"/>
              <a:gd name="connsiteX11" fmla="*/ 405045 w 607639"/>
              <a:gd name="connsiteY11" fmla="*/ 303317 h 606722"/>
              <a:gd name="connsiteX12" fmla="*/ 303775 w 607639"/>
              <a:gd name="connsiteY12" fmla="*/ 404482 h 606722"/>
              <a:gd name="connsiteX13" fmla="*/ 202593 w 607639"/>
              <a:gd name="connsiteY13" fmla="*/ 303317 h 606722"/>
              <a:gd name="connsiteX14" fmla="*/ 303775 w 607639"/>
              <a:gd name="connsiteY14" fmla="*/ 202241 h 606722"/>
              <a:gd name="connsiteX15" fmla="*/ 303775 w 607639"/>
              <a:gd name="connsiteY15" fmla="*/ 151703 h 606722"/>
              <a:gd name="connsiteX16" fmla="*/ 151932 w 607639"/>
              <a:gd name="connsiteY16" fmla="*/ 303317 h 606722"/>
              <a:gd name="connsiteX17" fmla="*/ 303775 w 607639"/>
              <a:gd name="connsiteY17" fmla="*/ 455019 h 606722"/>
              <a:gd name="connsiteX18" fmla="*/ 455707 w 607639"/>
              <a:gd name="connsiteY18" fmla="*/ 303317 h 606722"/>
              <a:gd name="connsiteX19" fmla="*/ 303775 w 607639"/>
              <a:gd name="connsiteY19" fmla="*/ 151703 h 606722"/>
              <a:gd name="connsiteX20" fmla="*/ 253131 w 607639"/>
              <a:gd name="connsiteY20" fmla="*/ 0 h 606722"/>
              <a:gd name="connsiteX21" fmla="*/ 354419 w 607639"/>
              <a:gd name="connsiteY21" fmla="*/ 0 h 606722"/>
              <a:gd name="connsiteX22" fmla="*/ 379786 w 607639"/>
              <a:gd name="connsiteY22" fmla="*/ 25239 h 606722"/>
              <a:gd name="connsiteX23" fmla="*/ 379786 w 607639"/>
              <a:gd name="connsiteY23" fmla="*/ 62387 h 606722"/>
              <a:gd name="connsiteX24" fmla="*/ 420639 w 607639"/>
              <a:gd name="connsiteY24" fmla="*/ 79451 h 606722"/>
              <a:gd name="connsiteX25" fmla="*/ 446985 w 607639"/>
              <a:gd name="connsiteY25" fmla="*/ 53145 h 606722"/>
              <a:gd name="connsiteX26" fmla="*/ 482854 w 607639"/>
              <a:gd name="connsiteY26" fmla="*/ 53145 h 606722"/>
              <a:gd name="connsiteX27" fmla="*/ 554414 w 607639"/>
              <a:gd name="connsiteY27" fmla="*/ 124597 h 606722"/>
              <a:gd name="connsiteX28" fmla="*/ 554414 w 607639"/>
              <a:gd name="connsiteY28" fmla="*/ 160323 h 606722"/>
              <a:gd name="connsiteX29" fmla="*/ 528069 w 607639"/>
              <a:gd name="connsiteY29" fmla="*/ 186629 h 606722"/>
              <a:gd name="connsiteX30" fmla="*/ 545158 w 607639"/>
              <a:gd name="connsiteY30" fmla="*/ 227510 h 606722"/>
              <a:gd name="connsiteX31" fmla="*/ 582273 w 607639"/>
              <a:gd name="connsiteY31" fmla="*/ 227510 h 606722"/>
              <a:gd name="connsiteX32" fmla="*/ 607639 w 607639"/>
              <a:gd name="connsiteY32" fmla="*/ 252749 h 606722"/>
              <a:gd name="connsiteX33" fmla="*/ 607639 w 607639"/>
              <a:gd name="connsiteY33" fmla="*/ 353884 h 606722"/>
              <a:gd name="connsiteX34" fmla="*/ 582273 w 607639"/>
              <a:gd name="connsiteY34" fmla="*/ 379212 h 606722"/>
              <a:gd name="connsiteX35" fmla="*/ 545158 w 607639"/>
              <a:gd name="connsiteY35" fmla="*/ 379212 h 606722"/>
              <a:gd name="connsiteX36" fmla="*/ 528069 w 607639"/>
              <a:gd name="connsiteY36" fmla="*/ 420004 h 606722"/>
              <a:gd name="connsiteX37" fmla="*/ 554414 w 607639"/>
              <a:gd name="connsiteY37" fmla="*/ 446310 h 606722"/>
              <a:gd name="connsiteX38" fmla="*/ 554414 w 607639"/>
              <a:gd name="connsiteY38" fmla="*/ 482125 h 606722"/>
              <a:gd name="connsiteX39" fmla="*/ 482854 w 607639"/>
              <a:gd name="connsiteY39" fmla="*/ 553577 h 606722"/>
              <a:gd name="connsiteX40" fmla="*/ 446985 w 607639"/>
              <a:gd name="connsiteY40" fmla="*/ 553577 h 606722"/>
              <a:gd name="connsiteX41" fmla="*/ 420639 w 607639"/>
              <a:gd name="connsiteY41" fmla="*/ 527271 h 606722"/>
              <a:gd name="connsiteX42" fmla="*/ 379786 w 607639"/>
              <a:gd name="connsiteY42" fmla="*/ 544246 h 606722"/>
              <a:gd name="connsiteX43" fmla="*/ 379786 w 607639"/>
              <a:gd name="connsiteY43" fmla="*/ 581394 h 606722"/>
              <a:gd name="connsiteX44" fmla="*/ 354419 w 607639"/>
              <a:gd name="connsiteY44" fmla="*/ 606722 h 606722"/>
              <a:gd name="connsiteX45" fmla="*/ 253131 w 607639"/>
              <a:gd name="connsiteY45" fmla="*/ 606722 h 606722"/>
              <a:gd name="connsiteX46" fmla="*/ 227854 w 607639"/>
              <a:gd name="connsiteY46" fmla="*/ 581394 h 606722"/>
              <a:gd name="connsiteX47" fmla="*/ 227854 w 607639"/>
              <a:gd name="connsiteY47" fmla="*/ 544246 h 606722"/>
              <a:gd name="connsiteX48" fmla="*/ 186911 w 607639"/>
              <a:gd name="connsiteY48" fmla="*/ 527271 h 606722"/>
              <a:gd name="connsiteX49" fmla="*/ 160566 w 607639"/>
              <a:gd name="connsiteY49" fmla="*/ 553577 h 606722"/>
              <a:gd name="connsiteX50" fmla="*/ 124786 w 607639"/>
              <a:gd name="connsiteY50" fmla="*/ 553577 h 606722"/>
              <a:gd name="connsiteX51" fmla="*/ 53225 w 607639"/>
              <a:gd name="connsiteY51" fmla="*/ 482125 h 606722"/>
              <a:gd name="connsiteX52" fmla="*/ 53225 w 607639"/>
              <a:gd name="connsiteY52" fmla="*/ 446310 h 606722"/>
              <a:gd name="connsiteX53" fmla="*/ 79482 w 607639"/>
              <a:gd name="connsiteY53" fmla="*/ 420004 h 606722"/>
              <a:gd name="connsiteX54" fmla="*/ 62482 w 607639"/>
              <a:gd name="connsiteY54" fmla="*/ 379212 h 606722"/>
              <a:gd name="connsiteX55" fmla="*/ 25278 w 607639"/>
              <a:gd name="connsiteY55" fmla="*/ 379212 h 606722"/>
              <a:gd name="connsiteX56" fmla="*/ 0 w 607639"/>
              <a:gd name="connsiteY56" fmla="*/ 353884 h 606722"/>
              <a:gd name="connsiteX57" fmla="*/ 0 w 607639"/>
              <a:gd name="connsiteY57" fmla="*/ 252749 h 606722"/>
              <a:gd name="connsiteX58" fmla="*/ 25278 w 607639"/>
              <a:gd name="connsiteY58" fmla="*/ 227510 h 606722"/>
              <a:gd name="connsiteX59" fmla="*/ 62482 w 607639"/>
              <a:gd name="connsiteY59" fmla="*/ 227510 h 606722"/>
              <a:gd name="connsiteX60" fmla="*/ 79482 w 607639"/>
              <a:gd name="connsiteY60" fmla="*/ 186629 h 606722"/>
              <a:gd name="connsiteX61" fmla="*/ 53225 w 607639"/>
              <a:gd name="connsiteY61" fmla="*/ 160323 h 606722"/>
              <a:gd name="connsiteX62" fmla="*/ 53225 w 607639"/>
              <a:gd name="connsiteY62" fmla="*/ 124597 h 606722"/>
              <a:gd name="connsiteX63" fmla="*/ 124786 w 607639"/>
              <a:gd name="connsiteY63" fmla="*/ 53145 h 606722"/>
              <a:gd name="connsiteX64" fmla="*/ 160566 w 607639"/>
              <a:gd name="connsiteY64" fmla="*/ 53145 h 606722"/>
              <a:gd name="connsiteX65" fmla="*/ 186911 w 607639"/>
              <a:gd name="connsiteY65" fmla="*/ 79451 h 606722"/>
              <a:gd name="connsiteX66" fmla="*/ 227854 w 607639"/>
              <a:gd name="connsiteY66" fmla="*/ 62387 h 606722"/>
              <a:gd name="connsiteX67" fmla="*/ 227854 w 607639"/>
              <a:gd name="connsiteY67" fmla="*/ 25239 h 606722"/>
              <a:gd name="connsiteX68" fmla="*/ 253131 w 607639"/>
              <a:gd name="connsiteY68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07639" h="606722">
                <a:moveTo>
                  <a:pt x="303820" y="278099"/>
                </a:moveTo>
                <a:cubicBezTo>
                  <a:pt x="317792" y="278099"/>
                  <a:pt x="329118" y="289410"/>
                  <a:pt x="329118" y="303362"/>
                </a:cubicBezTo>
                <a:cubicBezTo>
                  <a:pt x="329118" y="317314"/>
                  <a:pt x="317792" y="328625"/>
                  <a:pt x="303820" y="328625"/>
                </a:cubicBezTo>
                <a:cubicBezTo>
                  <a:pt x="289848" y="328625"/>
                  <a:pt x="278522" y="317314"/>
                  <a:pt x="278522" y="303362"/>
                </a:cubicBezTo>
                <a:cubicBezTo>
                  <a:pt x="278522" y="289410"/>
                  <a:pt x="289848" y="278099"/>
                  <a:pt x="303820" y="278099"/>
                </a:cubicBezTo>
                <a:close/>
                <a:moveTo>
                  <a:pt x="303775" y="252735"/>
                </a:moveTo>
                <a:cubicBezTo>
                  <a:pt x="275921" y="252735"/>
                  <a:pt x="253140" y="275492"/>
                  <a:pt x="253140" y="303317"/>
                </a:cubicBezTo>
                <a:cubicBezTo>
                  <a:pt x="253140" y="331231"/>
                  <a:pt x="275921" y="353900"/>
                  <a:pt x="303775" y="353900"/>
                </a:cubicBezTo>
                <a:cubicBezTo>
                  <a:pt x="331718" y="353900"/>
                  <a:pt x="354410" y="331231"/>
                  <a:pt x="354410" y="303317"/>
                </a:cubicBezTo>
                <a:cubicBezTo>
                  <a:pt x="354410" y="275492"/>
                  <a:pt x="331718" y="252735"/>
                  <a:pt x="303775" y="252735"/>
                </a:cubicBezTo>
                <a:close/>
                <a:moveTo>
                  <a:pt x="303775" y="202241"/>
                </a:moveTo>
                <a:cubicBezTo>
                  <a:pt x="359660" y="202241"/>
                  <a:pt x="405045" y="247579"/>
                  <a:pt x="405045" y="303317"/>
                </a:cubicBezTo>
                <a:cubicBezTo>
                  <a:pt x="405045" y="359144"/>
                  <a:pt x="359660" y="404482"/>
                  <a:pt x="303775" y="404482"/>
                </a:cubicBezTo>
                <a:cubicBezTo>
                  <a:pt x="247978" y="404482"/>
                  <a:pt x="202593" y="359144"/>
                  <a:pt x="202593" y="303317"/>
                </a:cubicBezTo>
                <a:cubicBezTo>
                  <a:pt x="202593" y="247579"/>
                  <a:pt x="247978" y="202241"/>
                  <a:pt x="303775" y="202241"/>
                </a:cubicBezTo>
                <a:close/>
                <a:moveTo>
                  <a:pt x="303775" y="151703"/>
                </a:moveTo>
                <a:cubicBezTo>
                  <a:pt x="220021" y="151703"/>
                  <a:pt x="151932" y="219689"/>
                  <a:pt x="151932" y="303317"/>
                </a:cubicBezTo>
                <a:cubicBezTo>
                  <a:pt x="151932" y="387033"/>
                  <a:pt x="220021" y="455019"/>
                  <a:pt x="303775" y="455019"/>
                </a:cubicBezTo>
                <a:cubicBezTo>
                  <a:pt x="387618" y="455019"/>
                  <a:pt x="455707" y="387033"/>
                  <a:pt x="455707" y="303317"/>
                </a:cubicBezTo>
                <a:cubicBezTo>
                  <a:pt x="455707" y="219689"/>
                  <a:pt x="387618" y="151703"/>
                  <a:pt x="303775" y="151703"/>
                </a:cubicBezTo>
                <a:close/>
                <a:moveTo>
                  <a:pt x="253131" y="0"/>
                </a:moveTo>
                <a:lnTo>
                  <a:pt x="354419" y="0"/>
                </a:lnTo>
                <a:cubicBezTo>
                  <a:pt x="368482" y="0"/>
                  <a:pt x="379786" y="11287"/>
                  <a:pt x="379786" y="25239"/>
                </a:cubicBezTo>
                <a:lnTo>
                  <a:pt x="379786" y="62387"/>
                </a:lnTo>
                <a:cubicBezTo>
                  <a:pt x="393849" y="66831"/>
                  <a:pt x="407555" y="72519"/>
                  <a:pt x="420639" y="79451"/>
                </a:cubicBezTo>
                <a:lnTo>
                  <a:pt x="446985" y="53145"/>
                </a:lnTo>
                <a:cubicBezTo>
                  <a:pt x="456953" y="43191"/>
                  <a:pt x="472974" y="43191"/>
                  <a:pt x="482854" y="53145"/>
                </a:cubicBezTo>
                <a:lnTo>
                  <a:pt x="554414" y="124597"/>
                </a:lnTo>
                <a:cubicBezTo>
                  <a:pt x="564294" y="134462"/>
                  <a:pt x="564294" y="150459"/>
                  <a:pt x="554414" y="160323"/>
                </a:cubicBezTo>
                <a:lnTo>
                  <a:pt x="528069" y="186629"/>
                </a:lnTo>
                <a:cubicBezTo>
                  <a:pt x="535011" y="199782"/>
                  <a:pt x="540707" y="213468"/>
                  <a:pt x="545158" y="227510"/>
                </a:cubicBezTo>
                <a:lnTo>
                  <a:pt x="582273" y="227510"/>
                </a:lnTo>
                <a:cubicBezTo>
                  <a:pt x="596336" y="227510"/>
                  <a:pt x="607639" y="238796"/>
                  <a:pt x="607639" y="252749"/>
                </a:cubicBezTo>
                <a:lnTo>
                  <a:pt x="607639" y="353884"/>
                </a:lnTo>
                <a:cubicBezTo>
                  <a:pt x="607639" y="367926"/>
                  <a:pt x="596247" y="379212"/>
                  <a:pt x="582273" y="379212"/>
                </a:cubicBezTo>
                <a:lnTo>
                  <a:pt x="545158" y="379212"/>
                </a:lnTo>
                <a:cubicBezTo>
                  <a:pt x="540707" y="393254"/>
                  <a:pt x="535011" y="406940"/>
                  <a:pt x="528069" y="420004"/>
                </a:cubicBezTo>
                <a:lnTo>
                  <a:pt x="554414" y="446310"/>
                </a:lnTo>
                <a:cubicBezTo>
                  <a:pt x="564294" y="456263"/>
                  <a:pt x="564294" y="472260"/>
                  <a:pt x="554414" y="482125"/>
                </a:cubicBezTo>
                <a:lnTo>
                  <a:pt x="482854" y="553577"/>
                </a:lnTo>
                <a:cubicBezTo>
                  <a:pt x="472974" y="563442"/>
                  <a:pt x="456953" y="563442"/>
                  <a:pt x="446985" y="553577"/>
                </a:cubicBezTo>
                <a:lnTo>
                  <a:pt x="420639" y="527271"/>
                </a:lnTo>
                <a:cubicBezTo>
                  <a:pt x="407555" y="534203"/>
                  <a:pt x="393849" y="539802"/>
                  <a:pt x="379786" y="544246"/>
                </a:cubicBezTo>
                <a:lnTo>
                  <a:pt x="379786" y="581394"/>
                </a:lnTo>
                <a:cubicBezTo>
                  <a:pt x="379786" y="595435"/>
                  <a:pt x="368393" y="606722"/>
                  <a:pt x="354419" y="606722"/>
                </a:cubicBezTo>
                <a:lnTo>
                  <a:pt x="253131" y="606722"/>
                </a:lnTo>
                <a:cubicBezTo>
                  <a:pt x="239157" y="606722"/>
                  <a:pt x="227854" y="595435"/>
                  <a:pt x="227854" y="581394"/>
                </a:cubicBezTo>
                <a:lnTo>
                  <a:pt x="227854" y="544246"/>
                </a:lnTo>
                <a:cubicBezTo>
                  <a:pt x="213791" y="539802"/>
                  <a:pt x="200084" y="534203"/>
                  <a:pt x="186911" y="527271"/>
                </a:cubicBezTo>
                <a:lnTo>
                  <a:pt x="160566" y="553577"/>
                </a:lnTo>
                <a:cubicBezTo>
                  <a:pt x="150686" y="563442"/>
                  <a:pt x="134665" y="563442"/>
                  <a:pt x="124786" y="553577"/>
                </a:cubicBezTo>
                <a:lnTo>
                  <a:pt x="53225" y="482125"/>
                </a:lnTo>
                <a:cubicBezTo>
                  <a:pt x="43257" y="472260"/>
                  <a:pt x="43257" y="456263"/>
                  <a:pt x="53225" y="446310"/>
                </a:cubicBezTo>
                <a:lnTo>
                  <a:pt x="79482" y="420004"/>
                </a:lnTo>
                <a:cubicBezTo>
                  <a:pt x="72629" y="406940"/>
                  <a:pt x="66932" y="393254"/>
                  <a:pt x="62482" y="379212"/>
                </a:cubicBezTo>
                <a:lnTo>
                  <a:pt x="25278" y="379212"/>
                </a:lnTo>
                <a:cubicBezTo>
                  <a:pt x="11304" y="379212"/>
                  <a:pt x="0" y="367926"/>
                  <a:pt x="0" y="353884"/>
                </a:cubicBezTo>
                <a:lnTo>
                  <a:pt x="0" y="252749"/>
                </a:lnTo>
                <a:cubicBezTo>
                  <a:pt x="0" y="238796"/>
                  <a:pt x="11304" y="227510"/>
                  <a:pt x="25278" y="227510"/>
                </a:cubicBezTo>
                <a:lnTo>
                  <a:pt x="62482" y="227510"/>
                </a:lnTo>
                <a:cubicBezTo>
                  <a:pt x="66932" y="213468"/>
                  <a:pt x="72629" y="199782"/>
                  <a:pt x="79482" y="186629"/>
                </a:cubicBezTo>
                <a:lnTo>
                  <a:pt x="53225" y="160323"/>
                </a:lnTo>
                <a:cubicBezTo>
                  <a:pt x="43257" y="150459"/>
                  <a:pt x="43257" y="134462"/>
                  <a:pt x="53225" y="124597"/>
                </a:cubicBezTo>
                <a:lnTo>
                  <a:pt x="124786" y="53145"/>
                </a:lnTo>
                <a:cubicBezTo>
                  <a:pt x="134665" y="43191"/>
                  <a:pt x="150686" y="43191"/>
                  <a:pt x="160566" y="53145"/>
                </a:cubicBezTo>
                <a:lnTo>
                  <a:pt x="186911" y="79451"/>
                </a:lnTo>
                <a:cubicBezTo>
                  <a:pt x="200084" y="72519"/>
                  <a:pt x="213791" y="66831"/>
                  <a:pt x="227854" y="62387"/>
                </a:cubicBezTo>
                <a:lnTo>
                  <a:pt x="227854" y="25239"/>
                </a:lnTo>
                <a:cubicBezTo>
                  <a:pt x="227854" y="11287"/>
                  <a:pt x="239157" y="0"/>
                  <a:pt x="25313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3" name="ïṧľíďê">
            <a:extLst>
              <a:ext uri="{FF2B5EF4-FFF2-40B4-BE49-F238E27FC236}">
                <a16:creationId xmlns:a16="http://schemas.microsoft.com/office/drawing/2014/main" id="{83AC56C8-BB22-4DB6-8372-AA84DFFA3A81}"/>
              </a:ext>
            </a:extLst>
          </p:cNvPr>
          <p:cNvSpPr/>
          <p:nvPr/>
        </p:nvSpPr>
        <p:spPr bwMode="auto">
          <a:xfrm>
            <a:off x="3046217" y="2417826"/>
            <a:ext cx="154527" cy="154274"/>
          </a:xfrm>
          <a:custGeom>
            <a:avLst/>
            <a:gdLst>
              <a:gd name="connsiteX0" fmla="*/ 380418 w 604181"/>
              <a:gd name="connsiteY0" fmla="*/ 268007 h 603193"/>
              <a:gd name="connsiteX1" fmla="*/ 519220 w 604181"/>
              <a:gd name="connsiteY1" fmla="*/ 339187 h 603193"/>
              <a:gd name="connsiteX2" fmla="*/ 519220 w 604181"/>
              <a:gd name="connsiteY2" fmla="*/ 355820 h 603193"/>
              <a:gd name="connsiteX3" fmla="*/ 380418 w 604181"/>
              <a:gd name="connsiteY3" fmla="*/ 426850 h 603193"/>
              <a:gd name="connsiteX4" fmla="*/ 380418 w 604181"/>
              <a:gd name="connsiteY4" fmla="*/ 406320 h 603193"/>
              <a:gd name="connsiteX5" fmla="*/ 498212 w 604181"/>
              <a:gd name="connsiteY5" fmla="*/ 347728 h 603193"/>
              <a:gd name="connsiteX6" fmla="*/ 498212 w 604181"/>
              <a:gd name="connsiteY6" fmla="*/ 347129 h 603193"/>
              <a:gd name="connsiteX7" fmla="*/ 380418 w 604181"/>
              <a:gd name="connsiteY7" fmla="*/ 288687 h 603193"/>
              <a:gd name="connsiteX8" fmla="*/ 216565 w 604181"/>
              <a:gd name="connsiteY8" fmla="*/ 268007 h 603193"/>
              <a:gd name="connsiteX9" fmla="*/ 216565 w 604181"/>
              <a:gd name="connsiteY9" fmla="*/ 288687 h 603193"/>
              <a:gd name="connsiteX10" fmla="*/ 99664 w 604181"/>
              <a:gd name="connsiteY10" fmla="*/ 347129 h 603193"/>
              <a:gd name="connsiteX11" fmla="*/ 99664 w 604181"/>
              <a:gd name="connsiteY11" fmla="*/ 347728 h 603193"/>
              <a:gd name="connsiteX12" fmla="*/ 216565 w 604181"/>
              <a:gd name="connsiteY12" fmla="*/ 406320 h 603193"/>
              <a:gd name="connsiteX13" fmla="*/ 216565 w 604181"/>
              <a:gd name="connsiteY13" fmla="*/ 426850 h 603193"/>
              <a:gd name="connsiteX14" fmla="*/ 77904 w 604181"/>
              <a:gd name="connsiteY14" fmla="*/ 355521 h 603193"/>
              <a:gd name="connsiteX15" fmla="*/ 77904 w 604181"/>
              <a:gd name="connsiteY15" fmla="*/ 339486 h 603193"/>
              <a:gd name="connsiteX16" fmla="*/ 338273 w 604181"/>
              <a:gd name="connsiteY16" fmla="*/ 222493 h 603193"/>
              <a:gd name="connsiteX17" fmla="*/ 358684 w 604181"/>
              <a:gd name="connsiteY17" fmla="*/ 222493 h 603193"/>
              <a:gd name="connsiteX18" fmla="*/ 253179 w 604181"/>
              <a:gd name="connsiteY18" fmla="*/ 482103 h 603193"/>
              <a:gd name="connsiteX19" fmla="*/ 233219 w 604181"/>
              <a:gd name="connsiteY19" fmla="*/ 482103 h 603193"/>
              <a:gd name="connsiteX20" fmla="*/ 28813 w 604181"/>
              <a:gd name="connsiteY20" fmla="*/ 128849 h 603193"/>
              <a:gd name="connsiteX21" fmla="*/ 28813 w 604181"/>
              <a:gd name="connsiteY21" fmla="*/ 557497 h 603193"/>
              <a:gd name="connsiteX22" fmla="*/ 45921 w 604181"/>
              <a:gd name="connsiteY22" fmla="*/ 574427 h 603193"/>
              <a:gd name="connsiteX23" fmla="*/ 558410 w 604181"/>
              <a:gd name="connsiteY23" fmla="*/ 574427 h 603193"/>
              <a:gd name="connsiteX24" fmla="*/ 575368 w 604181"/>
              <a:gd name="connsiteY24" fmla="*/ 557497 h 603193"/>
              <a:gd name="connsiteX25" fmla="*/ 575368 w 604181"/>
              <a:gd name="connsiteY25" fmla="*/ 128849 h 603193"/>
              <a:gd name="connsiteX26" fmla="*/ 502734 w 604181"/>
              <a:gd name="connsiteY26" fmla="*/ 43149 h 603193"/>
              <a:gd name="connsiteX27" fmla="*/ 502734 w 604181"/>
              <a:gd name="connsiteY27" fmla="*/ 77309 h 603193"/>
              <a:gd name="connsiteX28" fmla="*/ 537100 w 604181"/>
              <a:gd name="connsiteY28" fmla="*/ 77309 h 603193"/>
              <a:gd name="connsiteX29" fmla="*/ 537100 w 604181"/>
              <a:gd name="connsiteY29" fmla="*/ 43149 h 603193"/>
              <a:gd name="connsiteX30" fmla="*/ 423197 w 604181"/>
              <a:gd name="connsiteY30" fmla="*/ 43149 h 603193"/>
              <a:gd name="connsiteX31" fmla="*/ 423197 w 604181"/>
              <a:gd name="connsiteY31" fmla="*/ 77309 h 603193"/>
              <a:gd name="connsiteX32" fmla="*/ 457563 w 604181"/>
              <a:gd name="connsiteY32" fmla="*/ 77309 h 603193"/>
              <a:gd name="connsiteX33" fmla="*/ 457563 w 604181"/>
              <a:gd name="connsiteY33" fmla="*/ 43149 h 603193"/>
              <a:gd name="connsiteX34" fmla="*/ 45921 w 604181"/>
              <a:gd name="connsiteY34" fmla="*/ 0 h 603193"/>
              <a:gd name="connsiteX35" fmla="*/ 558410 w 604181"/>
              <a:gd name="connsiteY35" fmla="*/ 0 h 603193"/>
              <a:gd name="connsiteX36" fmla="*/ 604181 w 604181"/>
              <a:gd name="connsiteY36" fmla="*/ 45846 h 603193"/>
              <a:gd name="connsiteX37" fmla="*/ 604181 w 604181"/>
              <a:gd name="connsiteY37" fmla="*/ 557497 h 603193"/>
              <a:gd name="connsiteX38" fmla="*/ 558410 w 604181"/>
              <a:gd name="connsiteY38" fmla="*/ 603193 h 603193"/>
              <a:gd name="connsiteX39" fmla="*/ 45921 w 604181"/>
              <a:gd name="connsiteY39" fmla="*/ 603193 h 603193"/>
              <a:gd name="connsiteX40" fmla="*/ 0 w 604181"/>
              <a:gd name="connsiteY40" fmla="*/ 557497 h 603193"/>
              <a:gd name="connsiteX41" fmla="*/ 0 w 604181"/>
              <a:gd name="connsiteY41" fmla="*/ 45846 h 603193"/>
              <a:gd name="connsiteX42" fmla="*/ 45921 w 604181"/>
              <a:gd name="connsiteY42" fmla="*/ 0 h 603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04181" h="603193">
                <a:moveTo>
                  <a:pt x="380418" y="268007"/>
                </a:moveTo>
                <a:lnTo>
                  <a:pt x="519220" y="339187"/>
                </a:lnTo>
                <a:lnTo>
                  <a:pt x="519220" y="355820"/>
                </a:lnTo>
                <a:lnTo>
                  <a:pt x="380418" y="426850"/>
                </a:lnTo>
                <a:lnTo>
                  <a:pt x="380418" y="406320"/>
                </a:lnTo>
                <a:lnTo>
                  <a:pt x="498212" y="347728"/>
                </a:lnTo>
                <a:lnTo>
                  <a:pt x="498212" y="347129"/>
                </a:lnTo>
                <a:lnTo>
                  <a:pt x="380418" y="288687"/>
                </a:lnTo>
                <a:close/>
                <a:moveTo>
                  <a:pt x="216565" y="268007"/>
                </a:moveTo>
                <a:lnTo>
                  <a:pt x="216565" y="288687"/>
                </a:lnTo>
                <a:lnTo>
                  <a:pt x="99664" y="347129"/>
                </a:lnTo>
                <a:lnTo>
                  <a:pt x="99664" y="347728"/>
                </a:lnTo>
                <a:lnTo>
                  <a:pt x="216565" y="406320"/>
                </a:lnTo>
                <a:lnTo>
                  <a:pt x="216565" y="426850"/>
                </a:lnTo>
                <a:lnTo>
                  <a:pt x="77904" y="355521"/>
                </a:lnTo>
                <a:lnTo>
                  <a:pt x="77904" y="339486"/>
                </a:lnTo>
                <a:close/>
                <a:moveTo>
                  <a:pt x="338273" y="222493"/>
                </a:moveTo>
                <a:lnTo>
                  <a:pt x="358684" y="222493"/>
                </a:lnTo>
                <a:lnTo>
                  <a:pt x="253179" y="482103"/>
                </a:lnTo>
                <a:lnTo>
                  <a:pt x="233219" y="482103"/>
                </a:lnTo>
                <a:close/>
                <a:moveTo>
                  <a:pt x="28813" y="128849"/>
                </a:moveTo>
                <a:lnTo>
                  <a:pt x="28813" y="557497"/>
                </a:lnTo>
                <a:cubicBezTo>
                  <a:pt x="28813" y="566786"/>
                  <a:pt x="36467" y="574427"/>
                  <a:pt x="45921" y="574427"/>
                </a:cubicBezTo>
                <a:lnTo>
                  <a:pt x="558410" y="574427"/>
                </a:lnTo>
                <a:cubicBezTo>
                  <a:pt x="567714" y="574427"/>
                  <a:pt x="575368" y="566786"/>
                  <a:pt x="575368" y="557497"/>
                </a:cubicBezTo>
                <a:lnTo>
                  <a:pt x="575368" y="128849"/>
                </a:lnTo>
                <a:close/>
                <a:moveTo>
                  <a:pt x="502734" y="43149"/>
                </a:moveTo>
                <a:lnTo>
                  <a:pt x="502734" y="77309"/>
                </a:lnTo>
                <a:lnTo>
                  <a:pt x="537100" y="77309"/>
                </a:lnTo>
                <a:lnTo>
                  <a:pt x="537100" y="43149"/>
                </a:lnTo>
                <a:close/>
                <a:moveTo>
                  <a:pt x="423197" y="43149"/>
                </a:moveTo>
                <a:lnTo>
                  <a:pt x="423197" y="77309"/>
                </a:lnTo>
                <a:lnTo>
                  <a:pt x="457563" y="77309"/>
                </a:lnTo>
                <a:lnTo>
                  <a:pt x="457563" y="43149"/>
                </a:lnTo>
                <a:close/>
                <a:moveTo>
                  <a:pt x="45921" y="0"/>
                </a:moveTo>
                <a:lnTo>
                  <a:pt x="558410" y="0"/>
                </a:lnTo>
                <a:cubicBezTo>
                  <a:pt x="583621" y="0"/>
                  <a:pt x="604181" y="20526"/>
                  <a:pt x="604181" y="45846"/>
                </a:cubicBezTo>
                <a:lnTo>
                  <a:pt x="604181" y="557497"/>
                </a:lnTo>
                <a:cubicBezTo>
                  <a:pt x="604181" y="582667"/>
                  <a:pt x="583621" y="603193"/>
                  <a:pt x="558410" y="603193"/>
                </a:cubicBezTo>
                <a:lnTo>
                  <a:pt x="45921" y="603193"/>
                </a:lnTo>
                <a:cubicBezTo>
                  <a:pt x="20560" y="603193"/>
                  <a:pt x="0" y="582667"/>
                  <a:pt x="0" y="557497"/>
                </a:cubicBezTo>
                <a:lnTo>
                  <a:pt x="0" y="45846"/>
                </a:lnTo>
                <a:cubicBezTo>
                  <a:pt x="0" y="20526"/>
                  <a:pt x="20560" y="0"/>
                  <a:pt x="4592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4" name="îṣḻîḍé">
            <a:extLst>
              <a:ext uri="{FF2B5EF4-FFF2-40B4-BE49-F238E27FC236}">
                <a16:creationId xmlns:a16="http://schemas.microsoft.com/office/drawing/2014/main" id="{716A4AAF-66FE-4462-901E-658C29D84AD8}"/>
              </a:ext>
            </a:extLst>
          </p:cNvPr>
          <p:cNvSpPr/>
          <p:nvPr/>
        </p:nvSpPr>
        <p:spPr bwMode="auto">
          <a:xfrm>
            <a:off x="2825711" y="2680853"/>
            <a:ext cx="154527" cy="154293"/>
          </a:xfrm>
          <a:custGeom>
            <a:avLst/>
            <a:gdLst>
              <a:gd name="T0" fmla="*/ 6624 w 7154"/>
              <a:gd name="T1" fmla="*/ 2037 h 7154"/>
              <a:gd name="T2" fmla="*/ 6106 w 7154"/>
              <a:gd name="T3" fmla="*/ 1048 h 7154"/>
              <a:gd name="T4" fmla="*/ 5117 w 7154"/>
              <a:gd name="T5" fmla="*/ 530 h 7154"/>
              <a:gd name="T6" fmla="*/ 4643 w 7154"/>
              <a:gd name="T7" fmla="*/ 334 h 7154"/>
              <a:gd name="T8" fmla="*/ 3577 w 7154"/>
              <a:gd name="T9" fmla="*/ 0 h 7154"/>
              <a:gd name="T10" fmla="*/ 2511 w 7154"/>
              <a:gd name="T11" fmla="*/ 334 h 7154"/>
              <a:gd name="T12" fmla="*/ 2037 w 7154"/>
              <a:gd name="T13" fmla="*/ 530 h 7154"/>
              <a:gd name="T14" fmla="*/ 1048 w 7154"/>
              <a:gd name="T15" fmla="*/ 1048 h 7154"/>
              <a:gd name="T16" fmla="*/ 530 w 7154"/>
              <a:gd name="T17" fmla="*/ 2037 h 7154"/>
              <a:gd name="T18" fmla="*/ 334 w 7154"/>
              <a:gd name="T19" fmla="*/ 2511 h 7154"/>
              <a:gd name="T20" fmla="*/ 0 w 7154"/>
              <a:gd name="T21" fmla="*/ 3577 h 7154"/>
              <a:gd name="T22" fmla="*/ 334 w 7154"/>
              <a:gd name="T23" fmla="*/ 4643 h 7154"/>
              <a:gd name="T24" fmla="*/ 530 w 7154"/>
              <a:gd name="T25" fmla="*/ 5117 h 7154"/>
              <a:gd name="T26" fmla="*/ 1048 w 7154"/>
              <a:gd name="T27" fmla="*/ 6106 h 7154"/>
              <a:gd name="T28" fmla="*/ 2037 w 7154"/>
              <a:gd name="T29" fmla="*/ 6624 h 7154"/>
              <a:gd name="T30" fmla="*/ 2511 w 7154"/>
              <a:gd name="T31" fmla="*/ 6820 h 7154"/>
              <a:gd name="T32" fmla="*/ 3577 w 7154"/>
              <a:gd name="T33" fmla="*/ 7154 h 7154"/>
              <a:gd name="T34" fmla="*/ 4643 w 7154"/>
              <a:gd name="T35" fmla="*/ 6820 h 7154"/>
              <a:gd name="T36" fmla="*/ 5117 w 7154"/>
              <a:gd name="T37" fmla="*/ 6624 h 7154"/>
              <a:gd name="T38" fmla="*/ 6106 w 7154"/>
              <a:gd name="T39" fmla="*/ 6106 h 7154"/>
              <a:gd name="T40" fmla="*/ 6624 w 7154"/>
              <a:gd name="T41" fmla="*/ 5117 h 7154"/>
              <a:gd name="T42" fmla="*/ 6820 w 7154"/>
              <a:gd name="T43" fmla="*/ 4643 h 7154"/>
              <a:gd name="T44" fmla="*/ 7154 w 7154"/>
              <a:gd name="T45" fmla="*/ 3577 h 7154"/>
              <a:gd name="T46" fmla="*/ 6820 w 7154"/>
              <a:gd name="T47" fmla="*/ 2511 h 7154"/>
              <a:gd name="T48" fmla="*/ 6624 w 7154"/>
              <a:gd name="T49" fmla="*/ 2037 h 7154"/>
              <a:gd name="T50" fmla="*/ 5857 w 7154"/>
              <a:gd name="T51" fmla="*/ 2406 h 7154"/>
              <a:gd name="T52" fmla="*/ 3286 w 7154"/>
              <a:gd name="T53" fmla="*/ 4976 h 7154"/>
              <a:gd name="T54" fmla="*/ 2875 w 7154"/>
              <a:gd name="T55" fmla="*/ 5387 h 7154"/>
              <a:gd name="T56" fmla="*/ 2464 w 7154"/>
              <a:gd name="T57" fmla="*/ 5387 h 7154"/>
              <a:gd name="T58" fmla="*/ 2053 w 7154"/>
              <a:gd name="T59" fmla="*/ 4976 h 7154"/>
              <a:gd name="T60" fmla="*/ 1297 w 7154"/>
              <a:gd name="T61" fmla="*/ 4221 h 7154"/>
              <a:gd name="T62" fmla="*/ 1297 w 7154"/>
              <a:gd name="T63" fmla="*/ 3809 h 7154"/>
              <a:gd name="T64" fmla="*/ 1708 w 7154"/>
              <a:gd name="T65" fmla="*/ 3398 h 7154"/>
              <a:gd name="T66" fmla="*/ 2120 w 7154"/>
              <a:gd name="T67" fmla="*/ 3398 h 7154"/>
              <a:gd name="T68" fmla="*/ 2669 w 7154"/>
              <a:gd name="T69" fmla="*/ 3948 h 7154"/>
              <a:gd name="T70" fmla="*/ 5034 w 7154"/>
              <a:gd name="T71" fmla="*/ 1583 h 7154"/>
              <a:gd name="T72" fmla="*/ 5445 w 7154"/>
              <a:gd name="T73" fmla="*/ 1583 h 7154"/>
              <a:gd name="T74" fmla="*/ 5857 w 7154"/>
              <a:gd name="T75" fmla="*/ 1994 h 7154"/>
              <a:gd name="T76" fmla="*/ 5857 w 7154"/>
              <a:gd name="T77" fmla="*/ 2406 h 7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154" h="7154">
                <a:moveTo>
                  <a:pt x="6624" y="2037"/>
                </a:moveTo>
                <a:cubicBezTo>
                  <a:pt x="6580" y="1703"/>
                  <a:pt x="6403" y="1345"/>
                  <a:pt x="6106" y="1048"/>
                </a:cubicBezTo>
                <a:cubicBezTo>
                  <a:pt x="5809" y="751"/>
                  <a:pt x="5451" y="574"/>
                  <a:pt x="5117" y="530"/>
                </a:cubicBezTo>
                <a:cubicBezTo>
                  <a:pt x="4966" y="510"/>
                  <a:pt x="4764" y="427"/>
                  <a:pt x="4643" y="334"/>
                </a:cubicBezTo>
                <a:cubicBezTo>
                  <a:pt x="4375" y="128"/>
                  <a:pt x="3997" y="0"/>
                  <a:pt x="3577" y="0"/>
                </a:cubicBezTo>
                <a:cubicBezTo>
                  <a:pt x="3157" y="0"/>
                  <a:pt x="2779" y="128"/>
                  <a:pt x="2511" y="334"/>
                </a:cubicBezTo>
                <a:cubicBezTo>
                  <a:pt x="2390" y="427"/>
                  <a:pt x="2188" y="510"/>
                  <a:pt x="2037" y="530"/>
                </a:cubicBezTo>
                <a:cubicBezTo>
                  <a:pt x="1702" y="574"/>
                  <a:pt x="1345" y="751"/>
                  <a:pt x="1048" y="1048"/>
                </a:cubicBezTo>
                <a:cubicBezTo>
                  <a:pt x="751" y="1345"/>
                  <a:pt x="574" y="1703"/>
                  <a:pt x="530" y="2037"/>
                </a:cubicBezTo>
                <a:cubicBezTo>
                  <a:pt x="510" y="2188"/>
                  <a:pt x="427" y="2390"/>
                  <a:pt x="334" y="2511"/>
                </a:cubicBezTo>
                <a:cubicBezTo>
                  <a:pt x="128" y="2779"/>
                  <a:pt x="0" y="3157"/>
                  <a:pt x="0" y="3577"/>
                </a:cubicBezTo>
                <a:cubicBezTo>
                  <a:pt x="0" y="3997"/>
                  <a:pt x="128" y="4375"/>
                  <a:pt x="334" y="4643"/>
                </a:cubicBezTo>
                <a:cubicBezTo>
                  <a:pt x="427" y="4764"/>
                  <a:pt x="510" y="4966"/>
                  <a:pt x="530" y="5117"/>
                </a:cubicBezTo>
                <a:cubicBezTo>
                  <a:pt x="574" y="5451"/>
                  <a:pt x="751" y="5809"/>
                  <a:pt x="1048" y="6106"/>
                </a:cubicBezTo>
                <a:cubicBezTo>
                  <a:pt x="1345" y="6403"/>
                  <a:pt x="1702" y="6580"/>
                  <a:pt x="2037" y="6624"/>
                </a:cubicBezTo>
                <a:cubicBezTo>
                  <a:pt x="2188" y="6644"/>
                  <a:pt x="2390" y="6727"/>
                  <a:pt x="2511" y="6820"/>
                </a:cubicBezTo>
                <a:cubicBezTo>
                  <a:pt x="2779" y="7025"/>
                  <a:pt x="3157" y="7154"/>
                  <a:pt x="3577" y="7154"/>
                </a:cubicBezTo>
                <a:cubicBezTo>
                  <a:pt x="3997" y="7154"/>
                  <a:pt x="4375" y="7025"/>
                  <a:pt x="4643" y="6820"/>
                </a:cubicBezTo>
                <a:cubicBezTo>
                  <a:pt x="4764" y="6727"/>
                  <a:pt x="4966" y="6644"/>
                  <a:pt x="5117" y="6624"/>
                </a:cubicBezTo>
                <a:cubicBezTo>
                  <a:pt x="5451" y="6580"/>
                  <a:pt x="5809" y="6403"/>
                  <a:pt x="6106" y="6106"/>
                </a:cubicBezTo>
                <a:cubicBezTo>
                  <a:pt x="6403" y="5809"/>
                  <a:pt x="6580" y="5451"/>
                  <a:pt x="6624" y="5117"/>
                </a:cubicBezTo>
                <a:cubicBezTo>
                  <a:pt x="6644" y="4966"/>
                  <a:pt x="6727" y="4764"/>
                  <a:pt x="6820" y="4643"/>
                </a:cubicBezTo>
                <a:cubicBezTo>
                  <a:pt x="7026" y="4375"/>
                  <a:pt x="7154" y="3997"/>
                  <a:pt x="7154" y="3577"/>
                </a:cubicBezTo>
                <a:cubicBezTo>
                  <a:pt x="7154" y="3157"/>
                  <a:pt x="7026" y="2779"/>
                  <a:pt x="6820" y="2511"/>
                </a:cubicBezTo>
                <a:cubicBezTo>
                  <a:pt x="6727" y="2390"/>
                  <a:pt x="6644" y="2188"/>
                  <a:pt x="6624" y="2037"/>
                </a:cubicBezTo>
                <a:close/>
                <a:moveTo>
                  <a:pt x="5857" y="2406"/>
                </a:moveTo>
                <a:lnTo>
                  <a:pt x="3286" y="4976"/>
                </a:lnTo>
                <a:lnTo>
                  <a:pt x="2875" y="5387"/>
                </a:lnTo>
                <a:cubicBezTo>
                  <a:pt x="2762" y="5501"/>
                  <a:pt x="2577" y="5501"/>
                  <a:pt x="2464" y="5387"/>
                </a:cubicBezTo>
                <a:lnTo>
                  <a:pt x="2053" y="4976"/>
                </a:lnTo>
                <a:lnTo>
                  <a:pt x="1297" y="4221"/>
                </a:lnTo>
                <a:cubicBezTo>
                  <a:pt x="1183" y="4107"/>
                  <a:pt x="1183" y="3923"/>
                  <a:pt x="1297" y="3809"/>
                </a:cubicBezTo>
                <a:lnTo>
                  <a:pt x="1708" y="3398"/>
                </a:lnTo>
                <a:cubicBezTo>
                  <a:pt x="1822" y="3285"/>
                  <a:pt x="2006" y="3285"/>
                  <a:pt x="2120" y="3398"/>
                </a:cubicBezTo>
                <a:lnTo>
                  <a:pt x="2669" y="3948"/>
                </a:lnTo>
                <a:lnTo>
                  <a:pt x="5034" y="1583"/>
                </a:lnTo>
                <a:cubicBezTo>
                  <a:pt x="5148" y="1470"/>
                  <a:pt x="5332" y="1470"/>
                  <a:pt x="5445" y="1583"/>
                </a:cubicBezTo>
                <a:lnTo>
                  <a:pt x="5857" y="1994"/>
                </a:lnTo>
                <a:cubicBezTo>
                  <a:pt x="5970" y="2108"/>
                  <a:pt x="5970" y="2292"/>
                  <a:pt x="5857" y="2406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5" name="iṧḷiḑé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555424" y="2144580"/>
            <a:ext cx="1278127" cy="19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按分布模式进行配置</a:t>
            </a:r>
            <a:endParaRPr lang="en-US" altLang="zh-CN" sz="1100" dirty="0"/>
          </a:p>
        </p:txBody>
      </p:sp>
      <p:sp>
        <p:nvSpPr>
          <p:cNvPr id="216" name="îṧḻiḑe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332037" y="2410591"/>
            <a:ext cx="1278127" cy="19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运行第一个实例</a:t>
            </a:r>
            <a:endParaRPr lang="en-US" altLang="zh-CN" sz="1100" dirty="0"/>
          </a:p>
        </p:txBody>
      </p:sp>
      <p:sp>
        <p:nvSpPr>
          <p:cNvPr id="217" name="îṣľïd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108716" y="2676601"/>
            <a:ext cx="1278127" cy="19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开心</a:t>
            </a:r>
            <a:r>
              <a:rPr lang="en-US" altLang="zh-CN" sz="1100" dirty="0" err="1"/>
              <a:t>ing</a:t>
            </a:r>
            <a:r>
              <a:rPr lang="en-US" altLang="zh-CN" sz="1100" dirty="0"/>
              <a:t>~</a:t>
            </a:r>
          </a:p>
        </p:txBody>
      </p:sp>
      <p:sp>
        <p:nvSpPr>
          <p:cNvPr id="218" name="íṧ1îd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778718" y="1878569"/>
            <a:ext cx="1278127" cy="19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 解压</a:t>
            </a:r>
            <a:endParaRPr lang="en-US" altLang="zh-CN" sz="1100" dirty="0"/>
          </a:p>
        </p:txBody>
      </p:sp>
      <p:sp>
        <p:nvSpPr>
          <p:cNvPr id="219" name="îs1ïḋ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4004827" y="1612558"/>
            <a:ext cx="1278127" cy="19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>
                <a:solidFill>
                  <a:schemeClr val="bg1"/>
                </a:solidFill>
              </a:rPr>
              <a:t>配置环境变量 使之生效</a:t>
            </a: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20" name="íšliḓ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4228134" y="1346547"/>
            <a:ext cx="1278127" cy="19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</a:t>
            </a:r>
            <a:r>
              <a:rPr lang="en-US" altLang="zh-CN" sz="1100" dirty="0"/>
              <a:t> </a:t>
            </a:r>
            <a:r>
              <a:rPr lang="zh-CN" altLang="en-US" sz="1100" dirty="0"/>
              <a:t>解压</a:t>
            </a:r>
            <a:endParaRPr lang="en-US" altLang="zh-CN" sz="1100" dirty="0"/>
          </a:p>
        </p:txBody>
      </p:sp>
      <p:sp>
        <p:nvSpPr>
          <p:cNvPr id="91" name="íSľîḍe">
            <a:extLst>
              <a:ext uri="{FF2B5EF4-FFF2-40B4-BE49-F238E27FC236}">
                <a16:creationId xmlns:a16="http://schemas.microsoft.com/office/drawing/2014/main" id="{584D921E-ABF9-4D19-9FE4-536FCFF87129}"/>
              </a:ext>
            </a:extLst>
          </p:cNvPr>
          <p:cNvSpPr/>
          <p:nvPr/>
        </p:nvSpPr>
        <p:spPr>
          <a:xfrm>
            <a:off x="2224471" y="3494498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下载</a:t>
            </a:r>
          </a:p>
        </p:txBody>
      </p:sp>
      <p:sp>
        <p:nvSpPr>
          <p:cNvPr id="92" name="îṩḷïḍé">
            <a:extLst>
              <a:ext uri="{FF2B5EF4-FFF2-40B4-BE49-F238E27FC236}">
                <a16:creationId xmlns:a16="http://schemas.microsoft.com/office/drawing/2014/main" id="{E6CC048A-2A07-488E-934A-7C38CF8ACBCE}"/>
              </a:ext>
            </a:extLst>
          </p:cNvPr>
          <p:cNvSpPr>
            <a:spLocks/>
          </p:cNvSpPr>
          <p:nvPr/>
        </p:nvSpPr>
        <p:spPr bwMode="auto">
          <a:xfrm>
            <a:off x="2490208" y="3611872"/>
            <a:ext cx="532037" cy="532037"/>
          </a:xfrm>
          <a:custGeom>
            <a:avLst/>
            <a:gdLst>
              <a:gd name="connsiteX0" fmla="*/ 39602 w 536368"/>
              <a:gd name="connsiteY0" fmla="*/ 407445 h 587881"/>
              <a:gd name="connsiteX1" fmla="*/ 79294 w 536368"/>
              <a:gd name="connsiteY1" fmla="*/ 446999 h 587881"/>
              <a:gd name="connsiteX2" fmla="*/ 79294 w 536368"/>
              <a:gd name="connsiteY2" fmla="*/ 508685 h 587881"/>
              <a:gd name="connsiteX3" fmla="*/ 457074 w 536368"/>
              <a:gd name="connsiteY3" fmla="*/ 508685 h 587881"/>
              <a:gd name="connsiteX4" fmla="*/ 457074 w 536368"/>
              <a:gd name="connsiteY4" fmla="*/ 446999 h 587881"/>
              <a:gd name="connsiteX5" fmla="*/ 496677 w 536368"/>
              <a:gd name="connsiteY5" fmla="*/ 407445 h 587881"/>
              <a:gd name="connsiteX6" fmla="*/ 536368 w 536368"/>
              <a:gd name="connsiteY6" fmla="*/ 446999 h 587881"/>
              <a:gd name="connsiteX7" fmla="*/ 536368 w 536368"/>
              <a:gd name="connsiteY7" fmla="*/ 548238 h 587881"/>
              <a:gd name="connsiteX8" fmla="*/ 496677 w 536368"/>
              <a:gd name="connsiteY8" fmla="*/ 587881 h 587881"/>
              <a:gd name="connsiteX9" fmla="*/ 39602 w 536368"/>
              <a:gd name="connsiteY9" fmla="*/ 587881 h 587881"/>
              <a:gd name="connsiteX10" fmla="*/ 0 w 536368"/>
              <a:gd name="connsiteY10" fmla="*/ 548238 h 587881"/>
              <a:gd name="connsiteX11" fmla="*/ 0 w 536368"/>
              <a:gd name="connsiteY11" fmla="*/ 446999 h 587881"/>
              <a:gd name="connsiteX12" fmla="*/ 39602 w 536368"/>
              <a:gd name="connsiteY12" fmla="*/ 407445 h 587881"/>
              <a:gd name="connsiteX13" fmla="*/ 223430 w 536368"/>
              <a:gd name="connsiteY13" fmla="*/ 0 h 587881"/>
              <a:gd name="connsiteX14" fmla="*/ 312886 w 536368"/>
              <a:gd name="connsiteY14" fmla="*/ 0 h 587881"/>
              <a:gd name="connsiteX15" fmla="*/ 343773 w 536368"/>
              <a:gd name="connsiteY15" fmla="*/ 30926 h 587881"/>
              <a:gd name="connsiteX16" fmla="*/ 343773 w 536368"/>
              <a:gd name="connsiteY16" fmla="*/ 286685 h 587881"/>
              <a:gd name="connsiteX17" fmla="*/ 409018 w 536368"/>
              <a:gd name="connsiteY17" fmla="*/ 286685 h 587881"/>
              <a:gd name="connsiteX18" fmla="*/ 422103 w 536368"/>
              <a:gd name="connsiteY18" fmla="*/ 295394 h 587881"/>
              <a:gd name="connsiteX19" fmla="*/ 418988 w 536368"/>
              <a:gd name="connsiteY19" fmla="*/ 310857 h 587881"/>
              <a:gd name="connsiteX20" fmla="*/ 280130 w 536368"/>
              <a:gd name="connsiteY20" fmla="*/ 449489 h 587881"/>
              <a:gd name="connsiteX21" fmla="*/ 256186 w 536368"/>
              <a:gd name="connsiteY21" fmla="*/ 449489 h 587881"/>
              <a:gd name="connsiteX22" fmla="*/ 117239 w 536368"/>
              <a:gd name="connsiteY22" fmla="*/ 310857 h 587881"/>
              <a:gd name="connsiteX23" fmla="*/ 114213 w 536368"/>
              <a:gd name="connsiteY23" fmla="*/ 295394 h 587881"/>
              <a:gd name="connsiteX24" fmla="*/ 127297 w 536368"/>
              <a:gd name="connsiteY24" fmla="*/ 286685 h 587881"/>
              <a:gd name="connsiteX25" fmla="*/ 192543 w 536368"/>
              <a:gd name="connsiteY25" fmla="*/ 286685 h 587881"/>
              <a:gd name="connsiteX26" fmla="*/ 192543 w 536368"/>
              <a:gd name="connsiteY26" fmla="*/ 30926 h 587881"/>
              <a:gd name="connsiteX27" fmla="*/ 223430 w 536368"/>
              <a:gd name="connsiteY27" fmla="*/ 0 h 587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536368" h="587881">
                <a:moveTo>
                  <a:pt x="39602" y="407445"/>
                </a:moveTo>
                <a:cubicBezTo>
                  <a:pt x="61495" y="407445"/>
                  <a:pt x="79294" y="425133"/>
                  <a:pt x="79294" y="446999"/>
                </a:cubicBezTo>
                <a:lnTo>
                  <a:pt x="79294" y="508685"/>
                </a:lnTo>
                <a:lnTo>
                  <a:pt x="457074" y="508685"/>
                </a:lnTo>
                <a:lnTo>
                  <a:pt x="457074" y="446999"/>
                </a:lnTo>
                <a:cubicBezTo>
                  <a:pt x="457074" y="425133"/>
                  <a:pt x="474873" y="407445"/>
                  <a:pt x="496677" y="407445"/>
                </a:cubicBezTo>
                <a:cubicBezTo>
                  <a:pt x="518569" y="407445"/>
                  <a:pt x="536368" y="425133"/>
                  <a:pt x="536368" y="446999"/>
                </a:cubicBezTo>
                <a:lnTo>
                  <a:pt x="536368" y="548238"/>
                </a:lnTo>
                <a:cubicBezTo>
                  <a:pt x="536368" y="570104"/>
                  <a:pt x="518569" y="587881"/>
                  <a:pt x="496677" y="587881"/>
                </a:cubicBezTo>
                <a:lnTo>
                  <a:pt x="39602" y="587881"/>
                </a:lnTo>
                <a:cubicBezTo>
                  <a:pt x="17710" y="587881"/>
                  <a:pt x="0" y="570104"/>
                  <a:pt x="0" y="548238"/>
                </a:cubicBezTo>
                <a:lnTo>
                  <a:pt x="0" y="446999"/>
                </a:lnTo>
                <a:cubicBezTo>
                  <a:pt x="0" y="425133"/>
                  <a:pt x="17710" y="407445"/>
                  <a:pt x="39602" y="407445"/>
                </a:cubicBezTo>
                <a:close/>
                <a:moveTo>
                  <a:pt x="223430" y="0"/>
                </a:moveTo>
                <a:lnTo>
                  <a:pt x="312886" y="0"/>
                </a:lnTo>
                <a:cubicBezTo>
                  <a:pt x="329976" y="0"/>
                  <a:pt x="343773" y="13863"/>
                  <a:pt x="343773" y="30926"/>
                </a:cubicBezTo>
                <a:lnTo>
                  <a:pt x="343773" y="286685"/>
                </a:lnTo>
                <a:lnTo>
                  <a:pt x="409018" y="286685"/>
                </a:lnTo>
                <a:cubicBezTo>
                  <a:pt x="414715" y="286685"/>
                  <a:pt x="419878" y="290151"/>
                  <a:pt x="422103" y="295394"/>
                </a:cubicBezTo>
                <a:cubicBezTo>
                  <a:pt x="424239" y="300726"/>
                  <a:pt x="423082" y="306769"/>
                  <a:pt x="418988" y="310857"/>
                </a:cubicBezTo>
                <a:lnTo>
                  <a:pt x="280130" y="449489"/>
                </a:lnTo>
                <a:cubicBezTo>
                  <a:pt x="273543" y="456065"/>
                  <a:pt x="262773" y="456065"/>
                  <a:pt x="256186" y="449489"/>
                </a:cubicBezTo>
                <a:lnTo>
                  <a:pt x="117239" y="310857"/>
                </a:lnTo>
                <a:cubicBezTo>
                  <a:pt x="113233" y="306769"/>
                  <a:pt x="111987" y="300726"/>
                  <a:pt x="114213" y="295394"/>
                </a:cubicBezTo>
                <a:cubicBezTo>
                  <a:pt x="116438" y="290151"/>
                  <a:pt x="121511" y="286685"/>
                  <a:pt x="127297" y="286685"/>
                </a:cubicBezTo>
                <a:lnTo>
                  <a:pt x="192543" y="286685"/>
                </a:lnTo>
                <a:lnTo>
                  <a:pt x="192543" y="30926"/>
                </a:lnTo>
                <a:cubicBezTo>
                  <a:pt x="192543" y="13863"/>
                  <a:pt x="206339" y="0"/>
                  <a:pt x="223430" y="0"/>
                </a:cubicBezTo>
                <a:close/>
              </a:path>
            </a:pathLst>
          </a:cu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sz="2400" b="1"/>
          </a:p>
        </p:txBody>
      </p:sp>
      <p:sp>
        <p:nvSpPr>
          <p:cNvPr id="93" name="íṩ1íďê">
            <a:extLst>
              <a:ext uri="{FF2B5EF4-FFF2-40B4-BE49-F238E27FC236}">
                <a16:creationId xmlns:a16="http://schemas.microsoft.com/office/drawing/2014/main" id="{A43C16A8-1BD6-45E9-A3E3-109EC9DE6D1C}"/>
              </a:ext>
            </a:extLst>
          </p:cNvPr>
          <p:cNvSpPr/>
          <p:nvPr/>
        </p:nvSpPr>
        <p:spPr>
          <a:xfrm>
            <a:off x="1257917" y="4640590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官网</a:t>
            </a:r>
          </a:p>
        </p:txBody>
      </p:sp>
      <p:sp>
        <p:nvSpPr>
          <p:cNvPr id="94" name="íŝḻíḍê">
            <a:extLst>
              <a:ext uri="{FF2B5EF4-FFF2-40B4-BE49-F238E27FC236}">
                <a16:creationId xmlns:a16="http://schemas.microsoft.com/office/drawing/2014/main" id="{14C184E4-7197-4EDE-A342-AAA80DC3661B}"/>
              </a:ext>
            </a:extLst>
          </p:cNvPr>
          <p:cNvSpPr>
            <a:spLocks/>
          </p:cNvSpPr>
          <p:nvPr/>
        </p:nvSpPr>
        <p:spPr bwMode="auto">
          <a:xfrm>
            <a:off x="1531223" y="4793255"/>
            <a:ext cx="532037" cy="532037"/>
          </a:xfrm>
          <a:custGeom>
            <a:avLst/>
            <a:gdLst>
              <a:gd name="connsiteX0" fmla="*/ 454514 w 613046"/>
              <a:gd name="connsiteY0" fmla="*/ 373741 h 610326"/>
              <a:gd name="connsiteX1" fmla="*/ 595797 w 613046"/>
              <a:gd name="connsiteY1" fmla="*/ 511272 h 610326"/>
              <a:gd name="connsiteX2" fmla="*/ 595797 w 613046"/>
              <a:gd name="connsiteY2" fmla="*/ 593135 h 610326"/>
              <a:gd name="connsiteX3" fmla="*/ 513656 w 613046"/>
              <a:gd name="connsiteY3" fmla="*/ 593135 h 610326"/>
              <a:gd name="connsiteX4" fmla="*/ 372373 w 613046"/>
              <a:gd name="connsiteY4" fmla="*/ 452330 h 610326"/>
              <a:gd name="connsiteX5" fmla="*/ 454514 w 613046"/>
              <a:gd name="connsiteY5" fmla="*/ 373741 h 610326"/>
              <a:gd name="connsiteX6" fmla="*/ 231364 w 613046"/>
              <a:gd name="connsiteY6" fmla="*/ 94462 h 610326"/>
              <a:gd name="connsiteX7" fmla="*/ 231364 w 613046"/>
              <a:gd name="connsiteY7" fmla="*/ 133729 h 610326"/>
              <a:gd name="connsiteX8" fmla="*/ 135499 w 613046"/>
              <a:gd name="connsiteY8" fmla="*/ 228625 h 610326"/>
              <a:gd name="connsiteX9" fmla="*/ 95831 w 613046"/>
              <a:gd name="connsiteY9" fmla="*/ 228625 h 610326"/>
              <a:gd name="connsiteX10" fmla="*/ 231364 w 613046"/>
              <a:gd name="connsiteY10" fmla="*/ 94462 h 610326"/>
              <a:gd name="connsiteX11" fmla="*/ 230271 w 613046"/>
              <a:gd name="connsiteY11" fmla="*/ 55689 h 610326"/>
              <a:gd name="connsiteX12" fmla="*/ 55923 w 613046"/>
              <a:gd name="connsiteY12" fmla="*/ 229310 h 610326"/>
              <a:gd name="connsiteX13" fmla="*/ 230271 w 613046"/>
              <a:gd name="connsiteY13" fmla="*/ 399655 h 610326"/>
              <a:gd name="connsiteX14" fmla="*/ 401329 w 613046"/>
              <a:gd name="connsiteY14" fmla="*/ 229310 h 610326"/>
              <a:gd name="connsiteX15" fmla="*/ 230271 w 613046"/>
              <a:gd name="connsiteY15" fmla="*/ 55689 h 610326"/>
              <a:gd name="connsiteX16" fmla="*/ 230271 w 613046"/>
              <a:gd name="connsiteY16" fmla="*/ 0 h 610326"/>
              <a:gd name="connsiteX17" fmla="*/ 457252 w 613046"/>
              <a:gd name="connsiteY17" fmla="*/ 229310 h 610326"/>
              <a:gd name="connsiteX18" fmla="*/ 230271 w 613046"/>
              <a:gd name="connsiteY18" fmla="*/ 458620 h 610326"/>
              <a:gd name="connsiteX19" fmla="*/ 0 w 613046"/>
              <a:gd name="connsiteY19" fmla="*/ 229310 h 610326"/>
              <a:gd name="connsiteX20" fmla="*/ 230271 w 613046"/>
              <a:gd name="connsiteY20" fmla="*/ 0 h 610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613046" h="610326">
                <a:moveTo>
                  <a:pt x="454514" y="373741"/>
                </a:moveTo>
                <a:cubicBezTo>
                  <a:pt x="454514" y="373741"/>
                  <a:pt x="454514" y="373741"/>
                  <a:pt x="595797" y="511272"/>
                </a:cubicBezTo>
                <a:cubicBezTo>
                  <a:pt x="618796" y="534194"/>
                  <a:pt x="618796" y="570214"/>
                  <a:pt x="595797" y="593135"/>
                </a:cubicBezTo>
                <a:cubicBezTo>
                  <a:pt x="572797" y="616057"/>
                  <a:pt x="536655" y="616057"/>
                  <a:pt x="513656" y="593135"/>
                </a:cubicBezTo>
                <a:cubicBezTo>
                  <a:pt x="513656" y="593135"/>
                  <a:pt x="513656" y="593135"/>
                  <a:pt x="372373" y="452330"/>
                </a:cubicBezTo>
                <a:cubicBezTo>
                  <a:pt x="405229" y="432683"/>
                  <a:pt x="434800" y="406487"/>
                  <a:pt x="454514" y="373741"/>
                </a:cubicBezTo>
                <a:close/>
                <a:moveTo>
                  <a:pt x="231364" y="94462"/>
                </a:moveTo>
                <a:cubicBezTo>
                  <a:pt x="231364" y="94462"/>
                  <a:pt x="231364" y="94462"/>
                  <a:pt x="231364" y="133729"/>
                </a:cubicBezTo>
                <a:cubicBezTo>
                  <a:pt x="178473" y="133729"/>
                  <a:pt x="135499" y="176269"/>
                  <a:pt x="135499" y="228625"/>
                </a:cubicBezTo>
                <a:cubicBezTo>
                  <a:pt x="135499" y="228625"/>
                  <a:pt x="135499" y="228625"/>
                  <a:pt x="95831" y="228625"/>
                </a:cubicBezTo>
                <a:cubicBezTo>
                  <a:pt x="95831" y="153363"/>
                  <a:pt x="155333" y="94462"/>
                  <a:pt x="231364" y="94462"/>
                </a:cubicBezTo>
                <a:close/>
                <a:moveTo>
                  <a:pt x="230271" y="55689"/>
                </a:moveTo>
                <a:cubicBezTo>
                  <a:pt x="134873" y="55689"/>
                  <a:pt x="55923" y="134310"/>
                  <a:pt x="55923" y="229310"/>
                </a:cubicBezTo>
                <a:cubicBezTo>
                  <a:pt x="55923" y="324310"/>
                  <a:pt x="134873" y="399655"/>
                  <a:pt x="230271" y="399655"/>
                </a:cubicBezTo>
                <a:cubicBezTo>
                  <a:pt x="322379" y="399655"/>
                  <a:pt x="401329" y="324310"/>
                  <a:pt x="401329" y="229310"/>
                </a:cubicBezTo>
                <a:cubicBezTo>
                  <a:pt x="401329" y="134310"/>
                  <a:pt x="322379" y="55689"/>
                  <a:pt x="230271" y="55689"/>
                </a:cubicBezTo>
                <a:close/>
                <a:moveTo>
                  <a:pt x="230271" y="0"/>
                </a:moveTo>
                <a:cubicBezTo>
                  <a:pt x="355275" y="0"/>
                  <a:pt x="457252" y="101551"/>
                  <a:pt x="457252" y="229310"/>
                </a:cubicBezTo>
                <a:cubicBezTo>
                  <a:pt x="457252" y="353792"/>
                  <a:pt x="355275" y="458620"/>
                  <a:pt x="230271" y="458620"/>
                </a:cubicBezTo>
                <a:cubicBezTo>
                  <a:pt x="101977" y="458620"/>
                  <a:pt x="0" y="353792"/>
                  <a:pt x="0" y="229310"/>
                </a:cubicBezTo>
                <a:cubicBezTo>
                  <a:pt x="0" y="101551"/>
                  <a:pt x="101977" y="0"/>
                  <a:pt x="230271" y="0"/>
                </a:cubicBezTo>
                <a:close/>
              </a:path>
            </a:pathLst>
          </a:cu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sz="2400" b="1"/>
          </a:p>
        </p:txBody>
      </p:sp>
      <p:cxnSp>
        <p:nvCxnSpPr>
          <p:cNvPr id="95" name="肘形连接符 18">
            <a:extLst>
              <a:ext uri="{FF2B5EF4-FFF2-40B4-BE49-F238E27FC236}">
                <a16:creationId xmlns:a16="http://schemas.microsoft.com/office/drawing/2014/main" id="{DBEF2027-2E66-47E1-AFC2-4A45ACDEEA31}"/>
              </a:ext>
            </a:extLst>
          </p:cNvPr>
          <p:cNvCxnSpPr>
            <a:stCxn id="91" idx="2"/>
          </p:cNvCxnSpPr>
          <p:nvPr/>
        </p:nvCxnSpPr>
        <p:spPr>
          <a:xfrm rot="10800000" flipV="1">
            <a:off x="1815391" y="4033823"/>
            <a:ext cx="409081" cy="617746"/>
          </a:xfrm>
          <a:prstGeom prst="bentConnector2">
            <a:avLst/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肘形连接符 19">
            <a:extLst>
              <a:ext uri="{FF2B5EF4-FFF2-40B4-BE49-F238E27FC236}">
                <a16:creationId xmlns:a16="http://schemas.microsoft.com/office/drawing/2014/main" id="{A98EEBA3-489A-4D48-8AF1-D8E6652F8F74}"/>
              </a:ext>
            </a:extLst>
          </p:cNvPr>
          <p:cNvCxnSpPr>
            <a:cxnSpLocks/>
            <a:endCxn id="91" idx="6"/>
          </p:cNvCxnSpPr>
          <p:nvPr/>
        </p:nvCxnSpPr>
        <p:spPr>
          <a:xfrm rot="10800000" flipV="1">
            <a:off x="3303123" y="4030444"/>
            <a:ext cx="831461" cy="3380"/>
          </a:xfrm>
          <a:prstGeom prst="bentConnector3">
            <a:avLst>
              <a:gd name="adj1" fmla="val 50000"/>
            </a:avLst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肘形连接符 20">
            <a:extLst>
              <a:ext uri="{FF2B5EF4-FFF2-40B4-BE49-F238E27FC236}">
                <a16:creationId xmlns:a16="http://schemas.microsoft.com/office/drawing/2014/main" id="{CA368562-69B7-438E-A865-B0AD60874775}"/>
              </a:ext>
            </a:extLst>
          </p:cNvPr>
          <p:cNvCxnSpPr/>
          <p:nvPr/>
        </p:nvCxnSpPr>
        <p:spPr>
          <a:xfrm rot="16200000" flipV="1">
            <a:off x="2640903" y="4674555"/>
            <a:ext cx="606891" cy="410880"/>
          </a:xfrm>
          <a:prstGeom prst="bentConnector3">
            <a:avLst>
              <a:gd name="adj1" fmla="val 1739"/>
            </a:avLst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肘形连接符 21">
            <a:extLst>
              <a:ext uri="{FF2B5EF4-FFF2-40B4-BE49-F238E27FC236}">
                <a16:creationId xmlns:a16="http://schemas.microsoft.com/office/drawing/2014/main" id="{987D895F-FC18-429E-802A-99692EB6D1C0}"/>
              </a:ext>
            </a:extLst>
          </p:cNvPr>
          <p:cNvCxnSpPr>
            <a:cxnSpLocks/>
            <a:endCxn id="113" idx="6"/>
          </p:cNvCxnSpPr>
          <p:nvPr/>
        </p:nvCxnSpPr>
        <p:spPr>
          <a:xfrm rot="10800000" flipV="1">
            <a:off x="5227564" y="4030444"/>
            <a:ext cx="856963" cy="3380"/>
          </a:xfrm>
          <a:prstGeom prst="bentConnector3">
            <a:avLst>
              <a:gd name="adj1" fmla="val 50000"/>
            </a:avLst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肘形连接符 22">
            <a:extLst>
              <a:ext uri="{FF2B5EF4-FFF2-40B4-BE49-F238E27FC236}">
                <a16:creationId xmlns:a16="http://schemas.microsoft.com/office/drawing/2014/main" id="{616E61AE-4FA0-4EC4-8CF7-484094B8E813}"/>
              </a:ext>
            </a:extLst>
          </p:cNvPr>
          <p:cNvCxnSpPr>
            <a:cxnSpLocks/>
            <a:endCxn id="111" idx="6"/>
          </p:cNvCxnSpPr>
          <p:nvPr/>
        </p:nvCxnSpPr>
        <p:spPr>
          <a:xfrm rot="10800000">
            <a:off x="4248018" y="5179917"/>
            <a:ext cx="851714" cy="3527"/>
          </a:xfrm>
          <a:prstGeom prst="bentConnector3">
            <a:avLst>
              <a:gd name="adj1" fmla="val 50000"/>
            </a:avLst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直接连接符 99">
            <a:extLst>
              <a:ext uri="{FF2B5EF4-FFF2-40B4-BE49-F238E27FC236}">
                <a16:creationId xmlns:a16="http://schemas.microsoft.com/office/drawing/2014/main" id="{662BB8BE-8BBF-4B25-8577-32E67F7D089E}"/>
              </a:ext>
            </a:extLst>
          </p:cNvPr>
          <p:cNvCxnSpPr>
            <a:cxnSpLocks/>
          </p:cNvCxnSpPr>
          <p:nvPr/>
        </p:nvCxnSpPr>
        <p:spPr>
          <a:xfrm>
            <a:off x="7183019" y="4030444"/>
            <a:ext cx="775820" cy="0"/>
          </a:xfrm>
          <a:prstGeom prst="line">
            <a:avLst/>
          </a:prstGeom>
          <a:ln w="28575" cmpd="sng">
            <a:solidFill>
              <a:schemeClr val="bg1">
                <a:lumMod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íšḷíḍê">
            <a:extLst>
              <a:ext uri="{FF2B5EF4-FFF2-40B4-BE49-F238E27FC236}">
                <a16:creationId xmlns:a16="http://schemas.microsoft.com/office/drawing/2014/main" id="{ACBECE7A-25D0-4D0E-BE38-57E8055AD739}"/>
              </a:ext>
            </a:extLst>
          </p:cNvPr>
          <p:cNvSpPr txBox="1"/>
          <p:nvPr/>
        </p:nvSpPr>
        <p:spPr>
          <a:xfrm>
            <a:off x="1261489" y="2883765"/>
            <a:ext cx="6697350" cy="50414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SzPct val="25000"/>
            </a:pPr>
            <a:r>
              <a:rPr lang="zh-CN" altLang="en-US" sz="2000" b="1" i="1" dirty="0"/>
              <a:t>安装</a:t>
            </a:r>
            <a:r>
              <a:rPr lang="en-US" altLang="zh-CN" sz="2000" b="1" i="1" dirty="0"/>
              <a:t>JAVA</a:t>
            </a:r>
            <a:r>
              <a:rPr lang="zh-CN" altLang="en-US" sz="2000" b="1" i="1" dirty="0"/>
              <a:t>的步骤</a:t>
            </a:r>
            <a:endParaRPr lang="en-US" sz="2000" b="1" i="1" dirty="0"/>
          </a:p>
        </p:txBody>
      </p:sp>
      <p:grpSp>
        <p:nvGrpSpPr>
          <p:cNvPr id="102" name="îšlïḍe">
            <a:extLst>
              <a:ext uri="{FF2B5EF4-FFF2-40B4-BE49-F238E27FC236}">
                <a16:creationId xmlns:a16="http://schemas.microsoft.com/office/drawing/2014/main" id="{2AE60538-358B-4554-94CE-2237D91D9E16}"/>
              </a:ext>
            </a:extLst>
          </p:cNvPr>
          <p:cNvGrpSpPr/>
          <p:nvPr/>
        </p:nvGrpSpPr>
        <p:grpSpPr>
          <a:xfrm>
            <a:off x="1260298" y="5793581"/>
            <a:ext cx="1948045" cy="849253"/>
            <a:chOff x="8563614" y="4934816"/>
            <a:chExt cx="2955286" cy="1008290"/>
          </a:xfrm>
        </p:grpSpPr>
        <p:sp>
          <p:nvSpPr>
            <p:cNvPr id="103" name="íšľiḋé">
              <a:extLst>
                <a:ext uri="{FF2B5EF4-FFF2-40B4-BE49-F238E27FC236}">
                  <a16:creationId xmlns:a16="http://schemas.microsoft.com/office/drawing/2014/main" id="{46F89CDD-1AC0-4C9B-9DD7-43E5E1FBD77E}"/>
                </a:ext>
              </a:extLst>
            </p:cNvPr>
            <p:cNvSpPr txBox="1"/>
            <p:nvPr/>
          </p:nvSpPr>
          <p:spPr bwMode="auto">
            <a:xfrm>
              <a:off x="8563614" y="4934816"/>
              <a:ext cx="2955286" cy="480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b="1" dirty="0"/>
                <a:t>搜索 下载</a:t>
              </a:r>
              <a:endParaRPr lang="en-US" altLang="zh-CN" b="1" dirty="0"/>
            </a:p>
          </p:txBody>
        </p:sp>
        <p:sp>
          <p:nvSpPr>
            <p:cNvPr id="104" name="íṧḷidé">
              <a:extLst>
                <a:ext uri="{FF2B5EF4-FFF2-40B4-BE49-F238E27FC236}">
                  <a16:creationId xmlns:a16="http://schemas.microsoft.com/office/drawing/2014/main" id="{8E3E20E1-41BA-43BA-9991-A9EFA7366AD7}"/>
                </a:ext>
              </a:extLst>
            </p:cNvPr>
            <p:cNvSpPr/>
            <p:nvPr/>
          </p:nvSpPr>
          <p:spPr bwMode="auto">
            <a:xfrm>
              <a:off x="8563614" y="5415115"/>
              <a:ext cx="2955286" cy="5279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zh-CN" altLang="en-US" sz="1100" dirty="0"/>
                <a:t>在</a:t>
              </a:r>
              <a:r>
                <a:rPr lang="en-US" altLang="zh-CN" sz="1100" dirty="0"/>
                <a:t>Ubuntu</a:t>
              </a:r>
              <a:r>
                <a:rPr lang="zh-CN" altLang="en-US" sz="1100" dirty="0"/>
                <a:t>中直接使用浏览器</a:t>
              </a:r>
              <a:endParaRPr lang="en-US" altLang="zh-CN" sz="1100" dirty="0"/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Or</a:t>
              </a:r>
              <a:r>
                <a:rPr lang="zh-CN" altLang="en-US" sz="1100" dirty="0"/>
                <a:t>把下好的拖进</a:t>
              </a:r>
              <a:r>
                <a:rPr lang="en-US" altLang="zh-CN" sz="1100" dirty="0"/>
                <a:t>Ubuntu(</a:t>
              </a:r>
              <a:r>
                <a:rPr lang="zh-CN" altLang="en-US" sz="1100" dirty="0"/>
                <a:t>虚拟机</a:t>
              </a:r>
              <a:r>
                <a:rPr lang="en-US" altLang="zh-CN" sz="1100" dirty="0"/>
                <a:t>)</a:t>
              </a:r>
            </a:p>
          </p:txBody>
        </p:sp>
      </p:grpSp>
      <p:grpSp>
        <p:nvGrpSpPr>
          <p:cNvPr id="105" name="î$ļíḋé">
            <a:extLst>
              <a:ext uri="{FF2B5EF4-FFF2-40B4-BE49-F238E27FC236}">
                <a16:creationId xmlns:a16="http://schemas.microsoft.com/office/drawing/2014/main" id="{EAB13176-CB67-434E-95D1-E1B474104404}"/>
              </a:ext>
            </a:extLst>
          </p:cNvPr>
          <p:cNvGrpSpPr/>
          <p:nvPr/>
        </p:nvGrpSpPr>
        <p:grpSpPr>
          <a:xfrm>
            <a:off x="3437307" y="5793583"/>
            <a:ext cx="1948047" cy="849256"/>
            <a:chOff x="8737934" y="4934814"/>
            <a:chExt cx="2955288" cy="1008293"/>
          </a:xfrm>
        </p:grpSpPr>
        <p:sp>
          <p:nvSpPr>
            <p:cNvPr id="106" name="ïṡ1îḑê">
              <a:extLst>
                <a:ext uri="{FF2B5EF4-FFF2-40B4-BE49-F238E27FC236}">
                  <a16:creationId xmlns:a16="http://schemas.microsoft.com/office/drawing/2014/main" id="{55209353-7DD9-4915-8383-941BDC223FD1}"/>
                </a:ext>
              </a:extLst>
            </p:cNvPr>
            <p:cNvSpPr txBox="1"/>
            <p:nvPr/>
          </p:nvSpPr>
          <p:spPr bwMode="auto">
            <a:xfrm>
              <a:off x="8737934" y="4934814"/>
              <a:ext cx="2955285" cy="480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b="1" dirty="0"/>
                <a:t>解压</a:t>
              </a:r>
              <a:endParaRPr lang="en-US" altLang="zh-CN" b="1" dirty="0"/>
            </a:p>
          </p:txBody>
        </p:sp>
        <p:sp>
          <p:nvSpPr>
            <p:cNvPr id="107" name="iṩliḋe">
              <a:extLst>
                <a:ext uri="{FF2B5EF4-FFF2-40B4-BE49-F238E27FC236}">
                  <a16:creationId xmlns:a16="http://schemas.microsoft.com/office/drawing/2014/main" id="{447ACB1A-F074-4439-B904-1848A675B206}"/>
                </a:ext>
              </a:extLst>
            </p:cNvPr>
            <p:cNvSpPr/>
            <p:nvPr/>
          </p:nvSpPr>
          <p:spPr bwMode="auto">
            <a:xfrm>
              <a:off x="8737934" y="5415115"/>
              <a:ext cx="2955288" cy="527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solidFill>
                    <a:schemeClr val="accent3"/>
                  </a:solidFill>
                </a:rPr>
                <a:t>tar -</a:t>
              </a:r>
              <a:r>
                <a:rPr lang="en-US" altLang="zh-CN" sz="1100" dirty="0" err="1">
                  <a:solidFill>
                    <a:schemeClr val="accent3"/>
                  </a:solidFill>
                </a:rPr>
                <a:t>zxvf</a:t>
              </a:r>
              <a:r>
                <a:rPr lang="en-US" altLang="zh-CN" sz="1100" dirty="0">
                  <a:solidFill>
                    <a:schemeClr val="accent3"/>
                  </a:solidFill>
                </a:rPr>
                <a:t> java-jdk*****.jar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solidFill>
                    <a:schemeClr val="accent1"/>
                  </a:solidFill>
                </a:rPr>
                <a:t>or</a:t>
              </a:r>
              <a:r>
                <a:rPr lang="zh-CN" altLang="en-US" sz="1100" dirty="0">
                  <a:solidFill>
                    <a:schemeClr val="accent1"/>
                  </a:solidFill>
                </a:rPr>
                <a:t>左键！右键！</a:t>
              </a:r>
              <a:endParaRPr lang="en-US" altLang="zh-CN" sz="11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108" name="ïṩľïdé">
            <a:extLst>
              <a:ext uri="{FF2B5EF4-FFF2-40B4-BE49-F238E27FC236}">
                <a16:creationId xmlns:a16="http://schemas.microsoft.com/office/drawing/2014/main" id="{604ECBA0-BD94-4037-BC63-45311FC5B1F6}"/>
              </a:ext>
            </a:extLst>
          </p:cNvPr>
          <p:cNvGrpSpPr/>
          <p:nvPr/>
        </p:nvGrpSpPr>
        <p:grpSpPr>
          <a:xfrm>
            <a:off x="5534398" y="5576265"/>
            <a:ext cx="2422060" cy="1066564"/>
            <a:chOff x="9219108" y="5109917"/>
            <a:chExt cx="2955286" cy="833191"/>
          </a:xfrm>
        </p:grpSpPr>
        <p:sp>
          <p:nvSpPr>
            <p:cNvPr id="109" name="îŝļïḋê">
              <a:extLst>
                <a:ext uri="{FF2B5EF4-FFF2-40B4-BE49-F238E27FC236}">
                  <a16:creationId xmlns:a16="http://schemas.microsoft.com/office/drawing/2014/main" id="{F2B1D23B-6CC3-4C8C-AA7C-434D4FC1843C}"/>
                </a:ext>
              </a:extLst>
            </p:cNvPr>
            <p:cNvSpPr txBox="1"/>
            <p:nvPr/>
          </p:nvSpPr>
          <p:spPr bwMode="auto">
            <a:xfrm>
              <a:off x="9219108" y="5109917"/>
              <a:ext cx="2955286" cy="305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b="1" dirty="0"/>
                <a:t>配置</a:t>
              </a:r>
              <a:endParaRPr lang="en-US" altLang="zh-CN" b="1" dirty="0"/>
            </a:p>
          </p:txBody>
        </p:sp>
        <p:sp>
          <p:nvSpPr>
            <p:cNvPr id="110" name="ïṥlîḑê">
              <a:extLst>
                <a:ext uri="{FF2B5EF4-FFF2-40B4-BE49-F238E27FC236}">
                  <a16:creationId xmlns:a16="http://schemas.microsoft.com/office/drawing/2014/main" id="{DF26B83E-0BE5-422F-A083-4F94965B31C2}"/>
                </a:ext>
              </a:extLst>
            </p:cNvPr>
            <p:cNvSpPr/>
            <p:nvPr/>
          </p:nvSpPr>
          <p:spPr bwMode="auto">
            <a:xfrm>
              <a:off x="9219108" y="5415117"/>
              <a:ext cx="2955286" cy="5279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800" dirty="0"/>
                <a:t>vim /</a:t>
              </a:r>
              <a:r>
                <a:rPr lang="en-US" altLang="zh-CN" sz="800" dirty="0" err="1"/>
                <a:t>etc</a:t>
              </a:r>
              <a:r>
                <a:rPr lang="en-US" altLang="zh-CN" sz="800" dirty="0"/>
                <a:t>/profile </a:t>
              </a:r>
              <a:r>
                <a:rPr lang="zh-CN" altLang="en-US" sz="800" dirty="0">
                  <a:solidFill>
                    <a:schemeClr val="accent1"/>
                  </a:solidFill>
                </a:rPr>
                <a:t>使用文件管理器定位并进入编辑</a:t>
              </a:r>
              <a:endParaRPr lang="en-US" altLang="zh-CN" sz="800" dirty="0">
                <a:solidFill>
                  <a:schemeClr val="accent1"/>
                </a:solidFill>
              </a:endParaRPr>
            </a:p>
            <a:p>
              <a:pPr algn="ctr">
                <a:lnSpc>
                  <a:spcPct val="120000"/>
                </a:lnSpc>
              </a:pPr>
              <a:r>
                <a:rPr lang="en-US" altLang="zh-CN" sz="800" dirty="0"/>
                <a:t>export JAVA_HOME=/jdk1.7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800" dirty="0"/>
                <a:t>export PATH=$PATH:$JAVA_HOME/bin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800" dirty="0"/>
                <a:t>source /</a:t>
              </a:r>
              <a:r>
                <a:rPr lang="en-US" altLang="zh-CN" sz="800" dirty="0" err="1"/>
                <a:t>etc</a:t>
              </a:r>
              <a:r>
                <a:rPr lang="en-US" altLang="zh-CN" sz="800" dirty="0"/>
                <a:t>/profile</a:t>
              </a:r>
            </a:p>
          </p:txBody>
        </p:sp>
      </p:grpSp>
      <p:sp>
        <p:nvSpPr>
          <p:cNvPr id="111" name="išlïḓe">
            <a:extLst>
              <a:ext uri="{FF2B5EF4-FFF2-40B4-BE49-F238E27FC236}">
                <a16:creationId xmlns:a16="http://schemas.microsoft.com/office/drawing/2014/main" id="{01A7E456-FD3C-4CEF-80E9-A7A288B8A986}"/>
              </a:ext>
            </a:extLst>
          </p:cNvPr>
          <p:cNvSpPr/>
          <p:nvPr/>
        </p:nvSpPr>
        <p:spPr>
          <a:xfrm>
            <a:off x="3169367" y="4640590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解压</a:t>
            </a:r>
          </a:p>
        </p:txBody>
      </p:sp>
      <p:pic>
        <p:nvPicPr>
          <p:cNvPr id="112" name="图形 111">
            <a:extLst>
              <a:ext uri="{FF2B5EF4-FFF2-40B4-BE49-F238E27FC236}">
                <a16:creationId xmlns:a16="http://schemas.microsoft.com/office/drawing/2014/main" id="{68D730C6-F03F-4596-A3A6-532E64CB67D8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38041" y="4774311"/>
            <a:ext cx="532037" cy="532037"/>
          </a:xfrm>
          <a:prstGeom prst="rect">
            <a:avLst/>
          </a:prstGeom>
        </p:spPr>
      </p:pic>
      <p:sp>
        <p:nvSpPr>
          <p:cNvPr id="113" name="íṣ1ídè">
            <a:extLst>
              <a:ext uri="{FF2B5EF4-FFF2-40B4-BE49-F238E27FC236}">
                <a16:creationId xmlns:a16="http://schemas.microsoft.com/office/drawing/2014/main" id="{0BC09BE5-A787-44B7-A935-CF0060D8A992}"/>
              </a:ext>
            </a:extLst>
          </p:cNvPr>
          <p:cNvSpPr/>
          <p:nvPr/>
        </p:nvSpPr>
        <p:spPr>
          <a:xfrm>
            <a:off x="4148912" y="3494498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解压</a:t>
            </a:r>
          </a:p>
        </p:txBody>
      </p:sp>
      <p:pic>
        <p:nvPicPr>
          <p:cNvPr id="114" name="图形 113">
            <a:extLst>
              <a:ext uri="{FF2B5EF4-FFF2-40B4-BE49-F238E27FC236}">
                <a16:creationId xmlns:a16="http://schemas.microsoft.com/office/drawing/2014/main" id="{FCEDDA67-8A78-40C4-93B5-504A39FEDC1F}"/>
              </a:ext>
            </a:extLst>
          </p:cNvPr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22048" y="3622522"/>
            <a:ext cx="532037" cy="532037"/>
          </a:xfrm>
          <a:prstGeom prst="rect">
            <a:avLst/>
          </a:prstGeom>
        </p:spPr>
      </p:pic>
      <p:sp>
        <p:nvSpPr>
          <p:cNvPr id="115" name="islíďê">
            <a:extLst>
              <a:ext uri="{FF2B5EF4-FFF2-40B4-BE49-F238E27FC236}">
                <a16:creationId xmlns:a16="http://schemas.microsoft.com/office/drawing/2014/main" id="{297C4ACE-6923-407D-A39C-387E00F116B7}"/>
              </a:ext>
            </a:extLst>
          </p:cNvPr>
          <p:cNvSpPr>
            <a:spLocks/>
          </p:cNvSpPr>
          <p:nvPr/>
        </p:nvSpPr>
        <p:spPr>
          <a:xfrm>
            <a:off x="6104368" y="3488215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配置</a:t>
            </a:r>
          </a:p>
        </p:txBody>
      </p:sp>
      <p:pic>
        <p:nvPicPr>
          <p:cNvPr id="116" name="图形 115">
            <a:extLst>
              <a:ext uri="{FF2B5EF4-FFF2-40B4-BE49-F238E27FC236}">
                <a16:creationId xmlns:a16="http://schemas.microsoft.com/office/drawing/2014/main" id="{1FD94976-35C1-4C56-82DB-DF7D2E3E3201}"/>
              </a:ext>
            </a:extLst>
          </p:cNvPr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85246" y="3628242"/>
            <a:ext cx="532037" cy="532037"/>
          </a:xfrm>
          <a:prstGeom prst="rect">
            <a:avLst/>
          </a:prstGeom>
        </p:spPr>
      </p:pic>
      <p:sp>
        <p:nvSpPr>
          <p:cNvPr id="117" name="íṥľíďê">
            <a:extLst>
              <a:ext uri="{FF2B5EF4-FFF2-40B4-BE49-F238E27FC236}">
                <a16:creationId xmlns:a16="http://schemas.microsoft.com/office/drawing/2014/main" id="{FD31D049-D967-4E59-8C5E-4DB9F486EC6D}"/>
              </a:ext>
            </a:extLst>
          </p:cNvPr>
          <p:cNvSpPr/>
          <p:nvPr/>
        </p:nvSpPr>
        <p:spPr>
          <a:xfrm>
            <a:off x="5112047" y="4640590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配置</a:t>
            </a:r>
          </a:p>
        </p:txBody>
      </p:sp>
      <p:pic>
        <p:nvPicPr>
          <p:cNvPr id="118" name="图形 117">
            <a:extLst>
              <a:ext uri="{FF2B5EF4-FFF2-40B4-BE49-F238E27FC236}">
                <a16:creationId xmlns:a16="http://schemas.microsoft.com/office/drawing/2014/main" id="{8C9A6AEB-68E2-46BC-8397-5C7E4773E5A3}"/>
              </a:ext>
            </a:extLst>
          </p:cNvPr>
          <p:cNvPicPr>
            <a:picLocks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385353" y="4793254"/>
            <a:ext cx="532037" cy="532037"/>
          </a:xfrm>
          <a:prstGeom prst="rect">
            <a:avLst/>
          </a:prstGeom>
        </p:spPr>
      </p:pic>
      <p:cxnSp>
        <p:nvCxnSpPr>
          <p:cNvPr id="119" name="直接连接符 118">
            <a:extLst>
              <a:ext uri="{FF2B5EF4-FFF2-40B4-BE49-F238E27FC236}">
                <a16:creationId xmlns:a16="http://schemas.microsoft.com/office/drawing/2014/main" id="{7D362925-3695-4EBF-B85E-7D63A3F184C5}"/>
              </a:ext>
            </a:extLst>
          </p:cNvPr>
          <p:cNvCxnSpPr>
            <a:cxnSpLocks/>
          </p:cNvCxnSpPr>
          <p:nvPr/>
        </p:nvCxnSpPr>
        <p:spPr>
          <a:xfrm>
            <a:off x="6190698" y="5170430"/>
            <a:ext cx="775820" cy="0"/>
          </a:xfrm>
          <a:prstGeom prst="line">
            <a:avLst/>
          </a:prstGeom>
          <a:ln w="28575" cmpd="sng">
            <a:solidFill>
              <a:schemeClr val="bg1">
                <a:lumMod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40585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000" dirty="0"/>
              <a:t>Hadoop</a:t>
            </a:r>
            <a:r>
              <a:rPr lang="zh-CN" altLang="en-US" sz="2000" dirty="0"/>
              <a:t>的部署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4</a:t>
            </a:fld>
            <a:endParaRPr lang="zh-CN" altLang="en-US"/>
          </a:p>
        </p:txBody>
      </p:sp>
      <p:sp>
        <p:nvSpPr>
          <p:cNvPr id="195" name="iṧḻîďè">
            <a:extLst>
              <a:ext uri="{FF2B5EF4-FFF2-40B4-BE49-F238E27FC236}">
                <a16:creationId xmlns:a16="http://schemas.microsoft.com/office/drawing/2014/main" id="{6FC8272D-4563-47EB-B741-E738A21C2623}"/>
              </a:ext>
            </a:extLst>
          </p:cNvPr>
          <p:cNvSpPr/>
          <p:nvPr/>
        </p:nvSpPr>
        <p:spPr bwMode="auto">
          <a:xfrm>
            <a:off x="4330016" y="2533248"/>
            <a:ext cx="1331348" cy="278440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搞定！</a:t>
            </a:r>
            <a:endParaRPr lang="en-US" altLang="zh-CN" b="1" dirty="0"/>
          </a:p>
        </p:txBody>
      </p:sp>
      <p:sp>
        <p:nvSpPr>
          <p:cNvPr id="196" name="îŝḻiḋé">
            <a:extLst>
              <a:ext uri="{FF2B5EF4-FFF2-40B4-BE49-F238E27FC236}">
                <a16:creationId xmlns:a16="http://schemas.microsoft.com/office/drawing/2014/main" id="{C05C75D7-4258-49B9-958F-F2EEF0B840E0}"/>
              </a:ext>
            </a:extLst>
          </p:cNvPr>
          <p:cNvSpPr/>
          <p:nvPr/>
        </p:nvSpPr>
        <p:spPr bwMode="auto">
          <a:xfrm>
            <a:off x="4550521" y="2267238"/>
            <a:ext cx="1331348" cy="278440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测试</a:t>
            </a:r>
            <a:endParaRPr lang="en-US" altLang="zh-CN" b="1" dirty="0"/>
          </a:p>
        </p:txBody>
      </p:sp>
      <p:sp>
        <p:nvSpPr>
          <p:cNvPr id="197" name="íṥḷíďê">
            <a:extLst>
              <a:ext uri="{FF2B5EF4-FFF2-40B4-BE49-F238E27FC236}">
                <a16:creationId xmlns:a16="http://schemas.microsoft.com/office/drawing/2014/main" id="{D4FCC7AE-5767-4EC4-BB68-B94457D3AE6D}"/>
              </a:ext>
            </a:extLst>
          </p:cNvPr>
          <p:cNvSpPr/>
          <p:nvPr/>
        </p:nvSpPr>
        <p:spPr bwMode="auto">
          <a:xfrm>
            <a:off x="4766335" y="2001227"/>
            <a:ext cx="1331348" cy="278440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/>
              <a:t>配置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8" name="ïś1ïḓè">
            <a:extLst>
              <a:ext uri="{FF2B5EF4-FFF2-40B4-BE49-F238E27FC236}">
                <a16:creationId xmlns:a16="http://schemas.microsoft.com/office/drawing/2014/main" id="{F32E844B-E27C-4A92-9B60-95E4AD88D81F}"/>
              </a:ext>
            </a:extLst>
          </p:cNvPr>
          <p:cNvSpPr/>
          <p:nvPr/>
        </p:nvSpPr>
        <p:spPr bwMode="auto">
          <a:xfrm>
            <a:off x="4986372" y="1735216"/>
            <a:ext cx="1331348" cy="278440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 dirty="0"/>
              <a:t>安装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9" name="îśļïḍè">
            <a:extLst>
              <a:ext uri="{FF2B5EF4-FFF2-40B4-BE49-F238E27FC236}">
                <a16:creationId xmlns:a16="http://schemas.microsoft.com/office/drawing/2014/main" id="{F812BB55-77DE-4E23-95E6-156A22FAD363}"/>
              </a:ext>
            </a:extLst>
          </p:cNvPr>
          <p:cNvSpPr/>
          <p:nvPr/>
        </p:nvSpPr>
        <p:spPr bwMode="auto">
          <a:xfrm>
            <a:off x="5191586" y="1469205"/>
            <a:ext cx="1331348" cy="278440"/>
          </a:xfrm>
          <a:prstGeom prst="parallelogram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>
                <a:solidFill>
                  <a:schemeClr val="bg1"/>
                </a:solidFill>
              </a:rPr>
              <a:t>配置</a:t>
            </a:r>
            <a:r>
              <a:rPr lang="en-US" altLang="zh-CN" sz="1750" b="1" dirty="0">
                <a:solidFill>
                  <a:schemeClr val="bg1"/>
                </a:solidFill>
              </a:rPr>
              <a:t>JAVA</a:t>
            </a:r>
          </a:p>
        </p:txBody>
      </p:sp>
      <p:sp>
        <p:nvSpPr>
          <p:cNvPr id="200" name="ï$1íḍé">
            <a:extLst>
              <a:ext uri="{FF2B5EF4-FFF2-40B4-BE49-F238E27FC236}">
                <a16:creationId xmlns:a16="http://schemas.microsoft.com/office/drawing/2014/main" id="{48245F16-84E7-4201-9485-85B5E5B15ECD}"/>
              </a:ext>
            </a:extLst>
          </p:cNvPr>
          <p:cNvSpPr/>
          <p:nvPr/>
        </p:nvSpPr>
        <p:spPr bwMode="auto">
          <a:xfrm>
            <a:off x="5404395" y="1203194"/>
            <a:ext cx="1331348" cy="278440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安装</a:t>
            </a:r>
            <a:r>
              <a:rPr lang="en-US" altLang="zh-CN" b="1" dirty="0"/>
              <a:t>JAVA</a:t>
            </a:r>
          </a:p>
        </p:txBody>
      </p:sp>
      <p:sp>
        <p:nvSpPr>
          <p:cNvPr id="201" name="îṥľïďê">
            <a:extLst>
              <a:ext uri="{FF2B5EF4-FFF2-40B4-BE49-F238E27FC236}">
                <a16:creationId xmlns:a16="http://schemas.microsoft.com/office/drawing/2014/main" id="{920DFBAA-02E5-4206-86B0-FE10F93A7509}"/>
              </a:ext>
            </a:extLst>
          </p:cNvPr>
          <p:cNvSpPr/>
          <p:nvPr/>
        </p:nvSpPr>
        <p:spPr bwMode="auto">
          <a:xfrm>
            <a:off x="4159628" y="1801780"/>
            <a:ext cx="1530485" cy="506994"/>
          </a:xfrm>
          <a:custGeom>
            <a:avLst/>
            <a:gdLst>
              <a:gd name="T0" fmla="*/ 179 w 203"/>
              <a:gd name="T1" fmla="*/ 82 h 82"/>
              <a:gd name="T2" fmla="*/ 203 w 203"/>
              <a:gd name="T3" fmla="*/ 29 h 82"/>
              <a:gd name="T4" fmla="*/ 65 w 203"/>
              <a:gd name="T5" fmla="*/ 27 h 82"/>
              <a:gd name="T6" fmla="*/ 59 w 203"/>
              <a:gd name="T7" fmla="*/ 0 h 82"/>
              <a:gd name="T8" fmla="*/ 59 w 203"/>
              <a:gd name="T9" fmla="*/ 0 h 82"/>
              <a:gd name="T10" fmla="*/ 0 w 203"/>
              <a:gd name="T11" fmla="*/ 80 h 82"/>
              <a:gd name="T12" fmla="*/ 61 w 203"/>
              <a:gd name="T13" fmla="*/ 82 h 82"/>
              <a:gd name="T14" fmla="*/ 179 w 203"/>
              <a:gd name="T15" fmla="*/ 8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3" h="82">
                <a:moveTo>
                  <a:pt x="179" y="82"/>
                </a:moveTo>
                <a:lnTo>
                  <a:pt x="203" y="29"/>
                </a:lnTo>
                <a:lnTo>
                  <a:pt x="65" y="27"/>
                </a:lnTo>
                <a:lnTo>
                  <a:pt x="59" y="0"/>
                </a:lnTo>
                <a:lnTo>
                  <a:pt x="59" y="0"/>
                </a:lnTo>
                <a:lnTo>
                  <a:pt x="0" y="80"/>
                </a:lnTo>
                <a:lnTo>
                  <a:pt x="61" y="82"/>
                </a:lnTo>
                <a:lnTo>
                  <a:pt x="179" y="8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2" name="i$ḻíḋè">
            <a:extLst>
              <a:ext uri="{FF2B5EF4-FFF2-40B4-BE49-F238E27FC236}">
                <a16:creationId xmlns:a16="http://schemas.microsoft.com/office/drawing/2014/main" id="{430BE7EB-B6F0-4F05-80EA-1F517165029F}"/>
              </a:ext>
            </a:extLst>
          </p:cNvPr>
          <p:cNvSpPr/>
          <p:nvPr/>
        </p:nvSpPr>
        <p:spPr bwMode="auto">
          <a:xfrm>
            <a:off x="5309947" y="1203194"/>
            <a:ext cx="571923" cy="101297"/>
          </a:xfrm>
          <a:prstGeom prst="triangle">
            <a:avLst>
              <a:gd name="adj" fmla="val 14726"/>
            </a:avLst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3" name="işľiḋe">
            <a:extLst>
              <a:ext uri="{FF2B5EF4-FFF2-40B4-BE49-F238E27FC236}">
                <a16:creationId xmlns:a16="http://schemas.microsoft.com/office/drawing/2014/main" id="{E4DECB97-43D1-4D26-8C48-41447675AE79}"/>
              </a:ext>
            </a:extLst>
          </p:cNvPr>
          <p:cNvSpPr/>
          <p:nvPr/>
        </p:nvSpPr>
        <p:spPr bwMode="auto">
          <a:xfrm>
            <a:off x="3527675" y="1134031"/>
            <a:ext cx="2354194" cy="445616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4" name="iś1íďé">
            <a:extLst>
              <a:ext uri="{FF2B5EF4-FFF2-40B4-BE49-F238E27FC236}">
                <a16:creationId xmlns:a16="http://schemas.microsoft.com/office/drawing/2014/main" id="{6E7EA96A-F20A-4912-AC31-63A0F19E66DE}"/>
              </a:ext>
            </a:extLst>
          </p:cNvPr>
          <p:cNvSpPr/>
          <p:nvPr/>
        </p:nvSpPr>
        <p:spPr bwMode="auto">
          <a:xfrm>
            <a:off x="3304368" y="1400042"/>
            <a:ext cx="2354194" cy="445616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5" name="ïŝlíḋe">
            <a:extLst>
              <a:ext uri="{FF2B5EF4-FFF2-40B4-BE49-F238E27FC236}">
                <a16:creationId xmlns:a16="http://schemas.microsoft.com/office/drawing/2014/main" id="{66D30D6F-26C9-4C2C-BC01-900AC07DC57E}"/>
              </a:ext>
            </a:extLst>
          </p:cNvPr>
          <p:cNvSpPr/>
          <p:nvPr/>
        </p:nvSpPr>
        <p:spPr bwMode="auto">
          <a:xfrm>
            <a:off x="3078259" y="1666053"/>
            <a:ext cx="2354194" cy="445616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6" name="îSliďè">
            <a:extLst>
              <a:ext uri="{FF2B5EF4-FFF2-40B4-BE49-F238E27FC236}">
                <a16:creationId xmlns:a16="http://schemas.microsoft.com/office/drawing/2014/main" id="{2F6D5554-EACD-4DDD-892F-2E5F97A9C421}"/>
              </a:ext>
            </a:extLst>
          </p:cNvPr>
          <p:cNvSpPr/>
          <p:nvPr/>
        </p:nvSpPr>
        <p:spPr bwMode="auto">
          <a:xfrm>
            <a:off x="2854965" y="1932064"/>
            <a:ext cx="2354194" cy="445616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7" name="îSliďé">
            <a:extLst>
              <a:ext uri="{FF2B5EF4-FFF2-40B4-BE49-F238E27FC236}">
                <a16:creationId xmlns:a16="http://schemas.microsoft.com/office/drawing/2014/main" id="{2E278F3F-C8D8-4E2A-A3EA-29ADCF1A02AA}"/>
              </a:ext>
            </a:extLst>
          </p:cNvPr>
          <p:cNvSpPr/>
          <p:nvPr/>
        </p:nvSpPr>
        <p:spPr bwMode="auto">
          <a:xfrm>
            <a:off x="2631578" y="2198075"/>
            <a:ext cx="2354194" cy="445616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8" name="îs1iďé">
            <a:extLst>
              <a:ext uri="{FF2B5EF4-FFF2-40B4-BE49-F238E27FC236}">
                <a16:creationId xmlns:a16="http://schemas.microsoft.com/office/drawing/2014/main" id="{EB74D0C2-5677-4F3F-A043-44D01A3F3D48}"/>
              </a:ext>
            </a:extLst>
          </p:cNvPr>
          <p:cNvSpPr/>
          <p:nvPr/>
        </p:nvSpPr>
        <p:spPr bwMode="auto">
          <a:xfrm>
            <a:off x="2408257" y="2464086"/>
            <a:ext cx="2354194" cy="445616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9" name="ïṣḻïḋe">
            <a:extLst>
              <a:ext uri="{FF2B5EF4-FFF2-40B4-BE49-F238E27FC236}">
                <a16:creationId xmlns:a16="http://schemas.microsoft.com/office/drawing/2014/main" id="{7709F84E-C33F-462F-B538-51CB71C9284E}"/>
              </a:ext>
            </a:extLst>
          </p:cNvPr>
          <p:cNvSpPr/>
          <p:nvPr/>
        </p:nvSpPr>
        <p:spPr bwMode="auto">
          <a:xfrm>
            <a:off x="3900090" y="1365660"/>
            <a:ext cx="154527" cy="154312"/>
          </a:xfrm>
          <a:custGeom>
            <a:avLst/>
            <a:gdLst>
              <a:gd name="T0" fmla="*/ 400 w 11264"/>
              <a:gd name="T1" fmla="*/ 7099 h 11264"/>
              <a:gd name="T2" fmla="*/ 4165 w 11264"/>
              <a:gd name="T3" fmla="*/ 7099 h 11264"/>
              <a:gd name="T4" fmla="*/ 4165 w 11264"/>
              <a:gd name="T5" fmla="*/ 10864 h 11264"/>
              <a:gd name="T6" fmla="*/ 4565 w 11264"/>
              <a:gd name="T7" fmla="*/ 11264 h 11264"/>
              <a:gd name="T8" fmla="*/ 6699 w 11264"/>
              <a:gd name="T9" fmla="*/ 11264 h 11264"/>
              <a:gd name="T10" fmla="*/ 7099 w 11264"/>
              <a:gd name="T11" fmla="*/ 10864 h 11264"/>
              <a:gd name="T12" fmla="*/ 7099 w 11264"/>
              <a:gd name="T13" fmla="*/ 7099 h 11264"/>
              <a:gd name="T14" fmla="*/ 10864 w 11264"/>
              <a:gd name="T15" fmla="*/ 7099 h 11264"/>
              <a:gd name="T16" fmla="*/ 11264 w 11264"/>
              <a:gd name="T17" fmla="*/ 6699 h 11264"/>
              <a:gd name="T18" fmla="*/ 11264 w 11264"/>
              <a:gd name="T19" fmla="*/ 4565 h 11264"/>
              <a:gd name="T20" fmla="*/ 10864 w 11264"/>
              <a:gd name="T21" fmla="*/ 4165 h 11264"/>
              <a:gd name="T22" fmla="*/ 7099 w 11264"/>
              <a:gd name="T23" fmla="*/ 4165 h 11264"/>
              <a:gd name="T24" fmla="*/ 7099 w 11264"/>
              <a:gd name="T25" fmla="*/ 400 h 11264"/>
              <a:gd name="T26" fmla="*/ 6699 w 11264"/>
              <a:gd name="T27" fmla="*/ 0 h 11264"/>
              <a:gd name="T28" fmla="*/ 4565 w 11264"/>
              <a:gd name="T29" fmla="*/ 0 h 11264"/>
              <a:gd name="T30" fmla="*/ 4165 w 11264"/>
              <a:gd name="T31" fmla="*/ 400 h 11264"/>
              <a:gd name="T32" fmla="*/ 4165 w 11264"/>
              <a:gd name="T33" fmla="*/ 4165 h 11264"/>
              <a:gd name="T34" fmla="*/ 400 w 11264"/>
              <a:gd name="T35" fmla="*/ 4165 h 11264"/>
              <a:gd name="T36" fmla="*/ 0 w 11264"/>
              <a:gd name="T37" fmla="*/ 4565 h 11264"/>
              <a:gd name="T38" fmla="*/ 0 w 11264"/>
              <a:gd name="T39" fmla="*/ 6699 h 11264"/>
              <a:gd name="T40" fmla="*/ 400 w 11264"/>
              <a:gd name="T41" fmla="*/ 7099 h 11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264" h="11264">
                <a:moveTo>
                  <a:pt x="400" y="7099"/>
                </a:moveTo>
                <a:lnTo>
                  <a:pt x="4165" y="7099"/>
                </a:lnTo>
                <a:lnTo>
                  <a:pt x="4165" y="10864"/>
                </a:lnTo>
                <a:cubicBezTo>
                  <a:pt x="4165" y="11085"/>
                  <a:pt x="4344" y="11264"/>
                  <a:pt x="4565" y="11264"/>
                </a:cubicBezTo>
                <a:lnTo>
                  <a:pt x="6699" y="11264"/>
                </a:lnTo>
                <a:cubicBezTo>
                  <a:pt x="6920" y="11264"/>
                  <a:pt x="7099" y="11085"/>
                  <a:pt x="7099" y="10864"/>
                </a:cubicBezTo>
                <a:lnTo>
                  <a:pt x="7099" y="7099"/>
                </a:lnTo>
                <a:lnTo>
                  <a:pt x="10864" y="7099"/>
                </a:lnTo>
                <a:cubicBezTo>
                  <a:pt x="11085" y="7099"/>
                  <a:pt x="11264" y="6920"/>
                  <a:pt x="11264" y="6699"/>
                </a:cubicBezTo>
                <a:lnTo>
                  <a:pt x="11264" y="4565"/>
                </a:lnTo>
                <a:cubicBezTo>
                  <a:pt x="11264" y="4344"/>
                  <a:pt x="11085" y="4165"/>
                  <a:pt x="10864" y="4165"/>
                </a:cubicBezTo>
                <a:lnTo>
                  <a:pt x="7099" y="4165"/>
                </a:lnTo>
                <a:lnTo>
                  <a:pt x="7099" y="400"/>
                </a:lnTo>
                <a:cubicBezTo>
                  <a:pt x="7099" y="179"/>
                  <a:pt x="6920" y="0"/>
                  <a:pt x="6699" y="0"/>
                </a:cubicBezTo>
                <a:lnTo>
                  <a:pt x="4565" y="0"/>
                </a:lnTo>
                <a:cubicBezTo>
                  <a:pt x="4344" y="0"/>
                  <a:pt x="4165" y="179"/>
                  <a:pt x="4165" y="400"/>
                </a:cubicBezTo>
                <a:lnTo>
                  <a:pt x="4165" y="4165"/>
                </a:lnTo>
                <a:lnTo>
                  <a:pt x="400" y="4165"/>
                </a:lnTo>
                <a:cubicBezTo>
                  <a:pt x="179" y="4165"/>
                  <a:pt x="0" y="4344"/>
                  <a:pt x="0" y="4565"/>
                </a:cubicBezTo>
                <a:lnTo>
                  <a:pt x="0" y="6699"/>
                </a:lnTo>
                <a:cubicBezTo>
                  <a:pt x="0" y="6920"/>
                  <a:pt x="179" y="7099"/>
                  <a:pt x="400" y="7099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0" name="îsḷïde">
            <a:extLst>
              <a:ext uri="{FF2B5EF4-FFF2-40B4-BE49-F238E27FC236}">
                <a16:creationId xmlns:a16="http://schemas.microsoft.com/office/drawing/2014/main" id="{F7027C89-1BCC-4A00-9535-016DE4C49FD7}"/>
              </a:ext>
            </a:extLst>
          </p:cNvPr>
          <p:cNvSpPr/>
          <p:nvPr/>
        </p:nvSpPr>
        <p:spPr bwMode="auto">
          <a:xfrm>
            <a:off x="3688884" y="1628589"/>
            <a:ext cx="151321" cy="154527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  <a:gd name="connsiteX107" fmla="*/ 373273 h 605239"/>
              <a:gd name="connsiteY107" fmla="*/ 373273 h 605239"/>
              <a:gd name="connsiteX108" fmla="*/ 373273 h 605239"/>
              <a:gd name="connsiteY108" fmla="*/ 373273 h 605239"/>
              <a:gd name="connsiteX109" fmla="*/ 373273 h 605239"/>
              <a:gd name="connsiteY109" fmla="*/ 373273 h 605239"/>
              <a:gd name="connsiteX110" fmla="*/ 373273 h 605239"/>
              <a:gd name="connsiteY110" fmla="*/ 373273 h 605239"/>
              <a:gd name="connsiteX111" fmla="*/ 373273 h 605239"/>
              <a:gd name="connsiteY111" fmla="*/ 373273 h 605239"/>
              <a:gd name="connsiteX112" fmla="*/ 373273 h 605239"/>
              <a:gd name="connsiteY112" fmla="*/ 373273 h 605239"/>
              <a:gd name="connsiteX113" fmla="*/ 373273 h 605239"/>
              <a:gd name="connsiteY113" fmla="*/ 373273 h 605239"/>
              <a:gd name="connsiteX114" fmla="*/ 373273 h 605239"/>
              <a:gd name="connsiteY114" fmla="*/ 373273 h 605239"/>
              <a:gd name="connsiteX115" fmla="*/ 373273 h 605239"/>
              <a:gd name="connsiteY115" fmla="*/ 373273 h 605239"/>
              <a:gd name="connsiteX116" fmla="*/ 373273 h 605239"/>
              <a:gd name="connsiteY116" fmla="*/ 373273 h 605239"/>
              <a:gd name="connsiteX117" fmla="*/ 373273 h 605239"/>
              <a:gd name="connsiteY117" fmla="*/ 373273 h 605239"/>
              <a:gd name="connsiteX118" fmla="*/ 373273 h 605239"/>
              <a:gd name="connsiteY118" fmla="*/ 373273 h 605239"/>
              <a:gd name="connsiteX119" fmla="*/ 373273 h 605239"/>
              <a:gd name="connsiteY119" fmla="*/ 373273 h 605239"/>
              <a:gd name="connsiteX120" fmla="*/ 373273 h 605239"/>
              <a:gd name="connsiteY120" fmla="*/ 373273 h 605239"/>
              <a:gd name="connsiteX121" fmla="*/ 373273 h 605239"/>
              <a:gd name="connsiteY121" fmla="*/ 373273 h 605239"/>
              <a:gd name="connsiteX122" fmla="*/ 373273 h 605239"/>
              <a:gd name="connsiteY122" fmla="*/ 373273 h 605239"/>
              <a:gd name="connsiteX123" fmla="*/ 373273 h 605239"/>
              <a:gd name="connsiteY123" fmla="*/ 373273 h 605239"/>
              <a:gd name="connsiteX124" fmla="*/ 373273 h 605239"/>
              <a:gd name="connsiteY124" fmla="*/ 373273 h 605239"/>
              <a:gd name="connsiteX125" fmla="*/ 373273 h 605239"/>
              <a:gd name="connsiteY125" fmla="*/ 373273 h 605239"/>
              <a:gd name="connsiteX126" fmla="*/ 373273 h 605239"/>
              <a:gd name="connsiteY126" fmla="*/ 373273 h 605239"/>
              <a:gd name="connsiteX127" fmla="*/ 373273 h 605239"/>
              <a:gd name="connsiteY127" fmla="*/ 373273 h 605239"/>
              <a:gd name="connsiteX128" fmla="*/ 373273 h 605239"/>
              <a:gd name="connsiteY128" fmla="*/ 373273 h 605239"/>
              <a:gd name="connsiteX129" fmla="*/ 373273 h 605239"/>
              <a:gd name="connsiteY12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593733" h="606309">
                <a:moveTo>
                  <a:pt x="353250" y="302855"/>
                </a:moveTo>
                <a:cubicBezTo>
                  <a:pt x="318468" y="302855"/>
                  <a:pt x="290232" y="331146"/>
                  <a:pt x="290232" y="365879"/>
                </a:cubicBezTo>
                <a:cubicBezTo>
                  <a:pt x="290232" y="374189"/>
                  <a:pt x="296964" y="380912"/>
                  <a:pt x="305285" y="380912"/>
                </a:cubicBezTo>
                <a:cubicBezTo>
                  <a:pt x="313607" y="380912"/>
                  <a:pt x="320338" y="374189"/>
                  <a:pt x="320338" y="365879"/>
                </a:cubicBezTo>
                <a:cubicBezTo>
                  <a:pt x="320338" y="347672"/>
                  <a:pt x="335111" y="333014"/>
                  <a:pt x="353250" y="333014"/>
                </a:cubicBezTo>
                <a:cubicBezTo>
                  <a:pt x="361665" y="333014"/>
                  <a:pt x="368397" y="326291"/>
                  <a:pt x="368397" y="317888"/>
                </a:cubicBezTo>
                <a:cubicBezTo>
                  <a:pt x="368397" y="309578"/>
                  <a:pt x="361665" y="302855"/>
                  <a:pt x="353250" y="302855"/>
                </a:cubicBezTo>
                <a:close/>
                <a:moveTo>
                  <a:pt x="353250" y="265041"/>
                </a:moveTo>
                <a:cubicBezTo>
                  <a:pt x="409163" y="265041"/>
                  <a:pt x="454229" y="310232"/>
                  <a:pt x="454229" y="365879"/>
                </a:cubicBezTo>
                <a:cubicBezTo>
                  <a:pt x="454229" y="421527"/>
                  <a:pt x="408976" y="466717"/>
                  <a:pt x="353250" y="466717"/>
                </a:cubicBezTo>
                <a:cubicBezTo>
                  <a:pt x="297525" y="466717"/>
                  <a:pt x="252271" y="421527"/>
                  <a:pt x="252271" y="365879"/>
                </a:cubicBezTo>
                <a:cubicBezTo>
                  <a:pt x="252271" y="310232"/>
                  <a:pt x="297431" y="265041"/>
                  <a:pt x="353250" y="265041"/>
                </a:cubicBezTo>
                <a:close/>
                <a:moveTo>
                  <a:pt x="427779" y="133781"/>
                </a:moveTo>
                <a:cubicBezTo>
                  <a:pt x="432818" y="131960"/>
                  <a:pt x="438547" y="132054"/>
                  <a:pt x="443784" y="134482"/>
                </a:cubicBezTo>
                <a:lnTo>
                  <a:pt x="473245" y="148209"/>
                </a:lnTo>
                <a:cubicBezTo>
                  <a:pt x="483720" y="153158"/>
                  <a:pt x="488209" y="165671"/>
                  <a:pt x="483346" y="176130"/>
                </a:cubicBezTo>
                <a:lnTo>
                  <a:pt x="470252" y="203957"/>
                </a:lnTo>
                <a:cubicBezTo>
                  <a:pt x="492231" y="219646"/>
                  <a:pt x="511123" y="240003"/>
                  <a:pt x="525526" y="264095"/>
                </a:cubicBezTo>
                <a:lnTo>
                  <a:pt x="554426" y="253636"/>
                </a:lnTo>
                <a:cubicBezTo>
                  <a:pt x="565368" y="249714"/>
                  <a:pt x="577340" y="255411"/>
                  <a:pt x="581361" y="266243"/>
                </a:cubicBezTo>
                <a:lnTo>
                  <a:pt x="592491" y="296592"/>
                </a:lnTo>
                <a:cubicBezTo>
                  <a:pt x="596419" y="307612"/>
                  <a:pt x="590714" y="319564"/>
                  <a:pt x="579865" y="323486"/>
                </a:cubicBezTo>
                <a:lnTo>
                  <a:pt x="550965" y="333945"/>
                </a:lnTo>
                <a:cubicBezTo>
                  <a:pt x="555455" y="361586"/>
                  <a:pt x="553958" y="389414"/>
                  <a:pt x="547224" y="415561"/>
                </a:cubicBezTo>
                <a:lnTo>
                  <a:pt x="575095" y="428634"/>
                </a:lnTo>
                <a:cubicBezTo>
                  <a:pt x="585570" y="433490"/>
                  <a:pt x="590059" y="445910"/>
                  <a:pt x="585102" y="456649"/>
                </a:cubicBezTo>
                <a:lnTo>
                  <a:pt x="571354" y="485970"/>
                </a:lnTo>
                <a:cubicBezTo>
                  <a:pt x="566397" y="496429"/>
                  <a:pt x="553958" y="500911"/>
                  <a:pt x="543483" y="496056"/>
                </a:cubicBezTo>
                <a:lnTo>
                  <a:pt x="515238" y="482982"/>
                </a:lnTo>
                <a:cubicBezTo>
                  <a:pt x="499526" y="504833"/>
                  <a:pt x="479137" y="523510"/>
                  <a:pt x="455007" y="537704"/>
                </a:cubicBezTo>
                <a:lnTo>
                  <a:pt x="465763" y="567026"/>
                </a:lnTo>
                <a:cubicBezTo>
                  <a:pt x="469784" y="578045"/>
                  <a:pt x="463986" y="589997"/>
                  <a:pt x="453137" y="593919"/>
                </a:cubicBezTo>
                <a:lnTo>
                  <a:pt x="422741" y="605032"/>
                </a:lnTo>
                <a:cubicBezTo>
                  <a:pt x="411798" y="609047"/>
                  <a:pt x="399827" y="603258"/>
                  <a:pt x="395805" y="592425"/>
                </a:cubicBezTo>
                <a:lnTo>
                  <a:pt x="385050" y="562823"/>
                </a:lnTo>
                <a:cubicBezTo>
                  <a:pt x="357646" y="567212"/>
                  <a:pt x="330056" y="565718"/>
                  <a:pt x="304149" y="558995"/>
                </a:cubicBezTo>
                <a:lnTo>
                  <a:pt x="290682" y="587756"/>
                </a:lnTo>
                <a:cubicBezTo>
                  <a:pt x="285725" y="598215"/>
                  <a:pt x="273192" y="602697"/>
                  <a:pt x="262717" y="597841"/>
                </a:cubicBezTo>
                <a:lnTo>
                  <a:pt x="233350" y="584114"/>
                </a:lnTo>
                <a:cubicBezTo>
                  <a:pt x="222875" y="579165"/>
                  <a:pt x="218385" y="566652"/>
                  <a:pt x="223249" y="556193"/>
                </a:cubicBezTo>
                <a:lnTo>
                  <a:pt x="236810" y="527338"/>
                </a:lnTo>
                <a:cubicBezTo>
                  <a:pt x="215112" y="511650"/>
                  <a:pt x="196407" y="491480"/>
                  <a:pt x="182284" y="467668"/>
                </a:cubicBezTo>
                <a:lnTo>
                  <a:pt x="152169" y="478687"/>
                </a:lnTo>
                <a:cubicBezTo>
                  <a:pt x="141133" y="482609"/>
                  <a:pt x="129161" y="476912"/>
                  <a:pt x="125233" y="466080"/>
                </a:cubicBezTo>
                <a:lnTo>
                  <a:pt x="114104" y="435731"/>
                </a:lnTo>
                <a:cubicBezTo>
                  <a:pt x="110082" y="424712"/>
                  <a:pt x="115881" y="412759"/>
                  <a:pt x="126730" y="408837"/>
                </a:cubicBezTo>
                <a:lnTo>
                  <a:pt x="156845" y="397818"/>
                </a:lnTo>
                <a:cubicBezTo>
                  <a:pt x="153852" y="379422"/>
                  <a:pt x="153478" y="361026"/>
                  <a:pt x="155629" y="342910"/>
                </a:cubicBezTo>
                <a:lnTo>
                  <a:pt x="158622" y="343097"/>
                </a:lnTo>
                <a:cubicBezTo>
                  <a:pt x="181162" y="344030"/>
                  <a:pt x="200522" y="327408"/>
                  <a:pt x="203141" y="305370"/>
                </a:cubicBezTo>
                <a:cubicBezTo>
                  <a:pt x="207723" y="303876"/>
                  <a:pt x="212119" y="302195"/>
                  <a:pt x="216515" y="300515"/>
                </a:cubicBezTo>
                <a:cubicBezTo>
                  <a:pt x="220349" y="304063"/>
                  <a:pt x="224745" y="306958"/>
                  <a:pt x="229609" y="308919"/>
                </a:cubicBezTo>
                <a:cubicBezTo>
                  <a:pt x="219227" y="330957"/>
                  <a:pt x="214831" y="355983"/>
                  <a:pt x="217824" y="381943"/>
                </a:cubicBezTo>
                <a:cubicBezTo>
                  <a:pt x="226709" y="456462"/>
                  <a:pt x="294329" y="509876"/>
                  <a:pt x="368963" y="501192"/>
                </a:cubicBezTo>
                <a:cubicBezTo>
                  <a:pt x="443691" y="492320"/>
                  <a:pt x="497188" y="424899"/>
                  <a:pt x="488490" y="350287"/>
                </a:cubicBezTo>
                <a:cubicBezTo>
                  <a:pt x="479605" y="275675"/>
                  <a:pt x="411985" y="222260"/>
                  <a:pt x="337351" y="231038"/>
                </a:cubicBezTo>
                <a:cubicBezTo>
                  <a:pt x="324632" y="232532"/>
                  <a:pt x="312473" y="235707"/>
                  <a:pt x="301156" y="240376"/>
                </a:cubicBezTo>
                <a:cubicBezTo>
                  <a:pt x="299660" y="236268"/>
                  <a:pt x="297509" y="232345"/>
                  <a:pt x="294797" y="228890"/>
                </a:cubicBezTo>
                <a:cubicBezTo>
                  <a:pt x="297041" y="224688"/>
                  <a:pt x="299005" y="220393"/>
                  <a:pt x="300782" y="216097"/>
                </a:cubicBezTo>
                <a:cubicBezTo>
                  <a:pt x="311164" y="215817"/>
                  <a:pt x="320891" y="211802"/>
                  <a:pt x="328466" y="204891"/>
                </a:cubicBezTo>
                <a:cubicBezTo>
                  <a:pt x="336977" y="197141"/>
                  <a:pt x="341934" y="186589"/>
                  <a:pt x="342402" y="175103"/>
                </a:cubicBezTo>
                <a:lnTo>
                  <a:pt x="342776" y="166978"/>
                </a:lnTo>
                <a:cubicBezTo>
                  <a:pt x="363164" y="165764"/>
                  <a:pt x="383460" y="167912"/>
                  <a:pt x="402820" y="172768"/>
                </a:cubicBezTo>
                <a:lnTo>
                  <a:pt x="415913" y="144567"/>
                </a:lnTo>
                <a:cubicBezTo>
                  <a:pt x="418392" y="139338"/>
                  <a:pt x="422741" y="135602"/>
                  <a:pt x="427779" y="133781"/>
                </a:cubicBezTo>
                <a:close/>
                <a:moveTo>
                  <a:pt x="159906" y="88589"/>
                </a:moveTo>
                <a:cubicBezTo>
                  <a:pt x="142487" y="87818"/>
                  <a:pt x="124764" y="93678"/>
                  <a:pt x="110828" y="106378"/>
                </a:cubicBezTo>
                <a:cubicBezTo>
                  <a:pt x="96145" y="119731"/>
                  <a:pt x="88663" y="138127"/>
                  <a:pt x="88663" y="156523"/>
                </a:cubicBezTo>
                <a:cubicBezTo>
                  <a:pt x="88663" y="172958"/>
                  <a:pt x="94555" y="189393"/>
                  <a:pt x="106526" y="202467"/>
                </a:cubicBezTo>
                <a:cubicBezTo>
                  <a:pt x="131965" y="230294"/>
                  <a:pt x="175081" y="232162"/>
                  <a:pt x="202764" y="206762"/>
                </a:cubicBezTo>
                <a:cubicBezTo>
                  <a:pt x="217448" y="193409"/>
                  <a:pt x="224930" y="175013"/>
                  <a:pt x="224930" y="156523"/>
                </a:cubicBezTo>
                <a:cubicBezTo>
                  <a:pt x="224930" y="140088"/>
                  <a:pt x="219132" y="123653"/>
                  <a:pt x="207160" y="110580"/>
                </a:cubicBezTo>
                <a:cubicBezTo>
                  <a:pt x="194441" y="96760"/>
                  <a:pt x="177325" y="89359"/>
                  <a:pt x="159906" y="88589"/>
                </a:cubicBezTo>
                <a:close/>
                <a:moveTo>
                  <a:pt x="153289" y="17"/>
                </a:moveTo>
                <a:lnTo>
                  <a:pt x="173678" y="951"/>
                </a:lnTo>
                <a:cubicBezTo>
                  <a:pt x="180786" y="1325"/>
                  <a:pt x="186304" y="7114"/>
                  <a:pt x="186304" y="14118"/>
                </a:cubicBezTo>
                <a:lnTo>
                  <a:pt x="186304" y="14771"/>
                </a:lnTo>
                <a:lnTo>
                  <a:pt x="185462" y="34755"/>
                </a:lnTo>
                <a:cubicBezTo>
                  <a:pt x="201923" y="38677"/>
                  <a:pt x="217729" y="45774"/>
                  <a:pt x="231851" y="56232"/>
                </a:cubicBezTo>
                <a:lnTo>
                  <a:pt x="246535" y="42786"/>
                </a:lnTo>
                <a:cubicBezTo>
                  <a:pt x="251866" y="37930"/>
                  <a:pt x="260283" y="38303"/>
                  <a:pt x="265240" y="43626"/>
                </a:cubicBezTo>
                <a:lnTo>
                  <a:pt x="279082" y="58660"/>
                </a:lnTo>
                <a:cubicBezTo>
                  <a:pt x="281420" y="61275"/>
                  <a:pt x="282542" y="64450"/>
                  <a:pt x="282542" y="67625"/>
                </a:cubicBezTo>
                <a:cubicBezTo>
                  <a:pt x="282542" y="71173"/>
                  <a:pt x="281233" y="74722"/>
                  <a:pt x="278334" y="77337"/>
                </a:cubicBezTo>
                <a:lnTo>
                  <a:pt x="263744" y="90690"/>
                </a:lnTo>
                <a:cubicBezTo>
                  <a:pt x="273096" y="105537"/>
                  <a:pt x="278988" y="121973"/>
                  <a:pt x="281420" y="138781"/>
                </a:cubicBezTo>
                <a:lnTo>
                  <a:pt x="301061" y="139621"/>
                </a:lnTo>
                <a:cubicBezTo>
                  <a:pt x="308169" y="139995"/>
                  <a:pt x="313593" y="145878"/>
                  <a:pt x="313593" y="152788"/>
                </a:cubicBezTo>
                <a:lnTo>
                  <a:pt x="313593" y="153442"/>
                </a:lnTo>
                <a:lnTo>
                  <a:pt x="312751" y="173892"/>
                </a:lnTo>
                <a:cubicBezTo>
                  <a:pt x="312377" y="181083"/>
                  <a:pt x="306298" y="186779"/>
                  <a:pt x="298910" y="186405"/>
                </a:cubicBezTo>
                <a:lnTo>
                  <a:pt x="279456" y="185565"/>
                </a:lnTo>
                <a:cubicBezTo>
                  <a:pt x="275622" y="202093"/>
                  <a:pt x="268327" y="218061"/>
                  <a:pt x="257758" y="232162"/>
                </a:cubicBezTo>
                <a:lnTo>
                  <a:pt x="270852" y="246449"/>
                </a:lnTo>
                <a:cubicBezTo>
                  <a:pt x="273190" y="249064"/>
                  <a:pt x="274312" y="252145"/>
                  <a:pt x="274312" y="255414"/>
                </a:cubicBezTo>
                <a:cubicBezTo>
                  <a:pt x="274312" y="258869"/>
                  <a:pt x="273003" y="262511"/>
                  <a:pt x="270104" y="265126"/>
                </a:cubicBezTo>
                <a:lnTo>
                  <a:pt x="255046" y="278946"/>
                </a:lnTo>
                <a:cubicBezTo>
                  <a:pt x="249621" y="283802"/>
                  <a:pt x="241297" y="283428"/>
                  <a:pt x="236340" y="278106"/>
                </a:cubicBezTo>
                <a:lnTo>
                  <a:pt x="223247" y="263724"/>
                </a:lnTo>
                <a:cubicBezTo>
                  <a:pt x="208282" y="272970"/>
                  <a:pt x="191635" y="278853"/>
                  <a:pt x="174800" y="281187"/>
                </a:cubicBezTo>
                <a:lnTo>
                  <a:pt x="173958" y="300610"/>
                </a:lnTo>
                <a:cubicBezTo>
                  <a:pt x="173584" y="307801"/>
                  <a:pt x="167505" y="313590"/>
                  <a:pt x="160117" y="313217"/>
                </a:cubicBezTo>
                <a:lnTo>
                  <a:pt x="139634" y="312283"/>
                </a:lnTo>
                <a:cubicBezTo>
                  <a:pt x="132526" y="311909"/>
                  <a:pt x="127102" y="306120"/>
                  <a:pt x="127102" y="299116"/>
                </a:cubicBezTo>
                <a:lnTo>
                  <a:pt x="127102" y="298463"/>
                </a:lnTo>
                <a:lnTo>
                  <a:pt x="128037" y="279039"/>
                </a:lnTo>
                <a:cubicBezTo>
                  <a:pt x="111577" y="275211"/>
                  <a:pt x="95771" y="267834"/>
                  <a:pt x="81648" y="257281"/>
                </a:cubicBezTo>
                <a:lnTo>
                  <a:pt x="67058" y="270635"/>
                </a:lnTo>
                <a:cubicBezTo>
                  <a:pt x="61727" y="275491"/>
                  <a:pt x="53403" y="275117"/>
                  <a:pt x="48353" y="269701"/>
                </a:cubicBezTo>
                <a:lnTo>
                  <a:pt x="34511" y="254667"/>
                </a:lnTo>
                <a:cubicBezTo>
                  <a:pt x="32173" y="252052"/>
                  <a:pt x="31051" y="248970"/>
                  <a:pt x="31051" y="245702"/>
                </a:cubicBezTo>
                <a:cubicBezTo>
                  <a:pt x="31051" y="242247"/>
                  <a:pt x="32453" y="238605"/>
                  <a:pt x="35259" y="235990"/>
                </a:cubicBezTo>
                <a:lnTo>
                  <a:pt x="50036" y="222544"/>
                </a:lnTo>
                <a:cubicBezTo>
                  <a:pt x="40777" y="207696"/>
                  <a:pt x="35072" y="191261"/>
                  <a:pt x="32640" y="174639"/>
                </a:cubicBezTo>
                <a:lnTo>
                  <a:pt x="12626" y="173705"/>
                </a:lnTo>
                <a:cubicBezTo>
                  <a:pt x="5518" y="173332"/>
                  <a:pt x="0" y="167542"/>
                  <a:pt x="0" y="160539"/>
                </a:cubicBezTo>
                <a:lnTo>
                  <a:pt x="0" y="159885"/>
                </a:lnTo>
                <a:lnTo>
                  <a:pt x="842" y="139621"/>
                </a:lnTo>
                <a:cubicBezTo>
                  <a:pt x="1216" y="132431"/>
                  <a:pt x="7388" y="126642"/>
                  <a:pt x="14683" y="127015"/>
                </a:cubicBezTo>
                <a:lnTo>
                  <a:pt x="34885" y="127949"/>
                </a:lnTo>
                <a:cubicBezTo>
                  <a:pt x="38813" y="111514"/>
                  <a:pt x="46015" y="95826"/>
                  <a:pt x="56490" y="81819"/>
                </a:cubicBezTo>
                <a:lnTo>
                  <a:pt x="42741" y="66878"/>
                </a:lnTo>
                <a:cubicBezTo>
                  <a:pt x="40403" y="64263"/>
                  <a:pt x="39281" y="61182"/>
                  <a:pt x="39281" y="57913"/>
                </a:cubicBezTo>
                <a:cubicBezTo>
                  <a:pt x="39281" y="54458"/>
                  <a:pt x="40684" y="50816"/>
                  <a:pt x="43490" y="48202"/>
                </a:cubicBezTo>
                <a:lnTo>
                  <a:pt x="58641" y="34381"/>
                </a:lnTo>
                <a:cubicBezTo>
                  <a:pt x="63972" y="29526"/>
                  <a:pt x="72296" y="29899"/>
                  <a:pt x="77346" y="35315"/>
                </a:cubicBezTo>
                <a:lnTo>
                  <a:pt x="90627" y="50256"/>
                </a:lnTo>
                <a:cubicBezTo>
                  <a:pt x="105591" y="41011"/>
                  <a:pt x="121864" y="35128"/>
                  <a:pt x="138512" y="32794"/>
                </a:cubicBezTo>
                <a:lnTo>
                  <a:pt x="139447" y="12624"/>
                </a:lnTo>
                <a:cubicBezTo>
                  <a:pt x="139821" y="5433"/>
                  <a:pt x="145901" y="-356"/>
                  <a:pt x="153289" y="17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1" name="îṣḻïḓè">
            <a:extLst>
              <a:ext uri="{FF2B5EF4-FFF2-40B4-BE49-F238E27FC236}">
                <a16:creationId xmlns:a16="http://schemas.microsoft.com/office/drawing/2014/main" id="{30C8A656-A69C-4844-9B4C-38593487F7D6}"/>
              </a:ext>
            </a:extLst>
          </p:cNvPr>
          <p:cNvSpPr/>
          <p:nvPr/>
        </p:nvSpPr>
        <p:spPr bwMode="auto">
          <a:xfrm>
            <a:off x="3482068" y="1891777"/>
            <a:ext cx="154527" cy="154227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81741" h="580612">
                <a:moveTo>
                  <a:pt x="291612" y="187916"/>
                </a:moveTo>
                <a:cubicBezTo>
                  <a:pt x="304876" y="187916"/>
                  <a:pt x="315648" y="198758"/>
                  <a:pt x="315648" y="212088"/>
                </a:cubicBezTo>
                <a:lnTo>
                  <a:pt x="315648" y="491836"/>
                </a:lnTo>
                <a:lnTo>
                  <a:pt x="331227" y="473974"/>
                </a:lnTo>
                <a:cubicBezTo>
                  <a:pt x="339863" y="463932"/>
                  <a:pt x="355086" y="462866"/>
                  <a:pt x="365145" y="471574"/>
                </a:cubicBezTo>
                <a:cubicBezTo>
                  <a:pt x="375116" y="480372"/>
                  <a:pt x="376184" y="495657"/>
                  <a:pt x="367460" y="505699"/>
                </a:cubicBezTo>
                <a:lnTo>
                  <a:pt x="309773" y="572348"/>
                </a:lnTo>
                <a:cubicBezTo>
                  <a:pt x="305143" y="577502"/>
                  <a:pt x="298556" y="580612"/>
                  <a:pt x="291612" y="580612"/>
                </a:cubicBezTo>
                <a:cubicBezTo>
                  <a:pt x="284579" y="580612"/>
                  <a:pt x="278080" y="577680"/>
                  <a:pt x="273451" y="572348"/>
                </a:cubicBezTo>
                <a:lnTo>
                  <a:pt x="215764" y="505699"/>
                </a:lnTo>
                <a:cubicBezTo>
                  <a:pt x="207039" y="495657"/>
                  <a:pt x="208108" y="480372"/>
                  <a:pt x="218078" y="471574"/>
                </a:cubicBezTo>
                <a:cubicBezTo>
                  <a:pt x="228049" y="462866"/>
                  <a:pt x="243272" y="463932"/>
                  <a:pt x="252085" y="473974"/>
                </a:cubicBezTo>
                <a:lnTo>
                  <a:pt x="267486" y="491747"/>
                </a:lnTo>
                <a:lnTo>
                  <a:pt x="267486" y="212088"/>
                </a:lnTo>
                <a:cubicBezTo>
                  <a:pt x="267486" y="198758"/>
                  <a:pt x="278258" y="187916"/>
                  <a:pt x="291612" y="187916"/>
                </a:cubicBezTo>
                <a:close/>
                <a:moveTo>
                  <a:pt x="329499" y="0"/>
                </a:moveTo>
                <a:cubicBezTo>
                  <a:pt x="426248" y="0"/>
                  <a:pt x="465322" y="80426"/>
                  <a:pt x="473332" y="108153"/>
                </a:cubicBezTo>
                <a:cubicBezTo>
                  <a:pt x="535280" y="120684"/>
                  <a:pt x="581474" y="175693"/>
                  <a:pt x="581741" y="241190"/>
                </a:cubicBezTo>
                <a:cubicBezTo>
                  <a:pt x="581741" y="315840"/>
                  <a:pt x="521306" y="376537"/>
                  <a:pt x="446987" y="376537"/>
                </a:cubicBezTo>
                <a:lnTo>
                  <a:pt x="372756" y="376537"/>
                </a:lnTo>
                <a:cubicBezTo>
                  <a:pt x="359316" y="376537"/>
                  <a:pt x="348546" y="365606"/>
                  <a:pt x="348546" y="352276"/>
                </a:cubicBezTo>
                <a:cubicBezTo>
                  <a:pt x="348546" y="338857"/>
                  <a:pt x="359316" y="327926"/>
                  <a:pt x="372756" y="327926"/>
                </a:cubicBezTo>
                <a:lnTo>
                  <a:pt x="446987" y="327926"/>
                </a:lnTo>
                <a:cubicBezTo>
                  <a:pt x="494605" y="327926"/>
                  <a:pt x="533322" y="289090"/>
                  <a:pt x="533322" y="241190"/>
                </a:cubicBezTo>
                <a:cubicBezTo>
                  <a:pt x="533322" y="195334"/>
                  <a:pt x="497720" y="157298"/>
                  <a:pt x="452238" y="154632"/>
                </a:cubicBezTo>
                <a:cubicBezTo>
                  <a:pt x="440934" y="153921"/>
                  <a:pt x="431589" y="145478"/>
                  <a:pt x="429809" y="134192"/>
                </a:cubicBezTo>
                <a:cubicBezTo>
                  <a:pt x="421709" y="84692"/>
                  <a:pt x="379609" y="48789"/>
                  <a:pt x="329677" y="48789"/>
                </a:cubicBezTo>
                <a:cubicBezTo>
                  <a:pt x="279567" y="48789"/>
                  <a:pt x="238001" y="84781"/>
                  <a:pt x="229457" y="134192"/>
                </a:cubicBezTo>
                <a:cubicBezTo>
                  <a:pt x="226520" y="151521"/>
                  <a:pt x="212190" y="162807"/>
                  <a:pt x="192964" y="151077"/>
                </a:cubicBezTo>
                <a:cubicBezTo>
                  <a:pt x="178011" y="141834"/>
                  <a:pt x="160922" y="136947"/>
                  <a:pt x="143299" y="136947"/>
                </a:cubicBezTo>
                <a:cubicBezTo>
                  <a:pt x="90964" y="136947"/>
                  <a:pt x="48419" y="179693"/>
                  <a:pt x="48419" y="232303"/>
                </a:cubicBezTo>
                <a:cubicBezTo>
                  <a:pt x="48419" y="284913"/>
                  <a:pt x="90964" y="327748"/>
                  <a:pt x="143299" y="327748"/>
                </a:cubicBezTo>
                <a:lnTo>
                  <a:pt x="218776" y="327748"/>
                </a:lnTo>
                <a:cubicBezTo>
                  <a:pt x="232216" y="327748"/>
                  <a:pt x="242986" y="338590"/>
                  <a:pt x="242986" y="352009"/>
                </a:cubicBezTo>
                <a:cubicBezTo>
                  <a:pt x="242986" y="365429"/>
                  <a:pt x="232216" y="376271"/>
                  <a:pt x="218776" y="376271"/>
                </a:cubicBezTo>
                <a:lnTo>
                  <a:pt x="143299" y="376271"/>
                </a:lnTo>
                <a:cubicBezTo>
                  <a:pt x="64262" y="376271"/>
                  <a:pt x="0" y="311574"/>
                  <a:pt x="0" y="232214"/>
                </a:cubicBezTo>
                <a:cubicBezTo>
                  <a:pt x="0" y="152854"/>
                  <a:pt x="64262" y="88158"/>
                  <a:pt x="143210" y="88158"/>
                </a:cubicBezTo>
                <a:cubicBezTo>
                  <a:pt x="159231" y="88158"/>
                  <a:pt x="174896" y="90735"/>
                  <a:pt x="189849" y="95978"/>
                </a:cubicBezTo>
                <a:cubicBezTo>
                  <a:pt x="198749" y="73050"/>
                  <a:pt x="238891" y="0"/>
                  <a:pt x="329499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2" name="iş1iḑe">
            <a:extLst>
              <a:ext uri="{FF2B5EF4-FFF2-40B4-BE49-F238E27FC236}">
                <a16:creationId xmlns:a16="http://schemas.microsoft.com/office/drawing/2014/main" id="{79D5FAF9-096B-4C61-A299-6A26A276E128}"/>
              </a:ext>
            </a:extLst>
          </p:cNvPr>
          <p:cNvSpPr/>
          <p:nvPr/>
        </p:nvSpPr>
        <p:spPr bwMode="auto">
          <a:xfrm>
            <a:off x="3261661" y="2154780"/>
            <a:ext cx="154527" cy="154294"/>
          </a:xfrm>
          <a:custGeom>
            <a:avLst/>
            <a:gdLst>
              <a:gd name="connsiteX0" fmla="*/ 303820 w 607639"/>
              <a:gd name="connsiteY0" fmla="*/ 278099 h 606722"/>
              <a:gd name="connsiteX1" fmla="*/ 329118 w 607639"/>
              <a:gd name="connsiteY1" fmla="*/ 303362 h 606722"/>
              <a:gd name="connsiteX2" fmla="*/ 303820 w 607639"/>
              <a:gd name="connsiteY2" fmla="*/ 328625 h 606722"/>
              <a:gd name="connsiteX3" fmla="*/ 278522 w 607639"/>
              <a:gd name="connsiteY3" fmla="*/ 303362 h 606722"/>
              <a:gd name="connsiteX4" fmla="*/ 303820 w 607639"/>
              <a:gd name="connsiteY4" fmla="*/ 278099 h 606722"/>
              <a:gd name="connsiteX5" fmla="*/ 303775 w 607639"/>
              <a:gd name="connsiteY5" fmla="*/ 252735 h 606722"/>
              <a:gd name="connsiteX6" fmla="*/ 253140 w 607639"/>
              <a:gd name="connsiteY6" fmla="*/ 303317 h 606722"/>
              <a:gd name="connsiteX7" fmla="*/ 303775 w 607639"/>
              <a:gd name="connsiteY7" fmla="*/ 353900 h 606722"/>
              <a:gd name="connsiteX8" fmla="*/ 354410 w 607639"/>
              <a:gd name="connsiteY8" fmla="*/ 303317 h 606722"/>
              <a:gd name="connsiteX9" fmla="*/ 303775 w 607639"/>
              <a:gd name="connsiteY9" fmla="*/ 252735 h 606722"/>
              <a:gd name="connsiteX10" fmla="*/ 303775 w 607639"/>
              <a:gd name="connsiteY10" fmla="*/ 202241 h 606722"/>
              <a:gd name="connsiteX11" fmla="*/ 405045 w 607639"/>
              <a:gd name="connsiteY11" fmla="*/ 303317 h 606722"/>
              <a:gd name="connsiteX12" fmla="*/ 303775 w 607639"/>
              <a:gd name="connsiteY12" fmla="*/ 404482 h 606722"/>
              <a:gd name="connsiteX13" fmla="*/ 202593 w 607639"/>
              <a:gd name="connsiteY13" fmla="*/ 303317 h 606722"/>
              <a:gd name="connsiteX14" fmla="*/ 303775 w 607639"/>
              <a:gd name="connsiteY14" fmla="*/ 202241 h 606722"/>
              <a:gd name="connsiteX15" fmla="*/ 303775 w 607639"/>
              <a:gd name="connsiteY15" fmla="*/ 151703 h 606722"/>
              <a:gd name="connsiteX16" fmla="*/ 151932 w 607639"/>
              <a:gd name="connsiteY16" fmla="*/ 303317 h 606722"/>
              <a:gd name="connsiteX17" fmla="*/ 303775 w 607639"/>
              <a:gd name="connsiteY17" fmla="*/ 455019 h 606722"/>
              <a:gd name="connsiteX18" fmla="*/ 455707 w 607639"/>
              <a:gd name="connsiteY18" fmla="*/ 303317 h 606722"/>
              <a:gd name="connsiteX19" fmla="*/ 303775 w 607639"/>
              <a:gd name="connsiteY19" fmla="*/ 151703 h 606722"/>
              <a:gd name="connsiteX20" fmla="*/ 253131 w 607639"/>
              <a:gd name="connsiteY20" fmla="*/ 0 h 606722"/>
              <a:gd name="connsiteX21" fmla="*/ 354419 w 607639"/>
              <a:gd name="connsiteY21" fmla="*/ 0 h 606722"/>
              <a:gd name="connsiteX22" fmla="*/ 379786 w 607639"/>
              <a:gd name="connsiteY22" fmla="*/ 25239 h 606722"/>
              <a:gd name="connsiteX23" fmla="*/ 379786 w 607639"/>
              <a:gd name="connsiteY23" fmla="*/ 62387 h 606722"/>
              <a:gd name="connsiteX24" fmla="*/ 420639 w 607639"/>
              <a:gd name="connsiteY24" fmla="*/ 79451 h 606722"/>
              <a:gd name="connsiteX25" fmla="*/ 446985 w 607639"/>
              <a:gd name="connsiteY25" fmla="*/ 53145 h 606722"/>
              <a:gd name="connsiteX26" fmla="*/ 482854 w 607639"/>
              <a:gd name="connsiteY26" fmla="*/ 53145 h 606722"/>
              <a:gd name="connsiteX27" fmla="*/ 554414 w 607639"/>
              <a:gd name="connsiteY27" fmla="*/ 124597 h 606722"/>
              <a:gd name="connsiteX28" fmla="*/ 554414 w 607639"/>
              <a:gd name="connsiteY28" fmla="*/ 160323 h 606722"/>
              <a:gd name="connsiteX29" fmla="*/ 528069 w 607639"/>
              <a:gd name="connsiteY29" fmla="*/ 186629 h 606722"/>
              <a:gd name="connsiteX30" fmla="*/ 545158 w 607639"/>
              <a:gd name="connsiteY30" fmla="*/ 227510 h 606722"/>
              <a:gd name="connsiteX31" fmla="*/ 582273 w 607639"/>
              <a:gd name="connsiteY31" fmla="*/ 227510 h 606722"/>
              <a:gd name="connsiteX32" fmla="*/ 607639 w 607639"/>
              <a:gd name="connsiteY32" fmla="*/ 252749 h 606722"/>
              <a:gd name="connsiteX33" fmla="*/ 607639 w 607639"/>
              <a:gd name="connsiteY33" fmla="*/ 353884 h 606722"/>
              <a:gd name="connsiteX34" fmla="*/ 582273 w 607639"/>
              <a:gd name="connsiteY34" fmla="*/ 379212 h 606722"/>
              <a:gd name="connsiteX35" fmla="*/ 545158 w 607639"/>
              <a:gd name="connsiteY35" fmla="*/ 379212 h 606722"/>
              <a:gd name="connsiteX36" fmla="*/ 528069 w 607639"/>
              <a:gd name="connsiteY36" fmla="*/ 420004 h 606722"/>
              <a:gd name="connsiteX37" fmla="*/ 554414 w 607639"/>
              <a:gd name="connsiteY37" fmla="*/ 446310 h 606722"/>
              <a:gd name="connsiteX38" fmla="*/ 554414 w 607639"/>
              <a:gd name="connsiteY38" fmla="*/ 482125 h 606722"/>
              <a:gd name="connsiteX39" fmla="*/ 482854 w 607639"/>
              <a:gd name="connsiteY39" fmla="*/ 553577 h 606722"/>
              <a:gd name="connsiteX40" fmla="*/ 446985 w 607639"/>
              <a:gd name="connsiteY40" fmla="*/ 553577 h 606722"/>
              <a:gd name="connsiteX41" fmla="*/ 420639 w 607639"/>
              <a:gd name="connsiteY41" fmla="*/ 527271 h 606722"/>
              <a:gd name="connsiteX42" fmla="*/ 379786 w 607639"/>
              <a:gd name="connsiteY42" fmla="*/ 544246 h 606722"/>
              <a:gd name="connsiteX43" fmla="*/ 379786 w 607639"/>
              <a:gd name="connsiteY43" fmla="*/ 581394 h 606722"/>
              <a:gd name="connsiteX44" fmla="*/ 354419 w 607639"/>
              <a:gd name="connsiteY44" fmla="*/ 606722 h 606722"/>
              <a:gd name="connsiteX45" fmla="*/ 253131 w 607639"/>
              <a:gd name="connsiteY45" fmla="*/ 606722 h 606722"/>
              <a:gd name="connsiteX46" fmla="*/ 227854 w 607639"/>
              <a:gd name="connsiteY46" fmla="*/ 581394 h 606722"/>
              <a:gd name="connsiteX47" fmla="*/ 227854 w 607639"/>
              <a:gd name="connsiteY47" fmla="*/ 544246 h 606722"/>
              <a:gd name="connsiteX48" fmla="*/ 186911 w 607639"/>
              <a:gd name="connsiteY48" fmla="*/ 527271 h 606722"/>
              <a:gd name="connsiteX49" fmla="*/ 160566 w 607639"/>
              <a:gd name="connsiteY49" fmla="*/ 553577 h 606722"/>
              <a:gd name="connsiteX50" fmla="*/ 124786 w 607639"/>
              <a:gd name="connsiteY50" fmla="*/ 553577 h 606722"/>
              <a:gd name="connsiteX51" fmla="*/ 53225 w 607639"/>
              <a:gd name="connsiteY51" fmla="*/ 482125 h 606722"/>
              <a:gd name="connsiteX52" fmla="*/ 53225 w 607639"/>
              <a:gd name="connsiteY52" fmla="*/ 446310 h 606722"/>
              <a:gd name="connsiteX53" fmla="*/ 79482 w 607639"/>
              <a:gd name="connsiteY53" fmla="*/ 420004 h 606722"/>
              <a:gd name="connsiteX54" fmla="*/ 62482 w 607639"/>
              <a:gd name="connsiteY54" fmla="*/ 379212 h 606722"/>
              <a:gd name="connsiteX55" fmla="*/ 25278 w 607639"/>
              <a:gd name="connsiteY55" fmla="*/ 379212 h 606722"/>
              <a:gd name="connsiteX56" fmla="*/ 0 w 607639"/>
              <a:gd name="connsiteY56" fmla="*/ 353884 h 606722"/>
              <a:gd name="connsiteX57" fmla="*/ 0 w 607639"/>
              <a:gd name="connsiteY57" fmla="*/ 252749 h 606722"/>
              <a:gd name="connsiteX58" fmla="*/ 25278 w 607639"/>
              <a:gd name="connsiteY58" fmla="*/ 227510 h 606722"/>
              <a:gd name="connsiteX59" fmla="*/ 62482 w 607639"/>
              <a:gd name="connsiteY59" fmla="*/ 227510 h 606722"/>
              <a:gd name="connsiteX60" fmla="*/ 79482 w 607639"/>
              <a:gd name="connsiteY60" fmla="*/ 186629 h 606722"/>
              <a:gd name="connsiteX61" fmla="*/ 53225 w 607639"/>
              <a:gd name="connsiteY61" fmla="*/ 160323 h 606722"/>
              <a:gd name="connsiteX62" fmla="*/ 53225 w 607639"/>
              <a:gd name="connsiteY62" fmla="*/ 124597 h 606722"/>
              <a:gd name="connsiteX63" fmla="*/ 124786 w 607639"/>
              <a:gd name="connsiteY63" fmla="*/ 53145 h 606722"/>
              <a:gd name="connsiteX64" fmla="*/ 160566 w 607639"/>
              <a:gd name="connsiteY64" fmla="*/ 53145 h 606722"/>
              <a:gd name="connsiteX65" fmla="*/ 186911 w 607639"/>
              <a:gd name="connsiteY65" fmla="*/ 79451 h 606722"/>
              <a:gd name="connsiteX66" fmla="*/ 227854 w 607639"/>
              <a:gd name="connsiteY66" fmla="*/ 62387 h 606722"/>
              <a:gd name="connsiteX67" fmla="*/ 227854 w 607639"/>
              <a:gd name="connsiteY67" fmla="*/ 25239 h 606722"/>
              <a:gd name="connsiteX68" fmla="*/ 253131 w 607639"/>
              <a:gd name="connsiteY68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07639" h="606722">
                <a:moveTo>
                  <a:pt x="303820" y="278099"/>
                </a:moveTo>
                <a:cubicBezTo>
                  <a:pt x="317792" y="278099"/>
                  <a:pt x="329118" y="289410"/>
                  <a:pt x="329118" y="303362"/>
                </a:cubicBezTo>
                <a:cubicBezTo>
                  <a:pt x="329118" y="317314"/>
                  <a:pt x="317792" y="328625"/>
                  <a:pt x="303820" y="328625"/>
                </a:cubicBezTo>
                <a:cubicBezTo>
                  <a:pt x="289848" y="328625"/>
                  <a:pt x="278522" y="317314"/>
                  <a:pt x="278522" y="303362"/>
                </a:cubicBezTo>
                <a:cubicBezTo>
                  <a:pt x="278522" y="289410"/>
                  <a:pt x="289848" y="278099"/>
                  <a:pt x="303820" y="278099"/>
                </a:cubicBezTo>
                <a:close/>
                <a:moveTo>
                  <a:pt x="303775" y="252735"/>
                </a:moveTo>
                <a:cubicBezTo>
                  <a:pt x="275921" y="252735"/>
                  <a:pt x="253140" y="275492"/>
                  <a:pt x="253140" y="303317"/>
                </a:cubicBezTo>
                <a:cubicBezTo>
                  <a:pt x="253140" y="331231"/>
                  <a:pt x="275921" y="353900"/>
                  <a:pt x="303775" y="353900"/>
                </a:cubicBezTo>
                <a:cubicBezTo>
                  <a:pt x="331718" y="353900"/>
                  <a:pt x="354410" y="331231"/>
                  <a:pt x="354410" y="303317"/>
                </a:cubicBezTo>
                <a:cubicBezTo>
                  <a:pt x="354410" y="275492"/>
                  <a:pt x="331718" y="252735"/>
                  <a:pt x="303775" y="252735"/>
                </a:cubicBezTo>
                <a:close/>
                <a:moveTo>
                  <a:pt x="303775" y="202241"/>
                </a:moveTo>
                <a:cubicBezTo>
                  <a:pt x="359660" y="202241"/>
                  <a:pt x="405045" y="247579"/>
                  <a:pt x="405045" y="303317"/>
                </a:cubicBezTo>
                <a:cubicBezTo>
                  <a:pt x="405045" y="359144"/>
                  <a:pt x="359660" y="404482"/>
                  <a:pt x="303775" y="404482"/>
                </a:cubicBezTo>
                <a:cubicBezTo>
                  <a:pt x="247978" y="404482"/>
                  <a:pt x="202593" y="359144"/>
                  <a:pt x="202593" y="303317"/>
                </a:cubicBezTo>
                <a:cubicBezTo>
                  <a:pt x="202593" y="247579"/>
                  <a:pt x="247978" y="202241"/>
                  <a:pt x="303775" y="202241"/>
                </a:cubicBezTo>
                <a:close/>
                <a:moveTo>
                  <a:pt x="303775" y="151703"/>
                </a:moveTo>
                <a:cubicBezTo>
                  <a:pt x="220021" y="151703"/>
                  <a:pt x="151932" y="219689"/>
                  <a:pt x="151932" y="303317"/>
                </a:cubicBezTo>
                <a:cubicBezTo>
                  <a:pt x="151932" y="387033"/>
                  <a:pt x="220021" y="455019"/>
                  <a:pt x="303775" y="455019"/>
                </a:cubicBezTo>
                <a:cubicBezTo>
                  <a:pt x="387618" y="455019"/>
                  <a:pt x="455707" y="387033"/>
                  <a:pt x="455707" y="303317"/>
                </a:cubicBezTo>
                <a:cubicBezTo>
                  <a:pt x="455707" y="219689"/>
                  <a:pt x="387618" y="151703"/>
                  <a:pt x="303775" y="151703"/>
                </a:cubicBezTo>
                <a:close/>
                <a:moveTo>
                  <a:pt x="253131" y="0"/>
                </a:moveTo>
                <a:lnTo>
                  <a:pt x="354419" y="0"/>
                </a:lnTo>
                <a:cubicBezTo>
                  <a:pt x="368482" y="0"/>
                  <a:pt x="379786" y="11287"/>
                  <a:pt x="379786" y="25239"/>
                </a:cubicBezTo>
                <a:lnTo>
                  <a:pt x="379786" y="62387"/>
                </a:lnTo>
                <a:cubicBezTo>
                  <a:pt x="393849" y="66831"/>
                  <a:pt x="407555" y="72519"/>
                  <a:pt x="420639" y="79451"/>
                </a:cubicBezTo>
                <a:lnTo>
                  <a:pt x="446985" y="53145"/>
                </a:lnTo>
                <a:cubicBezTo>
                  <a:pt x="456953" y="43191"/>
                  <a:pt x="472974" y="43191"/>
                  <a:pt x="482854" y="53145"/>
                </a:cubicBezTo>
                <a:lnTo>
                  <a:pt x="554414" y="124597"/>
                </a:lnTo>
                <a:cubicBezTo>
                  <a:pt x="564294" y="134462"/>
                  <a:pt x="564294" y="150459"/>
                  <a:pt x="554414" y="160323"/>
                </a:cubicBezTo>
                <a:lnTo>
                  <a:pt x="528069" y="186629"/>
                </a:lnTo>
                <a:cubicBezTo>
                  <a:pt x="535011" y="199782"/>
                  <a:pt x="540707" y="213468"/>
                  <a:pt x="545158" y="227510"/>
                </a:cubicBezTo>
                <a:lnTo>
                  <a:pt x="582273" y="227510"/>
                </a:lnTo>
                <a:cubicBezTo>
                  <a:pt x="596336" y="227510"/>
                  <a:pt x="607639" y="238796"/>
                  <a:pt x="607639" y="252749"/>
                </a:cubicBezTo>
                <a:lnTo>
                  <a:pt x="607639" y="353884"/>
                </a:lnTo>
                <a:cubicBezTo>
                  <a:pt x="607639" y="367926"/>
                  <a:pt x="596247" y="379212"/>
                  <a:pt x="582273" y="379212"/>
                </a:cubicBezTo>
                <a:lnTo>
                  <a:pt x="545158" y="379212"/>
                </a:lnTo>
                <a:cubicBezTo>
                  <a:pt x="540707" y="393254"/>
                  <a:pt x="535011" y="406940"/>
                  <a:pt x="528069" y="420004"/>
                </a:cubicBezTo>
                <a:lnTo>
                  <a:pt x="554414" y="446310"/>
                </a:lnTo>
                <a:cubicBezTo>
                  <a:pt x="564294" y="456263"/>
                  <a:pt x="564294" y="472260"/>
                  <a:pt x="554414" y="482125"/>
                </a:cubicBezTo>
                <a:lnTo>
                  <a:pt x="482854" y="553577"/>
                </a:lnTo>
                <a:cubicBezTo>
                  <a:pt x="472974" y="563442"/>
                  <a:pt x="456953" y="563442"/>
                  <a:pt x="446985" y="553577"/>
                </a:cubicBezTo>
                <a:lnTo>
                  <a:pt x="420639" y="527271"/>
                </a:lnTo>
                <a:cubicBezTo>
                  <a:pt x="407555" y="534203"/>
                  <a:pt x="393849" y="539802"/>
                  <a:pt x="379786" y="544246"/>
                </a:cubicBezTo>
                <a:lnTo>
                  <a:pt x="379786" y="581394"/>
                </a:lnTo>
                <a:cubicBezTo>
                  <a:pt x="379786" y="595435"/>
                  <a:pt x="368393" y="606722"/>
                  <a:pt x="354419" y="606722"/>
                </a:cubicBezTo>
                <a:lnTo>
                  <a:pt x="253131" y="606722"/>
                </a:lnTo>
                <a:cubicBezTo>
                  <a:pt x="239157" y="606722"/>
                  <a:pt x="227854" y="595435"/>
                  <a:pt x="227854" y="581394"/>
                </a:cubicBezTo>
                <a:lnTo>
                  <a:pt x="227854" y="544246"/>
                </a:lnTo>
                <a:cubicBezTo>
                  <a:pt x="213791" y="539802"/>
                  <a:pt x="200084" y="534203"/>
                  <a:pt x="186911" y="527271"/>
                </a:cubicBezTo>
                <a:lnTo>
                  <a:pt x="160566" y="553577"/>
                </a:lnTo>
                <a:cubicBezTo>
                  <a:pt x="150686" y="563442"/>
                  <a:pt x="134665" y="563442"/>
                  <a:pt x="124786" y="553577"/>
                </a:cubicBezTo>
                <a:lnTo>
                  <a:pt x="53225" y="482125"/>
                </a:lnTo>
                <a:cubicBezTo>
                  <a:pt x="43257" y="472260"/>
                  <a:pt x="43257" y="456263"/>
                  <a:pt x="53225" y="446310"/>
                </a:cubicBezTo>
                <a:lnTo>
                  <a:pt x="79482" y="420004"/>
                </a:lnTo>
                <a:cubicBezTo>
                  <a:pt x="72629" y="406940"/>
                  <a:pt x="66932" y="393254"/>
                  <a:pt x="62482" y="379212"/>
                </a:cubicBezTo>
                <a:lnTo>
                  <a:pt x="25278" y="379212"/>
                </a:lnTo>
                <a:cubicBezTo>
                  <a:pt x="11304" y="379212"/>
                  <a:pt x="0" y="367926"/>
                  <a:pt x="0" y="353884"/>
                </a:cubicBezTo>
                <a:lnTo>
                  <a:pt x="0" y="252749"/>
                </a:lnTo>
                <a:cubicBezTo>
                  <a:pt x="0" y="238796"/>
                  <a:pt x="11304" y="227510"/>
                  <a:pt x="25278" y="227510"/>
                </a:cubicBezTo>
                <a:lnTo>
                  <a:pt x="62482" y="227510"/>
                </a:lnTo>
                <a:cubicBezTo>
                  <a:pt x="66932" y="213468"/>
                  <a:pt x="72629" y="199782"/>
                  <a:pt x="79482" y="186629"/>
                </a:cubicBezTo>
                <a:lnTo>
                  <a:pt x="53225" y="160323"/>
                </a:lnTo>
                <a:cubicBezTo>
                  <a:pt x="43257" y="150459"/>
                  <a:pt x="43257" y="134462"/>
                  <a:pt x="53225" y="124597"/>
                </a:cubicBezTo>
                <a:lnTo>
                  <a:pt x="124786" y="53145"/>
                </a:lnTo>
                <a:cubicBezTo>
                  <a:pt x="134665" y="43191"/>
                  <a:pt x="150686" y="43191"/>
                  <a:pt x="160566" y="53145"/>
                </a:cubicBezTo>
                <a:lnTo>
                  <a:pt x="186911" y="79451"/>
                </a:lnTo>
                <a:cubicBezTo>
                  <a:pt x="200084" y="72519"/>
                  <a:pt x="213791" y="66831"/>
                  <a:pt x="227854" y="62387"/>
                </a:cubicBezTo>
                <a:lnTo>
                  <a:pt x="227854" y="25239"/>
                </a:lnTo>
                <a:cubicBezTo>
                  <a:pt x="227854" y="11287"/>
                  <a:pt x="239157" y="0"/>
                  <a:pt x="25313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3" name="ïṧľíďê">
            <a:extLst>
              <a:ext uri="{FF2B5EF4-FFF2-40B4-BE49-F238E27FC236}">
                <a16:creationId xmlns:a16="http://schemas.microsoft.com/office/drawing/2014/main" id="{83AC56C8-BB22-4DB6-8372-AA84DFFA3A81}"/>
              </a:ext>
            </a:extLst>
          </p:cNvPr>
          <p:cNvSpPr/>
          <p:nvPr/>
        </p:nvSpPr>
        <p:spPr bwMode="auto">
          <a:xfrm>
            <a:off x="3046217" y="2417826"/>
            <a:ext cx="154527" cy="154274"/>
          </a:xfrm>
          <a:custGeom>
            <a:avLst/>
            <a:gdLst>
              <a:gd name="connsiteX0" fmla="*/ 380418 w 604181"/>
              <a:gd name="connsiteY0" fmla="*/ 268007 h 603193"/>
              <a:gd name="connsiteX1" fmla="*/ 519220 w 604181"/>
              <a:gd name="connsiteY1" fmla="*/ 339187 h 603193"/>
              <a:gd name="connsiteX2" fmla="*/ 519220 w 604181"/>
              <a:gd name="connsiteY2" fmla="*/ 355820 h 603193"/>
              <a:gd name="connsiteX3" fmla="*/ 380418 w 604181"/>
              <a:gd name="connsiteY3" fmla="*/ 426850 h 603193"/>
              <a:gd name="connsiteX4" fmla="*/ 380418 w 604181"/>
              <a:gd name="connsiteY4" fmla="*/ 406320 h 603193"/>
              <a:gd name="connsiteX5" fmla="*/ 498212 w 604181"/>
              <a:gd name="connsiteY5" fmla="*/ 347728 h 603193"/>
              <a:gd name="connsiteX6" fmla="*/ 498212 w 604181"/>
              <a:gd name="connsiteY6" fmla="*/ 347129 h 603193"/>
              <a:gd name="connsiteX7" fmla="*/ 380418 w 604181"/>
              <a:gd name="connsiteY7" fmla="*/ 288687 h 603193"/>
              <a:gd name="connsiteX8" fmla="*/ 216565 w 604181"/>
              <a:gd name="connsiteY8" fmla="*/ 268007 h 603193"/>
              <a:gd name="connsiteX9" fmla="*/ 216565 w 604181"/>
              <a:gd name="connsiteY9" fmla="*/ 288687 h 603193"/>
              <a:gd name="connsiteX10" fmla="*/ 99664 w 604181"/>
              <a:gd name="connsiteY10" fmla="*/ 347129 h 603193"/>
              <a:gd name="connsiteX11" fmla="*/ 99664 w 604181"/>
              <a:gd name="connsiteY11" fmla="*/ 347728 h 603193"/>
              <a:gd name="connsiteX12" fmla="*/ 216565 w 604181"/>
              <a:gd name="connsiteY12" fmla="*/ 406320 h 603193"/>
              <a:gd name="connsiteX13" fmla="*/ 216565 w 604181"/>
              <a:gd name="connsiteY13" fmla="*/ 426850 h 603193"/>
              <a:gd name="connsiteX14" fmla="*/ 77904 w 604181"/>
              <a:gd name="connsiteY14" fmla="*/ 355521 h 603193"/>
              <a:gd name="connsiteX15" fmla="*/ 77904 w 604181"/>
              <a:gd name="connsiteY15" fmla="*/ 339486 h 603193"/>
              <a:gd name="connsiteX16" fmla="*/ 338273 w 604181"/>
              <a:gd name="connsiteY16" fmla="*/ 222493 h 603193"/>
              <a:gd name="connsiteX17" fmla="*/ 358684 w 604181"/>
              <a:gd name="connsiteY17" fmla="*/ 222493 h 603193"/>
              <a:gd name="connsiteX18" fmla="*/ 253179 w 604181"/>
              <a:gd name="connsiteY18" fmla="*/ 482103 h 603193"/>
              <a:gd name="connsiteX19" fmla="*/ 233219 w 604181"/>
              <a:gd name="connsiteY19" fmla="*/ 482103 h 603193"/>
              <a:gd name="connsiteX20" fmla="*/ 28813 w 604181"/>
              <a:gd name="connsiteY20" fmla="*/ 128849 h 603193"/>
              <a:gd name="connsiteX21" fmla="*/ 28813 w 604181"/>
              <a:gd name="connsiteY21" fmla="*/ 557497 h 603193"/>
              <a:gd name="connsiteX22" fmla="*/ 45921 w 604181"/>
              <a:gd name="connsiteY22" fmla="*/ 574427 h 603193"/>
              <a:gd name="connsiteX23" fmla="*/ 558410 w 604181"/>
              <a:gd name="connsiteY23" fmla="*/ 574427 h 603193"/>
              <a:gd name="connsiteX24" fmla="*/ 575368 w 604181"/>
              <a:gd name="connsiteY24" fmla="*/ 557497 h 603193"/>
              <a:gd name="connsiteX25" fmla="*/ 575368 w 604181"/>
              <a:gd name="connsiteY25" fmla="*/ 128849 h 603193"/>
              <a:gd name="connsiteX26" fmla="*/ 502734 w 604181"/>
              <a:gd name="connsiteY26" fmla="*/ 43149 h 603193"/>
              <a:gd name="connsiteX27" fmla="*/ 502734 w 604181"/>
              <a:gd name="connsiteY27" fmla="*/ 77309 h 603193"/>
              <a:gd name="connsiteX28" fmla="*/ 537100 w 604181"/>
              <a:gd name="connsiteY28" fmla="*/ 77309 h 603193"/>
              <a:gd name="connsiteX29" fmla="*/ 537100 w 604181"/>
              <a:gd name="connsiteY29" fmla="*/ 43149 h 603193"/>
              <a:gd name="connsiteX30" fmla="*/ 423197 w 604181"/>
              <a:gd name="connsiteY30" fmla="*/ 43149 h 603193"/>
              <a:gd name="connsiteX31" fmla="*/ 423197 w 604181"/>
              <a:gd name="connsiteY31" fmla="*/ 77309 h 603193"/>
              <a:gd name="connsiteX32" fmla="*/ 457563 w 604181"/>
              <a:gd name="connsiteY32" fmla="*/ 77309 h 603193"/>
              <a:gd name="connsiteX33" fmla="*/ 457563 w 604181"/>
              <a:gd name="connsiteY33" fmla="*/ 43149 h 603193"/>
              <a:gd name="connsiteX34" fmla="*/ 45921 w 604181"/>
              <a:gd name="connsiteY34" fmla="*/ 0 h 603193"/>
              <a:gd name="connsiteX35" fmla="*/ 558410 w 604181"/>
              <a:gd name="connsiteY35" fmla="*/ 0 h 603193"/>
              <a:gd name="connsiteX36" fmla="*/ 604181 w 604181"/>
              <a:gd name="connsiteY36" fmla="*/ 45846 h 603193"/>
              <a:gd name="connsiteX37" fmla="*/ 604181 w 604181"/>
              <a:gd name="connsiteY37" fmla="*/ 557497 h 603193"/>
              <a:gd name="connsiteX38" fmla="*/ 558410 w 604181"/>
              <a:gd name="connsiteY38" fmla="*/ 603193 h 603193"/>
              <a:gd name="connsiteX39" fmla="*/ 45921 w 604181"/>
              <a:gd name="connsiteY39" fmla="*/ 603193 h 603193"/>
              <a:gd name="connsiteX40" fmla="*/ 0 w 604181"/>
              <a:gd name="connsiteY40" fmla="*/ 557497 h 603193"/>
              <a:gd name="connsiteX41" fmla="*/ 0 w 604181"/>
              <a:gd name="connsiteY41" fmla="*/ 45846 h 603193"/>
              <a:gd name="connsiteX42" fmla="*/ 45921 w 604181"/>
              <a:gd name="connsiteY42" fmla="*/ 0 h 603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04181" h="603193">
                <a:moveTo>
                  <a:pt x="380418" y="268007"/>
                </a:moveTo>
                <a:lnTo>
                  <a:pt x="519220" y="339187"/>
                </a:lnTo>
                <a:lnTo>
                  <a:pt x="519220" y="355820"/>
                </a:lnTo>
                <a:lnTo>
                  <a:pt x="380418" y="426850"/>
                </a:lnTo>
                <a:lnTo>
                  <a:pt x="380418" y="406320"/>
                </a:lnTo>
                <a:lnTo>
                  <a:pt x="498212" y="347728"/>
                </a:lnTo>
                <a:lnTo>
                  <a:pt x="498212" y="347129"/>
                </a:lnTo>
                <a:lnTo>
                  <a:pt x="380418" y="288687"/>
                </a:lnTo>
                <a:close/>
                <a:moveTo>
                  <a:pt x="216565" y="268007"/>
                </a:moveTo>
                <a:lnTo>
                  <a:pt x="216565" y="288687"/>
                </a:lnTo>
                <a:lnTo>
                  <a:pt x="99664" y="347129"/>
                </a:lnTo>
                <a:lnTo>
                  <a:pt x="99664" y="347728"/>
                </a:lnTo>
                <a:lnTo>
                  <a:pt x="216565" y="406320"/>
                </a:lnTo>
                <a:lnTo>
                  <a:pt x="216565" y="426850"/>
                </a:lnTo>
                <a:lnTo>
                  <a:pt x="77904" y="355521"/>
                </a:lnTo>
                <a:lnTo>
                  <a:pt x="77904" y="339486"/>
                </a:lnTo>
                <a:close/>
                <a:moveTo>
                  <a:pt x="338273" y="222493"/>
                </a:moveTo>
                <a:lnTo>
                  <a:pt x="358684" y="222493"/>
                </a:lnTo>
                <a:lnTo>
                  <a:pt x="253179" y="482103"/>
                </a:lnTo>
                <a:lnTo>
                  <a:pt x="233219" y="482103"/>
                </a:lnTo>
                <a:close/>
                <a:moveTo>
                  <a:pt x="28813" y="128849"/>
                </a:moveTo>
                <a:lnTo>
                  <a:pt x="28813" y="557497"/>
                </a:lnTo>
                <a:cubicBezTo>
                  <a:pt x="28813" y="566786"/>
                  <a:pt x="36467" y="574427"/>
                  <a:pt x="45921" y="574427"/>
                </a:cubicBezTo>
                <a:lnTo>
                  <a:pt x="558410" y="574427"/>
                </a:lnTo>
                <a:cubicBezTo>
                  <a:pt x="567714" y="574427"/>
                  <a:pt x="575368" y="566786"/>
                  <a:pt x="575368" y="557497"/>
                </a:cubicBezTo>
                <a:lnTo>
                  <a:pt x="575368" y="128849"/>
                </a:lnTo>
                <a:close/>
                <a:moveTo>
                  <a:pt x="502734" y="43149"/>
                </a:moveTo>
                <a:lnTo>
                  <a:pt x="502734" y="77309"/>
                </a:lnTo>
                <a:lnTo>
                  <a:pt x="537100" y="77309"/>
                </a:lnTo>
                <a:lnTo>
                  <a:pt x="537100" y="43149"/>
                </a:lnTo>
                <a:close/>
                <a:moveTo>
                  <a:pt x="423197" y="43149"/>
                </a:moveTo>
                <a:lnTo>
                  <a:pt x="423197" y="77309"/>
                </a:lnTo>
                <a:lnTo>
                  <a:pt x="457563" y="77309"/>
                </a:lnTo>
                <a:lnTo>
                  <a:pt x="457563" y="43149"/>
                </a:lnTo>
                <a:close/>
                <a:moveTo>
                  <a:pt x="45921" y="0"/>
                </a:moveTo>
                <a:lnTo>
                  <a:pt x="558410" y="0"/>
                </a:lnTo>
                <a:cubicBezTo>
                  <a:pt x="583621" y="0"/>
                  <a:pt x="604181" y="20526"/>
                  <a:pt x="604181" y="45846"/>
                </a:cubicBezTo>
                <a:lnTo>
                  <a:pt x="604181" y="557497"/>
                </a:lnTo>
                <a:cubicBezTo>
                  <a:pt x="604181" y="582667"/>
                  <a:pt x="583621" y="603193"/>
                  <a:pt x="558410" y="603193"/>
                </a:cubicBezTo>
                <a:lnTo>
                  <a:pt x="45921" y="603193"/>
                </a:lnTo>
                <a:cubicBezTo>
                  <a:pt x="20560" y="603193"/>
                  <a:pt x="0" y="582667"/>
                  <a:pt x="0" y="557497"/>
                </a:cubicBezTo>
                <a:lnTo>
                  <a:pt x="0" y="45846"/>
                </a:lnTo>
                <a:cubicBezTo>
                  <a:pt x="0" y="20526"/>
                  <a:pt x="20560" y="0"/>
                  <a:pt x="4592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4" name="îṣḻîḍé">
            <a:extLst>
              <a:ext uri="{FF2B5EF4-FFF2-40B4-BE49-F238E27FC236}">
                <a16:creationId xmlns:a16="http://schemas.microsoft.com/office/drawing/2014/main" id="{716A4AAF-66FE-4462-901E-658C29D84AD8}"/>
              </a:ext>
            </a:extLst>
          </p:cNvPr>
          <p:cNvSpPr/>
          <p:nvPr/>
        </p:nvSpPr>
        <p:spPr bwMode="auto">
          <a:xfrm>
            <a:off x="2825711" y="2680853"/>
            <a:ext cx="154527" cy="154293"/>
          </a:xfrm>
          <a:custGeom>
            <a:avLst/>
            <a:gdLst>
              <a:gd name="T0" fmla="*/ 6624 w 7154"/>
              <a:gd name="T1" fmla="*/ 2037 h 7154"/>
              <a:gd name="T2" fmla="*/ 6106 w 7154"/>
              <a:gd name="T3" fmla="*/ 1048 h 7154"/>
              <a:gd name="T4" fmla="*/ 5117 w 7154"/>
              <a:gd name="T5" fmla="*/ 530 h 7154"/>
              <a:gd name="T6" fmla="*/ 4643 w 7154"/>
              <a:gd name="T7" fmla="*/ 334 h 7154"/>
              <a:gd name="T8" fmla="*/ 3577 w 7154"/>
              <a:gd name="T9" fmla="*/ 0 h 7154"/>
              <a:gd name="T10" fmla="*/ 2511 w 7154"/>
              <a:gd name="T11" fmla="*/ 334 h 7154"/>
              <a:gd name="T12" fmla="*/ 2037 w 7154"/>
              <a:gd name="T13" fmla="*/ 530 h 7154"/>
              <a:gd name="T14" fmla="*/ 1048 w 7154"/>
              <a:gd name="T15" fmla="*/ 1048 h 7154"/>
              <a:gd name="T16" fmla="*/ 530 w 7154"/>
              <a:gd name="T17" fmla="*/ 2037 h 7154"/>
              <a:gd name="T18" fmla="*/ 334 w 7154"/>
              <a:gd name="T19" fmla="*/ 2511 h 7154"/>
              <a:gd name="T20" fmla="*/ 0 w 7154"/>
              <a:gd name="T21" fmla="*/ 3577 h 7154"/>
              <a:gd name="T22" fmla="*/ 334 w 7154"/>
              <a:gd name="T23" fmla="*/ 4643 h 7154"/>
              <a:gd name="T24" fmla="*/ 530 w 7154"/>
              <a:gd name="T25" fmla="*/ 5117 h 7154"/>
              <a:gd name="T26" fmla="*/ 1048 w 7154"/>
              <a:gd name="T27" fmla="*/ 6106 h 7154"/>
              <a:gd name="T28" fmla="*/ 2037 w 7154"/>
              <a:gd name="T29" fmla="*/ 6624 h 7154"/>
              <a:gd name="T30" fmla="*/ 2511 w 7154"/>
              <a:gd name="T31" fmla="*/ 6820 h 7154"/>
              <a:gd name="T32" fmla="*/ 3577 w 7154"/>
              <a:gd name="T33" fmla="*/ 7154 h 7154"/>
              <a:gd name="T34" fmla="*/ 4643 w 7154"/>
              <a:gd name="T35" fmla="*/ 6820 h 7154"/>
              <a:gd name="T36" fmla="*/ 5117 w 7154"/>
              <a:gd name="T37" fmla="*/ 6624 h 7154"/>
              <a:gd name="T38" fmla="*/ 6106 w 7154"/>
              <a:gd name="T39" fmla="*/ 6106 h 7154"/>
              <a:gd name="T40" fmla="*/ 6624 w 7154"/>
              <a:gd name="T41" fmla="*/ 5117 h 7154"/>
              <a:gd name="T42" fmla="*/ 6820 w 7154"/>
              <a:gd name="T43" fmla="*/ 4643 h 7154"/>
              <a:gd name="T44" fmla="*/ 7154 w 7154"/>
              <a:gd name="T45" fmla="*/ 3577 h 7154"/>
              <a:gd name="T46" fmla="*/ 6820 w 7154"/>
              <a:gd name="T47" fmla="*/ 2511 h 7154"/>
              <a:gd name="T48" fmla="*/ 6624 w 7154"/>
              <a:gd name="T49" fmla="*/ 2037 h 7154"/>
              <a:gd name="T50" fmla="*/ 5857 w 7154"/>
              <a:gd name="T51" fmla="*/ 2406 h 7154"/>
              <a:gd name="T52" fmla="*/ 3286 w 7154"/>
              <a:gd name="T53" fmla="*/ 4976 h 7154"/>
              <a:gd name="T54" fmla="*/ 2875 w 7154"/>
              <a:gd name="T55" fmla="*/ 5387 h 7154"/>
              <a:gd name="T56" fmla="*/ 2464 w 7154"/>
              <a:gd name="T57" fmla="*/ 5387 h 7154"/>
              <a:gd name="T58" fmla="*/ 2053 w 7154"/>
              <a:gd name="T59" fmla="*/ 4976 h 7154"/>
              <a:gd name="T60" fmla="*/ 1297 w 7154"/>
              <a:gd name="T61" fmla="*/ 4221 h 7154"/>
              <a:gd name="T62" fmla="*/ 1297 w 7154"/>
              <a:gd name="T63" fmla="*/ 3809 h 7154"/>
              <a:gd name="T64" fmla="*/ 1708 w 7154"/>
              <a:gd name="T65" fmla="*/ 3398 h 7154"/>
              <a:gd name="T66" fmla="*/ 2120 w 7154"/>
              <a:gd name="T67" fmla="*/ 3398 h 7154"/>
              <a:gd name="T68" fmla="*/ 2669 w 7154"/>
              <a:gd name="T69" fmla="*/ 3948 h 7154"/>
              <a:gd name="T70" fmla="*/ 5034 w 7154"/>
              <a:gd name="T71" fmla="*/ 1583 h 7154"/>
              <a:gd name="T72" fmla="*/ 5445 w 7154"/>
              <a:gd name="T73" fmla="*/ 1583 h 7154"/>
              <a:gd name="T74" fmla="*/ 5857 w 7154"/>
              <a:gd name="T75" fmla="*/ 1994 h 7154"/>
              <a:gd name="T76" fmla="*/ 5857 w 7154"/>
              <a:gd name="T77" fmla="*/ 2406 h 7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154" h="7154">
                <a:moveTo>
                  <a:pt x="6624" y="2037"/>
                </a:moveTo>
                <a:cubicBezTo>
                  <a:pt x="6580" y="1703"/>
                  <a:pt x="6403" y="1345"/>
                  <a:pt x="6106" y="1048"/>
                </a:cubicBezTo>
                <a:cubicBezTo>
                  <a:pt x="5809" y="751"/>
                  <a:pt x="5451" y="574"/>
                  <a:pt x="5117" y="530"/>
                </a:cubicBezTo>
                <a:cubicBezTo>
                  <a:pt x="4966" y="510"/>
                  <a:pt x="4764" y="427"/>
                  <a:pt x="4643" y="334"/>
                </a:cubicBezTo>
                <a:cubicBezTo>
                  <a:pt x="4375" y="128"/>
                  <a:pt x="3997" y="0"/>
                  <a:pt x="3577" y="0"/>
                </a:cubicBezTo>
                <a:cubicBezTo>
                  <a:pt x="3157" y="0"/>
                  <a:pt x="2779" y="128"/>
                  <a:pt x="2511" y="334"/>
                </a:cubicBezTo>
                <a:cubicBezTo>
                  <a:pt x="2390" y="427"/>
                  <a:pt x="2188" y="510"/>
                  <a:pt x="2037" y="530"/>
                </a:cubicBezTo>
                <a:cubicBezTo>
                  <a:pt x="1702" y="574"/>
                  <a:pt x="1345" y="751"/>
                  <a:pt x="1048" y="1048"/>
                </a:cubicBezTo>
                <a:cubicBezTo>
                  <a:pt x="751" y="1345"/>
                  <a:pt x="574" y="1703"/>
                  <a:pt x="530" y="2037"/>
                </a:cubicBezTo>
                <a:cubicBezTo>
                  <a:pt x="510" y="2188"/>
                  <a:pt x="427" y="2390"/>
                  <a:pt x="334" y="2511"/>
                </a:cubicBezTo>
                <a:cubicBezTo>
                  <a:pt x="128" y="2779"/>
                  <a:pt x="0" y="3157"/>
                  <a:pt x="0" y="3577"/>
                </a:cubicBezTo>
                <a:cubicBezTo>
                  <a:pt x="0" y="3997"/>
                  <a:pt x="128" y="4375"/>
                  <a:pt x="334" y="4643"/>
                </a:cubicBezTo>
                <a:cubicBezTo>
                  <a:pt x="427" y="4764"/>
                  <a:pt x="510" y="4966"/>
                  <a:pt x="530" y="5117"/>
                </a:cubicBezTo>
                <a:cubicBezTo>
                  <a:pt x="574" y="5451"/>
                  <a:pt x="751" y="5809"/>
                  <a:pt x="1048" y="6106"/>
                </a:cubicBezTo>
                <a:cubicBezTo>
                  <a:pt x="1345" y="6403"/>
                  <a:pt x="1702" y="6580"/>
                  <a:pt x="2037" y="6624"/>
                </a:cubicBezTo>
                <a:cubicBezTo>
                  <a:pt x="2188" y="6644"/>
                  <a:pt x="2390" y="6727"/>
                  <a:pt x="2511" y="6820"/>
                </a:cubicBezTo>
                <a:cubicBezTo>
                  <a:pt x="2779" y="7025"/>
                  <a:pt x="3157" y="7154"/>
                  <a:pt x="3577" y="7154"/>
                </a:cubicBezTo>
                <a:cubicBezTo>
                  <a:pt x="3997" y="7154"/>
                  <a:pt x="4375" y="7025"/>
                  <a:pt x="4643" y="6820"/>
                </a:cubicBezTo>
                <a:cubicBezTo>
                  <a:pt x="4764" y="6727"/>
                  <a:pt x="4966" y="6644"/>
                  <a:pt x="5117" y="6624"/>
                </a:cubicBezTo>
                <a:cubicBezTo>
                  <a:pt x="5451" y="6580"/>
                  <a:pt x="5809" y="6403"/>
                  <a:pt x="6106" y="6106"/>
                </a:cubicBezTo>
                <a:cubicBezTo>
                  <a:pt x="6403" y="5809"/>
                  <a:pt x="6580" y="5451"/>
                  <a:pt x="6624" y="5117"/>
                </a:cubicBezTo>
                <a:cubicBezTo>
                  <a:pt x="6644" y="4966"/>
                  <a:pt x="6727" y="4764"/>
                  <a:pt x="6820" y="4643"/>
                </a:cubicBezTo>
                <a:cubicBezTo>
                  <a:pt x="7026" y="4375"/>
                  <a:pt x="7154" y="3997"/>
                  <a:pt x="7154" y="3577"/>
                </a:cubicBezTo>
                <a:cubicBezTo>
                  <a:pt x="7154" y="3157"/>
                  <a:pt x="7026" y="2779"/>
                  <a:pt x="6820" y="2511"/>
                </a:cubicBezTo>
                <a:cubicBezTo>
                  <a:pt x="6727" y="2390"/>
                  <a:pt x="6644" y="2188"/>
                  <a:pt x="6624" y="2037"/>
                </a:cubicBezTo>
                <a:close/>
                <a:moveTo>
                  <a:pt x="5857" y="2406"/>
                </a:moveTo>
                <a:lnTo>
                  <a:pt x="3286" y="4976"/>
                </a:lnTo>
                <a:lnTo>
                  <a:pt x="2875" y="5387"/>
                </a:lnTo>
                <a:cubicBezTo>
                  <a:pt x="2762" y="5501"/>
                  <a:pt x="2577" y="5501"/>
                  <a:pt x="2464" y="5387"/>
                </a:cubicBezTo>
                <a:lnTo>
                  <a:pt x="2053" y="4976"/>
                </a:lnTo>
                <a:lnTo>
                  <a:pt x="1297" y="4221"/>
                </a:lnTo>
                <a:cubicBezTo>
                  <a:pt x="1183" y="4107"/>
                  <a:pt x="1183" y="3923"/>
                  <a:pt x="1297" y="3809"/>
                </a:cubicBezTo>
                <a:lnTo>
                  <a:pt x="1708" y="3398"/>
                </a:lnTo>
                <a:cubicBezTo>
                  <a:pt x="1822" y="3285"/>
                  <a:pt x="2006" y="3285"/>
                  <a:pt x="2120" y="3398"/>
                </a:cubicBezTo>
                <a:lnTo>
                  <a:pt x="2669" y="3948"/>
                </a:lnTo>
                <a:lnTo>
                  <a:pt x="5034" y="1583"/>
                </a:lnTo>
                <a:cubicBezTo>
                  <a:pt x="5148" y="1470"/>
                  <a:pt x="5332" y="1470"/>
                  <a:pt x="5445" y="1583"/>
                </a:cubicBezTo>
                <a:lnTo>
                  <a:pt x="5857" y="1994"/>
                </a:lnTo>
                <a:cubicBezTo>
                  <a:pt x="5970" y="2108"/>
                  <a:pt x="5970" y="2292"/>
                  <a:pt x="5857" y="2406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5" name="iṧḷiḑé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555424" y="2144580"/>
            <a:ext cx="1278127" cy="19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按分布模式进行配置</a:t>
            </a:r>
            <a:endParaRPr lang="en-US" altLang="zh-CN" sz="1100" dirty="0"/>
          </a:p>
        </p:txBody>
      </p:sp>
      <p:sp>
        <p:nvSpPr>
          <p:cNvPr id="216" name="îṧḻiḑe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332037" y="2410591"/>
            <a:ext cx="1278127" cy="19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运行第一个实例</a:t>
            </a:r>
            <a:endParaRPr lang="en-US" altLang="zh-CN" sz="1100" dirty="0"/>
          </a:p>
        </p:txBody>
      </p:sp>
      <p:sp>
        <p:nvSpPr>
          <p:cNvPr id="217" name="îṣľïd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108716" y="2676601"/>
            <a:ext cx="1278127" cy="19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开心</a:t>
            </a:r>
            <a:r>
              <a:rPr lang="en-US" altLang="zh-CN" sz="1100" dirty="0" err="1"/>
              <a:t>ing</a:t>
            </a:r>
            <a:r>
              <a:rPr lang="en-US" altLang="zh-CN" sz="1100" dirty="0"/>
              <a:t>~</a:t>
            </a:r>
          </a:p>
        </p:txBody>
      </p:sp>
      <p:sp>
        <p:nvSpPr>
          <p:cNvPr id="218" name="íṧ1îd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778718" y="1878569"/>
            <a:ext cx="1278127" cy="19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 解压</a:t>
            </a:r>
            <a:endParaRPr lang="en-US" altLang="zh-CN" sz="1100" dirty="0"/>
          </a:p>
        </p:txBody>
      </p:sp>
      <p:sp>
        <p:nvSpPr>
          <p:cNvPr id="219" name="îs1ïḋ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4004827" y="1612558"/>
            <a:ext cx="1278127" cy="19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>
                <a:solidFill>
                  <a:schemeClr val="bg1"/>
                </a:solidFill>
              </a:rPr>
              <a:t>配置环境变量 使之生效</a:t>
            </a: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20" name="íšliḓ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4228134" y="1346547"/>
            <a:ext cx="1278127" cy="19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</a:t>
            </a:r>
            <a:r>
              <a:rPr lang="en-US" altLang="zh-CN" sz="1100" dirty="0"/>
              <a:t> </a:t>
            </a:r>
            <a:r>
              <a:rPr lang="zh-CN" altLang="en-US" sz="1100" dirty="0"/>
              <a:t>解压</a:t>
            </a:r>
            <a:endParaRPr lang="en-US" altLang="zh-CN" sz="1100" dirty="0"/>
          </a:p>
        </p:txBody>
      </p:sp>
      <p:sp>
        <p:nvSpPr>
          <p:cNvPr id="91" name="íSľîḍe">
            <a:extLst>
              <a:ext uri="{FF2B5EF4-FFF2-40B4-BE49-F238E27FC236}">
                <a16:creationId xmlns:a16="http://schemas.microsoft.com/office/drawing/2014/main" id="{584D921E-ABF9-4D19-9FE4-536FCFF87129}"/>
              </a:ext>
            </a:extLst>
          </p:cNvPr>
          <p:cNvSpPr/>
          <p:nvPr/>
        </p:nvSpPr>
        <p:spPr>
          <a:xfrm>
            <a:off x="2224471" y="3494498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下载</a:t>
            </a:r>
          </a:p>
        </p:txBody>
      </p:sp>
      <p:sp>
        <p:nvSpPr>
          <p:cNvPr id="92" name="îṩḷïḍé">
            <a:extLst>
              <a:ext uri="{FF2B5EF4-FFF2-40B4-BE49-F238E27FC236}">
                <a16:creationId xmlns:a16="http://schemas.microsoft.com/office/drawing/2014/main" id="{E6CC048A-2A07-488E-934A-7C38CF8ACBCE}"/>
              </a:ext>
            </a:extLst>
          </p:cNvPr>
          <p:cNvSpPr>
            <a:spLocks/>
          </p:cNvSpPr>
          <p:nvPr/>
        </p:nvSpPr>
        <p:spPr bwMode="auto">
          <a:xfrm>
            <a:off x="2490208" y="3611872"/>
            <a:ext cx="532037" cy="532037"/>
          </a:xfrm>
          <a:custGeom>
            <a:avLst/>
            <a:gdLst>
              <a:gd name="connsiteX0" fmla="*/ 39602 w 536368"/>
              <a:gd name="connsiteY0" fmla="*/ 407445 h 587881"/>
              <a:gd name="connsiteX1" fmla="*/ 79294 w 536368"/>
              <a:gd name="connsiteY1" fmla="*/ 446999 h 587881"/>
              <a:gd name="connsiteX2" fmla="*/ 79294 w 536368"/>
              <a:gd name="connsiteY2" fmla="*/ 508685 h 587881"/>
              <a:gd name="connsiteX3" fmla="*/ 457074 w 536368"/>
              <a:gd name="connsiteY3" fmla="*/ 508685 h 587881"/>
              <a:gd name="connsiteX4" fmla="*/ 457074 w 536368"/>
              <a:gd name="connsiteY4" fmla="*/ 446999 h 587881"/>
              <a:gd name="connsiteX5" fmla="*/ 496677 w 536368"/>
              <a:gd name="connsiteY5" fmla="*/ 407445 h 587881"/>
              <a:gd name="connsiteX6" fmla="*/ 536368 w 536368"/>
              <a:gd name="connsiteY6" fmla="*/ 446999 h 587881"/>
              <a:gd name="connsiteX7" fmla="*/ 536368 w 536368"/>
              <a:gd name="connsiteY7" fmla="*/ 548238 h 587881"/>
              <a:gd name="connsiteX8" fmla="*/ 496677 w 536368"/>
              <a:gd name="connsiteY8" fmla="*/ 587881 h 587881"/>
              <a:gd name="connsiteX9" fmla="*/ 39602 w 536368"/>
              <a:gd name="connsiteY9" fmla="*/ 587881 h 587881"/>
              <a:gd name="connsiteX10" fmla="*/ 0 w 536368"/>
              <a:gd name="connsiteY10" fmla="*/ 548238 h 587881"/>
              <a:gd name="connsiteX11" fmla="*/ 0 w 536368"/>
              <a:gd name="connsiteY11" fmla="*/ 446999 h 587881"/>
              <a:gd name="connsiteX12" fmla="*/ 39602 w 536368"/>
              <a:gd name="connsiteY12" fmla="*/ 407445 h 587881"/>
              <a:gd name="connsiteX13" fmla="*/ 223430 w 536368"/>
              <a:gd name="connsiteY13" fmla="*/ 0 h 587881"/>
              <a:gd name="connsiteX14" fmla="*/ 312886 w 536368"/>
              <a:gd name="connsiteY14" fmla="*/ 0 h 587881"/>
              <a:gd name="connsiteX15" fmla="*/ 343773 w 536368"/>
              <a:gd name="connsiteY15" fmla="*/ 30926 h 587881"/>
              <a:gd name="connsiteX16" fmla="*/ 343773 w 536368"/>
              <a:gd name="connsiteY16" fmla="*/ 286685 h 587881"/>
              <a:gd name="connsiteX17" fmla="*/ 409018 w 536368"/>
              <a:gd name="connsiteY17" fmla="*/ 286685 h 587881"/>
              <a:gd name="connsiteX18" fmla="*/ 422103 w 536368"/>
              <a:gd name="connsiteY18" fmla="*/ 295394 h 587881"/>
              <a:gd name="connsiteX19" fmla="*/ 418988 w 536368"/>
              <a:gd name="connsiteY19" fmla="*/ 310857 h 587881"/>
              <a:gd name="connsiteX20" fmla="*/ 280130 w 536368"/>
              <a:gd name="connsiteY20" fmla="*/ 449489 h 587881"/>
              <a:gd name="connsiteX21" fmla="*/ 256186 w 536368"/>
              <a:gd name="connsiteY21" fmla="*/ 449489 h 587881"/>
              <a:gd name="connsiteX22" fmla="*/ 117239 w 536368"/>
              <a:gd name="connsiteY22" fmla="*/ 310857 h 587881"/>
              <a:gd name="connsiteX23" fmla="*/ 114213 w 536368"/>
              <a:gd name="connsiteY23" fmla="*/ 295394 h 587881"/>
              <a:gd name="connsiteX24" fmla="*/ 127297 w 536368"/>
              <a:gd name="connsiteY24" fmla="*/ 286685 h 587881"/>
              <a:gd name="connsiteX25" fmla="*/ 192543 w 536368"/>
              <a:gd name="connsiteY25" fmla="*/ 286685 h 587881"/>
              <a:gd name="connsiteX26" fmla="*/ 192543 w 536368"/>
              <a:gd name="connsiteY26" fmla="*/ 30926 h 587881"/>
              <a:gd name="connsiteX27" fmla="*/ 223430 w 536368"/>
              <a:gd name="connsiteY27" fmla="*/ 0 h 587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536368" h="587881">
                <a:moveTo>
                  <a:pt x="39602" y="407445"/>
                </a:moveTo>
                <a:cubicBezTo>
                  <a:pt x="61495" y="407445"/>
                  <a:pt x="79294" y="425133"/>
                  <a:pt x="79294" y="446999"/>
                </a:cubicBezTo>
                <a:lnTo>
                  <a:pt x="79294" y="508685"/>
                </a:lnTo>
                <a:lnTo>
                  <a:pt x="457074" y="508685"/>
                </a:lnTo>
                <a:lnTo>
                  <a:pt x="457074" y="446999"/>
                </a:lnTo>
                <a:cubicBezTo>
                  <a:pt x="457074" y="425133"/>
                  <a:pt x="474873" y="407445"/>
                  <a:pt x="496677" y="407445"/>
                </a:cubicBezTo>
                <a:cubicBezTo>
                  <a:pt x="518569" y="407445"/>
                  <a:pt x="536368" y="425133"/>
                  <a:pt x="536368" y="446999"/>
                </a:cubicBezTo>
                <a:lnTo>
                  <a:pt x="536368" y="548238"/>
                </a:lnTo>
                <a:cubicBezTo>
                  <a:pt x="536368" y="570104"/>
                  <a:pt x="518569" y="587881"/>
                  <a:pt x="496677" y="587881"/>
                </a:cubicBezTo>
                <a:lnTo>
                  <a:pt x="39602" y="587881"/>
                </a:lnTo>
                <a:cubicBezTo>
                  <a:pt x="17710" y="587881"/>
                  <a:pt x="0" y="570104"/>
                  <a:pt x="0" y="548238"/>
                </a:cubicBezTo>
                <a:lnTo>
                  <a:pt x="0" y="446999"/>
                </a:lnTo>
                <a:cubicBezTo>
                  <a:pt x="0" y="425133"/>
                  <a:pt x="17710" y="407445"/>
                  <a:pt x="39602" y="407445"/>
                </a:cubicBezTo>
                <a:close/>
                <a:moveTo>
                  <a:pt x="223430" y="0"/>
                </a:moveTo>
                <a:lnTo>
                  <a:pt x="312886" y="0"/>
                </a:lnTo>
                <a:cubicBezTo>
                  <a:pt x="329976" y="0"/>
                  <a:pt x="343773" y="13863"/>
                  <a:pt x="343773" y="30926"/>
                </a:cubicBezTo>
                <a:lnTo>
                  <a:pt x="343773" y="286685"/>
                </a:lnTo>
                <a:lnTo>
                  <a:pt x="409018" y="286685"/>
                </a:lnTo>
                <a:cubicBezTo>
                  <a:pt x="414715" y="286685"/>
                  <a:pt x="419878" y="290151"/>
                  <a:pt x="422103" y="295394"/>
                </a:cubicBezTo>
                <a:cubicBezTo>
                  <a:pt x="424239" y="300726"/>
                  <a:pt x="423082" y="306769"/>
                  <a:pt x="418988" y="310857"/>
                </a:cubicBezTo>
                <a:lnTo>
                  <a:pt x="280130" y="449489"/>
                </a:lnTo>
                <a:cubicBezTo>
                  <a:pt x="273543" y="456065"/>
                  <a:pt x="262773" y="456065"/>
                  <a:pt x="256186" y="449489"/>
                </a:cubicBezTo>
                <a:lnTo>
                  <a:pt x="117239" y="310857"/>
                </a:lnTo>
                <a:cubicBezTo>
                  <a:pt x="113233" y="306769"/>
                  <a:pt x="111987" y="300726"/>
                  <a:pt x="114213" y="295394"/>
                </a:cubicBezTo>
                <a:cubicBezTo>
                  <a:pt x="116438" y="290151"/>
                  <a:pt x="121511" y="286685"/>
                  <a:pt x="127297" y="286685"/>
                </a:cubicBezTo>
                <a:lnTo>
                  <a:pt x="192543" y="286685"/>
                </a:lnTo>
                <a:lnTo>
                  <a:pt x="192543" y="30926"/>
                </a:lnTo>
                <a:cubicBezTo>
                  <a:pt x="192543" y="13863"/>
                  <a:pt x="206339" y="0"/>
                  <a:pt x="223430" y="0"/>
                </a:cubicBezTo>
                <a:close/>
              </a:path>
            </a:pathLst>
          </a:cu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sz="2400" b="1"/>
          </a:p>
        </p:txBody>
      </p:sp>
      <p:sp>
        <p:nvSpPr>
          <p:cNvPr id="93" name="íṩ1íďê">
            <a:extLst>
              <a:ext uri="{FF2B5EF4-FFF2-40B4-BE49-F238E27FC236}">
                <a16:creationId xmlns:a16="http://schemas.microsoft.com/office/drawing/2014/main" id="{A43C16A8-1BD6-45E9-A3E3-109EC9DE6D1C}"/>
              </a:ext>
            </a:extLst>
          </p:cNvPr>
          <p:cNvSpPr/>
          <p:nvPr/>
        </p:nvSpPr>
        <p:spPr>
          <a:xfrm>
            <a:off x="1257917" y="4640590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官网</a:t>
            </a:r>
          </a:p>
        </p:txBody>
      </p:sp>
      <p:sp>
        <p:nvSpPr>
          <p:cNvPr id="94" name="íŝḻíḍê">
            <a:extLst>
              <a:ext uri="{FF2B5EF4-FFF2-40B4-BE49-F238E27FC236}">
                <a16:creationId xmlns:a16="http://schemas.microsoft.com/office/drawing/2014/main" id="{14C184E4-7197-4EDE-A342-AAA80DC3661B}"/>
              </a:ext>
            </a:extLst>
          </p:cNvPr>
          <p:cNvSpPr>
            <a:spLocks/>
          </p:cNvSpPr>
          <p:nvPr/>
        </p:nvSpPr>
        <p:spPr bwMode="auto">
          <a:xfrm>
            <a:off x="1531223" y="4793255"/>
            <a:ext cx="532037" cy="532037"/>
          </a:xfrm>
          <a:custGeom>
            <a:avLst/>
            <a:gdLst>
              <a:gd name="connsiteX0" fmla="*/ 454514 w 613046"/>
              <a:gd name="connsiteY0" fmla="*/ 373741 h 610326"/>
              <a:gd name="connsiteX1" fmla="*/ 595797 w 613046"/>
              <a:gd name="connsiteY1" fmla="*/ 511272 h 610326"/>
              <a:gd name="connsiteX2" fmla="*/ 595797 w 613046"/>
              <a:gd name="connsiteY2" fmla="*/ 593135 h 610326"/>
              <a:gd name="connsiteX3" fmla="*/ 513656 w 613046"/>
              <a:gd name="connsiteY3" fmla="*/ 593135 h 610326"/>
              <a:gd name="connsiteX4" fmla="*/ 372373 w 613046"/>
              <a:gd name="connsiteY4" fmla="*/ 452330 h 610326"/>
              <a:gd name="connsiteX5" fmla="*/ 454514 w 613046"/>
              <a:gd name="connsiteY5" fmla="*/ 373741 h 610326"/>
              <a:gd name="connsiteX6" fmla="*/ 231364 w 613046"/>
              <a:gd name="connsiteY6" fmla="*/ 94462 h 610326"/>
              <a:gd name="connsiteX7" fmla="*/ 231364 w 613046"/>
              <a:gd name="connsiteY7" fmla="*/ 133729 h 610326"/>
              <a:gd name="connsiteX8" fmla="*/ 135499 w 613046"/>
              <a:gd name="connsiteY8" fmla="*/ 228625 h 610326"/>
              <a:gd name="connsiteX9" fmla="*/ 95831 w 613046"/>
              <a:gd name="connsiteY9" fmla="*/ 228625 h 610326"/>
              <a:gd name="connsiteX10" fmla="*/ 231364 w 613046"/>
              <a:gd name="connsiteY10" fmla="*/ 94462 h 610326"/>
              <a:gd name="connsiteX11" fmla="*/ 230271 w 613046"/>
              <a:gd name="connsiteY11" fmla="*/ 55689 h 610326"/>
              <a:gd name="connsiteX12" fmla="*/ 55923 w 613046"/>
              <a:gd name="connsiteY12" fmla="*/ 229310 h 610326"/>
              <a:gd name="connsiteX13" fmla="*/ 230271 w 613046"/>
              <a:gd name="connsiteY13" fmla="*/ 399655 h 610326"/>
              <a:gd name="connsiteX14" fmla="*/ 401329 w 613046"/>
              <a:gd name="connsiteY14" fmla="*/ 229310 h 610326"/>
              <a:gd name="connsiteX15" fmla="*/ 230271 w 613046"/>
              <a:gd name="connsiteY15" fmla="*/ 55689 h 610326"/>
              <a:gd name="connsiteX16" fmla="*/ 230271 w 613046"/>
              <a:gd name="connsiteY16" fmla="*/ 0 h 610326"/>
              <a:gd name="connsiteX17" fmla="*/ 457252 w 613046"/>
              <a:gd name="connsiteY17" fmla="*/ 229310 h 610326"/>
              <a:gd name="connsiteX18" fmla="*/ 230271 w 613046"/>
              <a:gd name="connsiteY18" fmla="*/ 458620 h 610326"/>
              <a:gd name="connsiteX19" fmla="*/ 0 w 613046"/>
              <a:gd name="connsiteY19" fmla="*/ 229310 h 610326"/>
              <a:gd name="connsiteX20" fmla="*/ 230271 w 613046"/>
              <a:gd name="connsiteY20" fmla="*/ 0 h 610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613046" h="610326">
                <a:moveTo>
                  <a:pt x="454514" y="373741"/>
                </a:moveTo>
                <a:cubicBezTo>
                  <a:pt x="454514" y="373741"/>
                  <a:pt x="454514" y="373741"/>
                  <a:pt x="595797" y="511272"/>
                </a:cubicBezTo>
                <a:cubicBezTo>
                  <a:pt x="618796" y="534194"/>
                  <a:pt x="618796" y="570214"/>
                  <a:pt x="595797" y="593135"/>
                </a:cubicBezTo>
                <a:cubicBezTo>
                  <a:pt x="572797" y="616057"/>
                  <a:pt x="536655" y="616057"/>
                  <a:pt x="513656" y="593135"/>
                </a:cubicBezTo>
                <a:cubicBezTo>
                  <a:pt x="513656" y="593135"/>
                  <a:pt x="513656" y="593135"/>
                  <a:pt x="372373" y="452330"/>
                </a:cubicBezTo>
                <a:cubicBezTo>
                  <a:pt x="405229" y="432683"/>
                  <a:pt x="434800" y="406487"/>
                  <a:pt x="454514" y="373741"/>
                </a:cubicBezTo>
                <a:close/>
                <a:moveTo>
                  <a:pt x="231364" y="94462"/>
                </a:moveTo>
                <a:cubicBezTo>
                  <a:pt x="231364" y="94462"/>
                  <a:pt x="231364" y="94462"/>
                  <a:pt x="231364" y="133729"/>
                </a:cubicBezTo>
                <a:cubicBezTo>
                  <a:pt x="178473" y="133729"/>
                  <a:pt x="135499" y="176269"/>
                  <a:pt x="135499" y="228625"/>
                </a:cubicBezTo>
                <a:cubicBezTo>
                  <a:pt x="135499" y="228625"/>
                  <a:pt x="135499" y="228625"/>
                  <a:pt x="95831" y="228625"/>
                </a:cubicBezTo>
                <a:cubicBezTo>
                  <a:pt x="95831" y="153363"/>
                  <a:pt x="155333" y="94462"/>
                  <a:pt x="231364" y="94462"/>
                </a:cubicBezTo>
                <a:close/>
                <a:moveTo>
                  <a:pt x="230271" y="55689"/>
                </a:moveTo>
                <a:cubicBezTo>
                  <a:pt x="134873" y="55689"/>
                  <a:pt x="55923" y="134310"/>
                  <a:pt x="55923" y="229310"/>
                </a:cubicBezTo>
                <a:cubicBezTo>
                  <a:pt x="55923" y="324310"/>
                  <a:pt x="134873" y="399655"/>
                  <a:pt x="230271" y="399655"/>
                </a:cubicBezTo>
                <a:cubicBezTo>
                  <a:pt x="322379" y="399655"/>
                  <a:pt x="401329" y="324310"/>
                  <a:pt x="401329" y="229310"/>
                </a:cubicBezTo>
                <a:cubicBezTo>
                  <a:pt x="401329" y="134310"/>
                  <a:pt x="322379" y="55689"/>
                  <a:pt x="230271" y="55689"/>
                </a:cubicBezTo>
                <a:close/>
                <a:moveTo>
                  <a:pt x="230271" y="0"/>
                </a:moveTo>
                <a:cubicBezTo>
                  <a:pt x="355275" y="0"/>
                  <a:pt x="457252" y="101551"/>
                  <a:pt x="457252" y="229310"/>
                </a:cubicBezTo>
                <a:cubicBezTo>
                  <a:pt x="457252" y="353792"/>
                  <a:pt x="355275" y="458620"/>
                  <a:pt x="230271" y="458620"/>
                </a:cubicBezTo>
                <a:cubicBezTo>
                  <a:pt x="101977" y="458620"/>
                  <a:pt x="0" y="353792"/>
                  <a:pt x="0" y="229310"/>
                </a:cubicBezTo>
                <a:cubicBezTo>
                  <a:pt x="0" y="101551"/>
                  <a:pt x="101977" y="0"/>
                  <a:pt x="230271" y="0"/>
                </a:cubicBezTo>
                <a:close/>
              </a:path>
            </a:pathLst>
          </a:cu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sz="2400" b="1"/>
          </a:p>
        </p:txBody>
      </p:sp>
      <p:cxnSp>
        <p:nvCxnSpPr>
          <p:cNvPr id="95" name="肘形连接符 18">
            <a:extLst>
              <a:ext uri="{FF2B5EF4-FFF2-40B4-BE49-F238E27FC236}">
                <a16:creationId xmlns:a16="http://schemas.microsoft.com/office/drawing/2014/main" id="{DBEF2027-2E66-47E1-AFC2-4A45ACDEEA31}"/>
              </a:ext>
            </a:extLst>
          </p:cNvPr>
          <p:cNvCxnSpPr>
            <a:stCxn id="91" idx="2"/>
          </p:cNvCxnSpPr>
          <p:nvPr/>
        </p:nvCxnSpPr>
        <p:spPr>
          <a:xfrm rot="10800000" flipV="1">
            <a:off x="1815391" y="4033823"/>
            <a:ext cx="409081" cy="617746"/>
          </a:xfrm>
          <a:prstGeom prst="bentConnector2">
            <a:avLst/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肘形连接符 19">
            <a:extLst>
              <a:ext uri="{FF2B5EF4-FFF2-40B4-BE49-F238E27FC236}">
                <a16:creationId xmlns:a16="http://schemas.microsoft.com/office/drawing/2014/main" id="{A98EEBA3-489A-4D48-8AF1-D8E6652F8F74}"/>
              </a:ext>
            </a:extLst>
          </p:cNvPr>
          <p:cNvCxnSpPr>
            <a:cxnSpLocks/>
            <a:endCxn id="91" idx="6"/>
          </p:cNvCxnSpPr>
          <p:nvPr/>
        </p:nvCxnSpPr>
        <p:spPr>
          <a:xfrm rot="10800000">
            <a:off x="3303123" y="4033824"/>
            <a:ext cx="333473" cy="11998"/>
          </a:xfrm>
          <a:prstGeom prst="bentConnector3">
            <a:avLst>
              <a:gd name="adj1" fmla="val 50000"/>
            </a:avLst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肘形连接符 20">
            <a:extLst>
              <a:ext uri="{FF2B5EF4-FFF2-40B4-BE49-F238E27FC236}">
                <a16:creationId xmlns:a16="http://schemas.microsoft.com/office/drawing/2014/main" id="{CA368562-69B7-438E-A865-B0AD60874775}"/>
              </a:ext>
            </a:extLst>
          </p:cNvPr>
          <p:cNvCxnSpPr>
            <a:cxnSpLocks/>
            <a:stCxn id="111" idx="2"/>
            <a:endCxn id="91" idx="4"/>
          </p:cNvCxnSpPr>
          <p:nvPr/>
        </p:nvCxnSpPr>
        <p:spPr>
          <a:xfrm rot="10800000">
            <a:off x="2763797" y="4573150"/>
            <a:ext cx="91168" cy="606767"/>
          </a:xfrm>
          <a:prstGeom prst="bentConnector2">
            <a:avLst/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肘形连接符 21">
            <a:extLst>
              <a:ext uri="{FF2B5EF4-FFF2-40B4-BE49-F238E27FC236}">
                <a16:creationId xmlns:a16="http://schemas.microsoft.com/office/drawing/2014/main" id="{987D895F-FC18-429E-802A-99692EB6D1C0}"/>
              </a:ext>
            </a:extLst>
          </p:cNvPr>
          <p:cNvCxnSpPr>
            <a:cxnSpLocks/>
            <a:endCxn id="113" idx="6"/>
          </p:cNvCxnSpPr>
          <p:nvPr/>
        </p:nvCxnSpPr>
        <p:spPr>
          <a:xfrm rot="10800000" flipV="1">
            <a:off x="4739297" y="4023672"/>
            <a:ext cx="368345" cy="10152"/>
          </a:xfrm>
          <a:prstGeom prst="bentConnector3">
            <a:avLst>
              <a:gd name="adj1" fmla="val 50000"/>
            </a:avLst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肘形连接符 22">
            <a:extLst>
              <a:ext uri="{FF2B5EF4-FFF2-40B4-BE49-F238E27FC236}">
                <a16:creationId xmlns:a16="http://schemas.microsoft.com/office/drawing/2014/main" id="{616E61AE-4FA0-4EC4-8CF7-484094B8E813}"/>
              </a:ext>
            </a:extLst>
          </p:cNvPr>
          <p:cNvCxnSpPr>
            <a:cxnSpLocks/>
            <a:endCxn id="111" idx="6"/>
          </p:cNvCxnSpPr>
          <p:nvPr/>
        </p:nvCxnSpPr>
        <p:spPr>
          <a:xfrm rot="10800000" flipV="1">
            <a:off x="3933616" y="5179914"/>
            <a:ext cx="491288" cy="2"/>
          </a:xfrm>
          <a:prstGeom prst="bentConnector3">
            <a:avLst>
              <a:gd name="adj1" fmla="val 50000"/>
            </a:avLst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直接连接符 99">
            <a:extLst>
              <a:ext uri="{FF2B5EF4-FFF2-40B4-BE49-F238E27FC236}">
                <a16:creationId xmlns:a16="http://schemas.microsoft.com/office/drawing/2014/main" id="{662BB8BE-8BBF-4B25-8577-32E67F7D089E}"/>
              </a:ext>
            </a:extLst>
          </p:cNvPr>
          <p:cNvCxnSpPr>
            <a:cxnSpLocks/>
          </p:cNvCxnSpPr>
          <p:nvPr/>
        </p:nvCxnSpPr>
        <p:spPr>
          <a:xfrm>
            <a:off x="6190825" y="4030444"/>
            <a:ext cx="388280" cy="0"/>
          </a:xfrm>
          <a:prstGeom prst="line">
            <a:avLst/>
          </a:prstGeom>
          <a:ln w="28575" cmpd="sng">
            <a:solidFill>
              <a:schemeClr val="bg1">
                <a:lumMod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íšḷíḍê">
            <a:extLst>
              <a:ext uri="{FF2B5EF4-FFF2-40B4-BE49-F238E27FC236}">
                <a16:creationId xmlns:a16="http://schemas.microsoft.com/office/drawing/2014/main" id="{ACBECE7A-25D0-4D0E-BE38-57E8055AD739}"/>
              </a:ext>
            </a:extLst>
          </p:cNvPr>
          <p:cNvSpPr txBox="1"/>
          <p:nvPr/>
        </p:nvSpPr>
        <p:spPr>
          <a:xfrm>
            <a:off x="1261489" y="2883765"/>
            <a:ext cx="6697350" cy="50414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SzPct val="25000"/>
            </a:pPr>
            <a:r>
              <a:rPr lang="zh-CN" altLang="en-US" sz="2000" b="1" i="1" dirty="0"/>
              <a:t>安装</a:t>
            </a:r>
            <a:r>
              <a:rPr lang="en-US" altLang="zh-CN" sz="2000" b="1" i="1" dirty="0"/>
              <a:t>JAVA</a:t>
            </a:r>
            <a:r>
              <a:rPr lang="zh-CN" altLang="en-US" sz="2000" b="1" i="1" dirty="0"/>
              <a:t>的步骤</a:t>
            </a:r>
            <a:endParaRPr lang="en-US" sz="2000" b="1" i="1" dirty="0"/>
          </a:p>
        </p:txBody>
      </p:sp>
      <p:grpSp>
        <p:nvGrpSpPr>
          <p:cNvPr id="102" name="îšlïḍe">
            <a:extLst>
              <a:ext uri="{FF2B5EF4-FFF2-40B4-BE49-F238E27FC236}">
                <a16:creationId xmlns:a16="http://schemas.microsoft.com/office/drawing/2014/main" id="{2AE60538-358B-4554-94CE-2237D91D9E16}"/>
              </a:ext>
            </a:extLst>
          </p:cNvPr>
          <p:cNvGrpSpPr/>
          <p:nvPr/>
        </p:nvGrpSpPr>
        <p:grpSpPr>
          <a:xfrm>
            <a:off x="1260299" y="5998232"/>
            <a:ext cx="1478610" cy="644602"/>
            <a:chOff x="8563614" y="4934816"/>
            <a:chExt cx="2955286" cy="1008290"/>
          </a:xfrm>
        </p:grpSpPr>
        <p:sp>
          <p:nvSpPr>
            <p:cNvPr id="103" name="íšľiḋé">
              <a:extLst>
                <a:ext uri="{FF2B5EF4-FFF2-40B4-BE49-F238E27FC236}">
                  <a16:creationId xmlns:a16="http://schemas.microsoft.com/office/drawing/2014/main" id="{46F89CDD-1AC0-4C9B-9DD7-43E5E1FBD77E}"/>
                </a:ext>
              </a:extLst>
            </p:cNvPr>
            <p:cNvSpPr txBox="1"/>
            <p:nvPr/>
          </p:nvSpPr>
          <p:spPr bwMode="auto">
            <a:xfrm>
              <a:off x="8563614" y="4934816"/>
              <a:ext cx="2955286" cy="480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b="1" dirty="0"/>
                <a:t>搜索 下载</a:t>
              </a:r>
              <a:endParaRPr lang="en-US" altLang="zh-CN" b="1" dirty="0"/>
            </a:p>
          </p:txBody>
        </p:sp>
        <p:sp>
          <p:nvSpPr>
            <p:cNvPr id="104" name="íṧḷidé">
              <a:extLst>
                <a:ext uri="{FF2B5EF4-FFF2-40B4-BE49-F238E27FC236}">
                  <a16:creationId xmlns:a16="http://schemas.microsoft.com/office/drawing/2014/main" id="{8E3E20E1-41BA-43BA-9991-A9EFA7366AD7}"/>
                </a:ext>
              </a:extLst>
            </p:cNvPr>
            <p:cNvSpPr/>
            <p:nvPr/>
          </p:nvSpPr>
          <p:spPr bwMode="auto">
            <a:xfrm>
              <a:off x="8563614" y="5415115"/>
              <a:ext cx="2955286" cy="5279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zh-CN" altLang="en-US" sz="1100" dirty="0"/>
                <a:t>在</a:t>
              </a:r>
              <a:r>
                <a:rPr lang="en-US" altLang="zh-CN" sz="1100" dirty="0"/>
                <a:t>Ubuntu</a:t>
              </a:r>
              <a:r>
                <a:rPr lang="zh-CN" altLang="en-US" sz="1100" dirty="0"/>
                <a:t>中直接使用浏览器</a:t>
              </a:r>
              <a:endParaRPr lang="en-US" altLang="zh-CN" sz="1100" dirty="0"/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Or</a:t>
              </a:r>
              <a:r>
                <a:rPr lang="zh-CN" altLang="en-US" sz="1100" dirty="0"/>
                <a:t>把下好的拖进</a:t>
              </a:r>
              <a:r>
                <a:rPr lang="en-US" altLang="zh-CN" sz="1100" dirty="0"/>
                <a:t>Ubuntu(</a:t>
              </a:r>
              <a:r>
                <a:rPr lang="zh-CN" altLang="en-US" sz="1100" dirty="0"/>
                <a:t>虚拟机</a:t>
              </a:r>
              <a:r>
                <a:rPr lang="en-US" altLang="zh-CN" sz="1100" dirty="0"/>
                <a:t>)</a:t>
              </a:r>
            </a:p>
          </p:txBody>
        </p:sp>
      </p:grpSp>
      <p:grpSp>
        <p:nvGrpSpPr>
          <p:cNvPr id="105" name="î$ļíḋé">
            <a:extLst>
              <a:ext uri="{FF2B5EF4-FFF2-40B4-BE49-F238E27FC236}">
                <a16:creationId xmlns:a16="http://schemas.microsoft.com/office/drawing/2014/main" id="{EAB13176-CB67-434E-95D1-E1B474104404}"/>
              </a:ext>
            </a:extLst>
          </p:cNvPr>
          <p:cNvGrpSpPr/>
          <p:nvPr/>
        </p:nvGrpSpPr>
        <p:grpSpPr>
          <a:xfrm>
            <a:off x="3078651" y="5998231"/>
            <a:ext cx="1478617" cy="644607"/>
            <a:chOff x="8737934" y="4934814"/>
            <a:chExt cx="2955288" cy="1008293"/>
          </a:xfrm>
        </p:grpSpPr>
        <p:sp>
          <p:nvSpPr>
            <p:cNvPr id="106" name="ïṡ1îḑê">
              <a:extLst>
                <a:ext uri="{FF2B5EF4-FFF2-40B4-BE49-F238E27FC236}">
                  <a16:creationId xmlns:a16="http://schemas.microsoft.com/office/drawing/2014/main" id="{55209353-7DD9-4915-8383-941BDC223FD1}"/>
                </a:ext>
              </a:extLst>
            </p:cNvPr>
            <p:cNvSpPr txBox="1"/>
            <p:nvPr/>
          </p:nvSpPr>
          <p:spPr bwMode="auto">
            <a:xfrm>
              <a:off x="8737934" y="4934814"/>
              <a:ext cx="2955285" cy="480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b="1" dirty="0"/>
                <a:t>解压</a:t>
              </a:r>
              <a:endParaRPr lang="en-US" altLang="zh-CN" b="1" dirty="0"/>
            </a:p>
          </p:txBody>
        </p:sp>
        <p:sp>
          <p:nvSpPr>
            <p:cNvPr id="107" name="iṩliḋe">
              <a:extLst>
                <a:ext uri="{FF2B5EF4-FFF2-40B4-BE49-F238E27FC236}">
                  <a16:creationId xmlns:a16="http://schemas.microsoft.com/office/drawing/2014/main" id="{447ACB1A-F074-4439-B904-1848A675B206}"/>
                </a:ext>
              </a:extLst>
            </p:cNvPr>
            <p:cNvSpPr/>
            <p:nvPr/>
          </p:nvSpPr>
          <p:spPr bwMode="auto">
            <a:xfrm>
              <a:off x="8737934" y="5415115"/>
              <a:ext cx="2955288" cy="527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solidFill>
                    <a:schemeClr val="accent3"/>
                  </a:solidFill>
                </a:rPr>
                <a:t>tar -</a:t>
              </a:r>
              <a:r>
                <a:rPr lang="en-US" altLang="zh-CN" sz="1100" dirty="0" err="1">
                  <a:solidFill>
                    <a:schemeClr val="accent3"/>
                  </a:solidFill>
                </a:rPr>
                <a:t>zxvf</a:t>
              </a:r>
              <a:r>
                <a:rPr lang="en-US" altLang="zh-CN" sz="1100" dirty="0">
                  <a:solidFill>
                    <a:schemeClr val="accent3"/>
                  </a:solidFill>
                </a:rPr>
                <a:t> java-jdk*****.jar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solidFill>
                    <a:schemeClr val="accent1"/>
                  </a:solidFill>
                </a:rPr>
                <a:t>or</a:t>
              </a:r>
              <a:r>
                <a:rPr lang="zh-CN" altLang="en-US" sz="1100" dirty="0">
                  <a:solidFill>
                    <a:schemeClr val="accent1"/>
                  </a:solidFill>
                </a:rPr>
                <a:t>左键！右键！</a:t>
              </a:r>
              <a:endParaRPr lang="en-US" altLang="zh-CN" sz="11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111" name="išlïḓe">
            <a:extLst>
              <a:ext uri="{FF2B5EF4-FFF2-40B4-BE49-F238E27FC236}">
                <a16:creationId xmlns:a16="http://schemas.microsoft.com/office/drawing/2014/main" id="{01A7E456-FD3C-4CEF-80E9-A7A288B8A986}"/>
              </a:ext>
            </a:extLst>
          </p:cNvPr>
          <p:cNvSpPr/>
          <p:nvPr/>
        </p:nvSpPr>
        <p:spPr>
          <a:xfrm>
            <a:off x="2854965" y="4640590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解压</a:t>
            </a:r>
          </a:p>
        </p:txBody>
      </p:sp>
      <p:pic>
        <p:nvPicPr>
          <p:cNvPr id="112" name="图形 111">
            <a:extLst>
              <a:ext uri="{FF2B5EF4-FFF2-40B4-BE49-F238E27FC236}">
                <a16:creationId xmlns:a16="http://schemas.microsoft.com/office/drawing/2014/main" id="{68D730C6-F03F-4596-A3A6-532E64CB67D8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23639" y="4774311"/>
            <a:ext cx="532037" cy="532037"/>
          </a:xfrm>
          <a:prstGeom prst="rect">
            <a:avLst/>
          </a:prstGeom>
        </p:spPr>
      </p:pic>
      <p:sp>
        <p:nvSpPr>
          <p:cNvPr id="113" name="íṣ1ídè">
            <a:extLst>
              <a:ext uri="{FF2B5EF4-FFF2-40B4-BE49-F238E27FC236}">
                <a16:creationId xmlns:a16="http://schemas.microsoft.com/office/drawing/2014/main" id="{0BC09BE5-A787-44B7-A935-CF0060D8A992}"/>
              </a:ext>
            </a:extLst>
          </p:cNvPr>
          <p:cNvSpPr/>
          <p:nvPr/>
        </p:nvSpPr>
        <p:spPr>
          <a:xfrm>
            <a:off x="3660645" y="3494498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解压</a:t>
            </a:r>
          </a:p>
        </p:txBody>
      </p:sp>
      <p:pic>
        <p:nvPicPr>
          <p:cNvPr id="114" name="图形 113">
            <a:extLst>
              <a:ext uri="{FF2B5EF4-FFF2-40B4-BE49-F238E27FC236}">
                <a16:creationId xmlns:a16="http://schemas.microsoft.com/office/drawing/2014/main" id="{FCEDDA67-8A78-40C4-93B5-504A39FEDC1F}"/>
              </a:ext>
            </a:extLst>
          </p:cNvPr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933781" y="3622522"/>
            <a:ext cx="532037" cy="532037"/>
          </a:xfrm>
          <a:prstGeom prst="rect">
            <a:avLst/>
          </a:prstGeom>
        </p:spPr>
      </p:pic>
      <p:sp>
        <p:nvSpPr>
          <p:cNvPr id="115" name="islíďê">
            <a:extLst>
              <a:ext uri="{FF2B5EF4-FFF2-40B4-BE49-F238E27FC236}">
                <a16:creationId xmlns:a16="http://schemas.microsoft.com/office/drawing/2014/main" id="{297C4ACE-6923-407D-A39C-387E00F116B7}"/>
              </a:ext>
            </a:extLst>
          </p:cNvPr>
          <p:cNvSpPr>
            <a:spLocks/>
          </p:cNvSpPr>
          <p:nvPr/>
        </p:nvSpPr>
        <p:spPr>
          <a:xfrm>
            <a:off x="5112174" y="3490667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配置</a:t>
            </a:r>
          </a:p>
        </p:txBody>
      </p:sp>
      <p:pic>
        <p:nvPicPr>
          <p:cNvPr id="116" name="图形 115">
            <a:extLst>
              <a:ext uri="{FF2B5EF4-FFF2-40B4-BE49-F238E27FC236}">
                <a16:creationId xmlns:a16="http://schemas.microsoft.com/office/drawing/2014/main" id="{1FD94976-35C1-4C56-82DB-DF7D2E3E3201}"/>
              </a:ext>
            </a:extLst>
          </p:cNvPr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393052" y="3630694"/>
            <a:ext cx="532037" cy="532037"/>
          </a:xfrm>
          <a:prstGeom prst="rect">
            <a:avLst/>
          </a:prstGeom>
        </p:spPr>
      </p:pic>
      <p:sp>
        <p:nvSpPr>
          <p:cNvPr id="117" name="íṥľíďê">
            <a:extLst>
              <a:ext uri="{FF2B5EF4-FFF2-40B4-BE49-F238E27FC236}">
                <a16:creationId xmlns:a16="http://schemas.microsoft.com/office/drawing/2014/main" id="{FD31D049-D967-4E59-8C5E-4DB9F486EC6D}"/>
              </a:ext>
            </a:extLst>
          </p:cNvPr>
          <p:cNvSpPr/>
          <p:nvPr/>
        </p:nvSpPr>
        <p:spPr>
          <a:xfrm>
            <a:off x="4456219" y="4640590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配置</a:t>
            </a:r>
          </a:p>
        </p:txBody>
      </p:sp>
      <p:pic>
        <p:nvPicPr>
          <p:cNvPr id="118" name="图形 117">
            <a:extLst>
              <a:ext uri="{FF2B5EF4-FFF2-40B4-BE49-F238E27FC236}">
                <a16:creationId xmlns:a16="http://schemas.microsoft.com/office/drawing/2014/main" id="{8C9A6AEB-68E2-46BC-8397-5C7E4773E5A3}"/>
              </a:ext>
            </a:extLst>
          </p:cNvPr>
          <p:cNvPicPr>
            <a:picLocks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729525" y="4793254"/>
            <a:ext cx="532037" cy="532037"/>
          </a:xfrm>
          <a:prstGeom prst="rect">
            <a:avLst/>
          </a:prstGeom>
        </p:spPr>
      </p:pic>
      <p:cxnSp>
        <p:nvCxnSpPr>
          <p:cNvPr id="119" name="直接连接符 118">
            <a:extLst>
              <a:ext uri="{FF2B5EF4-FFF2-40B4-BE49-F238E27FC236}">
                <a16:creationId xmlns:a16="http://schemas.microsoft.com/office/drawing/2014/main" id="{7D362925-3695-4EBF-B85E-7D63A3F184C5}"/>
              </a:ext>
            </a:extLst>
          </p:cNvPr>
          <p:cNvCxnSpPr>
            <a:cxnSpLocks/>
          </p:cNvCxnSpPr>
          <p:nvPr/>
        </p:nvCxnSpPr>
        <p:spPr>
          <a:xfrm>
            <a:off x="5504291" y="5170430"/>
            <a:ext cx="368462" cy="0"/>
          </a:xfrm>
          <a:prstGeom prst="line">
            <a:avLst/>
          </a:prstGeom>
          <a:ln w="28575" cmpd="sng">
            <a:solidFill>
              <a:schemeClr val="bg1">
                <a:lumMod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ïṩľïdé">
            <a:extLst>
              <a:ext uri="{FF2B5EF4-FFF2-40B4-BE49-F238E27FC236}">
                <a16:creationId xmlns:a16="http://schemas.microsoft.com/office/drawing/2014/main" id="{41C00ECF-1EDD-4D46-91FA-8C84CEA7A788}"/>
              </a:ext>
            </a:extLst>
          </p:cNvPr>
          <p:cNvGrpSpPr/>
          <p:nvPr/>
        </p:nvGrpSpPr>
        <p:grpSpPr>
          <a:xfrm>
            <a:off x="5432009" y="3983528"/>
            <a:ext cx="3507034" cy="1544337"/>
            <a:chOff x="9219108" y="5109917"/>
            <a:chExt cx="2955286" cy="833191"/>
          </a:xfrm>
        </p:grpSpPr>
        <p:sp>
          <p:nvSpPr>
            <p:cNvPr id="81" name="îŝļïḋê">
              <a:extLst>
                <a:ext uri="{FF2B5EF4-FFF2-40B4-BE49-F238E27FC236}">
                  <a16:creationId xmlns:a16="http://schemas.microsoft.com/office/drawing/2014/main" id="{C4268F0E-0A4D-446B-A549-C42E9D3D9E25}"/>
                </a:ext>
              </a:extLst>
            </p:cNvPr>
            <p:cNvSpPr txBox="1"/>
            <p:nvPr/>
          </p:nvSpPr>
          <p:spPr bwMode="auto">
            <a:xfrm>
              <a:off x="9219108" y="5109917"/>
              <a:ext cx="2955286" cy="305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b="1" dirty="0"/>
                <a:t>配置</a:t>
              </a:r>
              <a:endParaRPr lang="en-US" altLang="zh-CN" b="1" dirty="0"/>
            </a:p>
          </p:txBody>
        </p:sp>
        <p:sp>
          <p:nvSpPr>
            <p:cNvPr id="82" name="ïṥlîḑê">
              <a:extLst>
                <a:ext uri="{FF2B5EF4-FFF2-40B4-BE49-F238E27FC236}">
                  <a16:creationId xmlns:a16="http://schemas.microsoft.com/office/drawing/2014/main" id="{A1AA71DB-8771-48E0-979B-A823CC114DDB}"/>
                </a:ext>
              </a:extLst>
            </p:cNvPr>
            <p:cNvSpPr/>
            <p:nvPr/>
          </p:nvSpPr>
          <p:spPr bwMode="auto">
            <a:xfrm>
              <a:off x="9219108" y="5415117"/>
              <a:ext cx="2955286" cy="5279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vim /</a:t>
              </a:r>
              <a:r>
                <a:rPr lang="en-US" altLang="zh-CN" sz="1100" dirty="0" err="1"/>
                <a:t>etc</a:t>
              </a:r>
              <a:r>
                <a:rPr lang="en-US" altLang="zh-CN" sz="1100" dirty="0"/>
                <a:t>/profile </a:t>
              </a:r>
              <a:r>
                <a:rPr lang="zh-CN" altLang="en-US" sz="1100" dirty="0">
                  <a:solidFill>
                    <a:schemeClr val="accent1"/>
                  </a:solidFill>
                </a:rPr>
                <a:t>使用文件管理器定位并进入编辑</a:t>
              </a:r>
              <a:endParaRPr lang="en-US" altLang="zh-CN" sz="1100" dirty="0">
                <a:solidFill>
                  <a:schemeClr val="accent1"/>
                </a:solidFill>
              </a:endParaRP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export JAVA_HOME=/jdk1.7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export PATH=$PATH:$JAVA_HOME/bin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source /</a:t>
              </a:r>
              <a:r>
                <a:rPr lang="en-US" altLang="zh-CN" sz="1100" dirty="0" err="1"/>
                <a:t>etc</a:t>
              </a:r>
              <a:r>
                <a:rPr lang="en-US" altLang="zh-CN" sz="1100" dirty="0"/>
                <a:t>/prof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680613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000" dirty="0"/>
              <a:t>Hadoop</a:t>
            </a:r>
            <a:r>
              <a:rPr lang="zh-CN" altLang="en-US" sz="2000" dirty="0"/>
              <a:t>的部署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5</a:t>
            </a:fld>
            <a:endParaRPr lang="zh-CN" altLang="en-US"/>
          </a:p>
        </p:txBody>
      </p:sp>
      <p:sp>
        <p:nvSpPr>
          <p:cNvPr id="195" name="iṧḻîďè">
            <a:extLst>
              <a:ext uri="{FF2B5EF4-FFF2-40B4-BE49-F238E27FC236}">
                <a16:creationId xmlns:a16="http://schemas.microsoft.com/office/drawing/2014/main" id="{6FC8272D-4563-47EB-B741-E738A21C2623}"/>
              </a:ext>
            </a:extLst>
          </p:cNvPr>
          <p:cNvSpPr/>
          <p:nvPr/>
        </p:nvSpPr>
        <p:spPr bwMode="auto">
          <a:xfrm>
            <a:off x="4330016" y="2533248"/>
            <a:ext cx="1331348" cy="278440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搞定！</a:t>
            </a:r>
            <a:endParaRPr lang="en-US" altLang="zh-CN" b="1" dirty="0"/>
          </a:p>
        </p:txBody>
      </p:sp>
      <p:sp>
        <p:nvSpPr>
          <p:cNvPr id="196" name="îŝḻiḋé">
            <a:extLst>
              <a:ext uri="{FF2B5EF4-FFF2-40B4-BE49-F238E27FC236}">
                <a16:creationId xmlns:a16="http://schemas.microsoft.com/office/drawing/2014/main" id="{C05C75D7-4258-49B9-958F-F2EEF0B840E0}"/>
              </a:ext>
            </a:extLst>
          </p:cNvPr>
          <p:cNvSpPr/>
          <p:nvPr/>
        </p:nvSpPr>
        <p:spPr bwMode="auto">
          <a:xfrm>
            <a:off x="4550521" y="2267238"/>
            <a:ext cx="1331348" cy="278440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测试</a:t>
            </a:r>
            <a:endParaRPr lang="en-US" altLang="zh-CN" b="1" dirty="0"/>
          </a:p>
        </p:txBody>
      </p:sp>
      <p:sp>
        <p:nvSpPr>
          <p:cNvPr id="197" name="íṥḷíďê">
            <a:extLst>
              <a:ext uri="{FF2B5EF4-FFF2-40B4-BE49-F238E27FC236}">
                <a16:creationId xmlns:a16="http://schemas.microsoft.com/office/drawing/2014/main" id="{D4FCC7AE-5767-4EC4-BB68-B94457D3AE6D}"/>
              </a:ext>
            </a:extLst>
          </p:cNvPr>
          <p:cNvSpPr/>
          <p:nvPr/>
        </p:nvSpPr>
        <p:spPr bwMode="auto">
          <a:xfrm>
            <a:off x="4766335" y="2001227"/>
            <a:ext cx="1331348" cy="278440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/>
              <a:t>配置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8" name="ïś1ïḓè">
            <a:extLst>
              <a:ext uri="{FF2B5EF4-FFF2-40B4-BE49-F238E27FC236}">
                <a16:creationId xmlns:a16="http://schemas.microsoft.com/office/drawing/2014/main" id="{F32E844B-E27C-4A92-9B60-95E4AD88D81F}"/>
              </a:ext>
            </a:extLst>
          </p:cNvPr>
          <p:cNvSpPr/>
          <p:nvPr/>
        </p:nvSpPr>
        <p:spPr bwMode="auto">
          <a:xfrm>
            <a:off x="4986372" y="1735216"/>
            <a:ext cx="1331348" cy="278440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 dirty="0"/>
              <a:t>安装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9" name="îśļïḍè">
            <a:extLst>
              <a:ext uri="{FF2B5EF4-FFF2-40B4-BE49-F238E27FC236}">
                <a16:creationId xmlns:a16="http://schemas.microsoft.com/office/drawing/2014/main" id="{F812BB55-77DE-4E23-95E6-156A22FAD363}"/>
              </a:ext>
            </a:extLst>
          </p:cNvPr>
          <p:cNvSpPr/>
          <p:nvPr/>
        </p:nvSpPr>
        <p:spPr bwMode="auto">
          <a:xfrm>
            <a:off x="5191586" y="1469205"/>
            <a:ext cx="1331348" cy="278440"/>
          </a:xfrm>
          <a:prstGeom prst="parallelogram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>
                <a:solidFill>
                  <a:schemeClr val="bg1"/>
                </a:solidFill>
              </a:rPr>
              <a:t>配置</a:t>
            </a:r>
            <a:r>
              <a:rPr lang="en-US" altLang="zh-CN" sz="1750" b="1" dirty="0">
                <a:solidFill>
                  <a:schemeClr val="bg1"/>
                </a:solidFill>
              </a:rPr>
              <a:t>JAVA</a:t>
            </a:r>
          </a:p>
        </p:txBody>
      </p:sp>
      <p:sp>
        <p:nvSpPr>
          <p:cNvPr id="200" name="ï$1íḍé">
            <a:extLst>
              <a:ext uri="{FF2B5EF4-FFF2-40B4-BE49-F238E27FC236}">
                <a16:creationId xmlns:a16="http://schemas.microsoft.com/office/drawing/2014/main" id="{48245F16-84E7-4201-9485-85B5E5B15ECD}"/>
              </a:ext>
            </a:extLst>
          </p:cNvPr>
          <p:cNvSpPr/>
          <p:nvPr/>
        </p:nvSpPr>
        <p:spPr bwMode="auto">
          <a:xfrm>
            <a:off x="5404395" y="1203194"/>
            <a:ext cx="1331348" cy="278440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安装</a:t>
            </a:r>
            <a:r>
              <a:rPr lang="en-US" altLang="zh-CN" b="1" dirty="0"/>
              <a:t>JAVA</a:t>
            </a:r>
          </a:p>
        </p:txBody>
      </p:sp>
      <p:sp>
        <p:nvSpPr>
          <p:cNvPr id="201" name="îṥľïďê">
            <a:extLst>
              <a:ext uri="{FF2B5EF4-FFF2-40B4-BE49-F238E27FC236}">
                <a16:creationId xmlns:a16="http://schemas.microsoft.com/office/drawing/2014/main" id="{920DFBAA-02E5-4206-86B0-FE10F93A7509}"/>
              </a:ext>
            </a:extLst>
          </p:cNvPr>
          <p:cNvSpPr/>
          <p:nvPr/>
        </p:nvSpPr>
        <p:spPr bwMode="auto">
          <a:xfrm>
            <a:off x="4159628" y="1801780"/>
            <a:ext cx="1530485" cy="506994"/>
          </a:xfrm>
          <a:custGeom>
            <a:avLst/>
            <a:gdLst>
              <a:gd name="T0" fmla="*/ 179 w 203"/>
              <a:gd name="T1" fmla="*/ 82 h 82"/>
              <a:gd name="T2" fmla="*/ 203 w 203"/>
              <a:gd name="T3" fmla="*/ 29 h 82"/>
              <a:gd name="T4" fmla="*/ 65 w 203"/>
              <a:gd name="T5" fmla="*/ 27 h 82"/>
              <a:gd name="T6" fmla="*/ 59 w 203"/>
              <a:gd name="T7" fmla="*/ 0 h 82"/>
              <a:gd name="T8" fmla="*/ 59 w 203"/>
              <a:gd name="T9" fmla="*/ 0 h 82"/>
              <a:gd name="T10" fmla="*/ 0 w 203"/>
              <a:gd name="T11" fmla="*/ 80 h 82"/>
              <a:gd name="T12" fmla="*/ 61 w 203"/>
              <a:gd name="T13" fmla="*/ 82 h 82"/>
              <a:gd name="T14" fmla="*/ 179 w 203"/>
              <a:gd name="T15" fmla="*/ 8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3" h="82">
                <a:moveTo>
                  <a:pt x="179" y="82"/>
                </a:moveTo>
                <a:lnTo>
                  <a:pt x="203" y="29"/>
                </a:lnTo>
                <a:lnTo>
                  <a:pt x="65" y="27"/>
                </a:lnTo>
                <a:lnTo>
                  <a:pt x="59" y="0"/>
                </a:lnTo>
                <a:lnTo>
                  <a:pt x="59" y="0"/>
                </a:lnTo>
                <a:lnTo>
                  <a:pt x="0" y="80"/>
                </a:lnTo>
                <a:lnTo>
                  <a:pt x="61" y="82"/>
                </a:lnTo>
                <a:lnTo>
                  <a:pt x="179" y="8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2" name="i$ḻíḋè">
            <a:extLst>
              <a:ext uri="{FF2B5EF4-FFF2-40B4-BE49-F238E27FC236}">
                <a16:creationId xmlns:a16="http://schemas.microsoft.com/office/drawing/2014/main" id="{430BE7EB-B6F0-4F05-80EA-1F517165029F}"/>
              </a:ext>
            </a:extLst>
          </p:cNvPr>
          <p:cNvSpPr/>
          <p:nvPr/>
        </p:nvSpPr>
        <p:spPr bwMode="auto">
          <a:xfrm>
            <a:off x="5309947" y="1203194"/>
            <a:ext cx="571923" cy="101297"/>
          </a:xfrm>
          <a:prstGeom prst="triangle">
            <a:avLst>
              <a:gd name="adj" fmla="val 14726"/>
            </a:avLst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3" name="işľiḋe">
            <a:extLst>
              <a:ext uri="{FF2B5EF4-FFF2-40B4-BE49-F238E27FC236}">
                <a16:creationId xmlns:a16="http://schemas.microsoft.com/office/drawing/2014/main" id="{E4DECB97-43D1-4D26-8C48-41447675AE79}"/>
              </a:ext>
            </a:extLst>
          </p:cNvPr>
          <p:cNvSpPr/>
          <p:nvPr/>
        </p:nvSpPr>
        <p:spPr bwMode="auto">
          <a:xfrm>
            <a:off x="3527675" y="1134031"/>
            <a:ext cx="2354194" cy="445616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4" name="iś1íďé">
            <a:extLst>
              <a:ext uri="{FF2B5EF4-FFF2-40B4-BE49-F238E27FC236}">
                <a16:creationId xmlns:a16="http://schemas.microsoft.com/office/drawing/2014/main" id="{6E7EA96A-F20A-4912-AC31-63A0F19E66DE}"/>
              </a:ext>
            </a:extLst>
          </p:cNvPr>
          <p:cNvSpPr/>
          <p:nvPr/>
        </p:nvSpPr>
        <p:spPr bwMode="auto">
          <a:xfrm>
            <a:off x="3304368" y="1400042"/>
            <a:ext cx="2354194" cy="445616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5" name="ïŝlíḋe">
            <a:extLst>
              <a:ext uri="{FF2B5EF4-FFF2-40B4-BE49-F238E27FC236}">
                <a16:creationId xmlns:a16="http://schemas.microsoft.com/office/drawing/2014/main" id="{66D30D6F-26C9-4C2C-BC01-900AC07DC57E}"/>
              </a:ext>
            </a:extLst>
          </p:cNvPr>
          <p:cNvSpPr/>
          <p:nvPr/>
        </p:nvSpPr>
        <p:spPr bwMode="auto">
          <a:xfrm>
            <a:off x="3078259" y="1666053"/>
            <a:ext cx="2354194" cy="445616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6" name="îSliďè">
            <a:extLst>
              <a:ext uri="{FF2B5EF4-FFF2-40B4-BE49-F238E27FC236}">
                <a16:creationId xmlns:a16="http://schemas.microsoft.com/office/drawing/2014/main" id="{2F6D5554-EACD-4DDD-892F-2E5F97A9C421}"/>
              </a:ext>
            </a:extLst>
          </p:cNvPr>
          <p:cNvSpPr/>
          <p:nvPr/>
        </p:nvSpPr>
        <p:spPr bwMode="auto">
          <a:xfrm>
            <a:off x="2854965" y="1932064"/>
            <a:ext cx="2354194" cy="445616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7" name="îSliďé">
            <a:extLst>
              <a:ext uri="{FF2B5EF4-FFF2-40B4-BE49-F238E27FC236}">
                <a16:creationId xmlns:a16="http://schemas.microsoft.com/office/drawing/2014/main" id="{2E278F3F-C8D8-4E2A-A3EA-29ADCF1A02AA}"/>
              </a:ext>
            </a:extLst>
          </p:cNvPr>
          <p:cNvSpPr/>
          <p:nvPr/>
        </p:nvSpPr>
        <p:spPr bwMode="auto">
          <a:xfrm>
            <a:off x="2631578" y="2198075"/>
            <a:ext cx="2354194" cy="445616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8" name="îs1iďé">
            <a:extLst>
              <a:ext uri="{FF2B5EF4-FFF2-40B4-BE49-F238E27FC236}">
                <a16:creationId xmlns:a16="http://schemas.microsoft.com/office/drawing/2014/main" id="{EB74D0C2-5677-4F3F-A043-44D01A3F3D48}"/>
              </a:ext>
            </a:extLst>
          </p:cNvPr>
          <p:cNvSpPr/>
          <p:nvPr/>
        </p:nvSpPr>
        <p:spPr bwMode="auto">
          <a:xfrm>
            <a:off x="2408257" y="2464086"/>
            <a:ext cx="2354194" cy="445616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9" name="ïṣḻïḋe">
            <a:extLst>
              <a:ext uri="{FF2B5EF4-FFF2-40B4-BE49-F238E27FC236}">
                <a16:creationId xmlns:a16="http://schemas.microsoft.com/office/drawing/2014/main" id="{7709F84E-C33F-462F-B538-51CB71C9284E}"/>
              </a:ext>
            </a:extLst>
          </p:cNvPr>
          <p:cNvSpPr/>
          <p:nvPr/>
        </p:nvSpPr>
        <p:spPr bwMode="auto">
          <a:xfrm>
            <a:off x="3900090" y="1365660"/>
            <a:ext cx="154527" cy="154312"/>
          </a:xfrm>
          <a:custGeom>
            <a:avLst/>
            <a:gdLst>
              <a:gd name="T0" fmla="*/ 400 w 11264"/>
              <a:gd name="T1" fmla="*/ 7099 h 11264"/>
              <a:gd name="T2" fmla="*/ 4165 w 11264"/>
              <a:gd name="T3" fmla="*/ 7099 h 11264"/>
              <a:gd name="T4" fmla="*/ 4165 w 11264"/>
              <a:gd name="T5" fmla="*/ 10864 h 11264"/>
              <a:gd name="T6" fmla="*/ 4565 w 11264"/>
              <a:gd name="T7" fmla="*/ 11264 h 11264"/>
              <a:gd name="T8" fmla="*/ 6699 w 11264"/>
              <a:gd name="T9" fmla="*/ 11264 h 11264"/>
              <a:gd name="T10" fmla="*/ 7099 w 11264"/>
              <a:gd name="T11" fmla="*/ 10864 h 11264"/>
              <a:gd name="T12" fmla="*/ 7099 w 11264"/>
              <a:gd name="T13" fmla="*/ 7099 h 11264"/>
              <a:gd name="T14" fmla="*/ 10864 w 11264"/>
              <a:gd name="T15" fmla="*/ 7099 h 11264"/>
              <a:gd name="T16" fmla="*/ 11264 w 11264"/>
              <a:gd name="T17" fmla="*/ 6699 h 11264"/>
              <a:gd name="T18" fmla="*/ 11264 w 11264"/>
              <a:gd name="T19" fmla="*/ 4565 h 11264"/>
              <a:gd name="T20" fmla="*/ 10864 w 11264"/>
              <a:gd name="T21" fmla="*/ 4165 h 11264"/>
              <a:gd name="T22" fmla="*/ 7099 w 11264"/>
              <a:gd name="T23" fmla="*/ 4165 h 11264"/>
              <a:gd name="T24" fmla="*/ 7099 w 11264"/>
              <a:gd name="T25" fmla="*/ 400 h 11264"/>
              <a:gd name="T26" fmla="*/ 6699 w 11264"/>
              <a:gd name="T27" fmla="*/ 0 h 11264"/>
              <a:gd name="T28" fmla="*/ 4565 w 11264"/>
              <a:gd name="T29" fmla="*/ 0 h 11264"/>
              <a:gd name="T30" fmla="*/ 4165 w 11264"/>
              <a:gd name="T31" fmla="*/ 400 h 11264"/>
              <a:gd name="T32" fmla="*/ 4165 w 11264"/>
              <a:gd name="T33" fmla="*/ 4165 h 11264"/>
              <a:gd name="T34" fmla="*/ 400 w 11264"/>
              <a:gd name="T35" fmla="*/ 4165 h 11264"/>
              <a:gd name="T36" fmla="*/ 0 w 11264"/>
              <a:gd name="T37" fmla="*/ 4565 h 11264"/>
              <a:gd name="T38" fmla="*/ 0 w 11264"/>
              <a:gd name="T39" fmla="*/ 6699 h 11264"/>
              <a:gd name="T40" fmla="*/ 400 w 11264"/>
              <a:gd name="T41" fmla="*/ 7099 h 11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264" h="11264">
                <a:moveTo>
                  <a:pt x="400" y="7099"/>
                </a:moveTo>
                <a:lnTo>
                  <a:pt x="4165" y="7099"/>
                </a:lnTo>
                <a:lnTo>
                  <a:pt x="4165" y="10864"/>
                </a:lnTo>
                <a:cubicBezTo>
                  <a:pt x="4165" y="11085"/>
                  <a:pt x="4344" y="11264"/>
                  <a:pt x="4565" y="11264"/>
                </a:cubicBezTo>
                <a:lnTo>
                  <a:pt x="6699" y="11264"/>
                </a:lnTo>
                <a:cubicBezTo>
                  <a:pt x="6920" y="11264"/>
                  <a:pt x="7099" y="11085"/>
                  <a:pt x="7099" y="10864"/>
                </a:cubicBezTo>
                <a:lnTo>
                  <a:pt x="7099" y="7099"/>
                </a:lnTo>
                <a:lnTo>
                  <a:pt x="10864" y="7099"/>
                </a:lnTo>
                <a:cubicBezTo>
                  <a:pt x="11085" y="7099"/>
                  <a:pt x="11264" y="6920"/>
                  <a:pt x="11264" y="6699"/>
                </a:cubicBezTo>
                <a:lnTo>
                  <a:pt x="11264" y="4565"/>
                </a:lnTo>
                <a:cubicBezTo>
                  <a:pt x="11264" y="4344"/>
                  <a:pt x="11085" y="4165"/>
                  <a:pt x="10864" y="4165"/>
                </a:cubicBezTo>
                <a:lnTo>
                  <a:pt x="7099" y="4165"/>
                </a:lnTo>
                <a:lnTo>
                  <a:pt x="7099" y="400"/>
                </a:lnTo>
                <a:cubicBezTo>
                  <a:pt x="7099" y="179"/>
                  <a:pt x="6920" y="0"/>
                  <a:pt x="6699" y="0"/>
                </a:cubicBezTo>
                <a:lnTo>
                  <a:pt x="4565" y="0"/>
                </a:lnTo>
                <a:cubicBezTo>
                  <a:pt x="4344" y="0"/>
                  <a:pt x="4165" y="179"/>
                  <a:pt x="4165" y="400"/>
                </a:cubicBezTo>
                <a:lnTo>
                  <a:pt x="4165" y="4165"/>
                </a:lnTo>
                <a:lnTo>
                  <a:pt x="400" y="4165"/>
                </a:lnTo>
                <a:cubicBezTo>
                  <a:pt x="179" y="4165"/>
                  <a:pt x="0" y="4344"/>
                  <a:pt x="0" y="4565"/>
                </a:cubicBezTo>
                <a:lnTo>
                  <a:pt x="0" y="6699"/>
                </a:lnTo>
                <a:cubicBezTo>
                  <a:pt x="0" y="6920"/>
                  <a:pt x="179" y="7099"/>
                  <a:pt x="400" y="7099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0" name="îsḷïde">
            <a:extLst>
              <a:ext uri="{FF2B5EF4-FFF2-40B4-BE49-F238E27FC236}">
                <a16:creationId xmlns:a16="http://schemas.microsoft.com/office/drawing/2014/main" id="{F7027C89-1BCC-4A00-9535-016DE4C49FD7}"/>
              </a:ext>
            </a:extLst>
          </p:cNvPr>
          <p:cNvSpPr/>
          <p:nvPr/>
        </p:nvSpPr>
        <p:spPr bwMode="auto">
          <a:xfrm>
            <a:off x="3688884" y="1628589"/>
            <a:ext cx="151321" cy="154527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  <a:gd name="connsiteX107" fmla="*/ 373273 h 605239"/>
              <a:gd name="connsiteY107" fmla="*/ 373273 h 605239"/>
              <a:gd name="connsiteX108" fmla="*/ 373273 h 605239"/>
              <a:gd name="connsiteY108" fmla="*/ 373273 h 605239"/>
              <a:gd name="connsiteX109" fmla="*/ 373273 h 605239"/>
              <a:gd name="connsiteY109" fmla="*/ 373273 h 605239"/>
              <a:gd name="connsiteX110" fmla="*/ 373273 h 605239"/>
              <a:gd name="connsiteY110" fmla="*/ 373273 h 605239"/>
              <a:gd name="connsiteX111" fmla="*/ 373273 h 605239"/>
              <a:gd name="connsiteY111" fmla="*/ 373273 h 605239"/>
              <a:gd name="connsiteX112" fmla="*/ 373273 h 605239"/>
              <a:gd name="connsiteY112" fmla="*/ 373273 h 605239"/>
              <a:gd name="connsiteX113" fmla="*/ 373273 h 605239"/>
              <a:gd name="connsiteY113" fmla="*/ 373273 h 605239"/>
              <a:gd name="connsiteX114" fmla="*/ 373273 h 605239"/>
              <a:gd name="connsiteY114" fmla="*/ 373273 h 605239"/>
              <a:gd name="connsiteX115" fmla="*/ 373273 h 605239"/>
              <a:gd name="connsiteY115" fmla="*/ 373273 h 605239"/>
              <a:gd name="connsiteX116" fmla="*/ 373273 h 605239"/>
              <a:gd name="connsiteY116" fmla="*/ 373273 h 605239"/>
              <a:gd name="connsiteX117" fmla="*/ 373273 h 605239"/>
              <a:gd name="connsiteY117" fmla="*/ 373273 h 605239"/>
              <a:gd name="connsiteX118" fmla="*/ 373273 h 605239"/>
              <a:gd name="connsiteY118" fmla="*/ 373273 h 605239"/>
              <a:gd name="connsiteX119" fmla="*/ 373273 h 605239"/>
              <a:gd name="connsiteY119" fmla="*/ 373273 h 605239"/>
              <a:gd name="connsiteX120" fmla="*/ 373273 h 605239"/>
              <a:gd name="connsiteY120" fmla="*/ 373273 h 605239"/>
              <a:gd name="connsiteX121" fmla="*/ 373273 h 605239"/>
              <a:gd name="connsiteY121" fmla="*/ 373273 h 605239"/>
              <a:gd name="connsiteX122" fmla="*/ 373273 h 605239"/>
              <a:gd name="connsiteY122" fmla="*/ 373273 h 605239"/>
              <a:gd name="connsiteX123" fmla="*/ 373273 h 605239"/>
              <a:gd name="connsiteY123" fmla="*/ 373273 h 605239"/>
              <a:gd name="connsiteX124" fmla="*/ 373273 h 605239"/>
              <a:gd name="connsiteY124" fmla="*/ 373273 h 605239"/>
              <a:gd name="connsiteX125" fmla="*/ 373273 h 605239"/>
              <a:gd name="connsiteY125" fmla="*/ 373273 h 605239"/>
              <a:gd name="connsiteX126" fmla="*/ 373273 h 605239"/>
              <a:gd name="connsiteY126" fmla="*/ 373273 h 605239"/>
              <a:gd name="connsiteX127" fmla="*/ 373273 h 605239"/>
              <a:gd name="connsiteY127" fmla="*/ 373273 h 605239"/>
              <a:gd name="connsiteX128" fmla="*/ 373273 h 605239"/>
              <a:gd name="connsiteY128" fmla="*/ 373273 h 605239"/>
              <a:gd name="connsiteX129" fmla="*/ 373273 h 605239"/>
              <a:gd name="connsiteY12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593733" h="606309">
                <a:moveTo>
                  <a:pt x="353250" y="302855"/>
                </a:moveTo>
                <a:cubicBezTo>
                  <a:pt x="318468" y="302855"/>
                  <a:pt x="290232" y="331146"/>
                  <a:pt x="290232" y="365879"/>
                </a:cubicBezTo>
                <a:cubicBezTo>
                  <a:pt x="290232" y="374189"/>
                  <a:pt x="296964" y="380912"/>
                  <a:pt x="305285" y="380912"/>
                </a:cubicBezTo>
                <a:cubicBezTo>
                  <a:pt x="313607" y="380912"/>
                  <a:pt x="320338" y="374189"/>
                  <a:pt x="320338" y="365879"/>
                </a:cubicBezTo>
                <a:cubicBezTo>
                  <a:pt x="320338" y="347672"/>
                  <a:pt x="335111" y="333014"/>
                  <a:pt x="353250" y="333014"/>
                </a:cubicBezTo>
                <a:cubicBezTo>
                  <a:pt x="361665" y="333014"/>
                  <a:pt x="368397" y="326291"/>
                  <a:pt x="368397" y="317888"/>
                </a:cubicBezTo>
                <a:cubicBezTo>
                  <a:pt x="368397" y="309578"/>
                  <a:pt x="361665" y="302855"/>
                  <a:pt x="353250" y="302855"/>
                </a:cubicBezTo>
                <a:close/>
                <a:moveTo>
                  <a:pt x="353250" y="265041"/>
                </a:moveTo>
                <a:cubicBezTo>
                  <a:pt x="409163" y="265041"/>
                  <a:pt x="454229" y="310232"/>
                  <a:pt x="454229" y="365879"/>
                </a:cubicBezTo>
                <a:cubicBezTo>
                  <a:pt x="454229" y="421527"/>
                  <a:pt x="408976" y="466717"/>
                  <a:pt x="353250" y="466717"/>
                </a:cubicBezTo>
                <a:cubicBezTo>
                  <a:pt x="297525" y="466717"/>
                  <a:pt x="252271" y="421527"/>
                  <a:pt x="252271" y="365879"/>
                </a:cubicBezTo>
                <a:cubicBezTo>
                  <a:pt x="252271" y="310232"/>
                  <a:pt x="297431" y="265041"/>
                  <a:pt x="353250" y="265041"/>
                </a:cubicBezTo>
                <a:close/>
                <a:moveTo>
                  <a:pt x="427779" y="133781"/>
                </a:moveTo>
                <a:cubicBezTo>
                  <a:pt x="432818" y="131960"/>
                  <a:pt x="438547" y="132054"/>
                  <a:pt x="443784" y="134482"/>
                </a:cubicBezTo>
                <a:lnTo>
                  <a:pt x="473245" y="148209"/>
                </a:lnTo>
                <a:cubicBezTo>
                  <a:pt x="483720" y="153158"/>
                  <a:pt x="488209" y="165671"/>
                  <a:pt x="483346" y="176130"/>
                </a:cubicBezTo>
                <a:lnTo>
                  <a:pt x="470252" y="203957"/>
                </a:lnTo>
                <a:cubicBezTo>
                  <a:pt x="492231" y="219646"/>
                  <a:pt x="511123" y="240003"/>
                  <a:pt x="525526" y="264095"/>
                </a:cubicBezTo>
                <a:lnTo>
                  <a:pt x="554426" y="253636"/>
                </a:lnTo>
                <a:cubicBezTo>
                  <a:pt x="565368" y="249714"/>
                  <a:pt x="577340" y="255411"/>
                  <a:pt x="581361" y="266243"/>
                </a:cubicBezTo>
                <a:lnTo>
                  <a:pt x="592491" y="296592"/>
                </a:lnTo>
                <a:cubicBezTo>
                  <a:pt x="596419" y="307612"/>
                  <a:pt x="590714" y="319564"/>
                  <a:pt x="579865" y="323486"/>
                </a:cubicBezTo>
                <a:lnTo>
                  <a:pt x="550965" y="333945"/>
                </a:lnTo>
                <a:cubicBezTo>
                  <a:pt x="555455" y="361586"/>
                  <a:pt x="553958" y="389414"/>
                  <a:pt x="547224" y="415561"/>
                </a:cubicBezTo>
                <a:lnTo>
                  <a:pt x="575095" y="428634"/>
                </a:lnTo>
                <a:cubicBezTo>
                  <a:pt x="585570" y="433490"/>
                  <a:pt x="590059" y="445910"/>
                  <a:pt x="585102" y="456649"/>
                </a:cubicBezTo>
                <a:lnTo>
                  <a:pt x="571354" y="485970"/>
                </a:lnTo>
                <a:cubicBezTo>
                  <a:pt x="566397" y="496429"/>
                  <a:pt x="553958" y="500911"/>
                  <a:pt x="543483" y="496056"/>
                </a:cubicBezTo>
                <a:lnTo>
                  <a:pt x="515238" y="482982"/>
                </a:lnTo>
                <a:cubicBezTo>
                  <a:pt x="499526" y="504833"/>
                  <a:pt x="479137" y="523510"/>
                  <a:pt x="455007" y="537704"/>
                </a:cubicBezTo>
                <a:lnTo>
                  <a:pt x="465763" y="567026"/>
                </a:lnTo>
                <a:cubicBezTo>
                  <a:pt x="469784" y="578045"/>
                  <a:pt x="463986" y="589997"/>
                  <a:pt x="453137" y="593919"/>
                </a:cubicBezTo>
                <a:lnTo>
                  <a:pt x="422741" y="605032"/>
                </a:lnTo>
                <a:cubicBezTo>
                  <a:pt x="411798" y="609047"/>
                  <a:pt x="399827" y="603258"/>
                  <a:pt x="395805" y="592425"/>
                </a:cubicBezTo>
                <a:lnTo>
                  <a:pt x="385050" y="562823"/>
                </a:lnTo>
                <a:cubicBezTo>
                  <a:pt x="357646" y="567212"/>
                  <a:pt x="330056" y="565718"/>
                  <a:pt x="304149" y="558995"/>
                </a:cubicBezTo>
                <a:lnTo>
                  <a:pt x="290682" y="587756"/>
                </a:lnTo>
                <a:cubicBezTo>
                  <a:pt x="285725" y="598215"/>
                  <a:pt x="273192" y="602697"/>
                  <a:pt x="262717" y="597841"/>
                </a:cubicBezTo>
                <a:lnTo>
                  <a:pt x="233350" y="584114"/>
                </a:lnTo>
                <a:cubicBezTo>
                  <a:pt x="222875" y="579165"/>
                  <a:pt x="218385" y="566652"/>
                  <a:pt x="223249" y="556193"/>
                </a:cubicBezTo>
                <a:lnTo>
                  <a:pt x="236810" y="527338"/>
                </a:lnTo>
                <a:cubicBezTo>
                  <a:pt x="215112" y="511650"/>
                  <a:pt x="196407" y="491480"/>
                  <a:pt x="182284" y="467668"/>
                </a:cubicBezTo>
                <a:lnTo>
                  <a:pt x="152169" y="478687"/>
                </a:lnTo>
                <a:cubicBezTo>
                  <a:pt x="141133" y="482609"/>
                  <a:pt x="129161" y="476912"/>
                  <a:pt x="125233" y="466080"/>
                </a:cubicBezTo>
                <a:lnTo>
                  <a:pt x="114104" y="435731"/>
                </a:lnTo>
                <a:cubicBezTo>
                  <a:pt x="110082" y="424712"/>
                  <a:pt x="115881" y="412759"/>
                  <a:pt x="126730" y="408837"/>
                </a:cubicBezTo>
                <a:lnTo>
                  <a:pt x="156845" y="397818"/>
                </a:lnTo>
                <a:cubicBezTo>
                  <a:pt x="153852" y="379422"/>
                  <a:pt x="153478" y="361026"/>
                  <a:pt x="155629" y="342910"/>
                </a:cubicBezTo>
                <a:lnTo>
                  <a:pt x="158622" y="343097"/>
                </a:lnTo>
                <a:cubicBezTo>
                  <a:pt x="181162" y="344030"/>
                  <a:pt x="200522" y="327408"/>
                  <a:pt x="203141" y="305370"/>
                </a:cubicBezTo>
                <a:cubicBezTo>
                  <a:pt x="207723" y="303876"/>
                  <a:pt x="212119" y="302195"/>
                  <a:pt x="216515" y="300515"/>
                </a:cubicBezTo>
                <a:cubicBezTo>
                  <a:pt x="220349" y="304063"/>
                  <a:pt x="224745" y="306958"/>
                  <a:pt x="229609" y="308919"/>
                </a:cubicBezTo>
                <a:cubicBezTo>
                  <a:pt x="219227" y="330957"/>
                  <a:pt x="214831" y="355983"/>
                  <a:pt x="217824" y="381943"/>
                </a:cubicBezTo>
                <a:cubicBezTo>
                  <a:pt x="226709" y="456462"/>
                  <a:pt x="294329" y="509876"/>
                  <a:pt x="368963" y="501192"/>
                </a:cubicBezTo>
                <a:cubicBezTo>
                  <a:pt x="443691" y="492320"/>
                  <a:pt x="497188" y="424899"/>
                  <a:pt x="488490" y="350287"/>
                </a:cubicBezTo>
                <a:cubicBezTo>
                  <a:pt x="479605" y="275675"/>
                  <a:pt x="411985" y="222260"/>
                  <a:pt x="337351" y="231038"/>
                </a:cubicBezTo>
                <a:cubicBezTo>
                  <a:pt x="324632" y="232532"/>
                  <a:pt x="312473" y="235707"/>
                  <a:pt x="301156" y="240376"/>
                </a:cubicBezTo>
                <a:cubicBezTo>
                  <a:pt x="299660" y="236268"/>
                  <a:pt x="297509" y="232345"/>
                  <a:pt x="294797" y="228890"/>
                </a:cubicBezTo>
                <a:cubicBezTo>
                  <a:pt x="297041" y="224688"/>
                  <a:pt x="299005" y="220393"/>
                  <a:pt x="300782" y="216097"/>
                </a:cubicBezTo>
                <a:cubicBezTo>
                  <a:pt x="311164" y="215817"/>
                  <a:pt x="320891" y="211802"/>
                  <a:pt x="328466" y="204891"/>
                </a:cubicBezTo>
                <a:cubicBezTo>
                  <a:pt x="336977" y="197141"/>
                  <a:pt x="341934" y="186589"/>
                  <a:pt x="342402" y="175103"/>
                </a:cubicBezTo>
                <a:lnTo>
                  <a:pt x="342776" y="166978"/>
                </a:lnTo>
                <a:cubicBezTo>
                  <a:pt x="363164" y="165764"/>
                  <a:pt x="383460" y="167912"/>
                  <a:pt x="402820" y="172768"/>
                </a:cubicBezTo>
                <a:lnTo>
                  <a:pt x="415913" y="144567"/>
                </a:lnTo>
                <a:cubicBezTo>
                  <a:pt x="418392" y="139338"/>
                  <a:pt x="422741" y="135602"/>
                  <a:pt x="427779" y="133781"/>
                </a:cubicBezTo>
                <a:close/>
                <a:moveTo>
                  <a:pt x="159906" y="88589"/>
                </a:moveTo>
                <a:cubicBezTo>
                  <a:pt x="142487" y="87818"/>
                  <a:pt x="124764" y="93678"/>
                  <a:pt x="110828" y="106378"/>
                </a:cubicBezTo>
                <a:cubicBezTo>
                  <a:pt x="96145" y="119731"/>
                  <a:pt x="88663" y="138127"/>
                  <a:pt x="88663" y="156523"/>
                </a:cubicBezTo>
                <a:cubicBezTo>
                  <a:pt x="88663" y="172958"/>
                  <a:pt x="94555" y="189393"/>
                  <a:pt x="106526" y="202467"/>
                </a:cubicBezTo>
                <a:cubicBezTo>
                  <a:pt x="131965" y="230294"/>
                  <a:pt x="175081" y="232162"/>
                  <a:pt x="202764" y="206762"/>
                </a:cubicBezTo>
                <a:cubicBezTo>
                  <a:pt x="217448" y="193409"/>
                  <a:pt x="224930" y="175013"/>
                  <a:pt x="224930" y="156523"/>
                </a:cubicBezTo>
                <a:cubicBezTo>
                  <a:pt x="224930" y="140088"/>
                  <a:pt x="219132" y="123653"/>
                  <a:pt x="207160" y="110580"/>
                </a:cubicBezTo>
                <a:cubicBezTo>
                  <a:pt x="194441" y="96760"/>
                  <a:pt x="177325" y="89359"/>
                  <a:pt x="159906" y="88589"/>
                </a:cubicBezTo>
                <a:close/>
                <a:moveTo>
                  <a:pt x="153289" y="17"/>
                </a:moveTo>
                <a:lnTo>
                  <a:pt x="173678" y="951"/>
                </a:lnTo>
                <a:cubicBezTo>
                  <a:pt x="180786" y="1325"/>
                  <a:pt x="186304" y="7114"/>
                  <a:pt x="186304" y="14118"/>
                </a:cubicBezTo>
                <a:lnTo>
                  <a:pt x="186304" y="14771"/>
                </a:lnTo>
                <a:lnTo>
                  <a:pt x="185462" y="34755"/>
                </a:lnTo>
                <a:cubicBezTo>
                  <a:pt x="201923" y="38677"/>
                  <a:pt x="217729" y="45774"/>
                  <a:pt x="231851" y="56232"/>
                </a:cubicBezTo>
                <a:lnTo>
                  <a:pt x="246535" y="42786"/>
                </a:lnTo>
                <a:cubicBezTo>
                  <a:pt x="251866" y="37930"/>
                  <a:pt x="260283" y="38303"/>
                  <a:pt x="265240" y="43626"/>
                </a:cubicBezTo>
                <a:lnTo>
                  <a:pt x="279082" y="58660"/>
                </a:lnTo>
                <a:cubicBezTo>
                  <a:pt x="281420" y="61275"/>
                  <a:pt x="282542" y="64450"/>
                  <a:pt x="282542" y="67625"/>
                </a:cubicBezTo>
                <a:cubicBezTo>
                  <a:pt x="282542" y="71173"/>
                  <a:pt x="281233" y="74722"/>
                  <a:pt x="278334" y="77337"/>
                </a:cubicBezTo>
                <a:lnTo>
                  <a:pt x="263744" y="90690"/>
                </a:lnTo>
                <a:cubicBezTo>
                  <a:pt x="273096" y="105537"/>
                  <a:pt x="278988" y="121973"/>
                  <a:pt x="281420" y="138781"/>
                </a:cubicBezTo>
                <a:lnTo>
                  <a:pt x="301061" y="139621"/>
                </a:lnTo>
                <a:cubicBezTo>
                  <a:pt x="308169" y="139995"/>
                  <a:pt x="313593" y="145878"/>
                  <a:pt x="313593" y="152788"/>
                </a:cubicBezTo>
                <a:lnTo>
                  <a:pt x="313593" y="153442"/>
                </a:lnTo>
                <a:lnTo>
                  <a:pt x="312751" y="173892"/>
                </a:lnTo>
                <a:cubicBezTo>
                  <a:pt x="312377" y="181083"/>
                  <a:pt x="306298" y="186779"/>
                  <a:pt x="298910" y="186405"/>
                </a:cubicBezTo>
                <a:lnTo>
                  <a:pt x="279456" y="185565"/>
                </a:lnTo>
                <a:cubicBezTo>
                  <a:pt x="275622" y="202093"/>
                  <a:pt x="268327" y="218061"/>
                  <a:pt x="257758" y="232162"/>
                </a:cubicBezTo>
                <a:lnTo>
                  <a:pt x="270852" y="246449"/>
                </a:lnTo>
                <a:cubicBezTo>
                  <a:pt x="273190" y="249064"/>
                  <a:pt x="274312" y="252145"/>
                  <a:pt x="274312" y="255414"/>
                </a:cubicBezTo>
                <a:cubicBezTo>
                  <a:pt x="274312" y="258869"/>
                  <a:pt x="273003" y="262511"/>
                  <a:pt x="270104" y="265126"/>
                </a:cubicBezTo>
                <a:lnTo>
                  <a:pt x="255046" y="278946"/>
                </a:lnTo>
                <a:cubicBezTo>
                  <a:pt x="249621" y="283802"/>
                  <a:pt x="241297" y="283428"/>
                  <a:pt x="236340" y="278106"/>
                </a:cubicBezTo>
                <a:lnTo>
                  <a:pt x="223247" y="263724"/>
                </a:lnTo>
                <a:cubicBezTo>
                  <a:pt x="208282" y="272970"/>
                  <a:pt x="191635" y="278853"/>
                  <a:pt x="174800" y="281187"/>
                </a:cubicBezTo>
                <a:lnTo>
                  <a:pt x="173958" y="300610"/>
                </a:lnTo>
                <a:cubicBezTo>
                  <a:pt x="173584" y="307801"/>
                  <a:pt x="167505" y="313590"/>
                  <a:pt x="160117" y="313217"/>
                </a:cubicBezTo>
                <a:lnTo>
                  <a:pt x="139634" y="312283"/>
                </a:lnTo>
                <a:cubicBezTo>
                  <a:pt x="132526" y="311909"/>
                  <a:pt x="127102" y="306120"/>
                  <a:pt x="127102" y="299116"/>
                </a:cubicBezTo>
                <a:lnTo>
                  <a:pt x="127102" y="298463"/>
                </a:lnTo>
                <a:lnTo>
                  <a:pt x="128037" y="279039"/>
                </a:lnTo>
                <a:cubicBezTo>
                  <a:pt x="111577" y="275211"/>
                  <a:pt x="95771" y="267834"/>
                  <a:pt x="81648" y="257281"/>
                </a:cubicBezTo>
                <a:lnTo>
                  <a:pt x="67058" y="270635"/>
                </a:lnTo>
                <a:cubicBezTo>
                  <a:pt x="61727" y="275491"/>
                  <a:pt x="53403" y="275117"/>
                  <a:pt x="48353" y="269701"/>
                </a:cubicBezTo>
                <a:lnTo>
                  <a:pt x="34511" y="254667"/>
                </a:lnTo>
                <a:cubicBezTo>
                  <a:pt x="32173" y="252052"/>
                  <a:pt x="31051" y="248970"/>
                  <a:pt x="31051" y="245702"/>
                </a:cubicBezTo>
                <a:cubicBezTo>
                  <a:pt x="31051" y="242247"/>
                  <a:pt x="32453" y="238605"/>
                  <a:pt x="35259" y="235990"/>
                </a:cubicBezTo>
                <a:lnTo>
                  <a:pt x="50036" y="222544"/>
                </a:lnTo>
                <a:cubicBezTo>
                  <a:pt x="40777" y="207696"/>
                  <a:pt x="35072" y="191261"/>
                  <a:pt x="32640" y="174639"/>
                </a:cubicBezTo>
                <a:lnTo>
                  <a:pt x="12626" y="173705"/>
                </a:lnTo>
                <a:cubicBezTo>
                  <a:pt x="5518" y="173332"/>
                  <a:pt x="0" y="167542"/>
                  <a:pt x="0" y="160539"/>
                </a:cubicBezTo>
                <a:lnTo>
                  <a:pt x="0" y="159885"/>
                </a:lnTo>
                <a:lnTo>
                  <a:pt x="842" y="139621"/>
                </a:lnTo>
                <a:cubicBezTo>
                  <a:pt x="1216" y="132431"/>
                  <a:pt x="7388" y="126642"/>
                  <a:pt x="14683" y="127015"/>
                </a:cubicBezTo>
                <a:lnTo>
                  <a:pt x="34885" y="127949"/>
                </a:lnTo>
                <a:cubicBezTo>
                  <a:pt x="38813" y="111514"/>
                  <a:pt x="46015" y="95826"/>
                  <a:pt x="56490" y="81819"/>
                </a:cubicBezTo>
                <a:lnTo>
                  <a:pt x="42741" y="66878"/>
                </a:lnTo>
                <a:cubicBezTo>
                  <a:pt x="40403" y="64263"/>
                  <a:pt x="39281" y="61182"/>
                  <a:pt x="39281" y="57913"/>
                </a:cubicBezTo>
                <a:cubicBezTo>
                  <a:pt x="39281" y="54458"/>
                  <a:pt x="40684" y="50816"/>
                  <a:pt x="43490" y="48202"/>
                </a:cubicBezTo>
                <a:lnTo>
                  <a:pt x="58641" y="34381"/>
                </a:lnTo>
                <a:cubicBezTo>
                  <a:pt x="63972" y="29526"/>
                  <a:pt x="72296" y="29899"/>
                  <a:pt x="77346" y="35315"/>
                </a:cubicBezTo>
                <a:lnTo>
                  <a:pt x="90627" y="50256"/>
                </a:lnTo>
                <a:cubicBezTo>
                  <a:pt x="105591" y="41011"/>
                  <a:pt x="121864" y="35128"/>
                  <a:pt x="138512" y="32794"/>
                </a:cubicBezTo>
                <a:lnTo>
                  <a:pt x="139447" y="12624"/>
                </a:lnTo>
                <a:cubicBezTo>
                  <a:pt x="139821" y="5433"/>
                  <a:pt x="145901" y="-356"/>
                  <a:pt x="153289" y="17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1" name="îṣḻïḓè">
            <a:extLst>
              <a:ext uri="{FF2B5EF4-FFF2-40B4-BE49-F238E27FC236}">
                <a16:creationId xmlns:a16="http://schemas.microsoft.com/office/drawing/2014/main" id="{30C8A656-A69C-4844-9B4C-38593487F7D6}"/>
              </a:ext>
            </a:extLst>
          </p:cNvPr>
          <p:cNvSpPr/>
          <p:nvPr/>
        </p:nvSpPr>
        <p:spPr bwMode="auto">
          <a:xfrm>
            <a:off x="3482068" y="1891777"/>
            <a:ext cx="154527" cy="154227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81741" h="580612">
                <a:moveTo>
                  <a:pt x="291612" y="187916"/>
                </a:moveTo>
                <a:cubicBezTo>
                  <a:pt x="304876" y="187916"/>
                  <a:pt x="315648" y="198758"/>
                  <a:pt x="315648" y="212088"/>
                </a:cubicBezTo>
                <a:lnTo>
                  <a:pt x="315648" y="491836"/>
                </a:lnTo>
                <a:lnTo>
                  <a:pt x="331227" y="473974"/>
                </a:lnTo>
                <a:cubicBezTo>
                  <a:pt x="339863" y="463932"/>
                  <a:pt x="355086" y="462866"/>
                  <a:pt x="365145" y="471574"/>
                </a:cubicBezTo>
                <a:cubicBezTo>
                  <a:pt x="375116" y="480372"/>
                  <a:pt x="376184" y="495657"/>
                  <a:pt x="367460" y="505699"/>
                </a:cubicBezTo>
                <a:lnTo>
                  <a:pt x="309773" y="572348"/>
                </a:lnTo>
                <a:cubicBezTo>
                  <a:pt x="305143" y="577502"/>
                  <a:pt x="298556" y="580612"/>
                  <a:pt x="291612" y="580612"/>
                </a:cubicBezTo>
                <a:cubicBezTo>
                  <a:pt x="284579" y="580612"/>
                  <a:pt x="278080" y="577680"/>
                  <a:pt x="273451" y="572348"/>
                </a:cubicBezTo>
                <a:lnTo>
                  <a:pt x="215764" y="505699"/>
                </a:lnTo>
                <a:cubicBezTo>
                  <a:pt x="207039" y="495657"/>
                  <a:pt x="208108" y="480372"/>
                  <a:pt x="218078" y="471574"/>
                </a:cubicBezTo>
                <a:cubicBezTo>
                  <a:pt x="228049" y="462866"/>
                  <a:pt x="243272" y="463932"/>
                  <a:pt x="252085" y="473974"/>
                </a:cubicBezTo>
                <a:lnTo>
                  <a:pt x="267486" y="491747"/>
                </a:lnTo>
                <a:lnTo>
                  <a:pt x="267486" y="212088"/>
                </a:lnTo>
                <a:cubicBezTo>
                  <a:pt x="267486" y="198758"/>
                  <a:pt x="278258" y="187916"/>
                  <a:pt x="291612" y="187916"/>
                </a:cubicBezTo>
                <a:close/>
                <a:moveTo>
                  <a:pt x="329499" y="0"/>
                </a:moveTo>
                <a:cubicBezTo>
                  <a:pt x="426248" y="0"/>
                  <a:pt x="465322" y="80426"/>
                  <a:pt x="473332" y="108153"/>
                </a:cubicBezTo>
                <a:cubicBezTo>
                  <a:pt x="535280" y="120684"/>
                  <a:pt x="581474" y="175693"/>
                  <a:pt x="581741" y="241190"/>
                </a:cubicBezTo>
                <a:cubicBezTo>
                  <a:pt x="581741" y="315840"/>
                  <a:pt x="521306" y="376537"/>
                  <a:pt x="446987" y="376537"/>
                </a:cubicBezTo>
                <a:lnTo>
                  <a:pt x="372756" y="376537"/>
                </a:lnTo>
                <a:cubicBezTo>
                  <a:pt x="359316" y="376537"/>
                  <a:pt x="348546" y="365606"/>
                  <a:pt x="348546" y="352276"/>
                </a:cubicBezTo>
                <a:cubicBezTo>
                  <a:pt x="348546" y="338857"/>
                  <a:pt x="359316" y="327926"/>
                  <a:pt x="372756" y="327926"/>
                </a:cubicBezTo>
                <a:lnTo>
                  <a:pt x="446987" y="327926"/>
                </a:lnTo>
                <a:cubicBezTo>
                  <a:pt x="494605" y="327926"/>
                  <a:pt x="533322" y="289090"/>
                  <a:pt x="533322" y="241190"/>
                </a:cubicBezTo>
                <a:cubicBezTo>
                  <a:pt x="533322" y="195334"/>
                  <a:pt x="497720" y="157298"/>
                  <a:pt x="452238" y="154632"/>
                </a:cubicBezTo>
                <a:cubicBezTo>
                  <a:pt x="440934" y="153921"/>
                  <a:pt x="431589" y="145478"/>
                  <a:pt x="429809" y="134192"/>
                </a:cubicBezTo>
                <a:cubicBezTo>
                  <a:pt x="421709" y="84692"/>
                  <a:pt x="379609" y="48789"/>
                  <a:pt x="329677" y="48789"/>
                </a:cubicBezTo>
                <a:cubicBezTo>
                  <a:pt x="279567" y="48789"/>
                  <a:pt x="238001" y="84781"/>
                  <a:pt x="229457" y="134192"/>
                </a:cubicBezTo>
                <a:cubicBezTo>
                  <a:pt x="226520" y="151521"/>
                  <a:pt x="212190" y="162807"/>
                  <a:pt x="192964" y="151077"/>
                </a:cubicBezTo>
                <a:cubicBezTo>
                  <a:pt x="178011" y="141834"/>
                  <a:pt x="160922" y="136947"/>
                  <a:pt x="143299" y="136947"/>
                </a:cubicBezTo>
                <a:cubicBezTo>
                  <a:pt x="90964" y="136947"/>
                  <a:pt x="48419" y="179693"/>
                  <a:pt x="48419" y="232303"/>
                </a:cubicBezTo>
                <a:cubicBezTo>
                  <a:pt x="48419" y="284913"/>
                  <a:pt x="90964" y="327748"/>
                  <a:pt x="143299" y="327748"/>
                </a:cubicBezTo>
                <a:lnTo>
                  <a:pt x="218776" y="327748"/>
                </a:lnTo>
                <a:cubicBezTo>
                  <a:pt x="232216" y="327748"/>
                  <a:pt x="242986" y="338590"/>
                  <a:pt x="242986" y="352009"/>
                </a:cubicBezTo>
                <a:cubicBezTo>
                  <a:pt x="242986" y="365429"/>
                  <a:pt x="232216" y="376271"/>
                  <a:pt x="218776" y="376271"/>
                </a:cubicBezTo>
                <a:lnTo>
                  <a:pt x="143299" y="376271"/>
                </a:lnTo>
                <a:cubicBezTo>
                  <a:pt x="64262" y="376271"/>
                  <a:pt x="0" y="311574"/>
                  <a:pt x="0" y="232214"/>
                </a:cubicBezTo>
                <a:cubicBezTo>
                  <a:pt x="0" y="152854"/>
                  <a:pt x="64262" y="88158"/>
                  <a:pt x="143210" y="88158"/>
                </a:cubicBezTo>
                <a:cubicBezTo>
                  <a:pt x="159231" y="88158"/>
                  <a:pt x="174896" y="90735"/>
                  <a:pt x="189849" y="95978"/>
                </a:cubicBezTo>
                <a:cubicBezTo>
                  <a:pt x="198749" y="73050"/>
                  <a:pt x="238891" y="0"/>
                  <a:pt x="329499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2" name="iş1iḑe">
            <a:extLst>
              <a:ext uri="{FF2B5EF4-FFF2-40B4-BE49-F238E27FC236}">
                <a16:creationId xmlns:a16="http://schemas.microsoft.com/office/drawing/2014/main" id="{79D5FAF9-096B-4C61-A299-6A26A276E128}"/>
              </a:ext>
            </a:extLst>
          </p:cNvPr>
          <p:cNvSpPr/>
          <p:nvPr/>
        </p:nvSpPr>
        <p:spPr bwMode="auto">
          <a:xfrm>
            <a:off x="3261661" y="2154780"/>
            <a:ext cx="154527" cy="154294"/>
          </a:xfrm>
          <a:custGeom>
            <a:avLst/>
            <a:gdLst>
              <a:gd name="connsiteX0" fmla="*/ 303820 w 607639"/>
              <a:gd name="connsiteY0" fmla="*/ 278099 h 606722"/>
              <a:gd name="connsiteX1" fmla="*/ 329118 w 607639"/>
              <a:gd name="connsiteY1" fmla="*/ 303362 h 606722"/>
              <a:gd name="connsiteX2" fmla="*/ 303820 w 607639"/>
              <a:gd name="connsiteY2" fmla="*/ 328625 h 606722"/>
              <a:gd name="connsiteX3" fmla="*/ 278522 w 607639"/>
              <a:gd name="connsiteY3" fmla="*/ 303362 h 606722"/>
              <a:gd name="connsiteX4" fmla="*/ 303820 w 607639"/>
              <a:gd name="connsiteY4" fmla="*/ 278099 h 606722"/>
              <a:gd name="connsiteX5" fmla="*/ 303775 w 607639"/>
              <a:gd name="connsiteY5" fmla="*/ 252735 h 606722"/>
              <a:gd name="connsiteX6" fmla="*/ 253140 w 607639"/>
              <a:gd name="connsiteY6" fmla="*/ 303317 h 606722"/>
              <a:gd name="connsiteX7" fmla="*/ 303775 w 607639"/>
              <a:gd name="connsiteY7" fmla="*/ 353900 h 606722"/>
              <a:gd name="connsiteX8" fmla="*/ 354410 w 607639"/>
              <a:gd name="connsiteY8" fmla="*/ 303317 h 606722"/>
              <a:gd name="connsiteX9" fmla="*/ 303775 w 607639"/>
              <a:gd name="connsiteY9" fmla="*/ 252735 h 606722"/>
              <a:gd name="connsiteX10" fmla="*/ 303775 w 607639"/>
              <a:gd name="connsiteY10" fmla="*/ 202241 h 606722"/>
              <a:gd name="connsiteX11" fmla="*/ 405045 w 607639"/>
              <a:gd name="connsiteY11" fmla="*/ 303317 h 606722"/>
              <a:gd name="connsiteX12" fmla="*/ 303775 w 607639"/>
              <a:gd name="connsiteY12" fmla="*/ 404482 h 606722"/>
              <a:gd name="connsiteX13" fmla="*/ 202593 w 607639"/>
              <a:gd name="connsiteY13" fmla="*/ 303317 h 606722"/>
              <a:gd name="connsiteX14" fmla="*/ 303775 w 607639"/>
              <a:gd name="connsiteY14" fmla="*/ 202241 h 606722"/>
              <a:gd name="connsiteX15" fmla="*/ 303775 w 607639"/>
              <a:gd name="connsiteY15" fmla="*/ 151703 h 606722"/>
              <a:gd name="connsiteX16" fmla="*/ 151932 w 607639"/>
              <a:gd name="connsiteY16" fmla="*/ 303317 h 606722"/>
              <a:gd name="connsiteX17" fmla="*/ 303775 w 607639"/>
              <a:gd name="connsiteY17" fmla="*/ 455019 h 606722"/>
              <a:gd name="connsiteX18" fmla="*/ 455707 w 607639"/>
              <a:gd name="connsiteY18" fmla="*/ 303317 h 606722"/>
              <a:gd name="connsiteX19" fmla="*/ 303775 w 607639"/>
              <a:gd name="connsiteY19" fmla="*/ 151703 h 606722"/>
              <a:gd name="connsiteX20" fmla="*/ 253131 w 607639"/>
              <a:gd name="connsiteY20" fmla="*/ 0 h 606722"/>
              <a:gd name="connsiteX21" fmla="*/ 354419 w 607639"/>
              <a:gd name="connsiteY21" fmla="*/ 0 h 606722"/>
              <a:gd name="connsiteX22" fmla="*/ 379786 w 607639"/>
              <a:gd name="connsiteY22" fmla="*/ 25239 h 606722"/>
              <a:gd name="connsiteX23" fmla="*/ 379786 w 607639"/>
              <a:gd name="connsiteY23" fmla="*/ 62387 h 606722"/>
              <a:gd name="connsiteX24" fmla="*/ 420639 w 607639"/>
              <a:gd name="connsiteY24" fmla="*/ 79451 h 606722"/>
              <a:gd name="connsiteX25" fmla="*/ 446985 w 607639"/>
              <a:gd name="connsiteY25" fmla="*/ 53145 h 606722"/>
              <a:gd name="connsiteX26" fmla="*/ 482854 w 607639"/>
              <a:gd name="connsiteY26" fmla="*/ 53145 h 606722"/>
              <a:gd name="connsiteX27" fmla="*/ 554414 w 607639"/>
              <a:gd name="connsiteY27" fmla="*/ 124597 h 606722"/>
              <a:gd name="connsiteX28" fmla="*/ 554414 w 607639"/>
              <a:gd name="connsiteY28" fmla="*/ 160323 h 606722"/>
              <a:gd name="connsiteX29" fmla="*/ 528069 w 607639"/>
              <a:gd name="connsiteY29" fmla="*/ 186629 h 606722"/>
              <a:gd name="connsiteX30" fmla="*/ 545158 w 607639"/>
              <a:gd name="connsiteY30" fmla="*/ 227510 h 606722"/>
              <a:gd name="connsiteX31" fmla="*/ 582273 w 607639"/>
              <a:gd name="connsiteY31" fmla="*/ 227510 h 606722"/>
              <a:gd name="connsiteX32" fmla="*/ 607639 w 607639"/>
              <a:gd name="connsiteY32" fmla="*/ 252749 h 606722"/>
              <a:gd name="connsiteX33" fmla="*/ 607639 w 607639"/>
              <a:gd name="connsiteY33" fmla="*/ 353884 h 606722"/>
              <a:gd name="connsiteX34" fmla="*/ 582273 w 607639"/>
              <a:gd name="connsiteY34" fmla="*/ 379212 h 606722"/>
              <a:gd name="connsiteX35" fmla="*/ 545158 w 607639"/>
              <a:gd name="connsiteY35" fmla="*/ 379212 h 606722"/>
              <a:gd name="connsiteX36" fmla="*/ 528069 w 607639"/>
              <a:gd name="connsiteY36" fmla="*/ 420004 h 606722"/>
              <a:gd name="connsiteX37" fmla="*/ 554414 w 607639"/>
              <a:gd name="connsiteY37" fmla="*/ 446310 h 606722"/>
              <a:gd name="connsiteX38" fmla="*/ 554414 w 607639"/>
              <a:gd name="connsiteY38" fmla="*/ 482125 h 606722"/>
              <a:gd name="connsiteX39" fmla="*/ 482854 w 607639"/>
              <a:gd name="connsiteY39" fmla="*/ 553577 h 606722"/>
              <a:gd name="connsiteX40" fmla="*/ 446985 w 607639"/>
              <a:gd name="connsiteY40" fmla="*/ 553577 h 606722"/>
              <a:gd name="connsiteX41" fmla="*/ 420639 w 607639"/>
              <a:gd name="connsiteY41" fmla="*/ 527271 h 606722"/>
              <a:gd name="connsiteX42" fmla="*/ 379786 w 607639"/>
              <a:gd name="connsiteY42" fmla="*/ 544246 h 606722"/>
              <a:gd name="connsiteX43" fmla="*/ 379786 w 607639"/>
              <a:gd name="connsiteY43" fmla="*/ 581394 h 606722"/>
              <a:gd name="connsiteX44" fmla="*/ 354419 w 607639"/>
              <a:gd name="connsiteY44" fmla="*/ 606722 h 606722"/>
              <a:gd name="connsiteX45" fmla="*/ 253131 w 607639"/>
              <a:gd name="connsiteY45" fmla="*/ 606722 h 606722"/>
              <a:gd name="connsiteX46" fmla="*/ 227854 w 607639"/>
              <a:gd name="connsiteY46" fmla="*/ 581394 h 606722"/>
              <a:gd name="connsiteX47" fmla="*/ 227854 w 607639"/>
              <a:gd name="connsiteY47" fmla="*/ 544246 h 606722"/>
              <a:gd name="connsiteX48" fmla="*/ 186911 w 607639"/>
              <a:gd name="connsiteY48" fmla="*/ 527271 h 606722"/>
              <a:gd name="connsiteX49" fmla="*/ 160566 w 607639"/>
              <a:gd name="connsiteY49" fmla="*/ 553577 h 606722"/>
              <a:gd name="connsiteX50" fmla="*/ 124786 w 607639"/>
              <a:gd name="connsiteY50" fmla="*/ 553577 h 606722"/>
              <a:gd name="connsiteX51" fmla="*/ 53225 w 607639"/>
              <a:gd name="connsiteY51" fmla="*/ 482125 h 606722"/>
              <a:gd name="connsiteX52" fmla="*/ 53225 w 607639"/>
              <a:gd name="connsiteY52" fmla="*/ 446310 h 606722"/>
              <a:gd name="connsiteX53" fmla="*/ 79482 w 607639"/>
              <a:gd name="connsiteY53" fmla="*/ 420004 h 606722"/>
              <a:gd name="connsiteX54" fmla="*/ 62482 w 607639"/>
              <a:gd name="connsiteY54" fmla="*/ 379212 h 606722"/>
              <a:gd name="connsiteX55" fmla="*/ 25278 w 607639"/>
              <a:gd name="connsiteY55" fmla="*/ 379212 h 606722"/>
              <a:gd name="connsiteX56" fmla="*/ 0 w 607639"/>
              <a:gd name="connsiteY56" fmla="*/ 353884 h 606722"/>
              <a:gd name="connsiteX57" fmla="*/ 0 w 607639"/>
              <a:gd name="connsiteY57" fmla="*/ 252749 h 606722"/>
              <a:gd name="connsiteX58" fmla="*/ 25278 w 607639"/>
              <a:gd name="connsiteY58" fmla="*/ 227510 h 606722"/>
              <a:gd name="connsiteX59" fmla="*/ 62482 w 607639"/>
              <a:gd name="connsiteY59" fmla="*/ 227510 h 606722"/>
              <a:gd name="connsiteX60" fmla="*/ 79482 w 607639"/>
              <a:gd name="connsiteY60" fmla="*/ 186629 h 606722"/>
              <a:gd name="connsiteX61" fmla="*/ 53225 w 607639"/>
              <a:gd name="connsiteY61" fmla="*/ 160323 h 606722"/>
              <a:gd name="connsiteX62" fmla="*/ 53225 w 607639"/>
              <a:gd name="connsiteY62" fmla="*/ 124597 h 606722"/>
              <a:gd name="connsiteX63" fmla="*/ 124786 w 607639"/>
              <a:gd name="connsiteY63" fmla="*/ 53145 h 606722"/>
              <a:gd name="connsiteX64" fmla="*/ 160566 w 607639"/>
              <a:gd name="connsiteY64" fmla="*/ 53145 h 606722"/>
              <a:gd name="connsiteX65" fmla="*/ 186911 w 607639"/>
              <a:gd name="connsiteY65" fmla="*/ 79451 h 606722"/>
              <a:gd name="connsiteX66" fmla="*/ 227854 w 607639"/>
              <a:gd name="connsiteY66" fmla="*/ 62387 h 606722"/>
              <a:gd name="connsiteX67" fmla="*/ 227854 w 607639"/>
              <a:gd name="connsiteY67" fmla="*/ 25239 h 606722"/>
              <a:gd name="connsiteX68" fmla="*/ 253131 w 607639"/>
              <a:gd name="connsiteY68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07639" h="606722">
                <a:moveTo>
                  <a:pt x="303820" y="278099"/>
                </a:moveTo>
                <a:cubicBezTo>
                  <a:pt x="317792" y="278099"/>
                  <a:pt x="329118" y="289410"/>
                  <a:pt x="329118" y="303362"/>
                </a:cubicBezTo>
                <a:cubicBezTo>
                  <a:pt x="329118" y="317314"/>
                  <a:pt x="317792" y="328625"/>
                  <a:pt x="303820" y="328625"/>
                </a:cubicBezTo>
                <a:cubicBezTo>
                  <a:pt x="289848" y="328625"/>
                  <a:pt x="278522" y="317314"/>
                  <a:pt x="278522" y="303362"/>
                </a:cubicBezTo>
                <a:cubicBezTo>
                  <a:pt x="278522" y="289410"/>
                  <a:pt x="289848" y="278099"/>
                  <a:pt x="303820" y="278099"/>
                </a:cubicBezTo>
                <a:close/>
                <a:moveTo>
                  <a:pt x="303775" y="252735"/>
                </a:moveTo>
                <a:cubicBezTo>
                  <a:pt x="275921" y="252735"/>
                  <a:pt x="253140" y="275492"/>
                  <a:pt x="253140" y="303317"/>
                </a:cubicBezTo>
                <a:cubicBezTo>
                  <a:pt x="253140" y="331231"/>
                  <a:pt x="275921" y="353900"/>
                  <a:pt x="303775" y="353900"/>
                </a:cubicBezTo>
                <a:cubicBezTo>
                  <a:pt x="331718" y="353900"/>
                  <a:pt x="354410" y="331231"/>
                  <a:pt x="354410" y="303317"/>
                </a:cubicBezTo>
                <a:cubicBezTo>
                  <a:pt x="354410" y="275492"/>
                  <a:pt x="331718" y="252735"/>
                  <a:pt x="303775" y="252735"/>
                </a:cubicBezTo>
                <a:close/>
                <a:moveTo>
                  <a:pt x="303775" y="202241"/>
                </a:moveTo>
                <a:cubicBezTo>
                  <a:pt x="359660" y="202241"/>
                  <a:pt x="405045" y="247579"/>
                  <a:pt x="405045" y="303317"/>
                </a:cubicBezTo>
                <a:cubicBezTo>
                  <a:pt x="405045" y="359144"/>
                  <a:pt x="359660" y="404482"/>
                  <a:pt x="303775" y="404482"/>
                </a:cubicBezTo>
                <a:cubicBezTo>
                  <a:pt x="247978" y="404482"/>
                  <a:pt x="202593" y="359144"/>
                  <a:pt x="202593" y="303317"/>
                </a:cubicBezTo>
                <a:cubicBezTo>
                  <a:pt x="202593" y="247579"/>
                  <a:pt x="247978" y="202241"/>
                  <a:pt x="303775" y="202241"/>
                </a:cubicBezTo>
                <a:close/>
                <a:moveTo>
                  <a:pt x="303775" y="151703"/>
                </a:moveTo>
                <a:cubicBezTo>
                  <a:pt x="220021" y="151703"/>
                  <a:pt x="151932" y="219689"/>
                  <a:pt x="151932" y="303317"/>
                </a:cubicBezTo>
                <a:cubicBezTo>
                  <a:pt x="151932" y="387033"/>
                  <a:pt x="220021" y="455019"/>
                  <a:pt x="303775" y="455019"/>
                </a:cubicBezTo>
                <a:cubicBezTo>
                  <a:pt x="387618" y="455019"/>
                  <a:pt x="455707" y="387033"/>
                  <a:pt x="455707" y="303317"/>
                </a:cubicBezTo>
                <a:cubicBezTo>
                  <a:pt x="455707" y="219689"/>
                  <a:pt x="387618" y="151703"/>
                  <a:pt x="303775" y="151703"/>
                </a:cubicBezTo>
                <a:close/>
                <a:moveTo>
                  <a:pt x="253131" y="0"/>
                </a:moveTo>
                <a:lnTo>
                  <a:pt x="354419" y="0"/>
                </a:lnTo>
                <a:cubicBezTo>
                  <a:pt x="368482" y="0"/>
                  <a:pt x="379786" y="11287"/>
                  <a:pt x="379786" y="25239"/>
                </a:cubicBezTo>
                <a:lnTo>
                  <a:pt x="379786" y="62387"/>
                </a:lnTo>
                <a:cubicBezTo>
                  <a:pt x="393849" y="66831"/>
                  <a:pt x="407555" y="72519"/>
                  <a:pt x="420639" y="79451"/>
                </a:cubicBezTo>
                <a:lnTo>
                  <a:pt x="446985" y="53145"/>
                </a:lnTo>
                <a:cubicBezTo>
                  <a:pt x="456953" y="43191"/>
                  <a:pt x="472974" y="43191"/>
                  <a:pt x="482854" y="53145"/>
                </a:cubicBezTo>
                <a:lnTo>
                  <a:pt x="554414" y="124597"/>
                </a:lnTo>
                <a:cubicBezTo>
                  <a:pt x="564294" y="134462"/>
                  <a:pt x="564294" y="150459"/>
                  <a:pt x="554414" y="160323"/>
                </a:cubicBezTo>
                <a:lnTo>
                  <a:pt x="528069" y="186629"/>
                </a:lnTo>
                <a:cubicBezTo>
                  <a:pt x="535011" y="199782"/>
                  <a:pt x="540707" y="213468"/>
                  <a:pt x="545158" y="227510"/>
                </a:cubicBezTo>
                <a:lnTo>
                  <a:pt x="582273" y="227510"/>
                </a:lnTo>
                <a:cubicBezTo>
                  <a:pt x="596336" y="227510"/>
                  <a:pt x="607639" y="238796"/>
                  <a:pt x="607639" y="252749"/>
                </a:cubicBezTo>
                <a:lnTo>
                  <a:pt x="607639" y="353884"/>
                </a:lnTo>
                <a:cubicBezTo>
                  <a:pt x="607639" y="367926"/>
                  <a:pt x="596247" y="379212"/>
                  <a:pt x="582273" y="379212"/>
                </a:cubicBezTo>
                <a:lnTo>
                  <a:pt x="545158" y="379212"/>
                </a:lnTo>
                <a:cubicBezTo>
                  <a:pt x="540707" y="393254"/>
                  <a:pt x="535011" y="406940"/>
                  <a:pt x="528069" y="420004"/>
                </a:cubicBezTo>
                <a:lnTo>
                  <a:pt x="554414" y="446310"/>
                </a:lnTo>
                <a:cubicBezTo>
                  <a:pt x="564294" y="456263"/>
                  <a:pt x="564294" y="472260"/>
                  <a:pt x="554414" y="482125"/>
                </a:cubicBezTo>
                <a:lnTo>
                  <a:pt x="482854" y="553577"/>
                </a:lnTo>
                <a:cubicBezTo>
                  <a:pt x="472974" y="563442"/>
                  <a:pt x="456953" y="563442"/>
                  <a:pt x="446985" y="553577"/>
                </a:cubicBezTo>
                <a:lnTo>
                  <a:pt x="420639" y="527271"/>
                </a:lnTo>
                <a:cubicBezTo>
                  <a:pt x="407555" y="534203"/>
                  <a:pt x="393849" y="539802"/>
                  <a:pt x="379786" y="544246"/>
                </a:cubicBezTo>
                <a:lnTo>
                  <a:pt x="379786" y="581394"/>
                </a:lnTo>
                <a:cubicBezTo>
                  <a:pt x="379786" y="595435"/>
                  <a:pt x="368393" y="606722"/>
                  <a:pt x="354419" y="606722"/>
                </a:cubicBezTo>
                <a:lnTo>
                  <a:pt x="253131" y="606722"/>
                </a:lnTo>
                <a:cubicBezTo>
                  <a:pt x="239157" y="606722"/>
                  <a:pt x="227854" y="595435"/>
                  <a:pt x="227854" y="581394"/>
                </a:cubicBezTo>
                <a:lnTo>
                  <a:pt x="227854" y="544246"/>
                </a:lnTo>
                <a:cubicBezTo>
                  <a:pt x="213791" y="539802"/>
                  <a:pt x="200084" y="534203"/>
                  <a:pt x="186911" y="527271"/>
                </a:cubicBezTo>
                <a:lnTo>
                  <a:pt x="160566" y="553577"/>
                </a:lnTo>
                <a:cubicBezTo>
                  <a:pt x="150686" y="563442"/>
                  <a:pt x="134665" y="563442"/>
                  <a:pt x="124786" y="553577"/>
                </a:cubicBezTo>
                <a:lnTo>
                  <a:pt x="53225" y="482125"/>
                </a:lnTo>
                <a:cubicBezTo>
                  <a:pt x="43257" y="472260"/>
                  <a:pt x="43257" y="456263"/>
                  <a:pt x="53225" y="446310"/>
                </a:cubicBezTo>
                <a:lnTo>
                  <a:pt x="79482" y="420004"/>
                </a:lnTo>
                <a:cubicBezTo>
                  <a:pt x="72629" y="406940"/>
                  <a:pt x="66932" y="393254"/>
                  <a:pt x="62482" y="379212"/>
                </a:cubicBezTo>
                <a:lnTo>
                  <a:pt x="25278" y="379212"/>
                </a:lnTo>
                <a:cubicBezTo>
                  <a:pt x="11304" y="379212"/>
                  <a:pt x="0" y="367926"/>
                  <a:pt x="0" y="353884"/>
                </a:cubicBezTo>
                <a:lnTo>
                  <a:pt x="0" y="252749"/>
                </a:lnTo>
                <a:cubicBezTo>
                  <a:pt x="0" y="238796"/>
                  <a:pt x="11304" y="227510"/>
                  <a:pt x="25278" y="227510"/>
                </a:cubicBezTo>
                <a:lnTo>
                  <a:pt x="62482" y="227510"/>
                </a:lnTo>
                <a:cubicBezTo>
                  <a:pt x="66932" y="213468"/>
                  <a:pt x="72629" y="199782"/>
                  <a:pt x="79482" y="186629"/>
                </a:cubicBezTo>
                <a:lnTo>
                  <a:pt x="53225" y="160323"/>
                </a:lnTo>
                <a:cubicBezTo>
                  <a:pt x="43257" y="150459"/>
                  <a:pt x="43257" y="134462"/>
                  <a:pt x="53225" y="124597"/>
                </a:cubicBezTo>
                <a:lnTo>
                  <a:pt x="124786" y="53145"/>
                </a:lnTo>
                <a:cubicBezTo>
                  <a:pt x="134665" y="43191"/>
                  <a:pt x="150686" y="43191"/>
                  <a:pt x="160566" y="53145"/>
                </a:cubicBezTo>
                <a:lnTo>
                  <a:pt x="186911" y="79451"/>
                </a:lnTo>
                <a:cubicBezTo>
                  <a:pt x="200084" y="72519"/>
                  <a:pt x="213791" y="66831"/>
                  <a:pt x="227854" y="62387"/>
                </a:cubicBezTo>
                <a:lnTo>
                  <a:pt x="227854" y="25239"/>
                </a:lnTo>
                <a:cubicBezTo>
                  <a:pt x="227854" y="11287"/>
                  <a:pt x="239157" y="0"/>
                  <a:pt x="25313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3" name="ïṧľíďê">
            <a:extLst>
              <a:ext uri="{FF2B5EF4-FFF2-40B4-BE49-F238E27FC236}">
                <a16:creationId xmlns:a16="http://schemas.microsoft.com/office/drawing/2014/main" id="{83AC56C8-BB22-4DB6-8372-AA84DFFA3A81}"/>
              </a:ext>
            </a:extLst>
          </p:cNvPr>
          <p:cNvSpPr/>
          <p:nvPr/>
        </p:nvSpPr>
        <p:spPr bwMode="auto">
          <a:xfrm>
            <a:off x="3046217" y="2417826"/>
            <a:ext cx="154527" cy="154274"/>
          </a:xfrm>
          <a:custGeom>
            <a:avLst/>
            <a:gdLst>
              <a:gd name="connsiteX0" fmla="*/ 380418 w 604181"/>
              <a:gd name="connsiteY0" fmla="*/ 268007 h 603193"/>
              <a:gd name="connsiteX1" fmla="*/ 519220 w 604181"/>
              <a:gd name="connsiteY1" fmla="*/ 339187 h 603193"/>
              <a:gd name="connsiteX2" fmla="*/ 519220 w 604181"/>
              <a:gd name="connsiteY2" fmla="*/ 355820 h 603193"/>
              <a:gd name="connsiteX3" fmla="*/ 380418 w 604181"/>
              <a:gd name="connsiteY3" fmla="*/ 426850 h 603193"/>
              <a:gd name="connsiteX4" fmla="*/ 380418 w 604181"/>
              <a:gd name="connsiteY4" fmla="*/ 406320 h 603193"/>
              <a:gd name="connsiteX5" fmla="*/ 498212 w 604181"/>
              <a:gd name="connsiteY5" fmla="*/ 347728 h 603193"/>
              <a:gd name="connsiteX6" fmla="*/ 498212 w 604181"/>
              <a:gd name="connsiteY6" fmla="*/ 347129 h 603193"/>
              <a:gd name="connsiteX7" fmla="*/ 380418 w 604181"/>
              <a:gd name="connsiteY7" fmla="*/ 288687 h 603193"/>
              <a:gd name="connsiteX8" fmla="*/ 216565 w 604181"/>
              <a:gd name="connsiteY8" fmla="*/ 268007 h 603193"/>
              <a:gd name="connsiteX9" fmla="*/ 216565 w 604181"/>
              <a:gd name="connsiteY9" fmla="*/ 288687 h 603193"/>
              <a:gd name="connsiteX10" fmla="*/ 99664 w 604181"/>
              <a:gd name="connsiteY10" fmla="*/ 347129 h 603193"/>
              <a:gd name="connsiteX11" fmla="*/ 99664 w 604181"/>
              <a:gd name="connsiteY11" fmla="*/ 347728 h 603193"/>
              <a:gd name="connsiteX12" fmla="*/ 216565 w 604181"/>
              <a:gd name="connsiteY12" fmla="*/ 406320 h 603193"/>
              <a:gd name="connsiteX13" fmla="*/ 216565 w 604181"/>
              <a:gd name="connsiteY13" fmla="*/ 426850 h 603193"/>
              <a:gd name="connsiteX14" fmla="*/ 77904 w 604181"/>
              <a:gd name="connsiteY14" fmla="*/ 355521 h 603193"/>
              <a:gd name="connsiteX15" fmla="*/ 77904 w 604181"/>
              <a:gd name="connsiteY15" fmla="*/ 339486 h 603193"/>
              <a:gd name="connsiteX16" fmla="*/ 338273 w 604181"/>
              <a:gd name="connsiteY16" fmla="*/ 222493 h 603193"/>
              <a:gd name="connsiteX17" fmla="*/ 358684 w 604181"/>
              <a:gd name="connsiteY17" fmla="*/ 222493 h 603193"/>
              <a:gd name="connsiteX18" fmla="*/ 253179 w 604181"/>
              <a:gd name="connsiteY18" fmla="*/ 482103 h 603193"/>
              <a:gd name="connsiteX19" fmla="*/ 233219 w 604181"/>
              <a:gd name="connsiteY19" fmla="*/ 482103 h 603193"/>
              <a:gd name="connsiteX20" fmla="*/ 28813 w 604181"/>
              <a:gd name="connsiteY20" fmla="*/ 128849 h 603193"/>
              <a:gd name="connsiteX21" fmla="*/ 28813 w 604181"/>
              <a:gd name="connsiteY21" fmla="*/ 557497 h 603193"/>
              <a:gd name="connsiteX22" fmla="*/ 45921 w 604181"/>
              <a:gd name="connsiteY22" fmla="*/ 574427 h 603193"/>
              <a:gd name="connsiteX23" fmla="*/ 558410 w 604181"/>
              <a:gd name="connsiteY23" fmla="*/ 574427 h 603193"/>
              <a:gd name="connsiteX24" fmla="*/ 575368 w 604181"/>
              <a:gd name="connsiteY24" fmla="*/ 557497 h 603193"/>
              <a:gd name="connsiteX25" fmla="*/ 575368 w 604181"/>
              <a:gd name="connsiteY25" fmla="*/ 128849 h 603193"/>
              <a:gd name="connsiteX26" fmla="*/ 502734 w 604181"/>
              <a:gd name="connsiteY26" fmla="*/ 43149 h 603193"/>
              <a:gd name="connsiteX27" fmla="*/ 502734 w 604181"/>
              <a:gd name="connsiteY27" fmla="*/ 77309 h 603193"/>
              <a:gd name="connsiteX28" fmla="*/ 537100 w 604181"/>
              <a:gd name="connsiteY28" fmla="*/ 77309 h 603193"/>
              <a:gd name="connsiteX29" fmla="*/ 537100 w 604181"/>
              <a:gd name="connsiteY29" fmla="*/ 43149 h 603193"/>
              <a:gd name="connsiteX30" fmla="*/ 423197 w 604181"/>
              <a:gd name="connsiteY30" fmla="*/ 43149 h 603193"/>
              <a:gd name="connsiteX31" fmla="*/ 423197 w 604181"/>
              <a:gd name="connsiteY31" fmla="*/ 77309 h 603193"/>
              <a:gd name="connsiteX32" fmla="*/ 457563 w 604181"/>
              <a:gd name="connsiteY32" fmla="*/ 77309 h 603193"/>
              <a:gd name="connsiteX33" fmla="*/ 457563 w 604181"/>
              <a:gd name="connsiteY33" fmla="*/ 43149 h 603193"/>
              <a:gd name="connsiteX34" fmla="*/ 45921 w 604181"/>
              <a:gd name="connsiteY34" fmla="*/ 0 h 603193"/>
              <a:gd name="connsiteX35" fmla="*/ 558410 w 604181"/>
              <a:gd name="connsiteY35" fmla="*/ 0 h 603193"/>
              <a:gd name="connsiteX36" fmla="*/ 604181 w 604181"/>
              <a:gd name="connsiteY36" fmla="*/ 45846 h 603193"/>
              <a:gd name="connsiteX37" fmla="*/ 604181 w 604181"/>
              <a:gd name="connsiteY37" fmla="*/ 557497 h 603193"/>
              <a:gd name="connsiteX38" fmla="*/ 558410 w 604181"/>
              <a:gd name="connsiteY38" fmla="*/ 603193 h 603193"/>
              <a:gd name="connsiteX39" fmla="*/ 45921 w 604181"/>
              <a:gd name="connsiteY39" fmla="*/ 603193 h 603193"/>
              <a:gd name="connsiteX40" fmla="*/ 0 w 604181"/>
              <a:gd name="connsiteY40" fmla="*/ 557497 h 603193"/>
              <a:gd name="connsiteX41" fmla="*/ 0 w 604181"/>
              <a:gd name="connsiteY41" fmla="*/ 45846 h 603193"/>
              <a:gd name="connsiteX42" fmla="*/ 45921 w 604181"/>
              <a:gd name="connsiteY42" fmla="*/ 0 h 603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04181" h="603193">
                <a:moveTo>
                  <a:pt x="380418" y="268007"/>
                </a:moveTo>
                <a:lnTo>
                  <a:pt x="519220" y="339187"/>
                </a:lnTo>
                <a:lnTo>
                  <a:pt x="519220" y="355820"/>
                </a:lnTo>
                <a:lnTo>
                  <a:pt x="380418" y="426850"/>
                </a:lnTo>
                <a:lnTo>
                  <a:pt x="380418" y="406320"/>
                </a:lnTo>
                <a:lnTo>
                  <a:pt x="498212" y="347728"/>
                </a:lnTo>
                <a:lnTo>
                  <a:pt x="498212" y="347129"/>
                </a:lnTo>
                <a:lnTo>
                  <a:pt x="380418" y="288687"/>
                </a:lnTo>
                <a:close/>
                <a:moveTo>
                  <a:pt x="216565" y="268007"/>
                </a:moveTo>
                <a:lnTo>
                  <a:pt x="216565" y="288687"/>
                </a:lnTo>
                <a:lnTo>
                  <a:pt x="99664" y="347129"/>
                </a:lnTo>
                <a:lnTo>
                  <a:pt x="99664" y="347728"/>
                </a:lnTo>
                <a:lnTo>
                  <a:pt x="216565" y="406320"/>
                </a:lnTo>
                <a:lnTo>
                  <a:pt x="216565" y="426850"/>
                </a:lnTo>
                <a:lnTo>
                  <a:pt x="77904" y="355521"/>
                </a:lnTo>
                <a:lnTo>
                  <a:pt x="77904" y="339486"/>
                </a:lnTo>
                <a:close/>
                <a:moveTo>
                  <a:pt x="338273" y="222493"/>
                </a:moveTo>
                <a:lnTo>
                  <a:pt x="358684" y="222493"/>
                </a:lnTo>
                <a:lnTo>
                  <a:pt x="253179" y="482103"/>
                </a:lnTo>
                <a:lnTo>
                  <a:pt x="233219" y="482103"/>
                </a:lnTo>
                <a:close/>
                <a:moveTo>
                  <a:pt x="28813" y="128849"/>
                </a:moveTo>
                <a:lnTo>
                  <a:pt x="28813" y="557497"/>
                </a:lnTo>
                <a:cubicBezTo>
                  <a:pt x="28813" y="566786"/>
                  <a:pt x="36467" y="574427"/>
                  <a:pt x="45921" y="574427"/>
                </a:cubicBezTo>
                <a:lnTo>
                  <a:pt x="558410" y="574427"/>
                </a:lnTo>
                <a:cubicBezTo>
                  <a:pt x="567714" y="574427"/>
                  <a:pt x="575368" y="566786"/>
                  <a:pt x="575368" y="557497"/>
                </a:cubicBezTo>
                <a:lnTo>
                  <a:pt x="575368" y="128849"/>
                </a:lnTo>
                <a:close/>
                <a:moveTo>
                  <a:pt x="502734" y="43149"/>
                </a:moveTo>
                <a:lnTo>
                  <a:pt x="502734" y="77309"/>
                </a:lnTo>
                <a:lnTo>
                  <a:pt x="537100" y="77309"/>
                </a:lnTo>
                <a:lnTo>
                  <a:pt x="537100" y="43149"/>
                </a:lnTo>
                <a:close/>
                <a:moveTo>
                  <a:pt x="423197" y="43149"/>
                </a:moveTo>
                <a:lnTo>
                  <a:pt x="423197" y="77309"/>
                </a:lnTo>
                <a:lnTo>
                  <a:pt x="457563" y="77309"/>
                </a:lnTo>
                <a:lnTo>
                  <a:pt x="457563" y="43149"/>
                </a:lnTo>
                <a:close/>
                <a:moveTo>
                  <a:pt x="45921" y="0"/>
                </a:moveTo>
                <a:lnTo>
                  <a:pt x="558410" y="0"/>
                </a:lnTo>
                <a:cubicBezTo>
                  <a:pt x="583621" y="0"/>
                  <a:pt x="604181" y="20526"/>
                  <a:pt x="604181" y="45846"/>
                </a:cubicBezTo>
                <a:lnTo>
                  <a:pt x="604181" y="557497"/>
                </a:lnTo>
                <a:cubicBezTo>
                  <a:pt x="604181" y="582667"/>
                  <a:pt x="583621" y="603193"/>
                  <a:pt x="558410" y="603193"/>
                </a:cubicBezTo>
                <a:lnTo>
                  <a:pt x="45921" y="603193"/>
                </a:lnTo>
                <a:cubicBezTo>
                  <a:pt x="20560" y="603193"/>
                  <a:pt x="0" y="582667"/>
                  <a:pt x="0" y="557497"/>
                </a:cubicBezTo>
                <a:lnTo>
                  <a:pt x="0" y="45846"/>
                </a:lnTo>
                <a:cubicBezTo>
                  <a:pt x="0" y="20526"/>
                  <a:pt x="20560" y="0"/>
                  <a:pt x="4592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4" name="îṣḻîḍé">
            <a:extLst>
              <a:ext uri="{FF2B5EF4-FFF2-40B4-BE49-F238E27FC236}">
                <a16:creationId xmlns:a16="http://schemas.microsoft.com/office/drawing/2014/main" id="{716A4AAF-66FE-4462-901E-658C29D84AD8}"/>
              </a:ext>
            </a:extLst>
          </p:cNvPr>
          <p:cNvSpPr/>
          <p:nvPr/>
        </p:nvSpPr>
        <p:spPr bwMode="auto">
          <a:xfrm>
            <a:off x="2825711" y="2680853"/>
            <a:ext cx="154527" cy="154293"/>
          </a:xfrm>
          <a:custGeom>
            <a:avLst/>
            <a:gdLst>
              <a:gd name="T0" fmla="*/ 6624 w 7154"/>
              <a:gd name="T1" fmla="*/ 2037 h 7154"/>
              <a:gd name="T2" fmla="*/ 6106 w 7154"/>
              <a:gd name="T3" fmla="*/ 1048 h 7154"/>
              <a:gd name="T4" fmla="*/ 5117 w 7154"/>
              <a:gd name="T5" fmla="*/ 530 h 7154"/>
              <a:gd name="T6" fmla="*/ 4643 w 7154"/>
              <a:gd name="T7" fmla="*/ 334 h 7154"/>
              <a:gd name="T8" fmla="*/ 3577 w 7154"/>
              <a:gd name="T9" fmla="*/ 0 h 7154"/>
              <a:gd name="T10" fmla="*/ 2511 w 7154"/>
              <a:gd name="T11" fmla="*/ 334 h 7154"/>
              <a:gd name="T12" fmla="*/ 2037 w 7154"/>
              <a:gd name="T13" fmla="*/ 530 h 7154"/>
              <a:gd name="T14" fmla="*/ 1048 w 7154"/>
              <a:gd name="T15" fmla="*/ 1048 h 7154"/>
              <a:gd name="T16" fmla="*/ 530 w 7154"/>
              <a:gd name="T17" fmla="*/ 2037 h 7154"/>
              <a:gd name="T18" fmla="*/ 334 w 7154"/>
              <a:gd name="T19" fmla="*/ 2511 h 7154"/>
              <a:gd name="T20" fmla="*/ 0 w 7154"/>
              <a:gd name="T21" fmla="*/ 3577 h 7154"/>
              <a:gd name="T22" fmla="*/ 334 w 7154"/>
              <a:gd name="T23" fmla="*/ 4643 h 7154"/>
              <a:gd name="T24" fmla="*/ 530 w 7154"/>
              <a:gd name="T25" fmla="*/ 5117 h 7154"/>
              <a:gd name="T26" fmla="*/ 1048 w 7154"/>
              <a:gd name="T27" fmla="*/ 6106 h 7154"/>
              <a:gd name="T28" fmla="*/ 2037 w 7154"/>
              <a:gd name="T29" fmla="*/ 6624 h 7154"/>
              <a:gd name="T30" fmla="*/ 2511 w 7154"/>
              <a:gd name="T31" fmla="*/ 6820 h 7154"/>
              <a:gd name="T32" fmla="*/ 3577 w 7154"/>
              <a:gd name="T33" fmla="*/ 7154 h 7154"/>
              <a:gd name="T34" fmla="*/ 4643 w 7154"/>
              <a:gd name="T35" fmla="*/ 6820 h 7154"/>
              <a:gd name="T36" fmla="*/ 5117 w 7154"/>
              <a:gd name="T37" fmla="*/ 6624 h 7154"/>
              <a:gd name="T38" fmla="*/ 6106 w 7154"/>
              <a:gd name="T39" fmla="*/ 6106 h 7154"/>
              <a:gd name="T40" fmla="*/ 6624 w 7154"/>
              <a:gd name="T41" fmla="*/ 5117 h 7154"/>
              <a:gd name="T42" fmla="*/ 6820 w 7154"/>
              <a:gd name="T43" fmla="*/ 4643 h 7154"/>
              <a:gd name="T44" fmla="*/ 7154 w 7154"/>
              <a:gd name="T45" fmla="*/ 3577 h 7154"/>
              <a:gd name="T46" fmla="*/ 6820 w 7154"/>
              <a:gd name="T47" fmla="*/ 2511 h 7154"/>
              <a:gd name="T48" fmla="*/ 6624 w 7154"/>
              <a:gd name="T49" fmla="*/ 2037 h 7154"/>
              <a:gd name="T50" fmla="*/ 5857 w 7154"/>
              <a:gd name="T51" fmla="*/ 2406 h 7154"/>
              <a:gd name="T52" fmla="*/ 3286 w 7154"/>
              <a:gd name="T53" fmla="*/ 4976 h 7154"/>
              <a:gd name="T54" fmla="*/ 2875 w 7154"/>
              <a:gd name="T55" fmla="*/ 5387 h 7154"/>
              <a:gd name="T56" fmla="*/ 2464 w 7154"/>
              <a:gd name="T57" fmla="*/ 5387 h 7154"/>
              <a:gd name="T58" fmla="*/ 2053 w 7154"/>
              <a:gd name="T59" fmla="*/ 4976 h 7154"/>
              <a:gd name="T60" fmla="*/ 1297 w 7154"/>
              <a:gd name="T61" fmla="*/ 4221 h 7154"/>
              <a:gd name="T62" fmla="*/ 1297 w 7154"/>
              <a:gd name="T63" fmla="*/ 3809 h 7154"/>
              <a:gd name="T64" fmla="*/ 1708 w 7154"/>
              <a:gd name="T65" fmla="*/ 3398 h 7154"/>
              <a:gd name="T66" fmla="*/ 2120 w 7154"/>
              <a:gd name="T67" fmla="*/ 3398 h 7154"/>
              <a:gd name="T68" fmla="*/ 2669 w 7154"/>
              <a:gd name="T69" fmla="*/ 3948 h 7154"/>
              <a:gd name="T70" fmla="*/ 5034 w 7154"/>
              <a:gd name="T71" fmla="*/ 1583 h 7154"/>
              <a:gd name="T72" fmla="*/ 5445 w 7154"/>
              <a:gd name="T73" fmla="*/ 1583 h 7154"/>
              <a:gd name="T74" fmla="*/ 5857 w 7154"/>
              <a:gd name="T75" fmla="*/ 1994 h 7154"/>
              <a:gd name="T76" fmla="*/ 5857 w 7154"/>
              <a:gd name="T77" fmla="*/ 2406 h 7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154" h="7154">
                <a:moveTo>
                  <a:pt x="6624" y="2037"/>
                </a:moveTo>
                <a:cubicBezTo>
                  <a:pt x="6580" y="1703"/>
                  <a:pt x="6403" y="1345"/>
                  <a:pt x="6106" y="1048"/>
                </a:cubicBezTo>
                <a:cubicBezTo>
                  <a:pt x="5809" y="751"/>
                  <a:pt x="5451" y="574"/>
                  <a:pt x="5117" y="530"/>
                </a:cubicBezTo>
                <a:cubicBezTo>
                  <a:pt x="4966" y="510"/>
                  <a:pt x="4764" y="427"/>
                  <a:pt x="4643" y="334"/>
                </a:cubicBezTo>
                <a:cubicBezTo>
                  <a:pt x="4375" y="128"/>
                  <a:pt x="3997" y="0"/>
                  <a:pt x="3577" y="0"/>
                </a:cubicBezTo>
                <a:cubicBezTo>
                  <a:pt x="3157" y="0"/>
                  <a:pt x="2779" y="128"/>
                  <a:pt x="2511" y="334"/>
                </a:cubicBezTo>
                <a:cubicBezTo>
                  <a:pt x="2390" y="427"/>
                  <a:pt x="2188" y="510"/>
                  <a:pt x="2037" y="530"/>
                </a:cubicBezTo>
                <a:cubicBezTo>
                  <a:pt x="1702" y="574"/>
                  <a:pt x="1345" y="751"/>
                  <a:pt x="1048" y="1048"/>
                </a:cubicBezTo>
                <a:cubicBezTo>
                  <a:pt x="751" y="1345"/>
                  <a:pt x="574" y="1703"/>
                  <a:pt x="530" y="2037"/>
                </a:cubicBezTo>
                <a:cubicBezTo>
                  <a:pt x="510" y="2188"/>
                  <a:pt x="427" y="2390"/>
                  <a:pt x="334" y="2511"/>
                </a:cubicBezTo>
                <a:cubicBezTo>
                  <a:pt x="128" y="2779"/>
                  <a:pt x="0" y="3157"/>
                  <a:pt x="0" y="3577"/>
                </a:cubicBezTo>
                <a:cubicBezTo>
                  <a:pt x="0" y="3997"/>
                  <a:pt x="128" y="4375"/>
                  <a:pt x="334" y="4643"/>
                </a:cubicBezTo>
                <a:cubicBezTo>
                  <a:pt x="427" y="4764"/>
                  <a:pt x="510" y="4966"/>
                  <a:pt x="530" y="5117"/>
                </a:cubicBezTo>
                <a:cubicBezTo>
                  <a:pt x="574" y="5451"/>
                  <a:pt x="751" y="5809"/>
                  <a:pt x="1048" y="6106"/>
                </a:cubicBezTo>
                <a:cubicBezTo>
                  <a:pt x="1345" y="6403"/>
                  <a:pt x="1702" y="6580"/>
                  <a:pt x="2037" y="6624"/>
                </a:cubicBezTo>
                <a:cubicBezTo>
                  <a:pt x="2188" y="6644"/>
                  <a:pt x="2390" y="6727"/>
                  <a:pt x="2511" y="6820"/>
                </a:cubicBezTo>
                <a:cubicBezTo>
                  <a:pt x="2779" y="7025"/>
                  <a:pt x="3157" y="7154"/>
                  <a:pt x="3577" y="7154"/>
                </a:cubicBezTo>
                <a:cubicBezTo>
                  <a:pt x="3997" y="7154"/>
                  <a:pt x="4375" y="7025"/>
                  <a:pt x="4643" y="6820"/>
                </a:cubicBezTo>
                <a:cubicBezTo>
                  <a:pt x="4764" y="6727"/>
                  <a:pt x="4966" y="6644"/>
                  <a:pt x="5117" y="6624"/>
                </a:cubicBezTo>
                <a:cubicBezTo>
                  <a:pt x="5451" y="6580"/>
                  <a:pt x="5809" y="6403"/>
                  <a:pt x="6106" y="6106"/>
                </a:cubicBezTo>
                <a:cubicBezTo>
                  <a:pt x="6403" y="5809"/>
                  <a:pt x="6580" y="5451"/>
                  <a:pt x="6624" y="5117"/>
                </a:cubicBezTo>
                <a:cubicBezTo>
                  <a:pt x="6644" y="4966"/>
                  <a:pt x="6727" y="4764"/>
                  <a:pt x="6820" y="4643"/>
                </a:cubicBezTo>
                <a:cubicBezTo>
                  <a:pt x="7026" y="4375"/>
                  <a:pt x="7154" y="3997"/>
                  <a:pt x="7154" y="3577"/>
                </a:cubicBezTo>
                <a:cubicBezTo>
                  <a:pt x="7154" y="3157"/>
                  <a:pt x="7026" y="2779"/>
                  <a:pt x="6820" y="2511"/>
                </a:cubicBezTo>
                <a:cubicBezTo>
                  <a:pt x="6727" y="2390"/>
                  <a:pt x="6644" y="2188"/>
                  <a:pt x="6624" y="2037"/>
                </a:cubicBezTo>
                <a:close/>
                <a:moveTo>
                  <a:pt x="5857" y="2406"/>
                </a:moveTo>
                <a:lnTo>
                  <a:pt x="3286" y="4976"/>
                </a:lnTo>
                <a:lnTo>
                  <a:pt x="2875" y="5387"/>
                </a:lnTo>
                <a:cubicBezTo>
                  <a:pt x="2762" y="5501"/>
                  <a:pt x="2577" y="5501"/>
                  <a:pt x="2464" y="5387"/>
                </a:cubicBezTo>
                <a:lnTo>
                  <a:pt x="2053" y="4976"/>
                </a:lnTo>
                <a:lnTo>
                  <a:pt x="1297" y="4221"/>
                </a:lnTo>
                <a:cubicBezTo>
                  <a:pt x="1183" y="4107"/>
                  <a:pt x="1183" y="3923"/>
                  <a:pt x="1297" y="3809"/>
                </a:cubicBezTo>
                <a:lnTo>
                  <a:pt x="1708" y="3398"/>
                </a:lnTo>
                <a:cubicBezTo>
                  <a:pt x="1822" y="3285"/>
                  <a:pt x="2006" y="3285"/>
                  <a:pt x="2120" y="3398"/>
                </a:cubicBezTo>
                <a:lnTo>
                  <a:pt x="2669" y="3948"/>
                </a:lnTo>
                <a:lnTo>
                  <a:pt x="5034" y="1583"/>
                </a:lnTo>
                <a:cubicBezTo>
                  <a:pt x="5148" y="1470"/>
                  <a:pt x="5332" y="1470"/>
                  <a:pt x="5445" y="1583"/>
                </a:cubicBezTo>
                <a:lnTo>
                  <a:pt x="5857" y="1994"/>
                </a:lnTo>
                <a:cubicBezTo>
                  <a:pt x="5970" y="2108"/>
                  <a:pt x="5970" y="2292"/>
                  <a:pt x="5857" y="2406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5" name="iṧḷiḑé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555424" y="2144580"/>
            <a:ext cx="1278127" cy="19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按分布模式进行配置</a:t>
            </a:r>
            <a:endParaRPr lang="en-US" altLang="zh-CN" sz="1100" dirty="0"/>
          </a:p>
        </p:txBody>
      </p:sp>
      <p:sp>
        <p:nvSpPr>
          <p:cNvPr id="216" name="îṧḻiḑe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332037" y="2410591"/>
            <a:ext cx="1278127" cy="19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运行第一个实例</a:t>
            </a:r>
            <a:endParaRPr lang="en-US" altLang="zh-CN" sz="1100" dirty="0"/>
          </a:p>
        </p:txBody>
      </p:sp>
      <p:sp>
        <p:nvSpPr>
          <p:cNvPr id="217" name="îṣľïd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108716" y="2676601"/>
            <a:ext cx="1278127" cy="19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开心</a:t>
            </a:r>
            <a:r>
              <a:rPr lang="en-US" altLang="zh-CN" sz="1100" dirty="0" err="1"/>
              <a:t>ing</a:t>
            </a:r>
            <a:r>
              <a:rPr lang="en-US" altLang="zh-CN" sz="1100" dirty="0"/>
              <a:t>~</a:t>
            </a:r>
          </a:p>
        </p:txBody>
      </p:sp>
      <p:sp>
        <p:nvSpPr>
          <p:cNvPr id="218" name="íṧ1îd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778718" y="1878569"/>
            <a:ext cx="1278127" cy="19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 解压</a:t>
            </a:r>
            <a:endParaRPr lang="en-US" altLang="zh-CN" sz="1100" dirty="0"/>
          </a:p>
        </p:txBody>
      </p:sp>
      <p:sp>
        <p:nvSpPr>
          <p:cNvPr id="219" name="îs1ïḋ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4004827" y="1612558"/>
            <a:ext cx="1278127" cy="19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>
                <a:solidFill>
                  <a:schemeClr val="bg1"/>
                </a:solidFill>
              </a:rPr>
              <a:t>配置环境变量 使之生效</a:t>
            </a: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20" name="íšliḓ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4228134" y="1346547"/>
            <a:ext cx="1278127" cy="19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5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</a:t>
            </a:r>
            <a:r>
              <a:rPr lang="en-US" altLang="zh-CN" sz="1100" dirty="0"/>
              <a:t> </a:t>
            </a:r>
            <a:r>
              <a:rPr lang="zh-CN" altLang="en-US" sz="1100" dirty="0"/>
              <a:t>解压</a:t>
            </a:r>
            <a:endParaRPr lang="en-US" altLang="zh-CN" sz="1100" dirty="0"/>
          </a:p>
        </p:txBody>
      </p:sp>
      <p:sp>
        <p:nvSpPr>
          <p:cNvPr id="91" name="íSľîḍe">
            <a:extLst>
              <a:ext uri="{FF2B5EF4-FFF2-40B4-BE49-F238E27FC236}">
                <a16:creationId xmlns:a16="http://schemas.microsoft.com/office/drawing/2014/main" id="{584D921E-ABF9-4D19-9FE4-536FCFF87129}"/>
              </a:ext>
            </a:extLst>
          </p:cNvPr>
          <p:cNvSpPr/>
          <p:nvPr/>
        </p:nvSpPr>
        <p:spPr>
          <a:xfrm>
            <a:off x="2224471" y="3494498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下载</a:t>
            </a:r>
          </a:p>
        </p:txBody>
      </p:sp>
      <p:sp>
        <p:nvSpPr>
          <p:cNvPr id="92" name="îṩḷïḍé">
            <a:extLst>
              <a:ext uri="{FF2B5EF4-FFF2-40B4-BE49-F238E27FC236}">
                <a16:creationId xmlns:a16="http://schemas.microsoft.com/office/drawing/2014/main" id="{E6CC048A-2A07-488E-934A-7C38CF8ACBCE}"/>
              </a:ext>
            </a:extLst>
          </p:cNvPr>
          <p:cNvSpPr>
            <a:spLocks/>
          </p:cNvSpPr>
          <p:nvPr/>
        </p:nvSpPr>
        <p:spPr bwMode="auto">
          <a:xfrm>
            <a:off x="2490208" y="3611872"/>
            <a:ext cx="532037" cy="532037"/>
          </a:xfrm>
          <a:custGeom>
            <a:avLst/>
            <a:gdLst>
              <a:gd name="connsiteX0" fmla="*/ 39602 w 536368"/>
              <a:gd name="connsiteY0" fmla="*/ 407445 h 587881"/>
              <a:gd name="connsiteX1" fmla="*/ 79294 w 536368"/>
              <a:gd name="connsiteY1" fmla="*/ 446999 h 587881"/>
              <a:gd name="connsiteX2" fmla="*/ 79294 w 536368"/>
              <a:gd name="connsiteY2" fmla="*/ 508685 h 587881"/>
              <a:gd name="connsiteX3" fmla="*/ 457074 w 536368"/>
              <a:gd name="connsiteY3" fmla="*/ 508685 h 587881"/>
              <a:gd name="connsiteX4" fmla="*/ 457074 w 536368"/>
              <a:gd name="connsiteY4" fmla="*/ 446999 h 587881"/>
              <a:gd name="connsiteX5" fmla="*/ 496677 w 536368"/>
              <a:gd name="connsiteY5" fmla="*/ 407445 h 587881"/>
              <a:gd name="connsiteX6" fmla="*/ 536368 w 536368"/>
              <a:gd name="connsiteY6" fmla="*/ 446999 h 587881"/>
              <a:gd name="connsiteX7" fmla="*/ 536368 w 536368"/>
              <a:gd name="connsiteY7" fmla="*/ 548238 h 587881"/>
              <a:gd name="connsiteX8" fmla="*/ 496677 w 536368"/>
              <a:gd name="connsiteY8" fmla="*/ 587881 h 587881"/>
              <a:gd name="connsiteX9" fmla="*/ 39602 w 536368"/>
              <a:gd name="connsiteY9" fmla="*/ 587881 h 587881"/>
              <a:gd name="connsiteX10" fmla="*/ 0 w 536368"/>
              <a:gd name="connsiteY10" fmla="*/ 548238 h 587881"/>
              <a:gd name="connsiteX11" fmla="*/ 0 w 536368"/>
              <a:gd name="connsiteY11" fmla="*/ 446999 h 587881"/>
              <a:gd name="connsiteX12" fmla="*/ 39602 w 536368"/>
              <a:gd name="connsiteY12" fmla="*/ 407445 h 587881"/>
              <a:gd name="connsiteX13" fmla="*/ 223430 w 536368"/>
              <a:gd name="connsiteY13" fmla="*/ 0 h 587881"/>
              <a:gd name="connsiteX14" fmla="*/ 312886 w 536368"/>
              <a:gd name="connsiteY14" fmla="*/ 0 h 587881"/>
              <a:gd name="connsiteX15" fmla="*/ 343773 w 536368"/>
              <a:gd name="connsiteY15" fmla="*/ 30926 h 587881"/>
              <a:gd name="connsiteX16" fmla="*/ 343773 w 536368"/>
              <a:gd name="connsiteY16" fmla="*/ 286685 h 587881"/>
              <a:gd name="connsiteX17" fmla="*/ 409018 w 536368"/>
              <a:gd name="connsiteY17" fmla="*/ 286685 h 587881"/>
              <a:gd name="connsiteX18" fmla="*/ 422103 w 536368"/>
              <a:gd name="connsiteY18" fmla="*/ 295394 h 587881"/>
              <a:gd name="connsiteX19" fmla="*/ 418988 w 536368"/>
              <a:gd name="connsiteY19" fmla="*/ 310857 h 587881"/>
              <a:gd name="connsiteX20" fmla="*/ 280130 w 536368"/>
              <a:gd name="connsiteY20" fmla="*/ 449489 h 587881"/>
              <a:gd name="connsiteX21" fmla="*/ 256186 w 536368"/>
              <a:gd name="connsiteY21" fmla="*/ 449489 h 587881"/>
              <a:gd name="connsiteX22" fmla="*/ 117239 w 536368"/>
              <a:gd name="connsiteY22" fmla="*/ 310857 h 587881"/>
              <a:gd name="connsiteX23" fmla="*/ 114213 w 536368"/>
              <a:gd name="connsiteY23" fmla="*/ 295394 h 587881"/>
              <a:gd name="connsiteX24" fmla="*/ 127297 w 536368"/>
              <a:gd name="connsiteY24" fmla="*/ 286685 h 587881"/>
              <a:gd name="connsiteX25" fmla="*/ 192543 w 536368"/>
              <a:gd name="connsiteY25" fmla="*/ 286685 h 587881"/>
              <a:gd name="connsiteX26" fmla="*/ 192543 w 536368"/>
              <a:gd name="connsiteY26" fmla="*/ 30926 h 587881"/>
              <a:gd name="connsiteX27" fmla="*/ 223430 w 536368"/>
              <a:gd name="connsiteY27" fmla="*/ 0 h 587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536368" h="587881">
                <a:moveTo>
                  <a:pt x="39602" y="407445"/>
                </a:moveTo>
                <a:cubicBezTo>
                  <a:pt x="61495" y="407445"/>
                  <a:pt x="79294" y="425133"/>
                  <a:pt x="79294" y="446999"/>
                </a:cubicBezTo>
                <a:lnTo>
                  <a:pt x="79294" y="508685"/>
                </a:lnTo>
                <a:lnTo>
                  <a:pt x="457074" y="508685"/>
                </a:lnTo>
                <a:lnTo>
                  <a:pt x="457074" y="446999"/>
                </a:lnTo>
                <a:cubicBezTo>
                  <a:pt x="457074" y="425133"/>
                  <a:pt x="474873" y="407445"/>
                  <a:pt x="496677" y="407445"/>
                </a:cubicBezTo>
                <a:cubicBezTo>
                  <a:pt x="518569" y="407445"/>
                  <a:pt x="536368" y="425133"/>
                  <a:pt x="536368" y="446999"/>
                </a:cubicBezTo>
                <a:lnTo>
                  <a:pt x="536368" y="548238"/>
                </a:lnTo>
                <a:cubicBezTo>
                  <a:pt x="536368" y="570104"/>
                  <a:pt x="518569" y="587881"/>
                  <a:pt x="496677" y="587881"/>
                </a:cubicBezTo>
                <a:lnTo>
                  <a:pt x="39602" y="587881"/>
                </a:lnTo>
                <a:cubicBezTo>
                  <a:pt x="17710" y="587881"/>
                  <a:pt x="0" y="570104"/>
                  <a:pt x="0" y="548238"/>
                </a:cubicBezTo>
                <a:lnTo>
                  <a:pt x="0" y="446999"/>
                </a:lnTo>
                <a:cubicBezTo>
                  <a:pt x="0" y="425133"/>
                  <a:pt x="17710" y="407445"/>
                  <a:pt x="39602" y="407445"/>
                </a:cubicBezTo>
                <a:close/>
                <a:moveTo>
                  <a:pt x="223430" y="0"/>
                </a:moveTo>
                <a:lnTo>
                  <a:pt x="312886" y="0"/>
                </a:lnTo>
                <a:cubicBezTo>
                  <a:pt x="329976" y="0"/>
                  <a:pt x="343773" y="13863"/>
                  <a:pt x="343773" y="30926"/>
                </a:cubicBezTo>
                <a:lnTo>
                  <a:pt x="343773" y="286685"/>
                </a:lnTo>
                <a:lnTo>
                  <a:pt x="409018" y="286685"/>
                </a:lnTo>
                <a:cubicBezTo>
                  <a:pt x="414715" y="286685"/>
                  <a:pt x="419878" y="290151"/>
                  <a:pt x="422103" y="295394"/>
                </a:cubicBezTo>
                <a:cubicBezTo>
                  <a:pt x="424239" y="300726"/>
                  <a:pt x="423082" y="306769"/>
                  <a:pt x="418988" y="310857"/>
                </a:cubicBezTo>
                <a:lnTo>
                  <a:pt x="280130" y="449489"/>
                </a:lnTo>
                <a:cubicBezTo>
                  <a:pt x="273543" y="456065"/>
                  <a:pt x="262773" y="456065"/>
                  <a:pt x="256186" y="449489"/>
                </a:cubicBezTo>
                <a:lnTo>
                  <a:pt x="117239" y="310857"/>
                </a:lnTo>
                <a:cubicBezTo>
                  <a:pt x="113233" y="306769"/>
                  <a:pt x="111987" y="300726"/>
                  <a:pt x="114213" y="295394"/>
                </a:cubicBezTo>
                <a:cubicBezTo>
                  <a:pt x="116438" y="290151"/>
                  <a:pt x="121511" y="286685"/>
                  <a:pt x="127297" y="286685"/>
                </a:cubicBezTo>
                <a:lnTo>
                  <a:pt x="192543" y="286685"/>
                </a:lnTo>
                <a:lnTo>
                  <a:pt x="192543" y="30926"/>
                </a:lnTo>
                <a:cubicBezTo>
                  <a:pt x="192543" y="13863"/>
                  <a:pt x="206339" y="0"/>
                  <a:pt x="223430" y="0"/>
                </a:cubicBezTo>
                <a:close/>
              </a:path>
            </a:pathLst>
          </a:cu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sz="2400" b="1"/>
          </a:p>
        </p:txBody>
      </p:sp>
      <p:sp>
        <p:nvSpPr>
          <p:cNvPr id="93" name="íṩ1íďê">
            <a:extLst>
              <a:ext uri="{FF2B5EF4-FFF2-40B4-BE49-F238E27FC236}">
                <a16:creationId xmlns:a16="http://schemas.microsoft.com/office/drawing/2014/main" id="{A43C16A8-1BD6-45E9-A3E3-109EC9DE6D1C}"/>
              </a:ext>
            </a:extLst>
          </p:cNvPr>
          <p:cNvSpPr/>
          <p:nvPr/>
        </p:nvSpPr>
        <p:spPr>
          <a:xfrm>
            <a:off x="1257917" y="4640590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官网</a:t>
            </a:r>
          </a:p>
        </p:txBody>
      </p:sp>
      <p:sp>
        <p:nvSpPr>
          <p:cNvPr id="94" name="íŝḻíḍê">
            <a:extLst>
              <a:ext uri="{FF2B5EF4-FFF2-40B4-BE49-F238E27FC236}">
                <a16:creationId xmlns:a16="http://schemas.microsoft.com/office/drawing/2014/main" id="{14C184E4-7197-4EDE-A342-AAA80DC3661B}"/>
              </a:ext>
            </a:extLst>
          </p:cNvPr>
          <p:cNvSpPr>
            <a:spLocks/>
          </p:cNvSpPr>
          <p:nvPr/>
        </p:nvSpPr>
        <p:spPr bwMode="auto">
          <a:xfrm>
            <a:off x="1531223" y="4793255"/>
            <a:ext cx="532037" cy="532037"/>
          </a:xfrm>
          <a:custGeom>
            <a:avLst/>
            <a:gdLst>
              <a:gd name="connsiteX0" fmla="*/ 454514 w 613046"/>
              <a:gd name="connsiteY0" fmla="*/ 373741 h 610326"/>
              <a:gd name="connsiteX1" fmla="*/ 595797 w 613046"/>
              <a:gd name="connsiteY1" fmla="*/ 511272 h 610326"/>
              <a:gd name="connsiteX2" fmla="*/ 595797 w 613046"/>
              <a:gd name="connsiteY2" fmla="*/ 593135 h 610326"/>
              <a:gd name="connsiteX3" fmla="*/ 513656 w 613046"/>
              <a:gd name="connsiteY3" fmla="*/ 593135 h 610326"/>
              <a:gd name="connsiteX4" fmla="*/ 372373 w 613046"/>
              <a:gd name="connsiteY4" fmla="*/ 452330 h 610326"/>
              <a:gd name="connsiteX5" fmla="*/ 454514 w 613046"/>
              <a:gd name="connsiteY5" fmla="*/ 373741 h 610326"/>
              <a:gd name="connsiteX6" fmla="*/ 231364 w 613046"/>
              <a:gd name="connsiteY6" fmla="*/ 94462 h 610326"/>
              <a:gd name="connsiteX7" fmla="*/ 231364 w 613046"/>
              <a:gd name="connsiteY7" fmla="*/ 133729 h 610326"/>
              <a:gd name="connsiteX8" fmla="*/ 135499 w 613046"/>
              <a:gd name="connsiteY8" fmla="*/ 228625 h 610326"/>
              <a:gd name="connsiteX9" fmla="*/ 95831 w 613046"/>
              <a:gd name="connsiteY9" fmla="*/ 228625 h 610326"/>
              <a:gd name="connsiteX10" fmla="*/ 231364 w 613046"/>
              <a:gd name="connsiteY10" fmla="*/ 94462 h 610326"/>
              <a:gd name="connsiteX11" fmla="*/ 230271 w 613046"/>
              <a:gd name="connsiteY11" fmla="*/ 55689 h 610326"/>
              <a:gd name="connsiteX12" fmla="*/ 55923 w 613046"/>
              <a:gd name="connsiteY12" fmla="*/ 229310 h 610326"/>
              <a:gd name="connsiteX13" fmla="*/ 230271 w 613046"/>
              <a:gd name="connsiteY13" fmla="*/ 399655 h 610326"/>
              <a:gd name="connsiteX14" fmla="*/ 401329 w 613046"/>
              <a:gd name="connsiteY14" fmla="*/ 229310 h 610326"/>
              <a:gd name="connsiteX15" fmla="*/ 230271 w 613046"/>
              <a:gd name="connsiteY15" fmla="*/ 55689 h 610326"/>
              <a:gd name="connsiteX16" fmla="*/ 230271 w 613046"/>
              <a:gd name="connsiteY16" fmla="*/ 0 h 610326"/>
              <a:gd name="connsiteX17" fmla="*/ 457252 w 613046"/>
              <a:gd name="connsiteY17" fmla="*/ 229310 h 610326"/>
              <a:gd name="connsiteX18" fmla="*/ 230271 w 613046"/>
              <a:gd name="connsiteY18" fmla="*/ 458620 h 610326"/>
              <a:gd name="connsiteX19" fmla="*/ 0 w 613046"/>
              <a:gd name="connsiteY19" fmla="*/ 229310 h 610326"/>
              <a:gd name="connsiteX20" fmla="*/ 230271 w 613046"/>
              <a:gd name="connsiteY20" fmla="*/ 0 h 610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613046" h="610326">
                <a:moveTo>
                  <a:pt x="454514" y="373741"/>
                </a:moveTo>
                <a:cubicBezTo>
                  <a:pt x="454514" y="373741"/>
                  <a:pt x="454514" y="373741"/>
                  <a:pt x="595797" y="511272"/>
                </a:cubicBezTo>
                <a:cubicBezTo>
                  <a:pt x="618796" y="534194"/>
                  <a:pt x="618796" y="570214"/>
                  <a:pt x="595797" y="593135"/>
                </a:cubicBezTo>
                <a:cubicBezTo>
                  <a:pt x="572797" y="616057"/>
                  <a:pt x="536655" y="616057"/>
                  <a:pt x="513656" y="593135"/>
                </a:cubicBezTo>
                <a:cubicBezTo>
                  <a:pt x="513656" y="593135"/>
                  <a:pt x="513656" y="593135"/>
                  <a:pt x="372373" y="452330"/>
                </a:cubicBezTo>
                <a:cubicBezTo>
                  <a:pt x="405229" y="432683"/>
                  <a:pt x="434800" y="406487"/>
                  <a:pt x="454514" y="373741"/>
                </a:cubicBezTo>
                <a:close/>
                <a:moveTo>
                  <a:pt x="231364" y="94462"/>
                </a:moveTo>
                <a:cubicBezTo>
                  <a:pt x="231364" y="94462"/>
                  <a:pt x="231364" y="94462"/>
                  <a:pt x="231364" y="133729"/>
                </a:cubicBezTo>
                <a:cubicBezTo>
                  <a:pt x="178473" y="133729"/>
                  <a:pt x="135499" y="176269"/>
                  <a:pt x="135499" y="228625"/>
                </a:cubicBezTo>
                <a:cubicBezTo>
                  <a:pt x="135499" y="228625"/>
                  <a:pt x="135499" y="228625"/>
                  <a:pt x="95831" y="228625"/>
                </a:cubicBezTo>
                <a:cubicBezTo>
                  <a:pt x="95831" y="153363"/>
                  <a:pt x="155333" y="94462"/>
                  <a:pt x="231364" y="94462"/>
                </a:cubicBezTo>
                <a:close/>
                <a:moveTo>
                  <a:pt x="230271" y="55689"/>
                </a:moveTo>
                <a:cubicBezTo>
                  <a:pt x="134873" y="55689"/>
                  <a:pt x="55923" y="134310"/>
                  <a:pt x="55923" y="229310"/>
                </a:cubicBezTo>
                <a:cubicBezTo>
                  <a:pt x="55923" y="324310"/>
                  <a:pt x="134873" y="399655"/>
                  <a:pt x="230271" y="399655"/>
                </a:cubicBezTo>
                <a:cubicBezTo>
                  <a:pt x="322379" y="399655"/>
                  <a:pt x="401329" y="324310"/>
                  <a:pt x="401329" y="229310"/>
                </a:cubicBezTo>
                <a:cubicBezTo>
                  <a:pt x="401329" y="134310"/>
                  <a:pt x="322379" y="55689"/>
                  <a:pt x="230271" y="55689"/>
                </a:cubicBezTo>
                <a:close/>
                <a:moveTo>
                  <a:pt x="230271" y="0"/>
                </a:moveTo>
                <a:cubicBezTo>
                  <a:pt x="355275" y="0"/>
                  <a:pt x="457252" y="101551"/>
                  <a:pt x="457252" y="229310"/>
                </a:cubicBezTo>
                <a:cubicBezTo>
                  <a:pt x="457252" y="353792"/>
                  <a:pt x="355275" y="458620"/>
                  <a:pt x="230271" y="458620"/>
                </a:cubicBezTo>
                <a:cubicBezTo>
                  <a:pt x="101977" y="458620"/>
                  <a:pt x="0" y="353792"/>
                  <a:pt x="0" y="229310"/>
                </a:cubicBezTo>
                <a:cubicBezTo>
                  <a:pt x="0" y="101551"/>
                  <a:pt x="101977" y="0"/>
                  <a:pt x="230271" y="0"/>
                </a:cubicBezTo>
                <a:close/>
              </a:path>
            </a:pathLst>
          </a:cu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sz="2400" b="1"/>
          </a:p>
        </p:txBody>
      </p:sp>
      <p:cxnSp>
        <p:nvCxnSpPr>
          <p:cNvPr id="95" name="肘形连接符 18">
            <a:extLst>
              <a:ext uri="{FF2B5EF4-FFF2-40B4-BE49-F238E27FC236}">
                <a16:creationId xmlns:a16="http://schemas.microsoft.com/office/drawing/2014/main" id="{DBEF2027-2E66-47E1-AFC2-4A45ACDEEA31}"/>
              </a:ext>
            </a:extLst>
          </p:cNvPr>
          <p:cNvCxnSpPr>
            <a:stCxn id="91" idx="2"/>
          </p:cNvCxnSpPr>
          <p:nvPr/>
        </p:nvCxnSpPr>
        <p:spPr>
          <a:xfrm rot="10800000" flipV="1">
            <a:off x="1815391" y="4033823"/>
            <a:ext cx="409081" cy="617746"/>
          </a:xfrm>
          <a:prstGeom prst="bentConnector2">
            <a:avLst/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肘形连接符 19">
            <a:extLst>
              <a:ext uri="{FF2B5EF4-FFF2-40B4-BE49-F238E27FC236}">
                <a16:creationId xmlns:a16="http://schemas.microsoft.com/office/drawing/2014/main" id="{A98EEBA3-489A-4D48-8AF1-D8E6652F8F74}"/>
              </a:ext>
            </a:extLst>
          </p:cNvPr>
          <p:cNvCxnSpPr>
            <a:cxnSpLocks/>
            <a:endCxn id="91" idx="6"/>
          </p:cNvCxnSpPr>
          <p:nvPr/>
        </p:nvCxnSpPr>
        <p:spPr>
          <a:xfrm rot="10800000">
            <a:off x="3303123" y="4033824"/>
            <a:ext cx="333473" cy="11998"/>
          </a:xfrm>
          <a:prstGeom prst="bentConnector3">
            <a:avLst>
              <a:gd name="adj1" fmla="val 50000"/>
            </a:avLst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肘形连接符 20">
            <a:extLst>
              <a:ext uri="{FF2B5EF4-FFF2-40B4-BE49-F238E27FC236}">
                <a16:creationId xmlns:a16="http://schemas.microsoft.com/office/drawing/2014/main" id="{CA368562-69B7-438E-A865-B0AD60874775}"/>
              </a:ext>
            </a:extLst>
          </p:cNvPr>
          <p:cNvCxnSpPr>
            <a:cxnSpLocks/>
            <a:stCxn id="111" idx="2"/>
            <a:endCxn id="91" idx="4"/>
          </p:cNvCxnSpPr>
          <p:nvPr/>
        </p:nvCxnSpPr>
        <p:spPr>
          <a:xfrm rot="10800000">
            <a:off x="2763797" y="4573150"/>
            <a:ext cx="91168" cy="606767"/>
          </a:xfrm>
          <a:prstGeom prst="bentConnector2">
            <a:avLst/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肘形连接符 21">
            <a:extLst>
              <a:ext uri="{FF2B5EF4-FFF2-40B4-BE49-F238E27FC236}">
                <a16:creationId xmlns:a16="http://schemas.microsoft.com/office/drawing/2014/main" id="{987D895F-FC18-429E-802A-99692EB6D1C0}"/>
              </a:ext>
            </a:extLst>
          </p:cNvPr>
          <p:cNvCxnSpPr>
            <a:cxnSpLocks/>
            <a:endCxn id="113" idx="6"/>
          </p:cNvCxnSpPr>
          <p:nvPr/>
        </p:nvCxnSpPr>
        <p:spPr>
          <a:xfrm rot="10800000" flipV="1">
            <a:off x="4739297" y="4023672"/>
            <a:ext cx="368345" cy="10152"/>
          </a:xfrm>
          <a:prstGeom prst="bentConnector3">
            <a:avLst>
              <a:gd name="adj1" fmla="val 50000"/>
            </a:avLst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肘形连接符 22">
            <a:extLst>
              <a:ext uri="{FF2B5EF4-FFF2-40B4-BE49-F238E27FC236}">
                <a16:creationId xmlns:a16="http://schemas.microsoft.com/office/drawing/2014/main" id="{616E61AE-4FA0-4EC4-8CF7-484094B8E813}"/>
              </a:ext>
            </a:extLst>
          </p:cNvPr>
          <p:cNvCxnSpPr>
            <a:cxnSpLocks/>
            <a:endCxn id="111" idx="6"/>
          </p:cNvCxnSpPr>
          <p:nvPr/>
        </p:nvCxnSpPr>
        <p:spPr>
          <a:xfrm rot="10800000" flipV="1">
            <a:off x="3933616" y="5179914"/>
            <a:ext cx="491288" cy="2"/>
          </a:xfrm>
          <a:prstGeom prst="bentConnector3">
            <a:avLst>
              <a:gd name="adj1" fmla="val 50000"/>
            </a:avLst>
          </a:prstGeom>
          <a:ln w="28575" cmpd="sng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直接连接符 99">
            <a:extLst>
              <a:ext uri="{FF2B5EF4-FFF2-40B4-BE49-F238E27FC236}">
                <a16:creationId xmlns:a16="http://schemas.microsoft.com/office/drawing/2014/main" id="{662BB8BE-8BBF-4B25-8577-32E67F7D089E}"/>
              </a:ext>
            </a:extLst>
          </p:cNvPr>
          <p:cNvCxnSpPr>
            <a:cxnSpLocks/>
          </p:cNvCxnSpPr>
          <p:nvPr/>
        </p:nvCxnSpPr>
        <p:spPr>
          <a:xfrm>
            <a:off x="6190825" y="4030444"/>
            <a:ext cx="388280" cy="0"/>
          </a:xfrm>
          <a:prstGeom prst="line">
            <a:avLst/>
          </a:prstGeom>
          <a:ln w="28575" cmpd="sng">
            <a:solidFill>
              <a:schemeClr val="bg1">
                <a:lumMod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íšḷíḍê">
            <a:extLst>
              <a:ext uri="{FF2B5EF4-FFF2-40B4-BE49-F238E27FC236}">
                <a16:creationId xmlns:a16="http://schemas.microsoft.com/office/drawing/2014/main" id="{ACBECE7A-25D0-4D0E-BE38-57E8055AD739}"/>
              </a:ext>
            </a:extLst>
          </p:cNvPr>
          <p:cNvSpPr txBox="1"/>
          <p:nvPr/>
        </p:nvSpPr>
        <p:spPr>
          <a:xfrm>
            <a:off x="1261489" y="2883765"/>
            <a:ext cx="6697350" cy="50414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SzPct val="25000"/>
            </a:pPr>
            <a:r>
              <a:rPr lang="zh-CN" altLang="en-US" sz="2000" b="1" i="1" dirty="0"/>
              <a:t>安装</a:t>
            </a:r>
            <a:r>
              <a:rPr lang="en-US" altLang="zh-CN" sz="2000" b="1" i="1" dirty="0"/>
              <a:t>JAVA</a:t>
            </a:r>
            <a:r>
              <a:rPr lang="zh-CN" altLang="en-US" sz="2000" b="1" i="1" dirty="0"/>
              <a:t>的步骤</a:t>
            </a:r>
            <a:endParaRPr lang="en-US" sz="2000" b="1" i="1" dirty="0"/>
          </a:p>
        </p:txBody>
      </p:sp>
      <p:grpSp>
        <p:nvGrpSpPr>
          <p:cNvPr id="102" name="îšlïḍe">
            <a:extLst>
              <a:ext uri="{FF2B5EF4-FFF2-40B4-BE49-F238E27FC236}">
                <a16:creationId xmlns:a16="http://schemas.microsoft.com/office/drawing/2014/main" id="{2AE60538-358B-4554-94CE-2237D91D9E16}"/>
              </a:ext>
            </a:extLst>
          </p:cNvPr>
          <p:cNvGrpSpPr/>
          <p:nvPr/>
        </p:nvGrpSpPr>
        <p:grpSpPr>
          <a:xfrm>
            <a:off x="1260299" y="5998232"/>
            <a:ext cx="1478610" cy="644602"/>
            <a:chOff x="8563614" y="4934816"/>
            <a:chExt cx="2955286" cy="1008290"/>
          </a:xfrm>
        </p:grpSpPr>
        <p:sp>
          <p:nvSpPr>
            <p:cNvPr id="103" name="íšľiḋé">
              <a:extLst>
                <a:ext uri="{FF2B5EF4-FFF2-40B4-BE49-F238E27FC236}">
                  <a16:creationId xmlns:a16="http://schemas.microsoft.com/office/drawing/2014/main" id="{46F89CDD-1AC0-4C9B-9DD7-43E5E1FBD77E}"/>
                </a:ext>
              </a:extLst>
            </p:cNvPr>
            <p:cNvSpPr txBox="1"/>
            <p:nvPr/>
          </p:nvSpPr>
          <p:spPr bwMode="auto">
            <a:xfrm>
              <a:off x="8563614" y="4934816"/>
              <a:ext cx="2955286" cy="480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b="1" dirty="0"/>
                <a:t>搜索 下载</a:t>
              </a:r>
              <a:endParaRPr lang="en-US" altLang="zh-CN" b="1" dirty="0"/>
            </a:p>
          </p:txBody>
        </p:sp>
        <p:sp>
          <p:nvSpPr>
            <p:cNvPr id="104" name="íṧḷidé">
              <a:extLst>
                <a:ext uri="{FF2B5EF4-FFF2-40B4-BE49-F238E27FC236}">
                  <a16:creationId xmlns:a16="http://schemas.microsoft.com/office/drawing/2014/main" id="{8E3E20E1-41BA-43BA-9991-A9EFA7366AD7}"/>
                </a:ext>
              </a:extLst>
            </p:cNvPr>
            <p:cNvSpPr/>
            <p:nvPr/>
          </p:nvSpPr>
          <p:spPr bwMode="auto">
            <a:xfrm>
              <a:off x="8563614" y="5415115"/>
              <a:ext cx="2955286" cy="5279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zh-CN" altLang="en-US" sz="1100" dirty="0"/>
                <a:t>在</a:t>
              </a:r>
              <a:r>
                <a:rPr lang="en-US" altLang="zh-CN" sz="1100" dirty="0"/>
                <a:t>Ubuntu</a:t>
              </a:r>
              <a:r>
                <a:rPr lang="zh-CN" altLang="en-US" sz="1100" dirty="0"/>
                <a:t>中直接使用浏览器</a:t>
              </a:r>
              <a:endParaRPr lang="en-US" altLang="zh-CN" sz="1100" dirty="0"/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Or</a:t>
              </a:r>
              <a:r>
                <a:rPr lang="zh-CN" altLang="en-US" sz="1100" dirty="0"/>
                <a:t>把下好的拖进</a:t>
              </a:r>
              <a:r>
                <a:rPr lang="en-US" altLang="zh-CN" sz="1100" dirty="0"/>
                <a:t>Ubuntu(</a:t>
              </a:r>
              <a:r>
                <a:rPr lang="zh-CN" altLang="en-US" sz="1100" dirty="0"/>
                <a:t>虚拟机</a:t>
              </a:r>
              <a:r>
                <a:rPr lang="en-US" altLang="zh-CN" sz="1100" dirty="0"/>
                <a:t>)</a:t>
              </a:r>
            </a:p>
          </p:txBody>
        </p:sp>
      </p:grpSp>
      <p:grpSp>
        <p:nvGrpSpPr>
          <p:cNvPr id="105" name="î$ļíḋé">
            <a:extLst>
              <a:ext uri="{FF2B5EF4-FFF2-40B4-BE49-F238E27FC236}">
                <a16:creationId xmlns:a16="http://schemas.microsoft.com/office/drawing/2014/main" id="{EAB13176-CB67-434E-95D1-E1B474104404}"/>
              </a:ext>
            </a:extLst>
          </p:cNvPr>
          <p:cNvGrpSpPr/>
          <p:nvPr/>
        </p:nvGrpSpPr>
        <p:grpSpPr>
          <a:xfrm>
            <a:off x="3078651" y="5998231"/>
            <a:ext cx="1478617" cy="644607"/>
            <a:chOff x="8737934" y="4934814"/>
            <a:chExt cx="2955288" cy="1008293"/>
          </a:xfrm>
        </p:grpSpPr>
        <p:sp>
          <p:nvSpPr>
            <p:cNvPr id="106" name="ïṡ1îḑê">
              <a:extLst>
                <a:ext uri="{FF2B5EF4-FFF2-40B4-BE49-F238E27FC236}">
                  <a16:creationId xmlns:a16="http://schemas.microsoft.com/office/drawing/2014/main" id="{55209353-7DD9-4915-8383-941BDC223FD1}"/>
                </a:ext>
              </a:extLst>
            </p:cNvPr>
            <p:cNvSpPr txBox="1"/>
            <p:nvPr/>
          </p:nvSpPr>
          <p:spPr bwMode="auto">
            <a:xfrm>
              <a:off x="8737934" y="4934814"/>
              <a:ext cx="2955285" cy="480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b="1" dirty="0"/>
                <a:t>解压</a:t>
              </a:r>
              <a:endParaRPr lang="en-US" altLang="zh-CN" b="1" dirty="0"/>
            </a:p>
          </p:txBody>
        </p:sp>
        <p:sp>
          <p:nvSpPr>
            <p:cNvPr id="107" name="iṩliḋe">
              <a:extLst>
                <a:ext uri="{FF2B5EF4-FFF2-40B4-BE49-F238E27FC236}">
                  <a16:creationId xmlns:a16="http://schemas.microsoft.com/office/drawing/2014/main" id="{447ACB1A-F074-4439-B904-1848A675B206}"/>
                </a:ext>
              </a:extLst>
            </p:cNvPr>
            <p:cNvSpPr/>
            <p:nvPr/>
          </p:nvSpPr>
          <p:spPr bwMode="auto">
            <a:xfrm>
              <a:off x="8737934" y="5415115"/>
              <a:ext cx="2955288" cy="527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solidFill>
                    <a:schemeClr val="accent3"/>
                  </a:solidFill>
                </a:rPr>
                <a:t>tar -</a:t>
              </a:r>
              <a:r>
                <a:rPr lang="en-US" altLang="zh-CN" sz="1100" dirty="0" err="1">
                  <a:solidFill>
                    <a:schemeClr val="accent3"/>
                  </a:solidFill>
                </a:rPr>
                <a:t>zxvf</a:t>
              </a:r>
              <a:r>
                <a:rPr lang="en-US" altLang="zh-CN" sz="1100" dirty="0">
                  <a:solidFill>
                    <a:schemeClr val="accent3"/>
                  </a:solidFill>
                </a:rPr>
                <a:t> java-jdk*****.jar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solidFill>
                    <a:schemeClr val="accent1"/>
                  </a:solidFill>
                </a:rPr>
                <a:t>or</a:t>
              </a:r>
              <a:r>
                <a:rPr lang="zh-CN" altLang="en-US" sz="1100" dirty="0">
                  <a:solidFill>
                    <a:schemeClr val="accent1"/>
                  </a:solidFill>
                </a:rPr>
                <a:t>左键！右键！</a:t>
              </a:r>
              <a:endParaRPr lang="en-US" altLang="zh-CN" sz="11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111" name="išlïḓe">
            <a:extLst>
              <a:ext uri="{FF2B5EF4-FFF2-40B4-BE49-F238E27FC236}">
                <a16:creationId xmlns:a16="http://schemas.microsoft.com/office/drawing/2014/main" id="{01A7E456-FD3C-4CEF-80E9-A7A288B8A986}"/>
              </a:ext>
            </a:extLst>
          </p:cNvPr>
          <p:cNvSpPr/>
          <p:nvPr/>
        </p:nvSpPr>
        <p:spPr>
          <a:xfrm>
            <a:off x="2854965" y="4640590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解压</a:t>
            </a:r>
          </a:p>
        </p:txBody>
      </p:sp>
      <p:pic>
        <p:nvPicPr>
          <p:cNvPr id="112" name="图形 111">
            <a:extLst>
              <a:ext uri="{FF2B5EF4-FFF2-40B4-BE49-F238E27FC236}">
                <a16:creationId xmlns:a16="http://schemas.microsoft.com/office/drawing/2014/main" id="{68D730C6-F03F-4596-A3A6-532E64CB67D8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23639" y="4774311"/>
            <a:ext cx="532037" cy="532037"/>
          </a:xfrm>
          <a:prstGeom prst="rect">
            <a:avLst/>
          </a:prstGeom>
        </p:spPr>
      </p:pic>
      <p:sp>
        <p:nvSpPr>
          <p:cNvPr id="113" name="íṣ1ídè">
            <a:extLst>
              <a:ext uri="{FF2B5EF4-FFF2-40B4-BE49-F238E27FC236}">
                <a16:creationId xmlns:a16="http://schemas.microsoft.com/office/drawing/2014/main" id="{0BC09BE5-A787-44B7-A935-CF0060D8A992}"/>
              </a:ext>
            </a:extLst>
          </p:cNvPr>
          <p:cNvSpPr/>
          <p:nvPr/>
        </p:nvSpPr>
        <p:spPr>
          <a:xfrm>
            <a:off x="3660645" y="3494498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解压</a:t>
            </a:r>
          </a:p>
        </p:txBody>
      </p:sp>
      <p:pic>
        <p:nvPicPr>
          <p:cNvPr id="114" name="图形 113">
            <a:extLst>
              <a:ext uri="{FF2B5EF4-FFF2-40B4-BE49-F238E27FC236}">
                <a16:creationId xmlns:a16="http://schemas.microsoft.com/office/drawing/2014/main" id="{FCEDDA67-8A78-40C4-93B5-504A39FEDC1F}"/>
              </a:ext>
            </a:extLst>
          </p:cNvPr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933781" y="3622522"/>
            <a:ext cx="532037" cy="532037"/>
          </a:xfrm>
          <a:prstGeom prst="rect">
            <a:avLst/>
          </a:prstGeom>
        </p:spPr>
      </p:pic>
      <p:sp>
        <p:nvSpPr>
          <p:cNvPr id="115" name="islíďê">
            <a:extLst>
              <a:ext uri="{FF2B5EF4-FFF2-40B4-BE49-F238E27FC236}">
                <a16:creationId xmlns:a16="http://schemas.microsoft.com/office/drawing/2014/main" id="{297C4ACE-6923-407D-A39C-387E00F116B7}"/>
              </a:ext>
            </a:extLst>
          </p:cNvPr>
          <p:cNvSpPr>
            <a:spLocks/>
          </p:cNvSpPr>
          <p:nvPr/>
        </p:nvSpPr>
        <p:spPr>
          <a:xfrm>
            <a:off x="5112174" y="3490667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配置</a:t>
            </a:r>
          </a:p>
        </p:txBody>
      </p:sp>
      <p:pic>
        <p:nvPicPr>
          <p:cNvPr id="116" name="图形 115">
            <a:extLst>
              <a:ext uri="{FF2B5EF4-FFF2-40B4-BE49-F238E27FC236}">
                <a16:creationId xmlns:a16="http://schemas.microsoft.com/office/drawing/2014/main" id="{1FD94976-35C1-4C56-82DB-DF7D2E3E3201}"/>
              </a:ext>
            </a:extLst>
          </p:cNvPr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393052" y="3630694"/>
            <a:ext cx="532037" cy="532037"/>
          </a:xfrm>
          <a:prstGeom prst="rect">
            <a:avLst/>
          </a:prstGeom>
        </p:spPr>
      </p:pic>
      <p:sp>
        <p:nvSpPr>
          <p:cNvPr id="117" name="íṥľíďê">
            <a:extLst>
              <a:ext uri="{FF2B5EF4-FFF2-40B4-BE49-F238E27FC236}">
                <a16:creationId xmlns:a16="http://schemas.microsoft.com/office/drawing/2014/main" id="{FD31D049-D967-4E59-8C5E-4DB9F486EC6D}"/>
              </a:ext>
            </a:extLst>
          </p:cNvPr>
          <p:cNvSpPr/>
          <p:nvPr/>
        </p:nvSpPr>
        <p:spPr>
          <a:xfrm>
            <a:off x="4456219" y="4640590"/>
            <a:ext cx="1078651" cy="1078651"/>
          </a:xfrm>
          <a:prstGeom prst="ellipse">
            <a:avLst/>
          </a:prstGeom>
          <a:noFill/>
          <a:ln w="50800" cmpd="dbl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b" anchorCtr="1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solidFill>
                  <a:schemeClr val="tx1"/>
                </a:solidFill>
              </a:rPr>
              <a:t>配置</a:t>
            </a:r>
          </a:p>
        </p:txBody>
      </p:sp>
      <p:pic>
        <p:nvPicPr>
          <p:cNvPr id="118" name="图形 117">
            <a:extLst>
              <a:ext uri="{FF2B5EF4-FFF2-40B4-BE49-F238E27FC236}">
                <a16:creationId xmlns:a16="http://schemas.microsoft.com/office/drawing/2014/main" id="{8C9A6AEB-68E2-46BC-8397-5C7E4773E5A3}"/>
              </a:ext>
            </a:extLst>
          </p:cNvPr>
          <p:cNvPicPr>
            <a:picLocks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729525" y="4793254"/>
            <a:ext cx="532037" cy="532037"/>
          </a:xfrm>
          <a:prstGeom prst="rect">
            <a:avLst/>
          </a:prstGeom>
        </p:spPr>
      </p:pic>
      <p:cxnSp>
        <p:nvCxnSpPr>
          <p:cNvPr id="119" name="直接连接符 118">
            <a:extLst>
              <a:ext uri="{FF2B5EF4-FFF2-40B4-BE49-F238E27FC236}">
                <a16:creationId xmlns:a16="http://schemas.microsoft.com/office/drawing/2014/main" id="{7D362925-3695-4EBF-B85E-7D63A3F184C5}"/>
              </a:ext>
            </a:extLst>
          </p:cNvPr>
          <p:cNvCxnSpPr>
            <a:cxnSpLocks/>
          </p:cNvCxnSpPr>
          <p:nvPr/>
        </p:nvCxnSpPr>
        <p:spPr>
          <a:xfrm>
            <a:off x="5504291" y="5170430"/>
            <a:ext cx="368462" cy="0"/>
          </a:xfrm>
          <a:prstGeom prst="line">
            <a:avLst/>
          </a:prstGeom>
          <a:ln w="28575" cmpd="sng">
            <a:solidFill>
              <a:schemeClr val="bg1">
                <a:lumMod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ïṩľïdé">
            <a:extLst>
              <a:ext uri="{FF2B5EF4-FFF2-40B4-BE49-F238E27FC236}">
                <a16:creationId xmlns:a16="http://schemas.microsoft.com/office/drawing/2014/main" id="{41C00ECF-1EDD-4D46-91FA-8C84CEA7A788}"/>
              </a:ext>
            </a:extLst>
          </p:cNvPr>
          <p:cNvGrpSpPr/>
          <p:nvPr/>
        </p:nvGrpSpPr>
        <p:grpSpPr>
          <a:xfrm>
            <a:off x="5432009" y="3983528"/>
            <a:ext cx="3507034" cy="1544337"/>
            <a:chOff x="9219108" y="5109917"/>
            <a:chExt cx="2955286" cy="833191"/>
          </a:xfrm>
        </p:grpSpPr>
        <p:sp>
          <p:nvSpPr>
            <p:cNvPr id="81" name="îŝļïḋê">
              <a:extLst>
                <a:ext uri="{FF2B5EF4-FFF2-40B4-BE49-F238E27FC236}">
                  <a16:creationId xmlns:a16="http://schemas.microsoft.com/office/drawing/2014/main" id="{C4268F0E-0A4D-446B-A549-C42E9D3D9E25}"/>
                </a:ext>
              </a:extLst>
            </p:cNvPr>
            <p:cNvSpPr txBox="1"/>
            <p:nvPr/>
          </p:nvSpPr>
          <p:spPr bwMode="auto">
            <a:xfrm>
              <a:off x="9219108" y="5109917"/>
              <a:ext cx="2955286" cy="305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b="1" dirty="0"/>
                <a:t>配置</a:t>
              </a:r>
              <a:endParaRPr lang="en-US" altLang="zh-CN" b="1" dirty="0"/>
            </a:p>
          </p:txBody>
        </p:sp>
        <p:sp>
          <p:nvSpPr>
            <p:cNvPr id="82" name="ïṥlîḑê">
              <a:extLst>
                <a:ext uri="{FF2B5EF4-FFF2-40B4-BE49-F238E27FC236}">
                  <a16:creationId xmlns:a16="http://schemas.microsoft.com/office/drawing/2014/main" id="{A1AA71DB-8771-48E0-979B-A823CC114DDB}"/>
                </a:ext>
              </a:extLst>
            </p:cNvPr>
            <p:cNvSpPr/>
            <p:nvPr/>
          </p:nvSpPr>
          <p:spPr bwMode="auto">
            <a:xfrm>
              <a:off x="9219108" y="5415117"/>
              <a:ext cx="2955286" cy="5279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vim /</a:t>
              </a:r>
              <a:r>
                <a:rPr lang="en-US" altLang="zh-CN" sz="1100" dirty="0" err="1"/>
                <a:t>etc</a:t>
              </a:r>
              <a:r>
                <a:rPr lang="en-US" altLang="zh-CN" sz="1100" dirty="0"/>
                <a:t>/profile </a:t>
              </a:r>
              <a:r>
                <a:rPr lang="zh-CN" altLang="en-US" sz="1100" dirty="0">
                  <a:solidFill>
                    <a:schemeClr val="accent1"/>
                  </a:solidFill>
                </a:rPr>
                <a:t>使用文件管理器定位并进入编辑</a:t>
              </a:r>
              <a:endParaRPr lang="en-US" altLang="zh-CN" sz="1100" dirty="0">
                <a:solidFill>
                  <a:schemeClr val="accent1"/>
                </a:solidFill>
              </a:endParaRP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export JAVA_HOME=/jdk1.7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export PATH=$PATH:$JAVA_HOME/bin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source /</a:t>
              </a:r>
              <a:r>
                <a:rPr lang="en-US" altLang="zh-CN" sz="1100" dirty="0" err="1"/>
                <a:t>etc</a:t>
              </a:r>
              <a:r>
                <a:rPr lang="en-US" altLang="zh-CN" sz="1100" dirty="0"/>
                <a:t>/prof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48413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xit" presetSubtype="0" fill="hold" grpId="0" nodeType="clickEffect">
                                  <p:stCondLst>
                                    <p:cond delay="294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" dur="1000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" decel="100000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37" presetClass="exit" presetSubtype="0" fill="hold" grpId="0" nodeType="withEffect">
                                  <p:stCondLst>
                                    <p:cond delay="348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1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" decel="100000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37" presetClass="exit" presetSubtype="0" fill="hold" grpId="0" nodeType="withEffect">
                                  <p:stCondLst>
                                    <p:cond delay="49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10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" decel="100000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37" presetClass="exit" presetSubtype="0" fill="hold" grpId="0" nodeType="withEffect">
                                  <p:stCondLst>
                                    <p:cond delay="754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10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" decel="100000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37" presetClass="exit" presetSubtype="0" fill="hold" nodeType="withEffect">
                                  <p:stCondLst>
                                    <p:cond delay="759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1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" decel="100000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37" presetClass="exit" presetSubtype="0" fill="hold" nodeType="withEffect">
                                  <p:stCondLst>
                                    <p:cond delay="201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10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" decel="100000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37" presetClass="exit" presetSubtype="0" fill="hold" nodeType="withEffect">
                                  <p:stCondLst>
                                    <p:cond delay="294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" decel="100000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37" presetClass="exit" presetSubtype="0" fill="hold" nodeType="withEffect">
                                  <p:stCondLst>
                                    <p:cond delay="163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10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" decel="100000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37" presetClass="exit" presetSubtype="0" fill="hold" nodeType="withEffect">
                                  <p:stCondLst>
                                    <p:cond delay="349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10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" decel="100000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37" presetClass="exit" presetSubtype="0" fill="hold" nodeType="withEffect">
                                  <p:stCondLst>
                                    <p:cond delay="728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1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" decel="100000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37" presetClass="exit" presetSubtype="0" fill="hold" grpId="0" nodeType="withEffect">
                                  <p:stCondLst>
                                    <p:cond delay="112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10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" decel="100000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37" presetClass="exit" presetSubtype="0" fill="hold" nodeType="withEffect">
                                  <p:stCondLst>
                                    <p:cond delay="549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10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1000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" decel="100000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37" presetClass="exit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10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" dur="1000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100" decel="100000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37" presetClass="exit" presetSubtype="0" fill="hold" grpId="0" nodeType="withEffect">
                                  <p:stCondLst>
                                    <p:cond delay="414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10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" dur="1000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100" decel="100000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37" presetClass="exit" presetSubtype="0" fill="hold" nodeType="withEffect">
                                  <p:stCondLst>
                                    <p:cond delay="731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0" dur="10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1" dur="1000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00" decel="100000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37" presetClass="exit" presetSubtype="0" fill="hold" grpId="0" nodeType="withEffect">
                                  <p:stCondLst>
                                    <p:cond delay="384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6" dur="10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7" dur="1000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100" decel="100000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37" presetClass="exit" presetSubtype="0" fill="hold" nodeType="withEffect">
                                  <p:stCondLst>
                                    <p:cond delay="675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2" dur="10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3" dur="1000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00" decel="100000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37" presetClass="exit" presetSubtype="0" fill="hold" grpId="0" nodeType="withEffect">
                                  <p:stCondLst>
                                    <p:cond delay="522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8" dur="10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9" dur="1000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" decel="100000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37" presetClass="exit" presetSubtype="0" fill="hold" nodeType="withEffect">
                                  <p:stCondLst>
                                    <p:cond delay="288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4" dur="10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5" dur="1000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00" decel="100000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37" presetClass="exit" presetSubtype="0" fill="hold" grpId="0" nodeType="withEffect">
                                  <p:stCondLst>
                                    <p:cond delay="114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0" dur="10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1" dur="1000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100" decel="100000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37" presetClass="exit" presetSubtype="0" fill="hold" nodeType="withEffect">
                                  <p:stCondLst>
                                    <p:cond delay="161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6" dur="10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7" dur="1000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100" decel="100000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37" presetClass="exit" presetSubtype="0" fill="hold" nodeType="withEffect">
                                  <p:stCondLst>
                                    <p:cond delay="3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2" dur="10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3" dur="1000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100" decel="100000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37" presetClass="exit" presetSubtype="0" fill="hold" nodeType="withEffect">
                                  <p:stCondLst>
                                    <p:cond delay="225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8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9" dur="1000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100" decel="100000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900" accel="100000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1" grpId="0" animBg="1"/>
      <p:bldP spid="92" grpId="0" animBg="1"/>
      <p:bldP spid="93" grpId="0" animBg="1"/>
      <p:bldP spid="94" grpId="0" animBg="1"/>
      <p:bldP spid="101" grpId="0"/>
      <p:bldP spid="111" grpId="0" animBg="1"/>
      <p:bldP spid="113" grpId="0" animBg="1"/>
      <p:bldP spid="115" grpId="0" animBg="1"/>
      <p:bldP spid="117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000" dirty="0"/>
              <a:t>Hadoop</a:t>
            </a:r>
            <a:r>
              <a:rPr lang="zh-CN" altLang="en-US" sz="2000" dirty="0"/>
              <a:t>的部署</a:t>
            </a:r>
            <a:endParaRPr lang="zh-CN" altLang="en-US" dirty="0"/>
          </a:p>
        </p:txBody>
      </p:sp>
      <p:sp>
        <p:nvSpPr>
          <p:cNvPr id="195" name="iṧḻîďè">
            <a:extLst>
              <a:ext uri="{FF2B5EF4-FFF2-40B4-BE49-F238E27FC236}">
                <a16:creationId xmlns:a16="http://schemas.microsoft.com/office/drawing/2014/main" id="{6FC8272D-4563-47EB-B741-E738A21C2623}"/>
              </a:ext>
            </a:extLst>
          </p:cNvPr>
          <p:cNvSpPr/>
          <p:nvPr/>
        </p:nvSpPr>
        <p:spPr bwMode="auto">
          <a:xfrm>
            <a:off x="4127680" y="4366718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搞定！</a:t>
            </a:r>
            <a:endParaRPr lang="en-US" altLang="zh-CN" b="1" dirty="0"/>
          </a:p>
        </p:txBody>
      </p:sp>
      <p:sp>
        <p:nvSpPr>
          <p:cNvPr id="196" name="îŝḻiḋé">
            <a:extLst>
              <a:ext uri="{FF2B5EF4-FFF2-40B4-BE49-F238E27FC236}">
                <a16:creationId xmlns:a16="http://schemas.microsoft.com/office/drawing/2014/main" id="{C05C75D7-4258-49B9-958F-F2EEF0B840E0}"/>
              </a:ext>
            </a:extLst>
          </p:cNvPr>
          <p:cNvSpPr/>
          <p:nvPr/>
        </p:nvSpPr>
        <p:spPr bwMode="auto">
          <a:xfrm>
            <a:off x="4532019" y="3878936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测试</a:t>
            </a:r>
            <a:endParaRPr lang="en-US" altLang="zh-CN" b="1" dirty="0"/>
          </a:p>
        </p:txBody>
      </p:sp>
      <p:sp>
        <p:nvSpPr>
          <p:cNvPr id="197" name="íṥḷíďê">
            <a:extLst>
              <a:ext uri="{FF2B5EF4-FFF2-40B4-BE49-F238E27FC236}">
                <a16:creationId xmlns:a16="http://schemas.microsoft.com/office/drawing/2014/main" id="{D4FCC7AE-5767-4EC4-BB68-B94457D3AE6D}"/>
              </a:ext>
            </a:extLst>
          </p:cNvPr>
          <p:cNvSpPr/>
          <p:nvPr/>
        </p:nvSpPr>
        <p:spPr bwMode="auto">
          <a:xfrm>
            <a:off x="4927756" y="3391154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/>
              <a:t>配置</a:t>
            </a:r>
            <a:r>
              <a:rPr lang="en-US" altLang="zh-CN" b="1" dirty="0"/>
              <a:t>Hadoop</a:t>
            </a:r>
          </a:p>
        </p:txBody>
      </p:sp>
      <p:sp>
        <p:nvSpPr>
          <p:cNvPr id="198" name="ïś1ïḓè">
            <a:extLst>
              <a:ext uri="{FF2B5EF4-FFF2-40B4-BE49-F238E27FC236}">
                <a16:creationId xmlns:a16="http://schemas.microsoft.com/office/drawing/2014/main" id="{F32E844B-E27C-4A92-9B60-95E4AD88D81F}"/>
              </a:ext>
            </a:extLst>
          </p:cNvPr>
          <p:cNvSpPr/>
          <p:nvPr/>
        </p:nvSpPr>
        <p:spPr bwMode="auto">
          <a:xfrm>
            <a:off x="5331236" y="2903372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>
                <a:solidFill>
                  <a:schemeClr val="bg1"/>
                </a:solidFill>
              </a:rPr>
              <a:t>安装</a:t>
            </a:r>
            <a:r>
              <a:rPr lang="en-US" altLang="zh-CN" sz="1750" b="1" dirty="0">
                <a:solidFill>
                  <a:schemeClr val="bg1"/>
                </a:solidFill>
              </a:rPr>
              <a:t>Hadoop</a:t>
            </a:r>
          </a:p>
        </p:txBody>
      </p:sp>
      <p:sp>
        <p:nvSpPr>
          <p:cNvPr id="199" name="îśļïḍè">
            <a:extLst>
              <a:ext uri="{FF2B5EF4-FFF2-40B4-BE49-F238E27FC236}">
                <a16:creationId xmlns:a16="http://schemas.microsoft.com/office/drawing/2014/main" id="{F812BB55-77DE-4E23-95E6-156A22FAD363}"/>
              </a:ext>
            </a:extLst>
          </p:cNvPr>
          <p:cNvSpPr/>
          <p:nvPr/>
        </p:nvSpPr>
        <p:spPr bwMode="auto">
          <a:xfrm>
            <a:off x="5707535" y="2415589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配置</a:t>
            </a:r>
            <a:r>
              <a:rPr lang="en-US" altLang="zh-CN" b="1" dirty="0"/>
              <a:t>JAVA</a:t>
            </a:r>
          </a:p>
        </p:txBody>
      </p:sp>
      <p:sp>
        <p:nvSpPr>
          <p:cNvPr id="200" name="ï$1íḍé">
            <a:extLst>
              <a:ext uri="{FF2B5EF4-FFF2-40B4-BE49-F238E27FC236}">
                <a16:creationId xmlns:a16="http://schemas.microsoft.com/office/drawing/2014/main" id="{48245F16-84E7-4201-9485-85B5E5B15ECD}"/>
              </a:ext>
            </a:extLst>
          </p:cNvPr>
          <p:cNvSpPr/>
          <p:nvPr/>
        </p:nvSpPr>
        <p:spPr bwMode="auto">
          <a:xfrm>
            <a:off x="6097761" y="1927807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安装</a:t>
            </a:r>
            <a:r>
              <a:rPr lang="en-US" altLang="zh-CN" b="1" dirty="0"/>
              <a:t>JAVA</a:t>
            </a:r>
          </a:p>
        </p:txBody>
      </p:sp>
      <p:sp>
        <p:nvSpPr>
          <p:cNvPr id="201" name="îṥľïďê">
            <a:extLst>
              <a:ext uri="{FF2B5EF4-FFF2-40B4-BE49-F238E27FC236}">
                <a16:creationId xmlns:a16="http://schemas.microsoft.com/office/drawing/2014/main" id="{920DFBAA-02E5-4206-86B0-FE10F93A7509}"/>
              </a:ext>
            </a:extLst>
          </p:cNvPr>
          <p:cNvSpPr/>
          <p:nvPr/>
        </p:nvSpPr>
        <p:spPr bwMode="auto">
          <a:xfrm>
            <a:off x="3815241" y="3025429"/>
            <a:ext cx="2806439" cy="929672"/>
          </a:xfrm>
          <a:custGeom>
            <a:avLst/>
            <a:gdLst>
              <a:gd name="T0" fmla="*/ 179 w 203"/>
              <a:gd name="T1" fmla="*/ 82 h 82"/>
              <a:gd name="T2" fmla="*/ 203 w 203"/>
              <a:gd name="T3" fmla="*/ 29 h 82"/>
              <a:gd name="T4" fmla="*/ 65 w 203"/>
              <a:gd name="T5" fmla="*/ 27 h 82"/>
              <a:gd name="T6" fmla="*/ 59 w 203"/>
              <a:gd name="T7" fmla="*/ 0 h 82"/>
              <a:gd name="T8" fmla="*/ 59 w 203"/>
              <a:gd name="T9" fmla="*/ 0 h 82"/>
              <a:gd name="T10" fmla="*/ 0 w 203"/>
              <a:gd name="T11" fmla="*/ 80 h 82"/>
              <a:gd name="T12" fmla="*/ 61 w 203"/>
              <a:gd name="T13" fmla="*/ 82 h 82"/>
              <a:gd name="T14" fmla="*/ 179 w 203"/>
              <a:gd name="T15" fmla="*/ 8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3" h="82">
                <a:moveTo>
                  <a:pt x="179" y="82"/>
                </a:moveTo>
                <a:lnTo>
                  <a:pt x="203" y="29"/>
                </a:lnTo>
                <a:lnTo>
                  <a:pt x="65" y="27"/>
                </a:lnTo>
                <a:lnTo>
                  <a:pt x="59" y="0"/>
                </a:lnTo>
                <a:lnTo>
                  <a:pt x="59" y="0"/>
                </a:lnTo>
                <a:lnTo>
                  <a:pt x="0" y="80"/>
                </a:lnTo>
                <a:lnTo>
                  <a:pt x="61" y="82"/>
                </a:lnTo>
                <a:lnTo>
                  <a:pt x="179" y="8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2" name="i$ḻíḋè">
            <a:extLst>
              <a:ext uri="{FF2B5EF4-FFF2-40B4-BE49-F238E27FC236}">
                <a16:creationId xmlns:a16="http://schemas.microsoft.com/office/drawing/2014/main" id="{430BE7EB-B6F0-4F05-80EA-1F517165029F}"/>
              </a:ext>
            </a:extLst>
          </p:cNvPr>
          <p:cNvSpPr/>
          <p:nvPr/>
        </p:nvSpPr>
        <p:spPr bwMode="auto">
          <a:xfrm>
            <a:off x="5924572" y="1927807"/>
            <a:ext cx="1048730" cy="185748"/>
          </a:xfrm>
          <a:prstGeom prst="triangle">
            <a:avLst>
              <a:gd name="adj" fmla="val 14726"/>
            </a:avLst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3" name="işľiḋe">
            <a:extLst>
              <a:ext uri="{FF2B5EF4-FFF2-40B4-BE49-F238E27FC236}">
                <a16:creationId xmlns:a16="http://schemas.microsoft.com/office/drawing/2014/main" id="{E4DECB97-43D1-4D26-8C48-41447675AE79}"/>
              </a:ext>
            </a:extLst>
          </p:cNvPr>
          <p:cNvSpPr/>
          <p:nvPr/>
        </p:nvSpPr>
        <p:spPr bwMode="auto">
          <a:xfrm>
            <a:off x="2656434" y="1800983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4" name="iś1íďé">
            <a:extLst>
              <a:ext uri="{FF2B5EF4-FFF2-40B4-BE49-F238E27FC236}">
                <a16:creationId xmlns:a16="http://schemas.microsoft.com/office/drawing/2014/main" id="{6E7EA96A-F20A-4912-AC31-63A0F19E66DE}"/>
              </a:ext>
            </a:extLst>
          </p:cNvPr>
          <p:cNvSpPr/>
          <p:nvPr/>
        </p:nvSpPr>
        <p:spPr bwMode="auto">
          <a:xfrm>
            <a:off x="2246957" y="2288765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5" name="ïŝlíḋe">
            <a:extLst>
              <a:ext uri="{FF2B5EF4-FFF2-40B4-BE49-F238E27FC236}">
                <a16:creationId xmlns:a16="http://schemas.microsoft.com/office/drawing/2014/main" id="{66D30D6F-26C9-4C2C-BC01-900AC07DC57E}"/>
              </a:ext>
            </a:extLst>
          </p:cNvPr>
          <p:cNvSpPr/>
          <p:nvPr/>
        </p:nvSpPr>
        <p:spPr bwMode="auto">
          <a:xfrm>
            <a:off x="1832342" y="2776548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6" name="îSliďè">
            <a:extLst>
              <a:ext uri="{FF2B5EF4-FFF2-40B4-BE49-F238E27FC236}">
                <a16:creationId xmlns:a16="http://schemas.microsoft.com/office/drawing/2014/main" id="{2F6D5554-EACD-4DDD-892F-2E5F97A9C421}"/>
              </a:ext>
            </a:extLst>
          </p:cNvPr>
          <p:cNvSpPr/>
          <p:nvPr/>
        </p:nvSpPr>
        <p:spPr bwMode="auto">
          <a:xfrm>
            <a:off x="1422890" y="3264330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7" name="îSliďé">
            <a:extLst>
              <a:ext uri="{FF2B5EF4-FFF2-40B4-BE49-F238E27FC236}">
                <a16:creationId xmlns:a16="http://schemas.microsoft.com/office/drawing/2014/main" id="{2E278F3F-C8D8-4E2A-A3EA-29ADCF1A02AA}"/>
              </a:ext>
            </a:extLst>
          </p:cNvPr>
          <p:cNvSpPr/>
          <p:nvPr/>
        </p:nvSpPr>
        <p:spPr bwMode="auto">
          <a:xfrm>
            <a:off x="1013267" y="3752112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8" name="îs1iďé">
            <a:extLst>
              <a:ext uri="{FF2B5EF4-FFF2-40B4-BE49-F238E27FC236}">
                <a16:creationId xmlns:a16="http://schemas.microsoft.com/office/drawing/2014/main" id="{EB74D0C2-5677-4F3F-A043-44D01A3F3D48}"/>
              </a:ext>
            </a:extLst>
          </p:cNvPr>
          <p:cNvSpPr/>
          <p:nvPr/>
        </p:nvSpPr>
        <p:spPr bwMode="auto">
          <a:xfrm>
            <a:off x="603765" y="4239894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9" name="ïṣḻïḋe">
            <a:extLst>
              <a:ext uri="{FF2B5EF4-FFF2-40B4-BE49-F238E27FC236}">
                <a16:creationId xmlns:a16="http://schemas.microsoft.com/office/drawing/2014/main" id="{7709F84E-C33F-462F-B538-51CB71C9284E}"/>
              </a:ext>
            </a:extLst>
          </p:cNvPr>
          <p:cNvSpPr/>
          <p:nvPr/>
        </p:nvSpPr>
        <p:spPr bwMode="auto">
          <a:xfrm>
            <a:off x="3339328" y="2225720"/>
            <a:ext cx="283355" cy="282961"/>
          </a:xfrm>
          <a:custGeom>
            <a:avLst/>
            <a:gdLst>
              <a:gd name="T0" fmla="*/ 400 w 11264"/>
              <a:gd name="T1" fmla="*/ 7099 h 11264"/>
              <a:gd name="T2" fmla="*/ 4165 w 11264"/>
              <a:gd name="T3" fmla="*/ 7099 h 11264"/>
              <a:gd name="T4" fmla="*/ 4165 w 11264"/>
              <a:gd name="T5" fmla="*/ 10864 h 11264"/>
              <a:gd name="T6" fmla="*/ 4565 w 11264"/>
              <a:gd name="T7" fmla="*/ 11264 h 11264"/>
              <a:gd name="T8" fmla="*/ 6699 w 11264"/>
              <a:gd name="T9" fmla="*/ 11264 h 11264"/>
              <a:gd name="T10" fmla="*/ 7099 w 11264"/>
              <a:gd name="T11" fmla="*/ 10864 h 11264"/>
              <a:gd name="T12" fmla="*/ 7099 w 11264"/>
              <a:gd name="T13" fmla="*/ 7099 h 11264"/>
              <a:gd name="T14" fmla="*/ 10864 w 11264"/>
              <a:gd name="T15" fmla="*/ 7099 h 11264"/>
              <a:gd name="T16" fmla="*/ 11264 w 11264"/>
              <a:gd name="T17" fmla="*/ 6699 h 11264"/>
              <a:gd name="T18" fmla="*/ 11264 w 11264"/>
              <a:gd name="T19" fmla="*/ 4565 h 11264"/>
              <a:gd name="T20" fmla="*/ 10864 w 11264"/>
              <a:gd name="T21" fmla="*/ 4165 h 11264"/>
              <a:gd name="T22" fmla="*/ 7099 w 11264"/>
              <a:gd name="T23" fmla="*/ 4165 h 11264"/>
              <a:gd name="T24" fmla="*/ 7099 w 11264"/>
              <a:gd name="T25" fmla="*/ 400 h 11264"/>
              <a:gd name="T26" fmla="*/ 6699 w 11264"/>
              <a:gd name="T27" fmla="*/ 0 h 11264"/>
              <a:gd name="T28" fmla="*/ 4565 w 11264"/>
              <a:gd name="T29" fmla="*/ 0 h 11264"/>
              <a:gd name="T30" fmla="*/ 4165 w 11264"/>
              <a:gd name="T31" fmla="*/ 400 h 11264"/>
              <a:gd name="T32" fmla="*/ 4165 w 11264"/>
              <a:gd name="T33" fmla="*/ 4165 h 11264"/>
              <a:gd name="T34" fmla="*/ 400 w 11264"/>
              <a:gd name="T35" fmla="*/ 4165 h 11264"/>
              <a:gd name="T36" fmla="*/ 0 w 11264"/>
              <a:gd name="T37" fmla="*/ 4565 h 11264"/>
              <a:gd name="T38" fmla="*/ 0 w 11264"/>
              <a:gd name="T39" fmla="*/ 6699 h 11264"/>
              <a:gd name="T40" fmla="*/ 400 w 11264"/>
              <a:gd name="T41" fmla="*/ 7099 h 11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264" h="11264">
                <a:moveTo>
                  <a:pt x="400" y="7099"/>
                </a:moveTo>
                <a:lnTo>
                  <a:pt x="4165" y="7099"/>
                </a:lnTo>
                <a:lnTo>
                  <a:pt x="4165" y="10864"/>
                </a:lnTo>
                <a:cubicBezTo>
                  <a:pt x="4165" y="11085"/>
                  <a:pt x="4344" y="11264"/>
                  <a:pt x="4565" y="11264"/>
                </a:cubicBezTo>
                <a:lnTo>
                  <a:pt x="6699" y="11264"/>
                </a:lnTo>
                <a:cubicBezTo>
                  <a:pt x="6920" y="11264"/>
                  <a:pt x="7099" y="11085"/>
                  <a:pt x="7099" y="10864"/>
                </a:cubicBezTo>
                <a:lnTo>
                  <a:pt x="7099" y="7099"/>
                </a:lnTo>
                <a:lnTo>
                  <a:pt x="10864" y="7099"/>
                </a:lnTo>
                <a:cubicBezTo>
                  <a:pt x="11085" y="7099"/>
                  <a:pt x="11264" y="6920"/>
                  <a:pt x="11264" y="6699"/>
                </a:cubicBezTo>
                <a:lnTo>
                  <a:pt x="11264" y="4565"/>
                </a:lnTo>
                <a:cubicBezTo>
                  <a:pt x="11264" y="4344"/>
                  <a:pt x="11085" y="4165"/>
                  <a:pt x="10864" y="4165"/>
                </a:cubicBezTo>
                <a:lnTo>
                  <a:pt x="7099" y="4165"/>
                </a:lnTo>
                <a:lnTo>
                  <a:pt x="7099" y="400"/>
                </a:lnTo>
                <a:cubicBezTo>
                  <a:pt x="7099" y="179"/>
                  <a:pt x="6920" y="0"/>
                  <a:pt x="6699" y="0"/>
                </a:cubicBezTo>
                <a:lnTo>
                  <a:pt x="4565" y="0"/>
                </a:lnTo>
                <a:cubicBezTo>
                  <a:pt x="4344" y="0"/>
                  <a:pt x="4165" y="179"/>
                  <a:pt x="4165" y="400"/>
                </a:cubicBezTo>
                <a:lnTo>
                  <a:pt x="4165" y="4165"/>
                </a:lnTo>
                <a:lnTo>
                  <a:pt x="400" y="4165"/>
                </a:lnTo>
                <a:cubicBezTo>
                  <a:pt x="179" y="4165"/>
                  <a:pt x="0" y="4344"/>
                  <a:pt x="0" y="4565"/>
                </a:cubicBezTo>
                <a:lnTo>
                  <a:pt x="0" y="6699"/>
                </a:lnTo>
                <a:cubicBezTo>
                  <a:pt x="0" y="6920"/>
                  <a:pt x="179" y="7099"/>
                  <a:pt x="400" y="7099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0" name="îsḷïde">
            <a:extLst>
              <a:ext uri="{FF2B5EF4-FFF2-40B4-BE49-F238E27FC236}">
                <a16:creationId xmlns:a16="http://schemas.microsoft.com/office/drawing/2014/main" id="{F7027C89-1BCC-4A00-9535-016DE4C49FD7}"/>
              </a:ext>
            </a:extLst>
          </p:cNvPr>
          <p:cNvSpPr/>
          <p:nvPr/>
        </p:nvSpPr>
        <p:spPr bwMode="auto">
          <a:xfrm>
            <a:off x="2952042" y="2707851"/>
            <a:ext cx="277477" cy="283355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  <a:gd name="connsiteX107" fmla="*/ 373273 h 605239"/>
              <a:gd name="connsiteY107" fmla="*/ 373273 h 605239"/>
              <a:gd name="connsiteX108" fmla="*/ 373273 h 605239"/>
              <a:gd name="connsiteY108" fmla="*/ 373273 h 605239"/>
              <a:gd name="connsiteX109" fmla="*/ 373273 h 605239"/>
              <a:gd name="connsiteY109" fmla="*/ 373273 h 605239"/>
              <a:gd name="connsiteX110" fmla="*/ 373273 h 605239"/>
              <a:gd name="connsiteY110" fmla="*/ 373273 h 605239"/>
              <a:gd name="connsiteX111" fmla="*/ 373273 h 605239"/>
              <a:gd name="connsiteY111" fmla="*/ 373273 h 605239"/>
              <a:gd name="connsiteX112" fmla="*/ 373273 h 605239"/>
              <a:gd name="connsiteY112" fmla="*/ 373273 h 605239"/>
              <a:gd name="connsiteX113" fmla="*/ 373273 h 605239"/>
              <a:gd name="connsiteY113" fmla="*/ 373273 h 605239"/>
              <a:gd name="connsiteX114" fmla="*/ 373273 h 605239"/>
              <a:gd name="connsiteY114" fmla="*/ 373273 h 605239"/>
              <a:gd name="connsiteX115" fmla="*/ 373273 h 605239"/>
              <a:gd name="connsiteY115" fmla="*/ 373273 h 605239"/>
              <a:gd name="connsiteX116" fmla="*/ 373273 h 605239"/>
              <a:gd name="connsiteY116" fmla="*/ 373273 h 605239"/>
              <a:gd name="connsiteX117" fmla="*/ 373273 h 605239"/>
              <a:gd name="connsiteY117" fmla="*/ 373273 h 605239"/>
              <a:gd name="connsiteX118" fmla="*/ 373273 h 605239"/>
              <a:gd name="connsiteY118" fmla="*/ 373273 h 605239"/>
              <a:gd name="connsiteX119" fmla="*/ 373273 h 605239"/>
              <a:gd name="connsiteY119" fmla="*/ 373273 h 605239"/>
              <a:gd name="connsiteX120" fmla="*/ 373273 h 605239"/>
              <a:gd name="connsiteY120" fmla="*/ 373273 h 605239"/>
              <a:gd name="connsiteX121" fmla="*/ 373273 h 605239"/>
              <a:gd name="connsiteY121" fmla="*/ 373273 h 605239"/>
              <a:gd name="connsiteX122" fmla="*/ 373273 h 605239"/>
              <a:gd name="connsiteY122" fmla="*/ 373273 h 605239"/>
              <a:gd name="connsiteX123" fmla="*/ 373273 h 605239"/>
              <a:gd name="connsiteY123" fmla="*/ 373273 h 605239"/>
              <a:gd name="connsiteX124" fmla="*/ 373273 h 605239"/>
              <a:gd name="connsiteY124" fmla="*/ 373273 h 605239"/>
              <a:gd name="connsiteX125" fmla="*/ 373273 h 605239"/>
              <a:gd name="connsiteY125" fmla="*/ 373273 h 605239"/>
              <a:gd name="connsiteX126" fmla="*/ 373273 h 605239"/>
              <a:gd name="connsiteY126" fmla="*/ 373273 h 605239"/>
              <a:gd name="connsiteX127" fmla="*/ 373273 h 605239"/>
              <a:gd name="connsiteY127" fmla="*/ 373273 h 605239"/>
              <a:gd name="connsiteX128" fmla="*/ 373273 h 605239"/>
              <a:gd name="connsiteY128" fmla="*/ 373273 h 605239"/>
              <a:gd name="connsiteX129" fmla="*/ 373273 h 605239"/>
              <a:gd name="connsiteY12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593733" h="606309">
                <a:moveTo>
                  <a:pt x="353250" y="302855"/>
                </a:moveTo>
                <a:cubicBezTo>
                  <a:pt x="318468" y="302855"/>
                  <a:pt x="290232" y="331146"/>
                  <a:pt x="290232" y="365879"/>
                </a:cubicBezTo>
                <a:cubicBezTo>
                  <a:pt x="290232" y="374189"/>
                  <a:pt x="296964" y="380912"/>
                  <a:pt x="305285" y="380912"/>
                </a:cubicBezTo>
                <a:cubicBezTo>
                  <a:pt x="313607" y="380912"/>
                  <a:pt x="320338" y="374189"/>
                  <a:pt x="320338" y="365879"/>
                </a:cubicBezTo>
                <a:cubicBezTo>
                  <a:pt x="320338" y="347672"/>
                  <a:pt x="335111" y="333014"/>
                  <a:pt x="353250" y="333014"/>
                </a:cubicBezTo>
                <a:cubicBezTo>
                  <a:pt x="361665" y="333014"/>
                  <a:pt x="368397" y="326291"/>
                  <a:pt x="368397" y="317888"/>
                </a:cubicBezTo>
                <a:cubicBezTo>
                  <a:pt x="368397" y="309578"/>
                  <a:pt x="361665" y="302855"/>
                  <a:pt x="353250" y="302855"/>
                </a:cubicBezTo>
                <a:close/>
                <a:moveTo>
                  <a:pt x="353250" y="265041"/>
                </a:moveTo>
                <a:cubicBezTo>
                  <a:pt x="409163" y="265041"/>
                  <a:pt x="454229" y="310232"/>
                  <a:pt x="454229" y="365879"/>
                </a:cubicBezTo>
                <a:cubicBezTo>
                  <a:pt x="454229" y="421527"/>
                  <a:pt x="408976" y="466717"/>
                  <a:pt x="353250" y="466717"/>
                </a:cubicBezTo>
                <a:cubicBezTo>
                  <a:pt x="297525" y="466717"/>
                  <a:pt x="252271" y="421527"/>
                  <a:pt x="252271" y="365879"/>
                </a:cubicBezTo>
                <a:cubicBezTo>
                  <a:pt x="252271" y="310232"/>
                  <a:pt x="297431" y="265041"/>
                  <a:pt x="353250" y="265041"/>
                </a:cubicBezTo>
                <a:close/>
                <a:moveTo>
                  <a:pt x="427779" y="133781"/>
                </a:moveTo>
                <a:cubicBezTo>
                  <a:pt x="432818" y="131960"/>
                  <a:pt x="438547" y="132054"/>
                  <a:pt x="443784" y="134482"/>
                </a:cubicBezTo>
                <a:lnTo>
                  <a:pt x="473245" y="148209"/>
                </a:lnTo>
                <a:cubicBezTo>
                  <a:pt x="483720" y="153158"/>
                  <a:pt x="488209" y="165671"/>
                  <a:pt x="483346" y="176130"/>
                </a:cubicBezTo>
                <a:lnTo>
                  <a:pt x="470252" y="203957"/>
                </a:lnTo>
                <a:cubicBezTo>
                  <a:pt x="492231" y="219646"/>
                  <a:pt x="511123" y="240003"/>
                  <a:pt x="525526" y="264095"/>
                </a:cubicBezTo>
                <a:lnTo>
                  <a:pt x="554426" y="253636"/>
                </a:lnTo>
                <a:cubicBezTo>
                  <a:pt x="565368" y="249714"/>
                  <a:pt x="577340" y="255411"/>
                  <a:pt x="581361" y="266243"/>
                </a:cubicBezTo>
                <a:lnTo>
                  <a:pt x="592491" y="296592"/>
                </a:lnTo>
                <a:cubicBezTo>
                  <a:pt x="596419" y="307612"/>
                  <a:pt x="590714" y="319564"/>
                  <a:pt x="579865" y="323486"/>
                </a:cubicBezTo>
                <a:lnTo>
                  <a:pt x="550965" y="333945"/>
                </a:lnTo>
                <a:cubicBezTo>
                  <a:pt x="555455" y="361586"/>
                  <a:pt x="553958" y="389414"/>
                  <a:pt x="547224" y="415561"/>
                </a:cubicBezTo>
                <a:lnTo>
                  <a:pt x="575095" y="428634"/>
                </a:lnTo>
                <a:cubicBezTo>
                  <a:pt x="585570" y="433490"/>
                  <a:pt x="590059" y="445910"/>
                  <a:pt x="585102" y="456649"/>
                </a:cubicBezTo>
                <a:lnTo>
                  <a:pt x="571354" y="485970"/>
                </a:lnTo>
                <a:cubicBezTo>
                  <a:pt x="566397" y="496429"/>
                  <a:pt x="553958" y="500911"/>
                  <a:pt x="543483" y="496056"/>
                </a:cubicBezTo>
                <a:lnTo>
                  <a:pt x="515238" y="482982"/>
                </a:lnTo>
                <a:cubicBezTo>
                  <a:pt x="499526" y="504833"/>
                  <a:pt x="479137" y="523510"/>
                  <a:pt x="455007" y="537704"/>
                </a:cubicBezTo>
                <a:lnTo>
                  <a:pt x="465763" y="567026"/>
                </a:lnTo>
                <a:cubicBezTo>
                  <a:pt x="469784" y="578045"/>
                  <a:pt x="463986" y="589997"/>
                  <a:pt x="453137" y="593919"/>
                </a:cubicBezTo>
                <a:lnTo>
                  <a:pt x="422741" y="605032"/>
                </a:lnTo>
                <a:cubicBezTo>
                  <a:pt x="411798" y="609047"/>
                  <a:pt x="399827" y="603258"/>
                  <a:pt x="395805" y="592425"/>
                </a:cubicBezTo>
                <a:lnTo>
                  <a:pt x="385050" y="562823"/>
                </a:lnTo>
                <a:cubicBezTo>
                  <a:pt x="357646" y="567212"/>
                  <a:pt x="330056" y="565718"/>
                  <a:pt x="304149" y="558995"/>
                </a:cubicBezTo>
                <a:lnTo>
                  <a:pt x="290682" y="587756"/>
                </a:lnTo>
                <a:cubicBezTo>
                  <a:pt x="285725" y="598215"/>
                  <a:pt x="273192" y="602697"/>
                  <a:pt x="262717" y="597841"/>
                </a:cubicBezTo>
                <a:lnTo>
                  <a:pt x="233350" y="584114"/>
                </a:lnTo>
                <a:cubicBezTo>
                  <a:pt x="222875" y="579165"/>
                  <a:pt x="218385" y="566652"/>
                  <a:pt x="223249" y="556193"/>
                </a:cubicBezTo>
                <a:lnTo>
                  <a:pt x="236810" y="527338"/>
                </a:lnTo>
                <a:cubicBezTo>
                  <a:pt x="215112" y="511650"/>
                  <a:pt x="196407" y="491480"/>
                  <a:pt x="182284" y="467668"/>
                </a:cubicBezTo>
                <a:lnTo>
                  <a:pt x="152169" y="478687"/>
                </a:lnTo>
                <a:cubicBezTo>
                  <a:pt x="141133" y="482609"/>
                  <a:pt x="129161" y="476912"/>
                  <a:pt x="125233" y="466080"/>
                </a:cubicBezTo>
                <a:lnTo>
                  <a:pt x="114104" y="435731"/>
                </a:lnTo>
                <a:cubicBezTo>
                  <a:pt x="110082" y="424712"/>
                  <a:pt x="115881" y="412759"/>
                  <a:pt x="126730" y="408837"/>
                </a:cubicBezTo>
                <a:lnTo>
                  <a:pt x="156845" y="397818"/>
                </a:lnTo>
                <a:cubicBezTo>
                  <a:pt x="153852" y="379422"/>
                  <a:pt x="153478" y="361026"/>
                  <a:pt x="155629" y="342910"/>
                </a:cubicBezTo>
                <a:lnTo>
                  <a:pt x="158622" y="343097"/>
                </a:lnTo>
                <a:cubicBezTo>
                  <a:pt x="181162" y="344030"/>
                  <a:pt x="200522" y="327408"/>
                  <a:pt x="203141" y="305370"/>
                </a:cubicBezTo>
                <a:cubicBezTo>
                  <a:pt x="207723" y="303876"/>
                  <a:pt x="212119" y="302195"/>
                  <a:pt x="216515" y="300515"/>
                </a:cubicBezTo>
                <a:cubicBezTo>
                  <a:pt x="220349" y="304063"/>
                  <a:pt x="224745" y="306958"/>
                  <a:pt x="229609" y="308919"/>
                </a:cubicBezTo>
                <a:cubicBezTo>
                  <a:pt x="219227" y="330957"/>
                  <a:pt x="214831" y="355983"/>
                  <a:pt x="217824" y="381943"/>
                </a:cubicBezTo>
                <a:cubicBezTo>
                  <a:pt x="226709" y="456462"/>
                  <a:pt x="294329" y="509876"/>
                  <a:pt x="368963" y="501192"/>
                </a:cubicBezTo>
                <a:cubicBezTo>
                  <a:pt x="443691" y="492320"/>
                  <a:pt x="497188" y="424899"/>
                  <a:pt x="488490" y="350287"/>
                </a:cubicBezTo>
                <a:cubicBezTo>
                  <a:pt x="479605" y="275675"/>
                  <a:pt x="411985" y="222260"/>
                  <a:pt x="337351" y="231038"/>
                </a:cubicBezTo>
                <a:cubicBezTo>
                  <a:pt x="324632" y="232532"/>
                  <a:pt x="312473" y="235707"/>
                  <a:pt x="301156" y="240376"/>
                </a:cubicBezTo>
                <a:cubicBezTo>
                  <a:pt x="299660" y="236268"/>
                  <a:pt x="297509" y="232345"/>
                  <a:pt x="294797" y="228890"/>
                </a:cubicBezTo>
                <a:cubicBezTo>
                  <a:pt x="297041" y="224688"/>
                  <a:pt x="299005" y="220393"/>
                  <a:pt x="300782" y="216097"/>
                </a:cubicBezTo>
                <a:cubicBezTo>
                  <a:pt x="311164" y="215817"/>
                  <a:pt x="320891" y="211802"/>
                  <a:pt x="328466" y="204891"/>
                </a:cubicBezTo>
                <a:cubicBezTo>
                  <a:pt x="336977" y="197141"/>
                  <a:pt x="341934" y="186589"/>
                  <a:pt x="342402" y="175103"/>
                </a:cubicBezTo>
                <a:lnTo>
                  <a:pt x="342776" y="166978"/>
                </a:lnTo>
                <a:cubicBezTo>
                  <a:pt x="363164" y="165764"/>
                  <a:pt x="383460" y="167912"/>
                  <a:pt x="402820" y="172768"/>
                </a:cubicBezTo>
                <a:lnTo>
                  <a:pt x="415913" y="144567"/>
                </a:lnTo>
                <a:cubicBezTo>
                  <a:pt x="418392" y="139338"/>
                  <a:pt x="422741" y="135602"/>
                  <a:pt x="427779" y="133781"/>
                </a:cubicBezTo>
                <a:close/>
                <a:moveTo>
                  <a:pt x="159906" y="88589"/>
                </a:moveTo>
                <a:cubicBezTo>
                  <a:pt x="142487" y="87818"/>
                  <a:pt x="124764" y="93678"/>
                  <a:pt x="110828" y="106378"/>
                </a:cubicBezTo>
                <a:cubicBezTo>
                  <a:pt x="96145" y="119731"/>
                  <a:pt x="88663" y="138127"/>
                  <a:pt x="88663" y="156523"/>
                </a:cubicBezTo>
                <a:cubicBezTo>
                  <a:pt x="88663" y="172958"/>
                  <a:pt x="94555" y="189393"/>
                  <a:pt x="106526" y="202467"/>
                </a:cubicBezTo>
                <a:cubicBezTo>
                  <a:pt x="131965" y="230294"/>
                  <a:pt x="175081" y="232162"/>
                  <a:pt x="202764" y="206762"/>
                </a:cubicBezTo>
                <a:cubicBezTo>
                  <a:pt x="217448" y="193409"/>
                  <a:pt x="224930" y="175013"/>
                  <a:pt x="224930" y="156523"/>
                </a:cubicBezTo>
                <a:cubicBezTo>
                  <a:pt x="224930" y="140088"/>
                  <a:pt x="219132" y="123653"/>
                  <a:pt x="207160" y="110580"/>
                </a:cubicBezTo>
                <a:cubicBezTo>
                  <a:pt x="194441" y="96760"/>
                  <a:pt x="177325" y="89359"/>
                  <a:pt x="159906" y="88589"/>
                </a:cubicBezTo>
                <a:close/>
                <a:moveTo>
                  <a:pt x="153289" y="17"/>
                </a:moveTo>
                <a:lnTo>
                  <a:pt x="173678" y="951"/>
                </a:lnTo>
                <a:cubicBezTo>
                  <a:pt x="180786" y="1325"/>
                  <a:pt x="186304" y="7114"/>
                  <a:pt x="186304" y="14118"/>
                </a:cubicBezTo>
                <a:lnTo>
                  <a:pt x="186304" y="14771"/>
                </a:lnTo>
                <a:lnTo>
                  <a:pt x="185462" y="34755"/>
                </a:lnTo>
                <a:cubicBezTo>
                  <a:pt x="201923" y="38677"/>
                  <a:pt x="217729" y="45774"/>
                  <a:pt x="231851" y="56232"/>
                </a:cubicBezTo>
                <a:lnTo>
                  <a:pt x="246535" y="42786"/>
                </a:lnTo>
                <a:cubicBezTo>
                  <a:pt x="251866" y="37930"/>
                  <a:pt x="260283" y="38303"/>
                  <a:pt x="265240" y="43626"/>
                </a:cubicBezTo>
                <a:lnTo>
                  <a:pt x="279082" y="58660"/>
                </a:lnTo>
                <a:cubicBezTo>
                  <a:pt x="281420" y="61275"/>
                  <a:pt x="282542" y="64450"/>
                  <a:pt x="282542" y="67625"/>
                </a:cubicBezTo>
                <a:cubicBezTo>
                  <a:pt x="282542" y="71173"/>
                  <a:pt x="281233" y="74722"/>
                  <a:pt x="278334" y="77337"/>
                </a:cubicBezTo>
                <a:lnTo>
                  <a:pt x="263744" y="90690"/>
                </a:lnTo>
                <a:cubicBezTo>
                  <a:pt x="273096" y="105537"/>
                  <a:pt x="278988" y="121973"/>
                  <a:pt x="281420" y="138781"/>
                </a:cubicBezTo>
                <a:lnTo>
                  <a:pt x="301061" y="139621"/>
                </a:lnTo>
                <a:cubicBezTo>
                  <a:pt x="308169" y="139995"/>
                  <a:pt x="313593" y="145878"/>
                  <a:pt x="313593" y="152788"/>
                </a:cubicBezTo>
                <a:lnTo>
                  <a:pt x="313593" y="153442"/>
                </a:lnTo>
                <a:lnTo>
                  <a:pt x="312751" y="173892"/>
                </a:lnTo>
                <a:cubicBezTo>
                  <a:pt x="312377" y="181083"/>
                  <a:pt x="306298" y="186779"/>
                  <a:pt x="298910" y="186405"/>
                </a:cubicBezTo>
                <a:lnTo>
                  <a:pt x="279456" y="185565"/>
                </a:lnTo>
                <a:cubicBezTo>
                  <a:pt x="275622" y="202093"/>
                  <a:pt x="268327" y="218061"/>
                  <a:pt x="257758" y="232162"/>
                </a:cubicBezTo>
                <a:lnTo>
                  <a:pt x="270852" y="246449"/>
                </a:lnTo>
                <a:cubicBezTo>
                  <a:pt x="273190" y="249064"/>
                  <a:pt x="274312" y="252145"/>
                  <a:pt x="274312" y="255414"/>
                </a:cubicBezTo>
                <a:cubicBezTo>
                  <a:pt x="274312" y="258869"/>
                  <a:pt x="273003" y="262511"/>
                  <a:pt x="270104" y="265126"/>
                </a:cubicBezTo>
                <a:lnTo>
                  <a:pt x="255046" y="278946"/>
                </a:lnTo>
                <a:cubicBezTo>
                  <a:pt x="249621" y="283802"/>
                  <a:pt x="241297" y="283428"/>
                  <a:pt x="236340" y="278106"/>
                </a:cubicBezTo>
                <a:lnTo>
                  <a:pt x="223247" y="263724"/>
                </a:lnTo>
                <a:cubicBezTo>
                  <a:pt x="208282" y="272970"/>
                  <a:pt x="191635" y="278853"/>
                  <a:pt x="174800" y="281187"/>
                </a:cubicBezTo>
                <a:lnTo>
                  <a:pt x="173958" y="300610"/>
                </a:lnTo>
                <a:cubicBezTo>
                  <a:pt x="173584" y="307801"/>
                  <a:pt x="167505" y="313590"/>
                  <a:pt x="160117" y="313217"/>
                </a:cubicBezTo>
                <a:lnTo>
                  <a:pt x="139634" y="312283"/>
                </a:lnTo>
                <a:cubicBezTo>
                  <a:pt x="132526" y="311909"/>
                  <a:pt x="127102" y="306120"/>
                  <a:pt x="127102" y="299116"/>
                </a:cubicBezTo>
                <a:lnTo>
                  <a:pt x="127102" y="298463"/>
                </a:lnTo>
                <a:lnTo>
                  <a:pt x="128037" y="279039"/>
                </a:lnTo>
                <a:cubicBezTo>
                  <a:pt x="111577" y="275211"/>
                  <a:pt x="95771" y="267834"/>
                  <a:pt x="81648" y="257281"/>
                </a:cubicBezTo>
                <a:lnTo>
                  <a:pt x="67058" y="270635"/>
                </a:lnTo>
                <a:cubicBezTo>
                  <a:pt x="61727" y="275491"/>
                  <a:pt x="53403" y="275117"/>
                  <a:pt x="48353" y="269701"/>
                </a:cubicBezTo>
                <a:lnTo>
                  <a:pt x="34511" y="254667"/>
                </a:lnTo>
                <a:cubicBezTo>
                  <a:pt x="32173" y="252052"/>
                  <a:pt x="31051" y="248970"/>
                  <a:pt x="31051" y="245702"/>
                </a:cubicBezTo>
                <a:cubicBezTo>
                  <a:pt x="31051" y="242247"/>
                  <a:pt x="32453" y="238605"/>
                  <a:pt x="35259" y="235990"/>
                </a:cubicBezTo>
                <a:lnTo>
                  <a:pt x="50036" y="222544"/>
                </a:lnTo>
                <a:cubicBezTo>
                  <a:pt x="40777" y="207696"/>
                  <a:pt x="35072" y="191261"/>
                  <a:pt x="32640" y="174639"/>
                </a:cubicBezTo>
                <a:lnTo>
                  <a:pt x="12626" y="173705"/>
                </a:lnTo>
                <a:cubicBezTo>
                  <a:pt x="5518" y="173332"/>
                  <a:pt x="0" y="167542"/>
                  <a:pt x="0" y="160539"/>
                </a:cubicBezTo>
                <a:lnTo>
                  <a:pt x="0" y="159885"/>
                </a:lnTo>
                <a:lnTo>
                  <a:pt x="842" y="139621"/>
                </a:lnTo>
                <a:cubicBezTo>
                  <a:pt x="1216" y="132431"/>
                  <a:pt x="7388" y="126642"/>
                  <a:pt x="14683" y="127015"/>
                </a:cubicBezTo>
                <a:lnTo>
                  <a:pt x="34885" y="127949"/>
                </a:lnTo>
                <a:cubicBezTo>
                  <a:pt x="38813" y="111514"/>
                  <a:pt x="46015" y="95826"/>
                  <a:pt x="56490" y="81819"/>
                </a:cubicBezTo>
                <a:lnTo>
                  <a:pt x="42741" y="66878"/>
                </a:lnTo>
                <a:cubicBezTo>
                  <a:pt x="40403" y="64263"/>
                  <a:pt x="39281" y="61182"/>
                  <a:pt x="39281" y="57913"/>
                </a:cubicBezTo>
                <a:cubicBezTo>
                  <a:pt x="39281" y="54458"/>
                  <a:pt x="40684" y="50816"/>
                  <a:pt x="43490" y="48202"/>
                </a:cubicBezTo>
                <a:lnTo>
                  <a:pt x="58641" y="34381"/>
                </a:lnTo>
                <a:cubicBezTo>
                  <a:pt x="63972" y="29526"/>
                  <a:pt x="72296" y="29899"/>
                  <a:pt x="77346" y="35315"/>
                </a:cubicBezTo>
                <a:lnTo>
                  <a:pt x="90627" y="50256"/>
                </a:lnTo>
                <a:cubicBezTo>
                  <a:pt x="105591" y="41011"/>
                  <a:pt x="121864" y="35128"/>
                  <a:pt x="138512" y="32794"/>
                </a:cubicBezTo>
                <a:lnTo>
                  <a:pt x="139447" y="12624"/>
                </a:lnTo>
                <a:cubicBezTo>
                  <a:pt x="139821" y="5433"/>
                  <a:pt x="145901" y="-356"/>
                  <a:pt x="153289" y="1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1" name="îṣḻïḓè">
            <a:extLst>
              <a:ext uri="{FF2B5EF4-FFF2-40B4-BE49-F238E27FC236}">
                <a16:creationId xmlns:a16="http://schemas.microsoft.com/office/drawing/2014/main" id="{30C8A656-A69C-4844-9B4C-38593487F7D6}"/>
              </a:ext>
            </a:extLst>
          </p:cNvPr>
          <p:cNvSpPr/>
          <p:nvPr/>
        </p:nvSpPr>
        <p:spPr bwMode="auto">
          <a:xfrm>
            <a:off x="2572805" y="3190456"/>
            <a:ext cx="283355" cy="282804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81741" h="580612">
                <a:moveTo>
                  <a:pt x="291612" y="187916"/>
                </a:moveTo>
                <a:cubicBezTo>
                  <a:pt x="304876" y="187916"/>
                  <a:pt x="315648" y="198758"/>
                  <a:pt x="315648" y="212088"/>
                </a:cubicBezTo>
                <a:lnTo>
                  <a:pt x="315648" y="491836"/>
                </a:lnTo>
                <a:lnTo>
                  <a:pt x="331227" y="473974"/>
                </a:lnTo>
                <a:cubicBezTo>
                  <a:pt x="339863" y="463932"/>
                  <a:pt x="355086" y="462866"/>
                  <a:pt x="365145" y="471574"/>
                </a:cubicBezTo>
                <a:cubicBezTo>
                  <a:pt x="375116" y="480372"/>
                  <a:pt x="376184" y="495657"/>
                  <a:pt x="367460" y="505699"/>
                </a:cubicBezTo>
                <a:lnTo>
                  <a:pt x="309773" y="572348"/>
                </a:lnTo>
                <a:cubicBezTo>
                  <a:pt x="305143" y="577502"/>
                  <a:pt x="298556" y="580612"/>
                  <a:pt x="291612" y="580612"/>
                </a:cubicBezTo>
                <a:cubicBezTo>
                  <a:pt x="284579" y="580612"/>
                  <a:pt x="278080" y="577680"/>
                  <a:pt x="273451" y="572348"/>
                </a:cubicBezTo>
                <a:lnTo>
                  <a:pt x="215764" y="505699"/>
                </a:lnTo>
                <a:cubicBezTo>
                  <a:pt x="207039" y="495657"/>
                  <a:pt x="208108" y="480372"/>
                  <a:pt x="218078" y="471574"/>
                </a:cubicBezTo>
                <a:cubicBezTo>
                  <a:pt x="228049" y="462866"/>
                  <a:pt x="243272" y="463932"/>
                  <a:pt x="252085" y="473974"/>
                </a:cubicBezTo>
                <a:lnTo>
                  <a:pt x="267486" y="491747"/>
                </a:lnTo>
                <a:lnTo>
                  <a:pt x="267486" y="212088"/>
                </a:lnTo>
                <a:cubicBezTo>
                  <a:pt x="267486" y="198758"/>
                  <a:pt x="278258" y="187916"/>
                  <a:pt x="291612" y="187916"/>
                </a:cubicBezTo>
                <a:close/>
                <a:moveTo>
                  <a:pt x="329499" y="0"/>
                </a:moveTo>
                <a:cubicBezTo>
                  <a:pt x="426248" y="0"/>
                  <a:pt x="465322" y="80426"/>
                  <a:pt x="473332" y="108153"/>
                </a:cubicBezTo>
                <a:cubicBezTo>
                  <a:pt x="535280" y="120684"/>
                  <a:pt x="581474" y="175693"/>
                  <a:pt x="581741" y="241190"/>
                </a:cubicBezTo>
                <a:cubicBezTo>
                  <a:pt x="581741" y="315840"/>
                  <a:pt x="521306" y="376537"/>
                  <a:pt x="446987" y="376537"/>
                </a:cubicBezTo>
                <a:lnTo>
                  <a:pt x="372756" y="376537"/>
                </a:lnTo>
                <a:cubicBezTo>
                  <a:pt x="359316" y="376537"/>
                  <a:pt x="348546" y="365606"/>
                  <a:pt x="348546" y="352276"/>
                </a:cubicBezTo>
                <a:cubicBezTo>
                  <a:pt x="348546" y="338857"/>
                  <a:pt x="359316" y="327926"/>
                  <a:pt x="372756" y="327926"/>
                </a:cubicBezTo>
                <a:lnTo>
                  <a:pt x="446987" y="327926"/>
                </a:lnTo>
                <a:cubicBezTo>
                  <a:pt x="494605" y="327926"/>
                  <a:pt x="533322" y="289090"/>
                  <a:pt x="533322" y="241190"/>
                </a:cubicBezTo>
                <a:cubicBezTo>
                  <a:pt x="533322" y="195334"/>
                  <a:pt x="497720" y="157298"/>
                  <a:pt x="452238" y="154632"/>
                </a:cubicBezTo>
                <a:cubicBezTo>
                  <a:pt x="440934" y="153921"/>
                  <a:pt x="431589" y="145478"/>
                  <a:pt x="429809" y="134192"/>
                </a:cubicBezTo>
                <a:cubicBezTo>
                  <a:pt x="421709" y="84692"/>
                  <a:pt x="379609" y="48789"/>
                  <a:pt x="329677" y="48789"/>
                </a:cubicBezTo>
                <a:cubicBezTo>
                  <a:pt x="279567" y="48789"/>
                  <a:pt x="238001" y="84781"/>
                  <a:pt x="229457" y="134192"/>
                </a:cubicBezTo>
                <a:cubicBezTo>
                  <a:pt x="226520" y="151521"/>
                  <a:pt x="212190" y="162807"/>
                  <a:pt x="192964" y="151077"/>
                </a:cubicBezTo>
                <a:cubicBezTo>
                  <a:pt x="178011" y="141834"/>
                  <a:pt x="160922" y="136947"/>
                  <a:pt x="143299" y="136947"/>
                </a:cubicBezTo>
                <a:cubicBezTo>
                  <a:pt x="90964" y="136947"/>
                  <a:pt x="48419" y="179693"/>
                  <a:pt x="48419" y="232303"/>
                </a:cubicBezTo>
                <a:cubicBezTo>
                  <a:pt x="48419" y="284913"/>
                  <a:pt x="90964" y="327748"/>
                  <a:pt x="143299" y="327748"/>
                </a:cubicBezTo>
                <a:lnTo>
                  <a:pt x="218776" y="327748"/>
                </a:lnTo>
                <a:cubicBezTo>
                  <a:pt x="232216" y="327748"/>
                  <a:pt x="242986" y="338590"/>
                  <a:pt x="242986" y="352009"/>
                </a:cubicBezTo>
                <a:cubicBezTo>
                  <a:pt x="242986" y="365429"/>
                  <a:pt x="232216" y="376271"/>
                  <a:pt x="218776" y="376271"/>
                </a:cubicBezTo>
                <a:lnTo>
                  <a:pt x="143299" y="376271"/>
                </a:lnTo>
                <a:cubicBezTo>
                  <a:pt x="64262" y="376271"/>
                  <a:pt x="0" y="311574"/>
                  <a:pt x="0" y="232214"/>
                </a:cubicBezTo>
                <a:cubicBezTo>
                  <a:pt x="0" y="152854"/>
                  <a:pt x="64262" y="88158"/>
                  <a:pt x="143210" y="88158"/>
                </a:cubicBezTo>
                <a:cubicBezTo>
                  <a:pt x="159231" y="88158"/>
                  <a:pt x="174896" y="90735"/>
                  <a:pt x="189849" y="95978"/>
                </a:cubicBezTo>
                <a:cubicBezTo>
                  <a:pt x="198749" y="73050"/>
                  <a:pt x="238891" y="0"/>
                  <a:pt x="3294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2" name="iş1iḑe">
            <a:extLst>
              <a:ext uri="{FF2B5EF4-FFF2-40B4-BE49-F238E27FC236}">
                <a16:creationId xmlns:a16="http://schemas.microsoft.com/office/drawing/2014/main" id="{79D5FAF9-096B-4C61-A299-6A26A276E128}"/>
              </a:ext>
            </a:extLst>
          </p:cNvPr>
          <p:cNvSpPr/>
          <p:nvPr/>
        </p:nvSpPr>
        <p:spPr bwMode="auto">
          <a:xfrm>
            <a:off x="2168646" y="3672722"/>
            <a:ext cx="283355" cy="282927"/>
          </a:xfrm>
          <a:custGeom>
            <a:avLst/>
            <a:gdLst>
              <a:gd name="connsiteX0" fmla="*/ 303820 w 607639"/>
              <a:gd name="connsiteY0" fmla="*/ 278099 h 606722"/>
              <a:gd name="connsiteX1" fmla="*/ 329118 w 607639"/>
              <a:gd name="connsiteY1" fmla="*/ 303362 h 606722"/>
              <a:gd name="connsiteX2" fmla="*/ 303820 w 607639"/>
              <a:gd name="connsiteY2" fmla="*/ 328625 h 606722"/>
              <a:gd name="connsiteX3" fmla="*/ 278522 w 607639"/>
              <a:gd name="connsiteY3" fmla="*/ 303362 h 606722"/>
              <a:gd name="connsiteX4" fmla="*/ 303820 w 607639"/>
              <a:gd name="connsiteY4" fmla="*/ 278099 h 606722"/>
              <a:gd name="connsiteX5" fmla="*/ 303775 w 607639"/>
              <a:gd name="connsiteY5" fmla="*/ 252735 h 606722"/>
              <a:gd name="connsiteX6" fmla="*/ 253140 w 607639"/>
              <a:gd name="connsiteY6" fmla="*/ 303317 h 606722"/>
              <a:gd name="connsiteX7" fmla="*/ 303775 w 607639"/>
              <a:gd name="connsiteY7" fmla="*/ 353900 h 606722"/>
              <a:gd name="connsiteX8" fmla="*/ 354410 w 607639"/>
              <a:gd name="connsiteY8" fmla="*/ 303317 h 606722"/>
              <a:gd name="connsiteX9" fmla="*/ 303775 w 607639"/>
              <a:gd name="connsiteY9" fmla="*/ 252735 h 606722"/>
              <a:gd name="connsiteX10" fmla="*/ 303775 w 607639"/>
              <a:gd name="connsiteY10" fmla="*/ 202241 h 606722"/>
              <a:gd name="connsiteX11" fmla="*/ 405045 w 607639"/>
              <a:gd name="connsiteY11" fmla="*/ 303317 h 606722"/>
              <a:gd name="connsiteX12" fmla="*/ 303775 w 607639"/>
              <a:gd name="connsiteY12" fmla="*/ 404482 h 606722"/>
              <a:gd name="connsiteX13" fmla="*/ 202593 w 607639"/>
              <a:gd name="connsiteY13" fmla="*/ 303317 h 606722"/>
              <a:gd name="connsiteX14" fmla="*/ 303775 w 607639"/>
              <a:gd name="connsiteY14" fmla="*/ 202241 h 606722"/>
              <a:gd name="connsiteX15" fmla="*/ 303775 w 607639"/>
              <a:gd name="connsiteY15" fmla="*/ 151703 h 606722"/>
              <a:gd name="connsiteX16" fmla="*/ 151932 w 607639"/>
              <a:gd name="connsiteY16" fmla="*/ 303317 h 606722"/>
              <a:gd name="connsiteX17" fmla="*/ 303775 w 607639"/>
              <a:gd name="connsiteY17" fmla="*/ 455019 h 606722"/>
              <a:gd name="connsiteX18" fmla="*/ 455707 w 607639"/>
              <a:gd name="connsiteY18" fmla="*/ 303317 h 606722"/>
              <a:gd name="connsiteX19" fmla="*/ 303775 w 607639"/>
              <a:gd name="connsiteY19" fmla="*/ 151703 h 606722"/>
              <a:gd name="connsiteX20" fmla="*/ 253131 w 607639"/>
              <a:gd name="connsiteY20" fmla="*/ 0 h 606722"/>
              <a:gd name="connsiteX21" fmla="*/ 354419 w 607639"/>
              <a:gd name="connsiteY21" fmla="*/ 0 h 606722"/>
              <a:gd name="connsiteX22" fmla="*/ 379786 w 607639"/>
              <a:gd name="connsiteY22" fmla="*/ 25239 h 606722"/>
              <a:gd name="connsiteX23" fmla="*/ 379786 w 607639"/>
              <a:gd name="connsiteY23" fmla="*/ 62387 h 606722"/>
              <a:gd name="connsiteX24" fmla="*/ 420639 w 607639"/>
              <a:gd name="connsiteY24" fmla="*/ 79451 h 606722"/>
              <a:gd name="connsiteX25" fmla="*/ 446985 w 607639"/>
              <a:gd name="connsiteY25" fmla="*/ 53145 h 606722"/>
              <a:gd name="connsiteX26" fmla="*/ 482854 w 607639"/>
              <a:gd name="connsiteY26" fmla="*/ 53145 h 606722"/>
              <a:gd name="connsiteX27" fmla="*/ 554414 w 607639"/>
              <a:gd name="connsiteY27" fmla="*/ 124597 h 606722"/>
              <a:gd name="connsiteX28" fmla="*/ 554414 w 607639"/>
              <a:gd name="connsiteY28" fmla="*/ 160323 h 606722"/>
              <a:gd name="connsiteX29" fmla="*/ 528069 w 607639"/>
              <a:gd name="connsiteY29" fmla="*/ 186629 h 606722"/>
              <a:gd name="connsiteX30" fmla="*/ 545158 w 607639"/>
              <a:gd name="connsiteY30" fmla="*/ 227510 h 606722"/>
              <a:gd name="connsiteX31" fmla="*/ 582273 w 607639"/>
              <a:gd name="connsiteY31" fmla="*/ 227510 h 606722"/>
              <a:gd name="connsiteX32" fmla="*/ 607639 w 607639"/>
              <a:gd name="connsiteY32" fmla="*/ 252749 h 606722"/>
              <a:gd name="connsiteX33" fmla="*/ 607639 w 607639"/>
              <a:gd name="connsiteY33" fmla="*/ 353884 h 606722"/>
              <a:gd name="connsiteX34" fmla="*/ 582273 w 607639"/>
              <a:gd name="connsiteY34" fmla="*/ 379212 h 606722"/>
              <a:gd name="connsiteX35" fmla="*/ 545158 w 607639"/>
              <a:gd name="connsiteY35" fmla="*/ 379212 h 606722"/>
              <a:gd name="connsiteX36" fmla="*/ 528069 w 607639"/>
              <a:gd name="connsiteY36" fmla="*/ 420004 h 606722"/>
              <a:gd name="connsiteX37" fmla="*/ 554414 w 607639"/>
              <a:gd name="connsiteY37" fmla="*/ 446310 h 606722"/>
              <a:gd name="connsiteX38" fmla="*/ 554414 w 607639"/>
              <a:gd name="connsiteY38" fmla="*/ 482125 h 606722"/>
              <a:gd name="connsiteX39" fmla="*/ 482854 w 607639"/>
              <a:gd name="connsiteY39" fmla="*/ 553577 h 606722"/>
              <a:gd name="connsiteX40" fmla="*/ 446985 w 607639"/>
              <a:gd name="connsiteY40" fmla="*/ 553577 h 606722"/>
              <a:gd name="connsiteX41" fmla="*/ 420639 w 607639"/>
              <a:gd name="connsiteY41" fmla="*/ 527271 h 606722"/>
              <a:gd name="connsiteX42" fmla="*/ 379786 w 607639"/>
              <a:gd name="connsiteY42" fmla="*/ 544246 h 606722"/>
              <a:gd name="connsiteX43" fmla="*/ 379786 w 607639"/>
              <a:gd name="connsiteY43" fmla="*/ 581394 h 606722"/>
              <a:gd name="connsiteX44" fmla="*/ 354419 w 607639"/>
              <a:gd name="connsiteY44" fmla="*/ 606722 h 606722"/>
              <a:gd name="connsiteX45" fmla="*/ 253131 w 607639"/>
              <a:gd name="connsiteY45" fmla="*/ 606722 h 606722"/>
              <a:gd name="connsiteX46" fmla="*/ 227854 w 607639"/>
              <a:gd name="connsiteY46" fmla="*/ 581394 h 606722"/>
              <a:gd name="connsiteX47" fmla="*/ 227854 w 607639"/>
              <a:gd name="connsiteY47" fmla="*/ 544246 h 606722"/>
              <a:gd name="connsiteX48" fmla="*/ 186911 w 607639"/>
              <a:gd name="connsiteY48" fmla="*/ 527271 h 606722"/>
              <a:gd name="connsiteX49" fmla="*/ 160566 w 607639"/>
              <a:gd name="connsiteY49" fmla="*/ 553577 h 606722"/>
              <a:gd name="connsiteX50" fmla="*/ 124786 w 607639"/>
              <a:gd name="connsiteY50" fmla="*/ 553577 h 606722"/>
              <a:gd name="connsiteX51" fmla="*/ 53225 w 607639"/>
              <a:gd name="connsiteY51" fmla="*/ 482125 h 606722"/>
              <a:gd name="connsiteX52" fmla="*/ 53225 w 607639"/>
              <a:gd name="connsiteY52" fmla="*/ 446310 h 606722"/>
              <a:gd name="connsiteX53" fmla="*/ 79482 w 607639"/>
              <a:gd name="connsiteY53" fmla="*/ 420004 h 606722"/>
              <a:gd name="connsiteX54" fmla="*/ 62482 w 607639"/>
              <a:gd name="connsiteY54" fmla="*/ 379212 h 606722"/>
              <a:gd name="connsiteX55" fmla="*/ 25278 w 607639"/>
              <a:gd name="connsiteY55" fmla="*/ 379212 h 606722"/>
              <a:gd name="connsiteX56" fmla="*/ 0 w 607639"/>
              <a:gd name="connsiteY56" fmla="*/ 353884 h 606722"/>
              <a:gd name="connsiteX57" fmla="*/ 0 w 607639"/>
              <a:gd name="connsiteY57" fmla="*/ 252749 h 606722"/>
              <a:gd name="connsiteX58" fmla="*/ 25278 w 607639"/>
              <a:gd name="connsiteY58" fmla="*/ 227510 h 606722"/>
              <a:gd name="connsiteX59" fmla="*/ 62482 w 607639"/>
              <a:gd name="connsiteY59" fmla="*/ 227510 h 606722"/>
              <a:gd name="connsiteX60" fmla="*/ 79482 w 607639"/>
              <a:gd name="connsiteY60" fmla="*/ 186629 h 606722"/>
              <a:gd name="connsiteX61" fmla="*/ 53225 w 607639"/>
              <a:gd name="connsiteY61" fmla="*/ 160323 h 606722"/>
              <a:gd name="connsiteX62" fmla="*/ 53225 w 607639"/>
              <a:gd name="connsiteY62" fmla="*/ 124597 h 606722"/>
              <a:gd name="connsiteX63" fmla="*/ 124786 w 607639"/>
              <a:gd name="connsiteY63" fmla="*/ 53145 h 606722"/>
              <a:gd name="connsiteX64" fmla="*/ 160566 w 607639"/>
              <a:gd name="connsiteY64" fmla="*/ 53145 h 606722"/>
              <a:gd name="connsiteX65" fmla="*/ 186911 w 607639"/>
              <a:gd name="connsiteY65" fmla="*/ 79451 h 606722"/>
              <a:gd name="connsiteX66" fmla="*/ 227854 w 607639"/>
              <a:gd name="connsiteY66" fmla="*/ 62387 h 606722"/>
              <a:gd name="connsiteX67" fmla="*/ 227854 w 607639"/>
              <a:gd name="connsiteY67" fmla="*/ 25239 h 606722"/>
              <a:gd name="connsiteX68" fmla="*/ 253131 w 607639"/>
              <a:gd name="connsiteY68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07639" h="606722">
                <a:moveTo>
                  <a:pt x="303820" y="278099"/>
                </a:moveTo>
                <a:cubicBezTo>
                  <a:pt x="317792" y="278099"/>
                  <a:pt x="329118" y="289410"/>
                  <a:pt x="329118" y="303362"/>
                </a:cubicBezTo>
                <a:cubicBezTo>
                  <a:pt x="329118" y="317314"/>
                  <a:pt x="317792" y="328625"/>
                  <a:pt x="303820" y="328625"/>
                </a:cubicBezTo>
                <a:cubicBezTo>
                  <a:pt x="289848" y="328625"/>
                  <a:pt x="278522" y="317314"/>
                  <a:pt x="278522" y="303362"/>
                </a:cubicBezTo>
                <a:cubicBezTo>
                  <a:pt x="278522" y="289410"/>
                  <a:pt x="289848" y="278099"/>
                  <a:pt x="303820" y="278099"/>
                </a:cubicBezTo>
                <a:close/>
                <a:moveTo>
                  <a:pt x="303775" y="252735"/>
                </a:moveTo>
                <a:cubicBezTo>
                  <a:pt x="275921" y="252735"/>
                  <a:pt x="253140" y="275492"/>
                  <a:pt x="253140" y="303317"/>
                </a:cubicBezTo>
                <a:cubicBezTo>
                  <a:pt x="253140" y="331231"/>
                  <a:pt x="275921" y="353900"/>
                  <a:pt x="303775" y="353900"/>
                </a:cubicBezTo>
                <a:cubicBezTo>
                  <a:pt x="331718" y="353900"/>
                  <a:pt x="354410" y="331231"/>
                  <a:pt x="354410" y="303317"/>
                </a:cubicBezTo>
                <a:cubicBezTo>
                  <a:pt x="354410" y="275492"/>
                  <a:pt x="331718" y="252735"/>
                  <a:pt x="303775" y="252735"/>
                </a:cubicBezTo>
                <a:close/>
                <a:moveTo>
                  <a:pt x="303775" y="202241"/>
                </a:moveTo>
                <a:cubicBezTo>
                  <a:pt x="359660" y="202241"/>
                  <a:pt x="405045" y="247579"/>
                  <a:pt x="405045" y="303317"/>
                </a:cubicBezTo>
                <a:cubicBezTo>
                  <a:pt x="405045" y="359144"/>
                  <a:pt x="359660" y="404482"/>
                  <a:pt x="303775" y="404482"/>
                </a:cubicBezTo>
                <a:cubicBezTo>
                  <a:pt x="247978" y="404482"/>
                  <a:pt x="202593" y="359144"/>
                  <a:pt x="202593" y="303317"/>
                </a:cubicBezTo>
                <a:cubicBezTo>
                  <a:pt x="202593" y="247579"/>
                  <a:pt x="247978" y="202241"/>
                  <a:pt x="303775" y="202241"/>
                </a:cubicBezTo>
                <a:close/>
                <a:moveTo>
                  <a:pt x="303775" y="151703"/>
                </a:moveTo>
                <a:cubicBezTo>
                  <a:pt x="220021" y="151703"/>
                  <a:pt x="151932" y="219689"/>
                  <a:pt x="151932" y="303317"/>
                </a:cubicBezTo>
                <a:cubicBezTo>
                  <a:pt x="151932" y="387033"/>
                  <a:pt x="220021" y="455019"/>
                  <a:pt x="303775" y="455019"/>
                </a:cubicBezTo>
                <a:cubicBezTo>
                  <a:pt x="387618" y="455019"/>
                  <a:pt x="455707" y="387033"/>
                  <a:pt x="455707" y="303317"/>
                </a:cubicBezTo>
                <a:cubicBezTo>
                  <a:pt x="455707" y="219689"/>
                  <a:pt x="387618" y="151703"/>
                  <a:pt x="303775" y="151703"/>
                </a:cubicBezTo>
                <a:close/>
                <a:moveTo>
                  <a:pt x="253131" y="0"/>
                </a:moveTo>
                <a:lnTo>
                  <a:pt x="354419" y="0"/>
                </a:lnTo>
                <a:cubicBezTo>
                  <a:pt x="368482" y="0"/>
                  <a:pt x="379786" y="11287"/>
                  <a:pt x="379786" y="25239"/>
                </a:cubicBezTo>
                <a:lnTo>
                  <a:pt x="379786" y="62387"/>
                </a:lnTo>
                <a:cubicBezTo>
                  <a:pt x="393849" y="66831"/>
                  <a:pt x="407555" y="72519"/>
                  <a:pt x="420639" y="79451"/>
                </a:cubicBezTo>
                <a:lnTo>
                  <a:pt x="446985" y="53145"/>
                </a:lnTo>
                <a:cubicBezTo>
                  <a:pt x="456953" y="43191"/>
                  <a:pt x="472974" y="43191"/>
                  <a:pt x="482854" y="53145"/>
                </a:cubicBezTo>
                <a:lnTo>
                  <a:pt x="554414" y="124597"/>
                </a:lnTo>
                <a:cubicBezTo>
                  <a:pt x="564294" y="134462"/>
                  <a:pt x="564294" y="150459"/>
                  <a:pt x="554414" y="160323"/>
                </a:cubicBezTo>
                <a:lnTo>
                  <a:pt x="528069" y="186629"/>
                </a:lnTo>
                <a:cubicBezTo>
                  <a:pt x="535011" y="199782"/>
                  <a:pt x="540707" y="213468"/>
                  <a:pt x="545158" y="227510"/>
                </a:cubicBezTo>
                <a:lnTo>
                  <a:pt x="582273" y="227510"/>
                </a:lnTo>
                <a:cubicBezTo>
                  <a:pt x="596336" y="227510"/>
                  <a:pt x="607639" y="238796"/>
                  <a:pt x="607639" y="252749"/>
                </a:cubicBezTo>
                <a:lnTo>
                  <a:pt x="607639" y="353884"/>
                </a:lnTo>
                <a:cubicBezTo>
                  <a:pt x="607639" y="367926"/>
                  <a:pt x="596247" y="379212"/>
                  <a:pt x="582273" y="379212"/>
                </a:cubicBezTo>
                <a:lnTo>
                  <a:pt x="545158" y="379212"/>
                </a:lnTo>
                <a:cubicBezTo>
                  <a:pt x="540707" y="393254"/>
                  <a:pt x="535011" y="406940"/>
                  <a:pt x="528069" y="420004"/>
                </a:cubicBezTo>
                <a:lnTo>
                  <a:pt x="554414" y="446310"/>
                </a:lnTo>
                <a:cubicBezTo>
                  <a:pt x="564294" y="456263"/>
                  <a:pt x="564294" y="472260"/>
                  <a:pt x="554414" y="482125"/>
                </a:cubicBezTo>
                <a:lnTo>
                  <a:pt x="482854" y="553577"/>
                </a:lnTo>
                <a:cubicBezTo>
                  <a:pt x="472974" y="563442"/>
                  <a:pt x="456953" y="563442"/>
                  <a:pt x="446985" y="553577"/>
                </a:cubicBezTo>
                <a:lnTo>
                  <a:pt x="420639" y="527271"/>
                </a:lnTo>
                <a:cubicBezTo>
                  <a:pt x="407555" y="534203"/>
                  <a:pt x="393849" y="539802"/>
                  <a:pt x="379786" y="544246"/>
                </a:cubicBezTo>
                <a:lnTo>
                  <a:pt x="379786" y="581394"/>
                </a:lnTo>
                <a:cubicBezTo>
                  <a:pt x="379786" y="595435"/>
                  <a:pt x="368393" y="606722"/>
                  <a:pt x="354419" y="606722"/>
                </a:cubicBezTo>
                <a:lnTo>
                  <a:pt x="253131" y="606722"/>
                </a:lnTo>
                <a:cubicBezTo>
                  <a:pt x="239157" y="606722"/>
                  <a:pt x="227854" y="595435"/>
                  <a:pt x="227854" y="581394"/>
                </a:cubicBezTo>
                <a:lnTo>
                  <a:pt x="227854" y="544246"/>
                </a:lnTo>
                <a:cubicBezTo>
                  <a:pt x="213791" y="539802"/>
                  <a:pt x="200084" y="534203"/>
                  <a:pt x="186911" y="527271"/>
                </a:cubicBezTo>
                <a:lnTo>
                  <a:pt x="160566" y="553577"/>
                </a:lnTo>
                <a:cubicBezTo>
                  <a:pt x="150686" y="563442"/>
                  <a:pt x="134665" y="563442"/>
                  <a:pt x="124786" y="553577"/>
                </a:cubicBezTo>
                <a:lnTo>
                  <a:pt x="53225" y="482125"/>
                </a:lnTo>
                <a:cubicBezTo>
                  <a:pt x="43257" y="472260"/>
                  <a:pt x="43257" y="456263"/>
                  <a:pt x="53225" y="446310"/>
                </a:cubicBezTo>
                <a:lnTo>
                  <a:pt x="79482" y="420004"/>
                </a:lnTo>
                <a:cubicBezTo>
                  <a:pt x="72629" y="406940"/>
                  <a:pt x="66932" y="393254"/>
                  <a:pt x="62482" y="379212"/>
                </a:cubicBezTo>
                <a:lnTo>
                  <a:pt x="25278" y="379212"/>
                </a:lnTo>
                <a:cubicBezTo>
                  <a:pt x="11304" y="379212"/>
                  <a:pt x="0" y="367926"/>
                  <a:pt x="0" y="353884"/>
                </a:cubicBezTo>
                <a:lnTo>
                  <a:pt x="0" y="252749"/>
                </a:lnTo>
                <a:cubicBezTo>
                  <a:pt x="0" y="238796"/>
                  <a:pt x="11304" y="227510"/>
                  <a:pt x="25278" y="227510"/>
                </a:cubicBezTo>
                <a:lnTo>
                  <a:pt x="62482" y="227510"/>
                </a:lnTo>
                <a:cubicBezTo>
                  <a:pt x="66932" y="213468"/>
                  <a:pt x="72629" y="199782"/>
                  <a:pt x="79482" y="186629"/>
                </a:cubicBezTo>
                <a:lnTo>
                  <a:pt x="53225" y="160323"/>
                </a:lnTo>
                <a:cubicBezTo>
                  <a:pt x="43257" y="150459"/>
                  <a:pt x="43257" y="134462"/>
                  <a:pt x="53225" y="124597"/>
                </a:cubicBezTo>
                <a:lnTo>
                  <a:pt x="124786" y="53145"/>
                </a:lnTo>
                <a:cubicBezTo>
                  <a:pt x="134665" y="43191"/>
                  <a:pt x="150686" y="43191"/>
                  <a:pt x="160566" y="53145"/>
                </a:cubicBezTo>
                <a:lnTo>
                  <a:pt x="186911" y="79451"/>
                </a:lnTo>
                <a:cubicBezTo>
                  <a:pt x="200084" y="72519"/>
                  <a:pt x="213791" y="66831"/>
                  <a:pt x="227854" y="62387"/>
                </a:cubicBezTo>
                <a:lnTo>
                  <a:pt x="227854" y="25239"/>
                </a:lnTo>
                <a:cubicBezTo>
                  <a:pt x="227854" y="11287"/>
                  <a:pt x="239157" y="0"/>
                  <a:pt x="25313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3" name="ïṧľíďê">
            <a:extLst>
              <a:ext uri="{FF2B5EF4-FFF2-40B4-BE49-F238E27FC236}">
                <a16:creationId xmlns:a16="http://schemas.microsoft.com/office/drawing/2014/main" id="{83AC56C8-BB22-4DB6-8372-AA84DFFA3A81}"/>
              </a:ext>
            </a:extLst>
          </p:cNvPr>
          <p:cNvSpPr/>
          <p:nvPr/>
        </p:nvSpPr>
        <p:spPr bwMode="auto">
          <a:xfrm>
            <a:off x="1773587" y="4155069"/>
            <a:ext cx="283355" cy="282891"/>
          </a:xfrm>
          <a:custGeom>
            <a:avLst/>
            <a:gdLst>
              <a:gd name="connsiteX0" fmla="*/ 380418 w 604181"/>
              <a:gd name="connsiteY0" fmla="*/ 268007 h 603193"/>
              <a:gd name="connsiteX1" fmla="*/ 519220 w 604181"/>
              <a:gd name="connsiteY1" fmla="*/ 339187 h 603193"/>
              <a:gd name="connsiteX2" fmla="*/ 519220 w 604181"/>
              <a:gd name="connsiteY2" fmla="*/ 355820 h 603193"/>
              <a:gd name="connsiteX3" fmla="*/ 380418 w 604181"/>
              <a:gd name="connsiteY3" fmla="*/ 426850 h 603193"/>
              <a:gd name="connsiteX4" fmla="*/ 380418 w 604181"/>
              <a:gd name="connsiteY4" fmla="*/ 406320 h 603193"/>
              <a:gd name="connsiteX5" fmla="*/ 498212 w 604181"/>
              <a:gd name="connsiteY5" fmla="*/ 347728 h 603193"/>
              <a:gd name="connsiteX6" fmla="*/ 498212 w 604181"/>
              <a:gd name="connsiteY6" fmla="*/ 347129 h 603193"/>
              <a:gd name="connsiteX7" fmla="*/ 380418 w 604181"/>
              <a:gd name="connsiteY7" fmla="*/ 288687 h 603193"/>
              <a:gd name="connsiteX8" fmla="*/ 216565 w 604181"/>
              <a:gd name="connsiteY8" fmla="*/ 268007 h 603193"/>
              <a:gd name="connsiteX9" fmla="*/ 216565 w 604181"/>
              <a:gd name="connsiteY9" fmla="*/ 288687 h 603193"/>
              <a:gd name="connsiteX10" fmla="*/ 99664 w 604181"/>
              <a:gd name="connsiteY10" fmla="*/ 347129 h 603193"/>
              <a:gd name="connsiteX11" fmla="*/ 99664 w 604181"/>
              <a:gd name="connsiteY11" fmla="*/ 347728 h 603193"/>
              <a:gd name="connsiteX12" fmla="*/ 216565 w 604181"/>
              <a:gd name="connsiteY12" fmla="*/ 406320 h 603193"/>
              <a:gd name="connsiteX13" fmla="*/ 216565 w 604181"/>
              <a:gd name="connsiteY13" fmla="*/ 426850 h 603193"/>
              <a:gd name="connsiteX14" fmla="*/ 77904 w 604181"/>
              <a:gd name="connsiteY14" fmla="*/ 355521 h 603193"/>
              <a:gd name="connsiteX15" fmla="*/ 77904 w 604181"/>
              <a:gd name="connsiteY15" fmla="*/ 339486 h 603193"/>
              <a:gd name="connsiteX16" fmla="*/ 338273 w 604181"/>
              <a:gd name="connsiteY16" fmla="*/ 222493 h 603193"/>
              <a:gd name="connsiteX17" fmla="*/ 358684 w 604181"/>
              <a:gd name="connsiteY17" fmla="*/ 222493 h 603193"/>
              <a:gd name="connsiteX18" fmla="*/ 253179 w 604181"/>
              <a:gd name="connsiteY18" fmla="*/ 482103 h 603193"/>
              <a:gd name="connsiteX19" fmla="*/ 233219 w 604181"/>
              <a:gd name="connsiteY19" fmla="*/ 482103 h 603193"/>
              <a:gd name="connsiteX20" fmla="*/ 28813 w 604181"/>
              <a:gd name="connsiteY20" fmla="*/ 128849 h 603193"/>
              <a:gd name="connsiteX21" fmla="*/ 28813 w 604181"/>
              <a:gd name="connsiteY21" fmla="*/ 557497 h 603193"/>
              <a:gd name="connsiteX22" fmla="*/ 45921 w 604181"/>
              <a:gd name="connsiteY22" fmla="*/ 574427 h 603193"/>
              <a:gd name="connsiteX23" fmla="*/ 558410 w 604181"/>
              <a:gd name="connsiteY23" fmla="*/ 574427 h 603193"/>
              <a:gd name="connsiteX24" fmla="*/ 575368 w 604181"/>
              <a:gd name="connsiteY24" fmla="*/ 557497 h 603193"/>
              <a:gd name="connsiteX25" fmla="*/ 575368 w 604181"/>
              <a:gd name="connsiteY25" fmla="*/ 128849 h 603193"/>
              <a:gd name="connsiteX26" fmla="*/ 502734 w 604181"/>
              <a:gd name="connsiteY26" fmla="*/ 43149 h 603193"/>
              <a:gd name="connsiteX27" fmla="*/ 502734 w 604181"/>
              <a:gd name="connsiteY27" fmla="*/ 77309 h 603193"/>
              <a:gd name="connsiteX28" fmla="*/ 537100 w 604181"/>
              <a:gd name="connsiteY28" fmla="*/ 77309 h 603193"/>
              <a:gd name="connsiteX29" fmla="*/ 537100 w 604181"/>
              <a:gd name="connsiteY29" fmla="*/ 43149 h 603193"/>
              <a:gd name="connsiteX30" fmla="*/ 423197 w 604181"/>
              <a:gd name="connsiteY30" fmla="*/ 43149 h 603193"/>
              <a:gd name="connsiteX31" fmla="*/ 423197 w 604181"/>
              <a:gd name="connsiteY31" fmla="*/ 77309 h 603193"/>
              <a:gd name="connsiteX32" fmla="*/ 457563 w 604181"/>
              <a:gd name="connsiteY32" fmla="*/ 77309 h 603193"/>
              <a:gd name="connsiteX33" fmla="*/ 457563 w 604181"/>
              <a:gd name="connsiteY33" fmla="*/ 43149 h 603193"/>
              <a:gd name="connsiteX34" fmla="*/ 45921 w 604181"/>
              <a:gd name="connsiteY34" fmla="*/ 0 h 603193"/>
              <a:gd name="connsiteX35" fmla="*/ 558410 w 604181"/>
              <a:gd name="connsiteY35" fmla="*/ 0 h 603193"/>
              <a:gd name="connsiteX36" fmla="*/ 604181 w 604181"/>
              <a:gd name="connsiteY36" fmla="*/ 45846 h 603193"/>
              <a:gd name="connsiteX37" fmla="*/ 604181 w 604181"/>
              <a:gd name="connsiteY37" fmla="*/ 557497 h 603193"/>
              <a:gd name="connsiteX38" fmla="*/ 558410 w 604181"/>
              <a:gd name="connsiteY38" fmla="*/ 603193 h 603193"/>
              <a:gd name="connsiteX39" fmla="*/ 45921 w 604181"/>
              <a:gd name="connsiteY39" fmla="*/ 603193 h 603193"/>
              <a:gd name="connsiteX40" fmla="*/ 0 w 604181"/>
              <a:gd name="connsiteY40" fmla="*/ 557497 h 603193"/>
              <a:gd name="connsiteX41" fmla="*/ 0 w 604181"/>
              <a:gd name="connsiteY41" fmla="*/ 45846 h 603193"/>
              <a:gd name="connsiteX42" fmla="*/ 45921 w 604181"/>
              <a:gd name="connsiteY42" fmla="*/ 0 h 603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04181" h="603193">
                <a:moveTo>
                  <a:pt x="380418" y="268007"/>
                </a:moveTo>
                <a:lnTo>
                  <a:pt x="519220" y="339187"/>
                </a:lnTo>
                <a:lnTo>
                  <a:pt x="519220" y="355820"/>
                </a:lnTo>
                <a:lnTo>
                  <a:pt x="380418" y="426850"/>
                </a:lnTo>
                <a:lnTo>
                  <a:pt x="380418" y="406320"/>
                </a:lnTo>
                <a:lnTo>
                  <a:pt x="498212" y="347728"/>
                </a:lnTo>
                <a:lnTo>
                  <a:pt x="498212" y="347129"/>
                </a:lnTo>
                <a:lnTo>
                  <a:pt x="380418" y="288687"/>
                </a:lnTo>
                <a:close/>
                <a:moveTo>
                  <a:pt x="216565" y="268007"/>
                </a:moveTo>
                <a:lnTo>
                  <a:pt x="216565" y="288687"/>
                </a:lnTo>
                <a:lnTo>
                  <a:pt x="99664" y="347129"/>
                </a:lnTo>
                <a:lnTo>
                  <a:pt x="99664" y="347728"/>
                </a:lnTo>
                <a:lnTo>
                  <a:pt x="216565" y="406320"/>
                </a:lnTo>
                <a:lnTo>
                  <a:pt x="216565" y="426850"/>
                </a:lnTo>
                <a:lnTo>
                  <a:pt x="77904" y="355521"/>
                </a:lnTo>
                <a:lnTo>
                  <a:pt x="77904" y="339486"/>
                </a:lnTo>
                <a:close/>
                <a:moveTo>
                  <a:pt x="338273" y="222493"/>
                </a:moveTo>
                <a:lnTo>
                  <a:pt x="358684" y="222493"/>
                </a:lnTo>
                <a:lnTo>
                  <a:pt x="253179" y="482103"/>
                </a:lnTo>
                <a:lnTo>
                  <a:pt x="233219" y="482103"/>
                </a:lnTo>
                <a:close/>
                <a:moveTo>
                  <a:pt x="28813" y="128849"/>
                </a:moveTo>
                <a:lnTo>
                  <a:pt x="28813" y="557497"/>
                </a:lnTo>
                <a:cubicBezTo>
                  <a:pt x="28813" y="566786"/>
                  <a:pt x="36467" y="574427"/>
                  <a:pt x="45921" y="574427"/>
                </a:cubicBezTo>
                <a:lnTo>
                  <a:pt x="558410" y="574427"/>
                </a:lnTo>
                <a:cubicBezTo>
                  <a:pt x="567714" y="574427"/>
                  <a:pt x="575368" y="566786"/>
                  <a:pt x="575368" y="557497"/>
                </a:cubicBezTo>
                <a:lnTo>
                  <a:pt x="575368" y="128849"/>
                </a:lnTo>
                <a:close/>
                <a:moveTo>
                  <a:pt x="502734" y="43149"/>
                </a:moveTo>
                <a:lnTo>
                  <a:pt x="502734" y="77309"/>
                </a:lnTo>
                <a:lnTo>
                  <a:pt x="537100" y="77309"/>
                </a:lnTo>
                <a:lnTo>
                  <a:pt x="537100" y="43149"/>
                </a:lnTo>
                <a:close/>
                <a:moveTo>
                  <a:pt x="423197" y="43149"/>
                </a:moveTo>
                <a:lnTo>
                  <a:pt x="423197" y="77309"/>
                </a:lnTo>
                <a:lnTo>
                  <a:pt x="457563" y="77309"/>
                </a:lnTo>
                <a:lnTo>
                  <a:pt x="457563" y="43149"/>
                </a:lnTo>
                <a:close/>
                <a:moveTo>
                  <a:pt x="45921" y="0"/>
                </a:moveTo>
                <a:lnTo>
                  <a:pt x="558410" y="0"/>
                </a:lnTo>
                <a:cubicBezTo>
                  <a:pt x="583621" y="0"/>
                  <a:pt x="604181" y="20526"/>
                  <a:pt x="604181" y="45846"/>
                </a:cubicBezTo>
                <a:lnTo>
                  <a:pt x="604181" y="557497"/>
                </a:lnTo>
                <a:cubicBezTo>
                  <a:pt x="604181" y="582667"/>
                  <a:pt x="583621" y="603193"/>
                  <a:pt x="558410" y="603193"/>
                </a:cubicBezTo>
                <a:lnTo>
                  <a:pt x="45921" y="603193"/>
                </a:lnTo>
                <a:cubicBezTo>
                  <a:pt x="20560" y="603193"/>
                  <a:pt x="0" y="582667"/>
                  <a:pt x="0" y="557497"/>
                </a:cubicBezTo>
                <a:lnTo>
                  <a:pt x="0" y="45846"/>
                </a:lnTo>
                <a:cubicBezTo>
                  <a:pt x="0" y="20526"/>
                  <a:pt x="20560" y="0"/>
                  <a:pt x="4592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4" name="îṣḻîḍé">
            <a:extLst>
              <a:ext uri="{FF2B5EF4-FFF2-40B4-BE49-F238E27FC236}">
                <a16:creationId xmlns:a16="http://schemas.microsoft.com/office/drawing/2014/main" id="{716A4AAF-66FE-4462-901E-658C29D84AD8}"/>
              </a:ext>
            </a:extLst>
          </p:cNvPr>
          <p:cNvSpPr/>
          <p:nvPr/>
        </p:nvSpPr>
        <p:spPr bwMode="auto">
          <a:xfrm>
            <a:off x="1369248" y="4637380"/>
            <a:ext cx="283355" cy="282926"/>
          </a:xfrm>
          <a:custGeom>
            <a:avLst/>
            <a:gdLst>
              <a:gd name="T0" fmla="*/ 6624 w 7154"/>
              <a:gd name="T1" fmla="*/ 2037 h 7154"/>
              <a:gd name="T2" fmla="*/ 6106 w 7154"/>
              <a:gd name="T3" fmla="*/ 1048 h 7154"/>
              <a:gd name="T4" fmla="*/ 5117 w 7154"/>
              <a:gd name="T5" fmla="*/ 530 h 7154"/>
              <a:gd name="T6" fmla="*/ 4643 w 7154"/>
              <a:gd name="T7" fmla="*/ 334 h 7154"/>
              <a:gd name="T8" fmla="*/ 3577 w 7154"/>
              <a:gd name="T9" fmla="*/ 0 h 7154"/>
              <a:gd name="T10" fmla="*/ 2511 w 7154"/>
              <a:gd name="T11" fmla="*/ 334 h 7154"/>
              <a:gd name="T12" fmla="*/ 2037 w 7154"/>
              <a:gd name="T13" fmla="*/ 530 h 7154"/>
              <a:gd name="T14" fmla="*/ 1048 w 7154"/>
              <a:gd name="T15" fmla="*/ 1048 h 7154"/>
              <a:gd name="T16" fmla="*/ 530 w 7154"/>
              <a:gd name="T17" fmla="*/ 2037 h 7154"/>
              <a:gd name="T18" fmla="*/ 334 w 7154"/>
              <a:gd name="T19" fmla="*/ 2511 h 7154"/>
              <a:gd name="T20" fmla="*/ 0 w 7154"/>
              <a:gd name="T21" fmla="*/ 3577 h 7154"/>
              <a:gd name="T22" fmla="*/ 334 w 7154"/>
              <a:gd name="T23" fmla="*/ 4643 h 7154"/>
              <a:gd name="T24" fmla="*/ 530 w 7154"/>
              <a:gd name="T25" fmla="*/ 5117 h 7154"/>
              <a:gd name="T26" fmla="*/ 1048 w 7154"/>
              <a:gd name="T27" fmla="*/ 6106 h 7154"/>
              <a:gd name="T28" fmla="*/ 2037 w 7154"/>
              <a:gd name="T29" fmla="*/ 6624 h 7154"/>
              <a:gd name="T30" fmla="*/ 2511 w 7154"/>
              <a:gd name="T31" fmla="*/ 6820 h 7154"/>
              <a:gd name="T32" fmla="*/ 3577 w 7154"/>
              <a:gd name="T33" fmla="*/ 7154 h 7154"/>
              <a:gd name="T34" fmla="*/ 4643 w 7154"/>
              <a:gd name="T35" fmla="*/ 6820 h 7154"/>
              <a:gd name="T36" fmla="*/ 5117 w 7154"/>
              <a:gd name="T37" fmla="*/ 6624 h 7154"/>
              <a:gd name="T38" fmla="*/ 6106 w 7154"/>
              <a:gd name="T39" fmla="*/ 6106 h 7154"/>
              <a:gd name="T40" fmla="*/ 6624 w 7154"/>
              <a:gd name="T41" fmla="*/ 5117 h 7154"/>
              <a:gd name="T42" fmla="*/ 6820 w 7154"/>
              <a:gd name="T43" fmla="*/ 4643 h 7154"/>
              <a:gd name="T44" fmla="*/ 7154 w 7154"/>
              <a:gd name="T45" fmla="*/ 3577 h 7154"/>
              <a:gd name="T46" fmla="*/ 6820 w 7154"/>
              <a:gd name="T47" fmla="*/ 2511 h 7154"/>
              <a:gd name="T48" fmla="*/ 6624 w 7154"/>
              <a:gd name="T49" fmla="*/ 2037 h 7154"/>
              <a:gd name="T50" fmla="*/ 5857 w 7154"/>
              <a:gd name="T51" fmla="*/ 2406 h 7154"/>
              <a:gd name="T52" fmla="*/ 3286 w 7154"/>
              <a:gd name="T53" fmla="*/ 4976 h 7154"/>
              <a:gd name="T54" fmla="*/ 2875 w 7154"/>
              <a:gd name="T55" fmla="*/ 5387 h 7154"/>
              <a:gd name="T56" fmla="*/ 2464 w 7154"/>
              <a:gd name="T57" fmla="*/ 5387 h 7154"/>
              <a:gd name="T58" fmla="*/ 2053 w 7154"/>
              <a:gd name="T59" fmla="*/ 4976 h 7154"/>
              <a:gd name="T60" fmla="*/ 1297 w 7154"/>
              <a:gd name="T61" fmla="*/ 4221 h 7154"/>
              <a:gd name="T62" fmla="*/ 1297 w 7154"/>
              <a:gd name="T63" fmla="*/ 3809 h 7154"/>
              <a:gd name="T64" fmla="*/ 1708 w 7154"/>
              <a:gd name="T65" fmla="*/ 3398 h 7154"/>
              <a:gd name="T66" fmla="*/ 2120 w 7154"/>
              <a:gd name="T67" fmla="*/ 3398 h 7154"/>
              <a:gd name="T68" fmla="*/ 2669 w 7154"/>
              <a:gd name="T69" fmla="*/ 3948 h 7154"/>
              <a:gd name="T70" fmla="*/ 5034 w 7154"/>
              <a:gd name="T71" fmla="*/ 1583 h 7154"/>
              <a:gd name="T72" fmla="*/ 5445 w 7154"/>
              <a:gd name="T73" fmla="*/ 1583 h 7154"/>
              <a:gd name="T74" fmla="*/ 5857 w 7154"/>
              <a:gd name="T75" fmla="*/ 1994 h 7154"/>
              <a:gd name="T76" fmla="*/ 5857 w 7154"/>
              <a:gd name="T77" fmla="*/ 2406 h 7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154" h="7154">
                <a:moveTo>
                  <a:pt x="6624" y="2037"/>
                </a:moveTo>
                <a:cubicBezTo>
                  <a:pt x="6580" y="1703"/>
                  <a:pt x="6403" y="1345"/>
                  <a:pt x="6106" y="1048"/>
                </a:cubicBezTo>
                <a:cubicBezTo>
                  <a:pt x="5809" y="751"/>
                  <a:pt x="5451" y="574"/>
                  <a:pt x="5117" y="530"/>
                </a:cubicBezTo>
                <a:cubicBezTo>
                  <a:pt x="4966" y="510"/>
                  <a:pt x="4764" y="427"/>
                  <a:pt x="4643" y="334"/>
                </a:cubicBezTo>
                <a:cubicBezTo>
                  <a:pt x="4375" y="128"/>
                  <a:pt x="3997" y="0"/>
                  <a:pt x="3577" y="0"/>
                </a:cubicBezTo>
                <a:cubicBezTo>
                  <a:pt x="3157" y="0"/>
                  <a:pt x="2779" y="128"/>
                  <a:pt x="2511" y="334"/>
                </a:cubicBezTo>
                <a:cubicBezTo>
                  <a:pt x="2390" y="427"/>
                  <a:pt x="2188" y="510"/>
                  <a:pt x="2037" y="530"/>
                </a:cubicBezTo>
                <a:cubicBezTo>
                  <a:pt x="1702" y="574"/>
                  <a:pt x="1345" y="751"/>
                  <a:pt x="1048" y="1048"/>
                </a:cubicBezTo>
                <a:cubicBezTo>
                  <a:pt x="751" y="1345"/>
                  <a:pt x="574" y="1703"/>
                  <a:pt x="530" y="2037"/>
                </a:cubicBezTo>
                <a:cubicBezTo>
                  <a:pt x="510" y="2188"/>
                  <a:pt x="427" y="2390"/>
                  <a:pt x="334" y="2511"/>
                </a:cubicBezTo>
                <a:cubicBezTo>
                  <a:pt x="128" y="2779"/>
                  <a:pt x="0" y="3157"/>
                  <a:pt x="0" y="3577"/>
                </a:cubicBezTo>
                <a:cubicBezTo>
                  <a:pt x="0" y="3997"/>
                  <a:pt x="128" y="4375"/>
                  <a:pt x="334" y="4643"/>
                </a:cubicBezTo>
                <a:cubicBezTo>
                  <a:pt x="427" y="4764"/>
                  <a:pt x="510" y="4966"/>
                  <a:pt x="530" y="5117"/>
                </a:cubicBezTo>
                <a:cubicBezTo>
                  <a:pt x="574" y="5451"/>
                  <a:pt x="751" y="5809"/>
                  <a:pt x="1048" y="6106"/>
                </a:cubicBezTo>
                <a:cubicBezTo>
                  <a:pt x="1345" y="6403"/>
                  <a:pt x="1702" y="6580"/>
                  <a:pt x="2037" y="6624"/>
                </a:cubicBezTo>
                <a:cubicBezTo>
                  <a:pt x="2188" y="6644"/>
                  <a:pt x="2390" y="6727"/>
                  <a:pt x="2511" y="6820"/>
                </a:cubicBezTo>
                <a:cubicBezTo>
                  <a:pt x="2779" y="7025"/>
                  <a:pt x="3157" y="7154"/>
                  <a:pt x="3577" y="7154"/>
                </a:cubicBezTo>
                <a:cubicBezTo>
                  <a:pt x="3997" y="7154"/>
                  <a:pt x="4375" y="7025"/>
                  <a:pt x="4643" y="6820"/>
                </a:cubicBezTo>
                <a:cubicBezTo>
                  <a:pt x="4764" y="6727"/>
                  <a:pt x="4966" y="6644"/>
                  <a:pt x="5117" y="6624"/>
                </a:cubicBezTo>
                <a:cubicBezTo>
                  <a:pt x="5451" y="6580"/>
                  <a:pt x="5809" y="6403"/>
                  <a:pt x="6106" y="6106"/>
                </a:cubicBezTo>
                <a:cubicBezTo>
                  <a:pt x="6403" y="5809"/>
                  <a:pt x="6580" y="5451"/>
                  <a:pt x="6624" y="5117"/>
                </a:cubicBezTo>
                <a:cubicBezTo>
                  <a:pt x="6644" y="4966"/>
                  <a:pt x="6727" y="4764"/>
                  <a:pt x="6820" y="4643"/>
                </a:cubicBezTo>
                <a:cubicBezTo>
                  <a:pt x="7026" y="4375"/>
                  <a:pt x="7154" y="3997"/>
                  <a:pt x="7154" y="3577"/>
                </a:cubicBezTo>
                <a:cubicBezTo>
                  <a:pt x="7154" y="3157"/>
                  <a:pt x="7026" y="2779"/>
                  <a:pt x="6820" y="2511"/>
                </a:cubicBezTo>
                <a:cubicBezTo>
                  <a:pt x="6727" y="2390"/>
                  <a:pt x="6644" y="2188"/>
                  <a:pt x="6624" y="2037"/>
                </a:cubicBezTo>
                <a:close/>
                <a:moveTo>
                  <a:pt x="5857" y="2406"/>
                </a:moveTo>
                <a:lnTo>
                  <a:pt x="3286" y="4976"/>
                </a:lnTo>
                <a:lnTo>
                  <a:pt x="2875" y="5387"/>
                </a:lnTo>
                <a:cubicBezTo>
                  <a:pt x="2762" y="5501"/>
                  <a:pt x="2577" y="5501"/>
                  <a:pt x="2464" y="5387"/>
                </a:cubicBezTo>
                <a:lnTo>
                  <a:pt x="2053" y="4976"/>
                </a:lnTo>
                <a:lnTo>
                  <a:pt x="1297" y="4221"/>
                </a:lnTo>
                <a:cubicBezTo>
                  <a:pt x="1183" y="4107"/>
                  <a:pt x="1183" y="3923"/>
                  <a:pt x="1297" y="3809"/>
                </a:cubicBezTo>
                <a:lnTo>
                  <a:pt x="1708" y="3398"/>
                </a:lnTo>
                <a:cubicBezTo>
                  <a:pt x="1822" y="3285"/>
                  <a:pt x="2006" y="3285"/>
                  <a:pt x="2120" y="3398"/>
                </a:cubicBezTo>
                <a:lnTo>
                  <a:pt x="2669" y="3948"/>
                </a:lnTo>
                <a:lnTo>
                  <a:pt x="5034" y="1583"/>
                </a:lnTo>
                <a:cubicBezTo>
                  <a:pt x="5148" y="1470"/>
                  <a:pt x="5332" y="1470"/>
                  <a:pt x="5445" y="1583"/>
                </a:cubicBezTo>
                <a:lnTo>
                  <a:pt x="5857" y="1994"/>
                </a:lnTo>
                <a:cubicBezTo>
                  <a:pt x="5970" y="2108"/>
                  <a:pt x="5970" y="2292"/>
                  <a:pt x="5857" y="2406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5" name="iṧḷiḑé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2707316" y="3654019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按分布模式进行配置</a:t>
            </a:r>
            <a:endParaRPr lang="en-US" altLang="zh-CN" sz="1100" dirty="0"/>
          </a:p>
        </p:txBody>
      </p:sp>
      <p:sp>
        <p:nvSpPr>
          <p:cNvPr id="216" name="îṧḻiḑe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2297693" y="4141801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运行第一个实例</a:t>
            </a:r>
            <a:endParaRPr lang="en-US" altLang="zh-CN" sz="1100" dirty="0"/>
          </a:p>
        </p:txBody>
      </p:sp>
      <p:sp>
        <p:nvSpPr>
          <p:cNvPr id="217" name="îṣľïd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1888191" y="4629583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开心</a:t>
            </a:r>
            <a:r>
              <a:rPr lang="en-US" altLang="zh-CN" sz="1100" dirty="0" err="1"/>
              <a:t>ing</a:t>
            </a:r>
            <a:r>
              <a:rPr lang="en-US" altLang="zh-CN" sz="1100" dirty="0"/>
              <a:t>~</a:t>
            </a:r>
          </a:p>
        </p:txBody>
      </p:sp>
      <p:sp>
        <p:nvSpPr>
          <p:cNvPr id="218" name="íṧ1îd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116769" y="3166237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>
                <a:solidFill>
                  <a:schemeClr val="bg1"/>
                </a:solidFill>
              </a:rPr>
              <a:t>在官网下载安装包 解压</a:t>
            </a: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19" name="îs1ïḋ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531383" y="2678454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配置环境变量 使之生效</a:t>
            </a:r>
            <a:endParaRPr lang="en-US" altLang="zh-CN" sz="1100" dirty="0"/>
          </a:p>
        </p:txBody>
      </p:sp>
      <p:sp>
        <p:nvSpPr>
          <p:cNvPr id="220" name="íšliḓ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940861" y="2190672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</a:t>
            </a:r>
            <a:r>
              <a:rPr lang="en-US" altLang="zh-CN" sz="1100" dirty="0"/>
              <a:t> </a:t>
            </a:r>
            <a:r>
              <a:rPr lang="zh-CN" altLang="en-US" sz="1100" dirty="0"/>
              <a:t>解压</a:t>
            </a:r>
            <a:endParaRPr lang="en-US" altLang="zh-CN" sz="1100" dirty="0"/>
          </a:p>
        </p:txBody>
      </p:sp>
      <p:sp>
        <p:nvSpPr>
          <p:cNvPr id="111" name="ïṣḻîdé">
            <a:extLst>
              <a:ext uri="{FF2B5EF4-FFF2-40B4-BE49-F238E27FC236}">
                <a16:creationId xmlns:a16="http://schemas.microsoft.com/office/drawing/2014/main" id="{8085BC3B-02DD-4524-AFD9-060F13CCE8C0}"/>
              </a:ext>
            </a:extLst>
          </p:cNvPr>
          <p:cNvSpPr/>
          <p:nvPr/>
        </p:nvSpPr>
        <p:spPr bwMode="auto">
          <a:xfrm>
            <a:off x="500063" y="7399337"/>
            <a:ext cx="8143874" cy="1584512"/>
          </a:xfrm>
          <a:custGeom>
            <a:avLst/>
            <a:gdLst>
              <a:gd name="connsiteX0" fmla="*/ 1046871 w 10858499"/>
              <a:gd name="connsiteY0" fmla="*/ 0 h 2112682"/>
              <a:gd name="connsiteX1" fmla="*/ 2085811 w 10858499"/>
              <a:gd name="connsiteY1" fmla="*/ 1056341 h 2112682"/>
              <a:gd name="connsiteX2" fmla="*/ 2079702 w 10858499"/>
              <a:gd name="connsiteY2" fmla="*/ 1056341 h 2112682"/>
              <a:gd name="connsiteX3" fmla="*/ 2793477 w 10858499"/>
              <a:gd name="connsiteY3" fmla="*/ 1784576 h 2112682"/>
              <a:gd name="connsiteX4" fmla="*/ 3515184 w 10858499"/>
              <a:gd name="connsiteY4" fmla="*/ 1056341 h 2112682"/>
              <a:gd name="connsiteX5" fmla="*/ 3514157 w 10858499"/>
              <a:gd name="connsiteY5" fmla="*/ 1056341 h 2112682"/>
              <a:gd name="connsiteX6" fmla="*/ 3509076 w 10858499"/>
              <a:gd name="connsiteY6" fmla="*/ 1056341 h 2112682"/>
              <a:gd name="connsiteX7" fmla="*/ 4555946 w 10858499"/>
              <a:gd name="connsiteY7" fmla="*/ 0 h 2112682"/>
              <a:gd name="connsiteX8" fmla="*/ 5594886 w 10858499"/>
              <a:gd name="connsiteY8" fmla="*/ 1056341 h 2112682"/>
              <a:gd name="connsiteX9" fmla="*/ 5588778 w 10858499"/>
              <a:gd name="connsiteY9" fmla="*/ 1056341 h 2112682"/>
              <a:gd name="connsiteX10" fmla="*/ 6302553 w 10858499"/>
              <a:gd name="connsiteY10" fmla="*/ 1784576 h 2112682"/>
              <a:gd name="connsiteX11" fmla="*/ 7024260 w 10858499"/>
              <a:gd name="connsiteY11" fmla="*/ 1056341 h 2112682"/>
              <a:gd name="connsiteX12" fmla="*/ 7023232 w 10858499"/>
              <a:gd name="connsiteY12" fmla="*/ 1056341 h 2112682"/>
              <a:gd name="connsiteX13" fmla="*/ 7018151 w 10858499"/>
              <a:gd name="connsiteY13" fmla="*/ 1056341 h 2112682"/>
              <a:gd name="connsiteX14" fmla="*/ 8065022 w 10858499"/>
              <a:gd name="connsiteY14" fmla="*/ 0 h 2112682"/>
              <a:gd name="connsiteX15" fmla="*/ 9103962 w 10858499"/>
              <a:gd name="connsiteY15" fmla="*/ 1056341 h 2112682"/>
              <a:gd name="connsiteX16" fmla="*/ 9097852 w 10858499"/>
              <a:gd name="connsiteY16" fmla="*/ 1056341 h 2112682"/>
              <a:gd name="connsiteX17" fmla="*/ 9811628 w 10858499"/>
              <a:gd name="connsiteY17" fmla="*/ 1784576 h 2112682"/>
              <a:gd name="connsiteX18" fmla="*/ 10533335 w 10858499"/>
              <a:gd name="connsiteY18" fmla="*/ 1056341 h 2112682"/>
              <a:gd name="connsiteX19" fmla="*/ 10858499 w 10858499"/>
              <a:gd name="connsiteY19" fmla="*/ 1056341 h 2112682"/>
              <a:gd name="connsiteX20" fmla="*/ 9811628 w 10858499"/>
              <a:gd name="connsiteY20" fmla="*/ 2112682 h 2112682"/>
              <a:gd name="connsiteX21" fmla="*/ 8772688 w 10858499"/>
              <a:gd name="connsiteY21" fmla="*/ 1056341 h 2112682"/>
              <a:gd name="connsiteX22" fmla="*/ 8777769 w 10858499"/>
              <a:gd name="connsiteY22" fmla="*/ 1056341 h 2112682"/>
              <a:gd name="connsiteX23" fmla="*/ 8778797 w 10858499"/>
              <a:gd name="connsiteY23" fmla="*/ 1056341 h 2112682"/>
              <a:gd name="connsiteX24" fmla="*/ 8065022 w 10858499"/>
              <a:gd name="connsiteY24" fmla="*/ 330611 h 2112682"/>
              <a:gd name="connsiteX25" fmla="*/ 7343316 w 10858499"/>
              <a:gd name="connsiteY25" fmla="*/ 1056341 h 2112682"/>
              <a:gd name="connsiteX26" fmla="*/ 7349424 w 10858499"/>
              <a:gd name="connsiteY26" fmla="*/ 1056341 h 2112682"/>
              <a:gd name="connsiteX27" fmla="*/ 6302553 w 10858499"/>
              <a:gd name="connsiteY27" fmla="*/ 2112682 h 2112682"/>
              <a:gd name="connsiteX28" fmla="*/ 5263613 w 10858499"/>
              <a:gd name="connsiteY28" fmla="*/ 1056341 h 2112682"/>
              <a:gd name="connsiteX29" fmla="*/ 5268694 w 10858499"/>
              <a:gd name="connsiteY29" fmla="*/ 1056341 h 2112682"/>
              <a:gd name="connsiteX30" fmla="*/ 5269722 w 10858499"/>
              <a:gd name="connsiteY30" fmla="*/ 1056341 h 2112682"/>
              <a:gd name="connsiteX31" fmla="*/ 4555946 w 10858499"/>
              <a:gd name="connsiteY31" fmla="*/ 330611 h 2112682"/>
              <a:gd name="connsiteX32" fmla="*/ 3834240 w 10858499"/>
              <a:gd name="connsiteY32" fmla="*/ 1056341 h 2112682"/>
              <a:gd name="connsiteX33" fmla="*/ 3840348 w 10858499"/>
              <a:gd name="connsiteY33" fmla="*/ 1056341 h 2112682"/>
              <a:gd name="connsiteX34" fmla="*/ 2793477 w 10858499"/>
              <a:gd name="connsiteY34" fmla="*/ 2112682 h 2112682"/>
              <a:gd name="connsiteX35" fmla="*/ 1754538 w 10858499"/>
              <a:gd name="connsiteY35" fmla="*/ 1056341 h 2112682"/>
              <a:gd name="connsiteX36" fmla="*/ 1759618 w 10858499"/>
              <a:gd name="connsiteY36" fmla="*/ 1056341 h 2112682"/>
              <a:gd name="connsiteX37" fmla="*/ 1760646 w 10858499"/>
              <a:gd name="connsiteY37" fmla="*/ 1056341 h 2112682"/>
              <a:gd name="connsiteX38" fmla="*/ 1046871 w 10858499"/>
              <a:gd name="connsiteY38" fmla="*/ 330611 h 2112682"/>
              <a:gd name="connsiteX39" fmla="*/ 325164 w 10858499"/>
              <a:gd name="connsiteY39" fmla="*/ 1056341 h 2112682"/>
              <a:gd name="connsiteX40" fmla="*/ 0 w 10858499"/>
              <a:gd name="connsiteY40" fmla="*/ 1056341 h 2112682"/>
              <a:gd name="connsiteX41" fmla="*/ 1046871 w 10858499"/>
              <a:gd name="connsiteY41" fmla="*/ 0 h 2112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0858499" h="2112682">
                <a:moveTo>
                  <a:pt x="1046871" y="0"/>
                </a:moveTo>
                <a:cubicBezTo>
                  <a:pt x="1617891" y="0"/>
                  <a:pt x="2085811" y="475757"/>
                  <a:pt x="2085811" y="1056341"/>
                </a:cubicBezTo>
                <a:lnTo>
                  <a:pt x="2079702" y="1056341"/>
                </a:lnTo>
                <a:cubicBezTo>
                  <a:pt x="2079702" y="1456470"/>
                  <a:pt x="2396936" y="1784576"/>
                  <a:pt x="2793477" y="1784576"/>
                </a:cubicBezTo>
                <a:cubicBezTo>
                  <a:pt x="3190019" y="1784576"/>
                  <a:pt x="3515184" y="1456470"/>
                  <a:pt x="3515184" y="1056341"/>
                </a:cubicBezTo>
                <a:lnTo>
                  <a:pt x="3514157" y="1056341"/>
                </a:lnTo>
                <a:cubicBezTo>
                  <a:pt x="3509076" y="1056341"/>
                  <a:pt x="3509076" y="1056341"/>
                  <a:pt x="3509076" y="1056341"/>
                </a:cubicBezTo>
                <a:cubicBezTo>
                  <a:pt x="3509076" y="475757"/>
                  <a:pt x="3976995" y="0"/>
                  <a:pt x="4555946" y="0"/>
                </a:cubicBezTo>
                <a:cubicBezTo>
                  <a:pt x="5126967" y="0"/>
                  <a:pt x="5594886" y="475757"/>
                  <a:pt x="5594886" y="1056341"/>
                </a:cubicBezTo>
                <a:lnTo>
                  <a:pt x="5588778" y="1056341"/>
                </a:lnTo>
                <a:cubicBezTo>
                  <a:pt x="5588778" y="1456470"/>
                  <a:pt x="5906011" y="1784576"/>
                  <a:pt x="6302553" y="1784576"/>
                </a:cubicBezTo>
                <a:cubicBezTo>
                  <a:pt x="6699095" y="1784576"/>
                  <a:pt x="7024260" y="1456470"/>
                  <a:pt x="7024260" y="1056341"/>
                </a:cubicBezTo>
                <a:lnTo>
                  <a:pt x="7023232" y="1056341"/>
                </a:lnTo>
                <a:cubicBezTo>
                  <a:pt x="7018151" y="1056341"/>
                  <a:pt x="7018151" y="1056341"/>
                  <a:pt x="7018151" y="1056341"/>
                </a:cubicBezTo>
                <a:cubicBezTo>
                  <a:pt x="7018151" y="475757"/>
                  <a:pt x="7486071" y="0"/>
                  <a:pt x="8065022" y="0"/>
                </a:cubicBezTo>
                <a:cubicBezTo>
                  <a:pt x="8636042" y="0"/>
                  <a:pt x="9103962" y="475757"/>
                  <a:pt x="9103962" y="1056341"/>
                </a:cubicBezTo>
                <a:lnTo>
                  <a:pt x="9097852" y="1056341"/>
                </a:lnTo>
                <a:cubicBezTo>
                  <a:pt x="9097852" y="1456470"/>
                  <a:pt x="9415086" y="1784576"/>
                  <a:pt x="9811628" y="1784576"/>
                </a:cubicBezTo>
                <a:cubicBezTo>
                  <a:pt x="10208170" y="1784576"/>
                  <a:pt x="10533335" y="1456470"/>
                  <a:pt x="10533335" y="1056341"/>
                </a:cubicBezTo>
                <a:cubicBezTo>
                  <a:pt x="10533335" y="1056341"/>
                  <a:pt x="10533335" y="1056341"/>
                  <a:pt x="10858499" y="1056341"/>
                </a:cubicBezTo>
                <a:cubicBezTo>
                  <a:pt x="10858499" y="1640530"/>
                  <a:pt x="10390579" y="2112682"/>
                  <a:pt x="9811628" y="2112682"/>
                </a:cubicBezTo>
                <a:cubicBezTo>
                  <a:pt x="9240608" y="2112682"/>
                  <a:pt x="8772688" y="1640530"/>
                  <a:pt x="8772688" y="1056341"/>
                </a:cubicBezTo>
                <a:cubicBezTo>
                  <a:pt x="8772688" y="1056341"/>
                  <a:pt x="8772688" y="1056341"/>
                  <a:pt x="8777769" y="1056341"/>
                </a:cubicBezTo>
                <a:lnTo>
                  <a:pt x="8778797" y="1056341"/>
                </a:lnTo>
                <a:cubicBezTo>
                  <a:pt x="8778797" y="653158"/>
                  <a:pt x="8461564" y="330611"/>
                  <a:pt x="8065022" y="330611"/>
                </a:cubicBezTo>
                <a:cubicBezTo>
                  <a:pt x="7660549" y="330611"/>
                  <a:pt x="7343316" y="653158"/>
                  <a:pt x="7343316" y="1056341"/>
                </a:cubicBezTo>
                <a:lnTo>
                  <a:pt x="7349424" y="1056341"/>
                </a:lnTo>
                <a:cubicBezTo>
                  <a:pt x="7349424" y="1640530"/>
                  <a:pt x="6881505" y="2112682"/>
                  <a:pt x="6302553" y="2112682"/>
                </a:cubicBezTo>
                <a:cubicBezTo>
                  <a:pt x="5731533" y="2112682"/>
                  <a:pt x="5263613" y="1640530"/>
                  <a:pt x="5263613" y="1056341"/>
                </a:cubicBezTo>
                <a:cubicBezTo>
                  <a:pt x="5263613" y="1056341"/>
                  <a:pt x="5263613" y="1056341"/>
                  <a:pt x="5268694" y="1056341"/>
                </a:cubicBezTo>
                <a:lnTo>
                  <a:pt x="5269722" y="1056341"/>
                </a:lnTo>
                <a:cubicBezTo>
                  <a:pt x="5269722" y="653158"/>
                  <a:pt x="4952488" y="330611"/>
                  <a:pt x="4555946" y="330611"/>
                </a:cubicBezTo>
                <a:cubicBezTo>
                  <a:pt x="4151473" y="330611"/>
                  <a:pt x="3834240" y="653158"/>
                  <a:pt x="3834240" y="1056341"/>
                </a:cubicBezTo>
                <a:lnTo>
                  <a:pt x="3840348" y="1056341"/>
                </a:lnTo>
                <a:cubicBezTo>
                  <a:pt x="3840348" y="1640530"/>
                  <a:pt x="3372429" y="2112682"/>
                  <a:pt x="2793477" y="2112682"/>
                </a:cubicBezTo>
                <a:cubicBezTo>
                  <a:pt x="2222457" y="2112682"/>
                  <a:pt x="1754538" y="1640530"/>
                  <a:pt x="1754538" y="1056341"/>
                </a:cubicBezTo>
                <a:cubicBezTo>
                  <a:pt x="1754538" y="1056341"/>
                  <a:pt x="1754538" y="1056341"/>
                  <a:pt x="1759618" y="1056341"/>
                </a:cubicBezTo>
                <a:lnTo>
                  <a:pt x="1760646" y="1056341"/>
                </a:lnTo>
                <a:cubicBezTo>
                  <a:pt x="1760646" y="653158"/>
                  <a:pt x="1443412" y="330611"/>
                  <a:pt x="1046871" y="330611"/>
                </a:cubicBezTo>
                <a:cubicBezTo>
                  <a:pt x="642398" y="330611"/>
                  <a:pt x="325164" y="653158"/>
                  <a:pt x="325164" y="1056341"/>
                </a:cubicBezTo>
                <a:cubicBezTo>
                  <a:pt x="0" y="1056341"/>
                  <a:pt x="0" y="1056341"/>
                  <a:pt x="0" y="1056341"/>
                </a:cubicBezTo>
                <a:cubicBezTo>
                  <a:pt x="0" y="475757"/>
                  <a:pt x="467919" y="0"/>
                  <a:pt x="1046871" y="0"/>
                </a:cubicBezTo>
                <a:close/>
              </a:path>
            </a:pathLst>
          </a:custGeom>
          <a:pattFill prst="dkUp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12" name="işḻïdè">
            <a:extLst>
              <a:ext uri="{FF2B5EF4-FFF2-40B4-BE49-F238E27FC236}">
                <a16:creationId xmlns:a16="http://schemas.microsoft.com/office/drawing/2014/main" id="{E3D05E6C-2863-4380-8A7F-641B812ACEE1}"/>
              </a:ext>
            </a:extLst>
          </p:cNvPr>
          <p:cNvSpPr/>
          <p:nvPr/>
        </p:nvSpPr>
        <p:spPr>
          <a:xfrm flipH="1" flipV="1">
            <a:off x="2840183" y="9082073"/>
            <a:ext cx="532662" cy="532663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62500" lnSpcReduction="20000"/>
          </a:bodyPr>
          <a:lstStyle/>
          <a:p>
            <a:pPr algn="ctr" defTabSz="914354"/>
            <a:r>
              <a:rPr lang="en-US" altLang="zh-CN" sz="2000" dirty="0">
                <a:solidFill>
                  <a:schemeClr val="bg1"/>
                </a:solidFill>
              </a:rPr>
              <a:t>02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113" name="i$1iḋè">
            <a:extLst>
              <a:ext uri="{FF2B5EF4-FFF2-40B4-BE49-F238E27FC236}">
                <a16:creationId xmlns:a16="http://schemas.microsoft.com/office/drawing/2014/main" id="{6B738227-31D1-411B-B784-8EE449F85BE4}"/>
              </a:ext>
            </a:extLst>
          </p:cNvPr>
          <p:cNvSpPr/>
          <p:nvPr/>
        </p:nvSpPr>
        <p:spPr>
          <a:xfrm flipH="1" flipV="1">
            <a:off x="5471990" y="9082073"/>
            <a:ext cx="532662" cy="532663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62500" lnSpcReduction="20000"/>
          </a:bodyPr>
          <a:lstStyle/>
          <a:p>
            <a:pPr algn="ctr" defTabSz="914354"/>
            <a:r>
              <a:rPr lang="en-US" altLang="zh-CN" sz="2000" dirty="0">
                <a:solidFill>
                  <a:schemeClr val="bg1"/>
                </a:solidFill>
              </a:rPr>
              <a:t>04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114" name="îšļiḓê">
            <a:extLst>
              <a:ext uri="{FF2B5EF4-FFF2-40B4-BE49-F238E27FC236}">
                <a16:creationId xmlns:a16="http://schemas.microsoft.com/office/drawing/2014/main" id="{4CA000AC-DE9D-4C09-B115-91726CE8BCF1}"/>
              </a:ext>
            </a:extLst>
          </p:cNvPr>
          <p:cNvSpPr/>
          <p:nvPr/>
        </p:nvSpPr>
        <p:spPr>
          <a:xfrm flipH="1" flipV="1">
            <a:off x="1524280" y="7738504"/>
            <a:ext cx="532662" cy="53266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62500" lnSpcReduction="20000"/>
          </a:bodyPr>
          <a:lstStyle/>
          <a:p>
            <a:pPr algn="ctr" defTabSz="914354"/>
            <a:r>
              <a:rPr lang="en-US" altLang="zh-CN" sz="2000" dirty="0">
                <a:solidFill>
                  <a:schemeClr val="bg1"/>
                </a:solidFill>
              </a:rPr>
              <a:t>01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115" name="íślîdê">
            <a:extLst>
              <a:ext uri="{FF2B5EF4-FFF2-40B4-BE49-F238E27FC236}">
                <a16:creationId xmlns:a16="http://schemas.microsoft.com/office/drawing/2014/main" id="{EA9F8176-CB64-4794-8E78-A9F70624FB46}"/>
              </a:ext>
            </a:extLst>
          </p:cNvPr>
          <p:cNvSpPr/>
          <p:nvPr/>
        </p:nvSpPr>
        <p:spPr>
          <a:xfrm flipH="1" flipV="1">
            <a:off x="4156087" y="7738504"/>
            <a:ext cx="532662" cy="53266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62500" lnSpcReduction="20000"/>
          </a:bodyPr>
          <a:lstStyle/>
          <a:p>
            <a:pPr algn="ctr" defTabSz="914354"/>
            <a:r>
              <a:rPr lang="en-US" altLang="zh-CN" sz="2000" dirty="0">
                <a:solidFill>
                  <a:schemeClr val="bg1"/>
                </a:solidFill>
              </a:rPr>
              <a:t>03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116" name="ïŝḻîďê">
            <a:extLst>
              <a:ext uri="{FF2B5EF4-FFF2-40B4-BE49-F238E27FC236}">
                <a16:creationId xmlns:a16="http://schemas.microsoft.com/office/drawing/2014/main" id="{00D81A74-6DBF-4270-B6D6-FDE8C7A0DCFD}"/>
              </a:ext>
            </a:extLst>
          </p:cNvPr>
          <p:cNvSpPr txBox="1"/>
          <p:nvPr/>
        </p:nvSpPr>
        <p:spPr>
          <a:xfrm flipH="1" flipV="1">
            <a:off x="1940193" y="8473363"/>
            <a:ext cx="1447972" cy="368646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1600" b="1" dirty="0"/>
              <a:t>官网</a:t>
            </a:r>
            <a:endParaRPr lang="id-ID" sz="1600" b="1" dirty="0"/>
          </a:p>
        </p:txBody>
      </p:sp>
      <p:sp>
        <p:nvSpPr>
          <p:cNvPr id="117" name="išļíḑé">
            <a:extLst>
              <a:ext uri="{FF2B5EF4-FFF2-40B4-BE49-F238E27FC236}">
                <a16:creationId xmlns:a16="http://schemas.microsoft.com/office/drawing/2014/main" id="{5CF01116-1AB2-4469-9C32-6C4FF2995FC9}"/>
              </a:ext>
            </a:extLst>
          </p:cNvPr>
          <p:cNvSpPr/>
          <p:nvPr/>
        </p:nvSpPr>
        <p:spPr bwMode="auto">
          <a:xfrm flipH="1" flipV="1">
            <a:off x="1940193" y="9426524"/>
            <a:ext cx="1447972" cy="1048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zh-CN" altLang="en-US" sz="1100" dirty="0"/>
              <a:t>系统版本</a:t>
            </a:r>
            <a:r>
              <a:rPr lang="en-US" altLang="zh-CN" sz="1100" dirty="0"/>
              <a:t>(win </a:t>
            </a:r>
            <a:r>
              <a:rPr lang="en-US" altLang="zh-CN" sz="1100" dirty="0" err="1"/>
              <a:t>linux</a:t>
            </a:r>
            <a:r>
              <a:rPr lang="en-US" altLang="zh-CN" sz="1100" dirty="0"/>
              <a:t>)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zh-CN" altLang="en-US" sz="1100" dirty="0"/>
              <a:t>系统位数</a:t>
            </a:r>
            <a:r>
              <a:rPr lang="en-US" altLang="zh-CN" sz="1100" dirty="0"/>
              <a:t>(32   64)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zh-CN" altLang="en-US" sz="1100" dirty="0"/>
              <a:t>软件版本</a:t>
            </a:r>
            <a:r>
              <a:rPr lang="en-US" altLang="zh-CN" sz="1100" dirty="0"/>
              <a:t>(2.x   3.x)</a:t>
            </a:r>
          </a:p>
        </p:txBody>
      </p:sp>
      <p:sp>
        <p:nvSpPr>
          <p:cNvPr id="118" name="ïşlïďe">
            <a:extLst>
              <a:ext uri="{FF2B5EF4-FFF2-40B4-BE49-F238E27FC236}">
                <a16:creationId xmlns:a16="http://schemas.microsoft.com/office/drawing/2014/main" id="{1C8F7543-E235-40FD-9F71-C1E1BC3C4AC0}"/>
              </a:ext>
            </a:extLst>
          </p:cNvPr>
          <p:cNvSpPr txBox="1"/>
          <p:nvPr/>
        </p:nvSpPr>
        <p:spPr>
          <a:xfrm flipH="1" flipV="1">
            <a:off x="4572000" y="8473363"/>
            <a:ext cx="1447972" cy="368646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1600" b="1" dirty="0"/>
              <a:t>解压</a:t>
            </a:r>
            <a:r>
              <a:rPr lang="en-US" altLang="zh-CN" sz="1600" b="1" dirty="0"/>
              <a:t>1</a:t>
            </a:r>
            <a:endParaRPr lang="id-ID" sz="1600" b="1" dirty="0"/>
          </a:p>
        </p:txBody>
      </p:sp>
      <p:sp>
        <p:nvSpPr>
          <p:cNvPr id="119" name="ïs1ïḑê">
            <a:extLst>
              <a:ext uri="{FF2B5EF4-FFF2-40B4-BE49-F238E27FC236}">
                <a16:creationId xmlns:a16="http://schemas.microsoft.com/office/drawing/2014/main" id="{E0A449B6-3888-498C-A093-CF6F4EB1D686}"/>
              </a:ext>
            </a:extLst>
          </p:cNvPr>
          <p:cNvSpPr/>
          <p:nvPr/>
        </p:nvSpPr>
        <p:spPr bwMode="auto">
          <a:xfrm flipH="1" flipV="1">
            <a:off x="4572000" y="9426524"/>
            <a:ext cx="1447972" cy="1048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solidFill>
                  <a:schemeClr val="accent3"/>
                </a:solidFill>
              </a:rPr>
              <a:t>tar -</a:t>
            </a:r>
            <a:r>
              <a:rPr lang="en-US" altLang="zh-CN" sz="1100" dirty="0" err="1">
                <a:solidFill>
                  <a:schemeClr val="accent3"/>
                </a:solidFill>
              </a:rPr>
              <a:t>zxvf</a:t>
            </a:r>
            <a:r>
              <a:rPr lang="en-US" altLang="zh-CN" sz="1100" dirty="0">
                <a:solidFill>
                  <a:schemeClr val="accent3"/>
                </a:solidFill>
              </a:rPr>
              <a:t> hadoop*****.jar</a:t>
            </a:r>
          </a:p>
        </p:txBody>
      </p:sp>
      <p:sp>
        <p:nvSpPr>
          <p:cNvPr id="120" name="ïşḻîďê">
            <a:extLst>
              <a:ext uri="{FF2B5EF4-FFF2-40B4-BE49-F238E27FC236}">
                <a16:creationId xmlns:a16="http://schemas.microsoft.com/office/drawing/2014/main" id="{794F5D47-2DBF-49E7-B21D-CF3ABEB883A0}"/>
              </a:ext>
            </a:extLst>
          </p:cNvPr>
          <p:cNvSpPr txBox="1"/>
          <p:nvPr/>
        </p:nvSpPr>
        <p:spPr>
          <a:xfrm flipH="1" flipV="1">
            <a:off x="3256096" y="7244993"/>
            <a:ext cx="1447972" cy="368646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1600" b="1" dirty="0"/>
              <a:t>下载</a:t>
            </a:r>
            <a:endParaRPr lang="id-ID" sz="1600" b="1" dirty="0"/>
          </a:p>
        </p:txBody>
      </p:sp>
      <p:sp>
        <p:nvSpPr>
          <p:cNvPr id="121" name="íşḷîḓe">
            <a:extLst>
              <a:ext uri="{FF2B5EF4-FFF2-40B4-BE49-F238E27FC236}">
                <a16:creationId xmlns:a16="http://schemas.microsoft.com/office/drawing/2014/main" id="{C5FB75EF-F478-44DF-9F81-427A2AC2F81D}"/>
              </a:ext>
            </a:extLst>
          </p:cNvPr>
          <p:cNvSpPr/>
          <p:nvPr/>
        </p:nvSpPr>
        <p:spPr bwMode="auto">
          <a:xfrm flipH="1" flipV="1">
            <a:off x="3256096" y="8198154"/>
            <a:ext cx="1447972" cy="1048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zh-CN" altLang="en-US" sz="1100" dirty="0"/>
              <a:t>等</a:t>
            </a:r>
            <a:r>
              <a:rPr lang="en-US" altLang="zh-CN" sz="1100" dirty="0"/>
              <a:t>… …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(</a:t>
            </a:r>
            <a:r>
              <a:rPr lang="zh-CN" altLang="en-US" sz="1100" dirty="0"/>
              <a:t>有现成的就好了</a:t>
            </a:r>
            <a:r>
              <a:rPr lang="en-US" altLang="zh-CN" sz="1100" dirty="0"/>
              <a:t>)</a:t>
            </a:r>
          </a:p>
        </p:txBody>
      </p:sp>
      <p:sp>
        <p:nvSpPr>
          <p:cNvPr id="122" name="îṧļïdè">
            <a:extLst>
              <a:ext uri="{FF2B5EF4-FFF2-40B4-BE49-F238E27FC236}">
                <a16:creationId xmlns:a16="http://schemas.microsoft.com/office/drawing/2014/main" id="{2F9CB8C8-527E-4121-9E71-71DA159E7349}"/>
              </a:ext>
            </a:extLst>
          </p:cNvPr>
          <p:cNvSpPr txBox="1"/>
          <p:nvPr/>
        </p:nvSpPr>
        <p:spPr>
          <a:xfrm flipH="1" flipV="1">
            <a:off x="5887903" y="7244993"/>
            <a:ext cx="1447972" cy="368646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1600" b="1" dirty="0"/>
              <a:t>解压</a:t>
            </a:r>
            <a:r>
              <a:rPr lang="en-US" altLang="zh-CN" sz="1600" b="1" dirty="0"/>
              <a:t>2</a:t>
            </a:r>
            <a:endParaRPr lang="id-ID" sz="1600" b="1" dirty="0"/>
          </a:p>
        </p:txBody>
      </p:sp>
      <p:sp>
        <p:nvSpPr>
          <p:cNvPr id="123" name="ïS1iḍé">
            <a:extLst>
              <a:ext uri="{FF2B5EF4-FFF2-40B4-BE49-F238E27FC236}">
                <a16:creationId xmlns:a16="http://schemas.microsoft.com/office/drawing/2014/main" id="{A73A580E-9CEB-4EEF-BF5F-B955DB52F6FD}"/>
              </a:ext>
            </a:extLst>
          </p:cNvPr>
          <p:cNvSpPr/>
          <p:nvPr/>
        </p:nvSpPr>
        <p:spPr bwMode="auto">
          <a:xfrm flipH="1" flipV="1">
            <a:off x="5887903" y="8198154"/>
            <a:ext cx="1447972" cy="1048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solidFill>
                  <a:schemeClr val="accent1"/>
                </a:solidFill>
              </a:rPr>
              <a:t>or</a:t>
            </a:r>
            <a:r>
              <a:rPr lang="zh-CN" altLang="en-US" sz="1100" dirty="0">
                <a:solidFill>
                  <a:schemeClr val="accent1"/>
                </a:solidFill>
              </a:rPr>
              <a:t>左键！右键！</a:t>
            </a:r>
            <a:endParaRPr lang="en-US" altLang="zh-CN" sz="1100" dirty="0">
              <a:solidFill>
                <a:schemeClr val="accent1"/>
              </a:solidFill>
            </a:endParaRPr>
          </a:p>
        </p:txBody>
      </p:sp>
      <p:sp>
        <p:nvSpPr>
          <p:cNvPr id="124" name="ísḷïḍê">
            <a:extLst>
              <a:ext uri="{FF2B5EF4-FFF2-40B4-BE49-F238E27FC236}">
                <a16:creationId xmlns:a16="http://schemas.microsoft.com/office/drawing/2014/main" id="{6CCD78F2-B8FD-48E5-89EA-B93F411EBB2F}"/>
              </a:ext>
            </a:extLst>
          </p:cNvPr>
          <p:cNvSpPr/>
          <p:nvPr/>
        </p:nvSpPr>
        <p:spPr>
          <a:xfrm flipH="1" flipV="1">
            <a:off x="8106259" y="9108155"/>
            <a:ext cx="532662" cy="532663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62500" lnSpcReduction="20000"/>
          </a:bodyPr>
          <a:lstStyle/>
          <a:p>
            <a:pPr algn="ctr" defTabSz="914354"/>
            <a:r>
              <a:rPr lang="en-US" altLang="zh-CN" sz="2000" dirty="0">
                <a:solidFill>
                  <a:schemeClr val="bg1"/>
                </a:solidFill>
              </a:rPr>
              <a:t>06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125" name="ïṣ1iḑe">
            <a:extLst>
              <a:ext uri="{FF2B5EF4-FFF2-40B4-BE49-F238E27FC236}">
                <a16:creationId xmlns:a16="http://schemas.microsoft.com/office/drawing/2014/main" id="{FE264F5B-6FD4-4624-B138-863A7FA8C58B}"/>
              </a:ext>
            </a:extLst>
          </p:cNvPr>
          <p:cNvSpPr/>
          <p:nvPr/>
        </p:nvSpPr>
        <p:spPr>
          <a:xfrm flipH="1" flipV="1">
            <a:off x="6790357" y="7764586"/>
            <a:ext cx="532662" cy="53266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62500" lnSpcReduction="20000"/>
          </a:bodyPr>
          <a:lstStyle/>
          <a:p>
            <a:pPr algn="ctr" defTabSz="914354"/>
            <a:r>
              <a:rPr lang="en-US" altLang="zh-CN" sz="2000" dirty="0">
                <a:solidFill>
                  <a:schemeClr val="bg1"/>
                </a:solidFill>
              </a:rPr>
              <a:t>05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grpSp>
        <p:nvGrpSpPr>
          <p:cNvPr id="126" name="ïṡ1iḓé">
            <a:extLst>
              <a:ext uri="{FF2B5EF4-FFF2-40B4-BE49-F238E27FC236}">
                <a16:creationId xmlns:a16="http://schemas.microsoft.com/office/drawing/2014/main" id="{78458E77-1BE4-4E08-98D4-799276FDF4A6}"/>
              </a:ext>
            </a:extLst>
          </p:cNvPr>
          <p:cNvGrpSpPr/>
          <p:nvPr/>
        </p:nvGrpSpPr>
        <p:grpSpPr>
          <a:xfrm flipH="1" flipV="1">
            <a:off x="7206270" y="9452606"/>
            <a:ext cx="1447972" cy="1417471"/>
            <a:chOff x="660400" y="4027303"/>
            <a:chExt cx="1754537" cy="1717579"/>
          </a:xfrm>
        </p:grpSpPr>
        <p:sp>
          <p:nvSpPr>
            <p:cNvPr id="127" name="iṡ1íḍé">
              <a:extLst>
                <a:ext uri="{FF2B5EF4-FFF2-40B4-BE49-F238E27FC236}">
                  <a16:creationId xmlns:a16="http://schemas.microsoft.com/office/drawing/2014/main" id="{07F10931-A3CF-4797-B767-E516745D8459}"/>
                </a:ext>
              </a:extLst>
            </p:cNvPr>
            <p:cNvSpPr txBox="1"/>
            <p:nvPr/>
          </p:nvSpPr>
          <p:spPr>
            <a:xfrm>
              <a:off x="660400" y="4027303"/>
              <a:ext cx="1754537" cy="44669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/>
                <a:t>环境变量配置</a:t>
              </a:r>
              <a:endParaRPr lang="id-ID" sz="1600" b="1" dirty="0"/>
            </a:p>
          </p:txBody>
        </p:sp>
        <p:sp>
          <p:nvSpPr>
            <p:cNvPr id="128" name="íśļîḓê">
              <a:extLst>
                <a:ext uri="{FF2B5EF4-FFF2-40B4-BE49-F238E27FC236}">
                  <a16:creationId xmlns:a16="http://schemas.microsoft.com/office/drawing/2014/main" id="{A3742E61-DC8A-4EC4-BE04-81CC9F3259F2}"/>
                </a:ext>
              </a:extLst>
            </p:cNvPr>
            <p:cNvSpPr/>
            <p:nvPr/>
          </p:nvSpPr>
          <p:spPr bwMode="auto">
            <a:xfrm>
              <a:off x="660400" y="4474004"/>
              <a:ext cx="1754537" cy="12708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vim /</a:t>
              </a:r>
              <a:r>
                <a:rPr lang="en-US" altLang="zh-CN" sz="1100" dirty="0" err="1"/>
                <a:t>etc</a:t>
              </a:r>
              <a:r>
                <a:rPr lang="en-US" altLang="zh-CN" sz="1100" dirty="0"/>
                <a:t>/profile</a:t>
              </a:r>
              <a:endParaRPr lang="zh-CN" altLang="en-US" sz="1100" dirty="0"/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export PATH=$PATH:/</a:t>
              </a:r>
              <a:r>
                <a:rPr lang="en-US" altLang="zh-CN" sz="1100" dirty="0" err="1"/>
                <a:t>hadoop</a:t>
              </a:r>
              <a:r>
                <a:rPr lang="en-US" altLang="zh-CN" sz="1100" dirty="0"/>
                <a:t>/</a:t>
              </a:r>
              <a:r>
                <a:rPr lang="en-US" altLang="zh-CN" sz="1100" dirty="0" err="1"/>
                <a:t>sbin</a:t>
              </a:r>
              <a:r>
                <a:rPr lang="en-US" altLang="zh-CN" sz="1100" dirty="0"/>
                <a:t>:/</a:t>
              </a:r>
              <a:r>
                <a:rPr lang="en-US" altLang="zh-CN" sz="1100" dirty="0" err="1"/>
                <a:t>hadoop</a:t>
              </a:r>
              <a:r>
                <a:rPr lang="en-US" altLang="zh-CN" sz="1100" dirty="0"/>
                <a:t>/bin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source /</a:t>
              </a:r>
              <a:r>
                <a:rPr lang="en-US" altLang="zh-CN" sz="1100" dirty="0" err="1"/>
                <a:t>etc</a:t>
              </a:r>
              <a:r>
                <a:rPr lang="en-US" altLang="zh-CN" sz="1100" dirty="0"/>
                <a:t>/profile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endParaRPr lang="en-US" altLang="zh-CN" sz="1100" dirty="0"/>
            </a:p>
          </p:txBody>
        </p:sp>
      </p:grpSp>
      <p:grpSp>
        <p:nvGrpSpPr>
          <p:cNvPr id="129" name="ï$ḷîḓê">
            <a:extLst>
              <a:ext uri="{FF2B5EF4-FFF2-40B4-BE49-F238E27FC236}">
                <a16:creationId xmlns:a16="http://schemas.microsoft.com/office/drawing/2014/main" id="{F8EAF1A9-4077-4584-B2E4-92EA6F18F40A}"/>
              </a:ext>
            </a:extLst>
          </p:cNvPr>
          <p:cNvGrpSpPr/>
          <p:nvPr/>
        </p:nvGrpSpPr>
        <p:grpSpPr>
          <a:xfrm flipH="1" flipV="1">
            <a:off x="8522173" y="8224236"/>
            <a:ext cx="1447972" cy="1417471"/>
            <a:chOff x="660400" y="4027303"/>
            <a:chExt cx="1754537" cy="1717579"/>
          </a:xfrm>
        </p:grpSpPr>
        <p:sp>
          <p:nvSpPr>
            <p:cNvPr id="130" name="ïšľïdè">
              <a:extLst>
                <a:ext uri="{FF2B5EF4-FFF2-40B4-BE49-F238E27FC236}">
                  <a16:creationId xmlns:a16="http://schemas.microsoft.com/office/drawing/2014/main" id="{EABCCAC5-4C25-4C25-9085-E51E5C60CDEF}"/>
                </a:ext>
              </a:extLst>
            </p:cNvPr>
            <p:cNvSpPr txBox="1"/>
            <p:nvPr/>
          </p:nvSpPr>
          <p:spPr>
            <a:xfrm>
              <a:off x="660400" y="4027303"/>
              <a:ext cx="1754537" cy="44669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/>
                <a:t>分布式</a:t>
              </a:r>
              <a:endParaRPr lang="id-ID" sz="1600" b="1" dirty="0"/>
            </a:p>
          </p:txBody>
        </p:sp>
        <p:sp>
          <p:nvSpPr>
            <p:cNvPr id="131" name="ï$líde">
              <a:extLst>
                <a:ext uri="{FF2B5EF4-FFF2-40B4-BE49-F238E27FC236}">
                  <a16:creationId xmlns:a16="http://schemas.microsoft.com/office/drawing/2014/main" id="{EFE349BE-78AB-4D8B-B3D5-AE72ECB5C5C2}"/>
                </a:ext>
              </a:extLst>
            </p:cNvPr>
            <p:cNvSpPr/>
            <p:nvPr/>
          </p:nvSpPr>
          <p:spPr bwMode="auto">
            <a:xfrm>
              <a:off x="660400" y="4474004"/>
              <a:ext cx="1754537" cy="12708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zh-CN" altLang="en-US" sz="1100" dirty="0"/>
                <a:t>下一步</a:t>
              </a:r>
              <a:endParaRPr lang="en-US" altLang="zh-CN" sz="1100" dirty="0"/>
            </a:p>
          </p:txBody>
        </p:sp>
      </p:grpSp>
      <p:sp>
        <p:nvSpPr>
          <p:cNvPr id="52" name="灯片编号占位符 3">
            <a:extLst>
              <a:ext uri="{FF2B5EF4-FFF2-40B4-BE49-F238E27FC236}">
                <a16:creationId xmlns:a16="http://schemas.microsoft.com/office/drawing/2014/main" id="{1C245015-F36C-4A4C-911D-D457DA2AAED1}"/>
              </a:ext>
            </a:extLst>
          </p:cNvPr>
          <p:cNvSpPr txBox="1">
            <a:spLocks/>
          </p:cNvSpPr>
          <p:nvPr/>
        </p:nvSpPr>
        <p:spPr>
          <a:xfrm>
            <a:off x="6457949" y="6240464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D3DB80-B894-403A-B48E-6FDC1A72010E}" type="slidenum">
              <a:rPr lang="zh-CN" altLang="en-US" smtClean="0"/>
              <a:pPr/>
              <a:t>3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005455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000" dirty="0"/>
              <a:t>Hadoop</a:t>
            </a:r>
            <a:r>
              <a:rPr lang="zh-CN" altLang="en-US" sz="2000" dirty="0"/>
              <a:t>的部署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7</a:t>
            </a:fld>
            <a:endParaRPr lang="zh-CN" altLang="en-US"/>
          </a:p>
        </p:txBody>
      </p:sp>
      <p:sp>
        <p:nvSpPr>
          <p:cNvPr id="195" name="iṧḻîďè">
            <a:extLst>
              <a:ext uri="{FF2B5EF4-FFF2-40B4-BE49-F238E27FC236}">
                <a16:creationId xmlns:a16="http://schemas.microsoft.com/office/drawing/2014/main" id="{6FC8272D-4563-47EB-B741-E738A21C2623}"/>
              </a:ext>
            </a:extLst>
          </p:cNvPr>
          <p:cNvSpPr/>
          <p:nvPr/>
        </p:nvSpPr>
        <p:spPr bwMode="auto">
          <a:xfrm>
            <a:off x="4288978" y="2665212"/>
            <a:ext cx="1557132" cy="325661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搞定！</a:t>
            </a:r>
            <a:endParaRPr lang="en-US" altLang="zh-CN" b="1" dirty="0"/>
          </a:p>
        </p:txBody>
      </p:sp>
      <p:sp>
        <p:nvSpPr>
          <p:cNvPr id="196" name="îŝḻiḋé">
            <a:extLst>
              <a:ext uri="{FF2B5EF4-FFF2-40B4-BE49-F238E27FC236}">
                <a16:creationId xmlns:a16="http://schemas.microsoft.com/office/drawing/2014/main" id="{C05C75D7-4258-49B9-958F-F2EEF0B840E0}"/>
              </a:ext>
            </a:extLst>
          </p:cNvPr>
          <p:cNvSpPr/>
          <p:nvPr/>
        </p:nvSpPr>
        <p:spPr bwMode="auto">
          <a:xfrm>
            <a:off x="4546879" y="2354089"/>
            <a:ext cx="1557132" cy="325661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测试</a:t>
            </a:r>
            <a:endParaRPr lang="en-US" altLang="zh-CN" b="1" dirty="0"/>
          </a:p>
        </p:txBody>
      </p:sp>
      <p:sp>
        <p:nvSpPr>
          <p:cNvPr id="197" name="íṥḷíďê">
            <a:extLst>
              <a:ext uri="{FF2B5EF4-FFF2-40B4-BE49-F238E27FC236}">
                <a16:creationId xmlns:a16="http://schemas.microsoft.com/office/drawing/2014/main" id="{D4FCC7AE-5767-4EC4-BB68-B94457D3AE6D}"/>
              </a:ext>
            </a:extLst>
          </p:cNvPr>
          <p:cNvSpPr/>
          <p:nvPr/>
        </p:nvSpPr>
        <p:spPr bwMode="auto">
          <a:xfrm>
            <a:off x="4799293" y="2042965"/>
            <a:ext cx="1557132" cy="325661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/>
              <a:t>配置</a:t>
            </a:r>
            <a:r>
              <a:rPr lang="en-US" altLang="zh-CN" b="1" dirty="0"/>
              <a:t>Hadoop</a:t>
            </a:r>
          </a:p>
        </p:txBody>
      </p:sp>
      <p:sp>
        <p:nvSpPr>
          <p:cNvPr id="198" name="ïś1ïḓè">
            <a:extLst>
              <a:ext uri="{FF2B5EF4-FFF2-40B4-BE49-F238E27FC236}">
                <a16:creationId xmlns:a16="http://schemas.microsoft.com/office/drawing/2014/main" id="{F32E844B-E27C-4A92-9B60-95E4AD88D81F}"/>
              </a:ext>
            </a:extLst>
          </p:cNvPr>
          <p:cNvSpPr/>
          <p:nvPr/>
        </p:nvSpPr>
        <p:spPr bwMode="auto">
          <a:xfrm>
            <a:off x="5056646" y="1731841"/>
            <a:ext cx="1557132" cy="325661"/>
          </a:xfrm>
          <a:prstGeom prst="parallelogram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>
                <a:solidFill>
                  <a:schemeClr val="bg1"/>
                </a:solidFill>
              </a:rPr>
              <a:t>安装</a:t>
            </a:r>
            <a:r>
              <a:rPr lang="en-US" altLang="zh-CN" sz="1750" b="1" dirty="0">
                <a:solidFill>
                  <a:schemeClr val="bg1"/>
                </a:solidFill>
              </a:rPr>
              <a:t>Hadoop</a:t>
            </a:r>
          </a:p>
        </p:txBody>
      </p:sp>
      <p:sp>
        <p:nvSpPr>
          <p:cNvPr id="199" name="îśļïḍè">
            <a:extLst>
              <a:ext uri="{FF2B5EF4-FFF2-40B4-BE49-F238E27FC236}">
                <a16:creationId xmlns:a16="http://schemas.microsoft.com/office/drawing/2014/main" id="{F812BB55-77DE-4E23-95E6-156A22FAD363}"/>
              </a:ext>
            </a:extLst>
          </p:cNvPr>
          <p:cNvSpPr/>
          <p:nvPr/>
        </p:nvSpPr>
        <p:spPr bwMode="auto">
          <a:xfrm>
            <a:off x="5296662" y="1420717"/>
            <a:ext cx="1557132" cy="325661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配置</a:t>
            </a:r>
            <a:r>
              <a:rPr lang="en-US" altLang="zh-CN" b="1" dirty="0"/>
              <a:t>JAVA</a:t>
            </a:r>
          </a:p>
        </p:txBody>
      </p:sp>
      <p:sp>
        <p:nvSpPr>
          <p:cNvPr id="200" name="ï$1íḍé">
            <a:extLst>
              <a:ext uri="{FF2B5EF4-FFF2-40B4-BE49-F238E27FC236}">
                <a16:creationId xmlns:a16="http://schemas.microsoft.com/office/drawing/2014/main" id="{48245F16-84E7-4201-9485-85B5E5B15ECD}"/>
              </a:ext>
            </a:extLst>
          </p:cNvPr>
          <p:cNvSpPr/>
          <p:nvPr/>
        </p:nvSpPr>
        <p:spPr bwMode="auto">
          <a:xfrm>
            <a:off x="5545561" y="1109593"/>
            <a:ext cx="1557132" cy="325661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安装</a:t>
            </a:r>
            <a:r>
              <a:rPr lang="en-US" altLang="zh-CN" b="1" dirty="0"/>
              <a:t>JAVA</a:t>
            </a:r>
          </a:p>
        </p:txBody>
      </p:sp>
      <p:sp>
        <p:nvSpPr>
          <p:cNvPr id="201" name="îṥľïďê">
            <a:extLst>
              <a:ext uri="{FF2B5EF4-FFF2-40B4-BE49-F238E27FC236}">
                <a16:creationId xmlns:a16="http://schemas.microsoft.com/office/drawing/2014/main" id="{920DFBAA-02E5-4206-86B0-FE10F93A7509}"/>
              </a:ext>
            </a:extLst>
          </p:cNvPr>
          <p:cNvSpPr/>
          <p:nvPr/>
        </p:nvSpPr>
        <p:spPr bwMode="auto">
          <a:xfrm>
            <a:off x="4089694" y="1809693"/>
            <a:ext cx="1790040" cy="592976"/>
          </a:xfrm>
          <a:custGeom>
            <a:avLst/>
            <a:gdLst>
              <a:gd name="T0" fmla="*/ 179 w 203"/>
              <a:gd name="T1" fmla="*/ 82 h 82"/>
              <a:gd name="T2" fmla="*/ 203 w 203"/>
              <a:gd name="T3" fmla="*/ 29 h 82"/>
              <a:gd name="T4" fmla="*/ 65 w 203"/>
              <a:gd name="T5" fmla="*/ 27 h 82"/>
              <a:gd name="T6" fmla="*/ 59 w 203"/>
              <a:gd name="T7" fmla="*/ 0 h 82"/>
              <a:gd name="T8" fmla="*/ 59 w 203"/>
              <a:gd name="T9" fmla="*/ 0 h 82"/>
              <a:gd name="T10" fmla="*/ 0 w 203"/>
              <a:gd name="T11" fmla="*/ 80 h 82"/>
              <a:gd name="T12" fmla="*/ 61 w 203"/>
              <a:gd name="T13" fmla="*/ 82 h 82"/>
              <a:gd name="T14" fmla="*/ 179 w 203"/>
              <a:gd name="T15" fmla="*/ 8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3" h="82">
                <a:moveTo>
                  <a:pt x="179" y="82"/>
                </a:moveTo>
                <a:lnTo>
                  <a:pt x="203" y="29"/>
                </a:lnTo>
                <a:lnTo>
                  <a:pt x="65" y="27"/>
                </a:lnTo>
                <a:lnTo>
                  <a:pt x="59" y="0"/>
                </a:lnTo>
                <a:lnTo>
                  <a:pt x="59" y="0"/>
                </a:lnTo>
                <a:lnTo>
                  <a:pt x="0" y="80"/>
                </a:lnTo>
                <a:lnTo>
                  <a:pt x="61" y="82"/>
                </a:lnTo>
                <a:lnTo>
                  <a:pt x="179" y="8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2" name="i$ḻíḋè">
            <a:extLst>
              <a:ext uri="{FF2B5EF4-FFF2-40B4-BE49-F238E27FC236}">
                <a16:creationId xmlns:a16="http://schemas.microsoft.com/office/drawing/2014/main" id="{430BE7EB-B6F0-4F05-80EA-1F517165029F}"/>
              </a:ext>
            </a:extLst>
          </p:cNvPr>
          <p:cNvSpPr/>
          <p:nvPr/>
        </p:nvSpPr>
        <p:spPr bwMode="auto">
          <a:xfrm>
            <a:off x="5435096" y="1109593"/>
            <a:ext cx="668915" cy="118476"/>
          </a:xfrm>
          <a:prstGeom prst="triangle">
            <a:avLst>
              <a:gd name="adj" fmla="val 14726"/>
            </a:avLst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3" name="işľiḋe">
            <a:extLst>
              <a:ext uri="{FF2B5EF4-FFF2-40B4-BE49-F238E27FC236}">
                <a16:creationId xmlns:a16="http://schemas.microsoft.com/office/drawing/2014/main" id="{E4DECB97-43D1-4D26-8C48-41447675AE79}"/>
              </a:ext>
            </a:extLst>
          </p:cNvPr>
          <p:cNvSpPr/>
          <p:nvPr/>
        </p:nvSpPr>
        <p:spPr bwMode="auto">
          <a:xfrm>
            <a:off x="3350569" y="1028701"/>
            <a:ext cx="2753443" cy="521189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4" name="iś1íďé">
            <a:extLst>
              <a:ext uri="{FF2B5EF4-FFF2-40B4-BE49-F238E27FC236}">
                <a16:creationId xmlns:a16="http://schemas.microsoft.com/office/drawing/2014/main" id="{6E7EA96A-F20A-4912-AC31-63A0F19E66DE}"/>
              </a:ext>
            </a:extLst>
          </p:cNvPr>
          <p:cNvSpPr/>
          <p:nvPr/>
        </p:nvSpPr>
        <p:spPr bwMode="auto">
          <a:xfrm>
            <a:off x="3089390" y="1339825"/>
            <a:ext cx="2753443" cy="521189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5" name="ïŝlíḋe">
            <a:extLst>
              <a:ext uri="{FF2B5EF4-FFF2-40B4-BE49-F238E27FC236}">
                <a16:creationId xmlns:a16="http://schemas.microsoft.com/office/drawing/2014/main" id="{66D30D6F-26C9-4C2C-BC01-900AC07DC57E}"/>
              </a:ext>
            </a:extLst>
          </p:cNvPr>
          <p:cNvSpPr/>
          <p:nvPr/>
        </p:nvSpPr>
        <p:spPr bwMode="auto">
          <a:xfrm>
            <a:off x="2824936" y="1650949"/>
            <a:ext cx="2753443" cy="521189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6" name="îSliďè">
            <a:extLst>
              <a:ext uri="{FF2B5EF4-FFF2-40B4-BE49-F238E27FC236}">
                <a16:creationId xmlns:a16="http://schemas.microsoft.com/office/drawing/2014/main" id="{2F6D5554-EACD-4DDD-892F-2E5F97A9C421}"/>
              </a:ext>
            </a:extLst>
          </p:cNvPr>
          <p:cNvSpPr/>
          <p:nvPr/>
        </p:nvSpPr>
        <p:spPr bwMode="auto">
          <a:xfrm>
            <a:off x="2563773" y="1962073"/>
            <a:ext cx="2753443" cy="521189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7" name="îSliďé">
            <a:extLst>
              <a:ext uri="{FF2B5EF4-FFF2-40B4-BE49-F238E27FC236}">
                <a16:creationId xmlns:a16="http://schemas.microsoft.com/office/drawing/2014/main" id="{2E278F3F-C8D8-4E2A-A3EA-29ADCF1A02AA}"/>
              </a:ext>
            </a:extLst>
          </p:cNvPr>
          <p:cNvSpPr/>
          <p:nvPr/>
        </p:nvSpPr>
        <p:spPr bwMode="auto">
          <a:xfrm>
            <a:off x="2302502" y="2273196"/>
            <a:ext cx="2753443" cy="521189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8" name="îs1iďé">
            <a:extLst>
              <a:ext uri="{FF2B5EF4-FFF2-40B4-BE49-F238E27FC236}">
                <a16:creationId xmlns:a16="http://schemas.microsoft.com/office/drawing/2014/main" id="{EB74D0C2-5677-4F3F-A043-44D01A3F3D48}"/>
              </a:ext>
            </a:extLst>
          </p:cNvPr>
          <p:cNvSpPr/>
          <p:nvPr/>
        </p:nvSpPr>
        <p:spPr bwMode="auto">
          <a:xfrm>
            <a:off x="2041308" y="2584320"/>
            <a:ext cx="2753443" cy="521189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9" name="ïṣḻïḋe">
            <a:extLst>
              <a:ext uri="{FF2B5EF4-FFF2-40B4-BE49-F238E27FC236}">
                <a16:creationId xmlns:a16="http://schemas.microsoft.com/office/drawing/2014/main" id="{7709F84E-C33F-462F-B538-51CB71C9284E}"/>
              </a:ext>
            </a:extLst>
          </p:cNvPr>
          <p:cNvSpPr/>
          <p:nvPr/>
        </p:nvSpPr>
        <p:spPr bwMode="auto">
          <a:xfrm>
            <a:off x="3786141" y="1299613"/>
            <a:ext cx="180733" cy="180482"/>
          </a:xfrm>
          <a:custGeom>
            <a:avLst/>
            <a:gdLst>
              <a:gd name="T0" fmla="*/ 400 w 11264"/>
              <a:gd name="T1" fmla="*/ 7099 h 11264"/>
              <a:gd name="T2" fmla="*/ 4165 w 11264"/>
              <a:gd name="T3" fmla="*/ 7099 h 11264"/>
              <a:gd name="T4" fmla="*/ 4165 w 11264"/>
              <a:gd name="T5" fmla="*/ 10864 h 11264"/>
              <a:gd name="T6" fmla="*/ 4565 w 11264"/>
              <a:gd name="T7" fmla="*/ 11264 h 11264"/>
              <a:gd name="T8" fmla="*/ 6699 w 11264"/>
              <a:gd name="T9" fmla="*/ 11264 h 11264"/>
              <a:gd name="T10" fmla="*/ 7099 w 11264"/>
              <a:gd name="T11" fmla="*/ 10864 h 11264"/>
              <a:gd name="T12" fmla="*/ 7099 w 11264"/>
              <a:gd name="T13" fmla="*/ 7099 h 11264"/>
              <a:gd name="T14" fmla="*/ 10864 w 11264"/>
              <a:gd name="T15" fmla="*/ 7099 h 11264"/>
              <a:gd name="T16" fmla="*/ 11264 w 11264"/>
              <a:gd name="T17" fmla="*/ 6699 h 11264"/>
              <a:gd name="T18" fmla="*/ 11264 w 11264"/>
              <a:gd name="T19" fmla="*/ 4565 h 11264"/>
              <a:gd name="T20" fmla="*/ 10864 w 11264"/>
              <a:gd name="T21" fmla="*/ 4165 h 11264"/>
              <a:gd name="T22" fmla="*/ 7099 w 11264"/>
              <a:gd name="T23" fmla="*/ 4165 h 11264"/>
              <a:gd name="T24" fmla="*/ 7099 w 11264"/>
              <a:gd name="T25" fmla="*/ 400 h 11264"/>
              <a:gd name="T26" fmla="*/ 6699 w 11264"/>
              <a:gd name="T27" fmla="*/ 0 h 11264"/>
              <a:gd name="T28" fmla="*/ 4565 w 11264"/>
              <a:gd name="T29" fmla="*/ 0 h 11264"/>
              <a:gd name="T30" fmla="*/ 4165 w 11264"/>
              <a:gd name="T31" fmla="*/ 400 h 11264"/>
              <a:gd name="T32" fmla="*/ 4165 w 11264"/>
              <a:gd name="T33" fmla="*/ 4165 h 11264"/>
              <a:gd name="T34" fmla="*/ 400 w 11264"/>
              <a:gd name="T35" fmla="*/ 4165 h 11264"/>
              <a:gd name="T36" fmla="*/ 0 w 11264"/>
              <a:gd name="T37" fmla="*/ 4565 h 11264"/>
              <a:gd name="T38" fmla="*/ 0 w 11264"/>
              <a:gd name="T39" fmla="*/ 6699 h 11264"/>
              <a:gd name="T40" fmla="*/ 400 w 11264"/>
              <a:gd name="T41" fmla="*/ 7099 h 11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264" h="11264">
                <a:moveTo>
                  <a:pt x="400" y="7099"/>
                </a:moveTo>
                <a:lnTo>
                  <a:pt x="4165" y="7099"/>
                </a:lnTo>
                <a:lnTo>
                  <a:pt x="4165" y="10864"/>
                </a:lnTo>
                <a:cubicBezTo>
                  <a:pt x="4165" y="11085"/>
                  <a:pt x="4344" y="11264"/>
                  <a:pt x="4565" y="11264"/>
                </a:cubicBezTo>
                <a:lnTo>
                  <a:pt x="6699" y="11264"/>
                </a:lnTo>
                <a:cubicBezTo>
                  <a:pt x="6920" y="11264"/>
                  <a:pt x="7099" y="11085"/>
                  <a:pt x="7099" y="10864"/>
                </a:cubicBezTo>
                <a:lnTo>
                  <a:pt x="7099" y="7099"/>
                </a:lnTo>
                <a:lnTo>
                  <a:pt x="10864" y="7099"/>
                </a:lnTo>
                <a:cubicBezTo>
                  <a:pt x="11085" y="7099"/>
                  <a:pt x="11264" y="6920"/>
                  <a:pt x="11264" y="6699"/>
                </a:cubicBezTo>
                <a:lnTo>
                  <a:pt x="11264" y="4565"/>
                </a:lnTo>
                <a:cubicBezTo>
                  <a:pt x="11264" y="4344"/>
                  <a:pt x="11085" y="4165"/>
                  <a:pt x="10864" y="4165"/>
                </a:cubicBezTo>
                <a:lnTo>
                  <a:pt x="7099" y="4165"/>
                </a:lnTo>
                <a:lnTo>
                  <a:pt x="7099" y="400"/>
                </a:lnTo>
                <a:cubicBezTo>
                  <a:pt x="7099" y="179"/>
                  <a:pt x="6920" y="0"/>
                  <a:pt x="6699" y="0"/>
                </a:cubicBezTo>
                <a:lnTo>
                  <a:pt x="4565" y="0"/>
                </a:lnTo>
                <a:cubicBezTo>
                  <a:pt x="4344" y="0"/>
                  <a:pt x="4165" y="179"/>
                  <a:pt x="4165" y="400"/>
                </a:cubicBezTo>
                <a:lnTo>
                  <a:pt x="4165" y="4165"/>
                </a:lnTo>
                <a:lnTo>
                  <a:pt x="400" y="4165"/>
                </a:lnTo>
                <a:cubicBezTo>
                  <a:pt x="179" y="4165"/>
                  <a:pt x="0" y="4344"/>
                  <a:pt x="0" y="4565"/>
                </a:cubicBezTo>
                <a:lnTo>
                  <a:pt x="0" y="6699"/>
                </a:lnTo>
                <a:cubicBezTo>
                  <a:pt x="0" y="6920"/>
                  <a:pt x="179" y="7099"/>
                  <a:pt x="400" y="7099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0" name="îsḷïde">
            <a:extLst>
              <a:ext uri="{FF2B5EF4-FFF2-40B4-BE49-F238E27FC236}">
                <a16:creationId xmlns:a16="http://schemas.microsoft.com/office/drawing/2014/main" id="{F7027C89-1BCC-4A00-9535-016DE4C49FD7}"/>
              </a:ext>
            </a:extLst>
          </p:cNvPr>
          <p:cNvSpPr/>
          <p:nvPr/>
        </p:nvSpPr>
        <p:spPr bwMode="auto">
          <a:xfrm>
            <a:off x="3539117" y="1607132"/>
            <a:ext cx="176984" cy="180733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  <a:gd name="connsiteX107" fmla="*/ 373273 h 605239"/>
              <a:gd name="connsiteY107" fmla="*/ 373273 h 605239"/>
              <a:gd name="connsiteX108" fmla="*/ 373273 h 605239"/>
              <a:gd name="connsiteY108" fmla="*/ 373273 h 605239"/>
              <a:gd name="connsiteX109" fmla="*/ 373273 h 605239"/>
              <a:gd name="connsiteY109" fmla="*/ 373273 h 605239"/>
              <a:gd name="connsiteX110" fmla="*/ 373273 h 605239"/>
              <a:gd name="connsiteY110" fmla="*/ 373273 h 605239"/>
              <a:gd name="connsiteX111" fmla="*/ 373273 h 605239"/>
              <a:gd name="connsiteY111" fmla="*/ 373273 h 605239"/>
              <a:gd name="connsiteX112" fmla="*/ 373273 h 605239"/>
              <a:gd name="connsiteY112" fmla="*/ 373273 h 605239"/>
              <a:gd name="connsiteX113" fmla="*/ 373273 h 605239"/>
              <a:gd name="connsiteY113" fmla="*/ 373273 h 605239"/>
              <a:gd name="connsiteX114" fmla="*/ 373273 h 605239"/>
              <a:gd name="connsiteY114" fmla="*/ 373273 h 605239"/>
              <a:gd name="connsiteX115" fmla="*/ 373273 h 605239"/>
              <a:gd name="connsiteY115" fmla="*/ 373273 h 605239"/>
              <a:gd name="connsiteX116" fmla="*/ 373273 h 605239"/>
              <a:gd name="connsiteY116" fmla="*/ 373273 h 605239"/>
              <a:gd name="connsiteX117" fmla="*/ 373273 h 605239"/>
              <a:gd name="connsiteY117" fmla="*/ 373273 h 605239"/>
              <a:gd name="connsiteX118" fmla="*/ 373273 h 605239"/>
              <a:gd name="connsiteY118" fmla="*/ 373273 h 605239"/>
              <a:gd name="connsiteX119" fmla="*/ 373273 h 605239"/>
              <a:gd name="connsiteY119" fmla="*/ 373273 h 605239"/>
              <a:gd name="connsiteX120" fmla="*/ 373273 h 605239"/>
              <a:gd name="connsiteY120" fmla="*/ 373273 h 605239"/>
              <a:gd name="connsiteX121" fmla="*/ 373273 h 605239"/>
              <a:gd name="connsiteY121" fmla="*/ 373273 h 605239"/>
              <a:gd name="connsiteX122" fmla="*/ 373273 h 605239"/>
              <a:gd name="connsiteY122" fmla="*/ 373273 h 605239"/>
              <a:gd name="connsiteX123" fmla="*/ 373273 h 605239"/>
              <a:gd name="connsiteY123" fmla="*/ 373273 h 605239"/>
              <a:gd name="connsiteX124" fmla="*/ 373273 h 605239"/>
              <a:gd name="connsiteY124" fmla="*/ 373273 h 605239"/>
              <a:gd name="connsiteX125" fmla="*/ 373273 h 605239"/>
              <a:gd name="connsiteY125" fmla="*/ 373273 h 605239"/>
              <a:gd name="connsiteX126" fmla="*/ 373273 h 605239"/>
              <a:gd name="connsiteY126" fmla="*/ 373273 h 605239"/>
              <a:gd name="connsiteX127" fmla="*/ 373273 h 605239"/>
              <a:gd name="connsiteY127" fmla="*/ 373273 h 605239"/>
              <a:gd name="connsiteX128" fmla="*/ 373273 h 605239"/>
              <a:gd name="connsiteY128" fmla="*/ 373273 h 605239"/>
              <a:gd name="connsiteX129" fmla="*/ 373273 h 605239"/>
              <a:gd name="connsiteY12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593733" h="606309">
                <a:moveTo>
                  <a:pt x="353250" y="302855"/>
                </a:moveTo>
                <a:cubicBezTo>
                  <a:pt x="318468" y="302855"/>
                  <a:pt x="290232" y="331146"/>
                  <a:pt x="290232" y="365879"/>
                </a:cubicBezTo>
                <a:cubicBezTo>
                  <a:pt x="290232" y="374189"/>
                  <a:pt x="296964" y="380912"/>
                  <a:pt x="305285" y="380912"/>
                </a:cubicBezTo>
                <a:cubicBezTo>
                  <a:pt x="313607" y="380912"/>
                  <a:pt x="320338" y="374189"/>
                  <a:pt x="320338" y="365879"/>
                </a:cubicBezTo>
                <a:cubicBezTo>
                  <a:pt x="320338" y="347672"/>
                  <a:pt x="335111" y="333014"/>
                  <a:pt x="353250" y="333014"/>
                </a:cubicBezTo>
                <a:cubicBezTo>
                  <a:pt x="361665" y="333014"/>
                  <a:pt x="368397" y="326291"/>
                  <a:pt x="368397" y="317888"/>
                </a:cubicBezTo>
                <a:cubicBezTo>
                  <a:pt x="368397" y="309578"/>
                  <a:pt x="361665" y="302855"/>
                  <a:pt x="353250" y="302855"/>
                </a:cubicBezTo>
                <a:close/>
                <a:moveTo>
                  <a:pt x="353250" y="265041"/>
                </a:moveTo>
                <a:cubicBezTo>
                  <a:pt x="409163" y="265041"/>
                  <a:pt x="454229" y="310232"/>
                  <a:pt x="454229" y="365879"/>
                </a:cubicBezTo>
                <a:cubicBezTo>
                  <a:pt x="454229" y="421527"/>
                  <a:pt x="408976" y="466717"/>
                  <a:pt x="353250" y="466717"/>
                </a:cubicBezTo>
                <a:cubicBezTo>
                  <a:pt x="297525" y="466717"/>
                  <a:pt x="252271" y="421527"/>
                  <a:pt x="252271" y="365879"/>
                </a:cubicBezTo>
                <a:cubicBezTo>
                  <a:pt x="252271" y="310232"/>
                  <a:pt x="297431" y="265041"/>
                  <a:pt x="353250" y="265041"/>
                </a:cubicBezTo>
                <a:close/>
                <a:moveTo>
                  <a:pt x="427779" y="133781"/>
                </a:moveTo>
                <a:cubicBezTo>
                  <a:pt x="432818" y="131960"/>
                  <a:pt x="438547" y="132054"/>
                  <a:pt x="443784" y="134482"/>
                </a:cubicBezTo>
                <a:lnTo>
                  <a:pt x="473245" y="148209"/>
                </a:lnTo>
                <a:cubicBezTo>
                  <a:pt x="483720" y="153158"/>
                  <a:pt x="488209" y="165671"/>
                  <a:pt x="483346" y="176130"/>
                </a:cubicBezTo>
                <a:lnTo>
                  <a:pt x="470252" y="203957"/>
                </a:lnTo>
                <a:cubicBezTo>
                  <a:pt x="492231" y="219646"/>
                  <a:pt x="511123" y="240003"/>
                  <a:pt x="525526" y="264095"/>
                </a:cubicBezTo>
                <a:lnTo>
                  <a:pt x="554426" y="253636"/>
                </a:lnTo>
                <a:cubicBezTo>
                  <a:pt x="565368" y="249714"/>
                  <a:pt x="577340" y="255411"/>
                  <a:pt x="581361" y="266243"/>
                </a:cubicBezTo>
                <a:lnTo>
                  <a:pt x="592491" y="296592"/>
                </a:lnTo>
                <a:cubicBezTo>
                  <a:pt x="596419" y="307612"/>
                  <a:pt x="590714" y="319564"/>
                  <a:pt x="579865" y="323486"/>
                </a:cubicBezTo>
                <a:lnTo>
                  <a:pt x="550965" y="333945"/>
                </a:lnTo>
                <a:cubicBezTo>
                  <a:pt x="555455" y="361586"/>
                  <a:pt x="553958" y="389414"/>
                  <a:pt x="547224" y="415561"/>
                </a:cubicBezTo>
                <a:lnTo>
                  <a:pt x="575095" y="428634"/>
                </a:lnTo>
                <a:cubicBezTo>
                  <a:pt x="585570" y="433490"/>
                  <a:pt x="590059" y="445910"/>
                  <a:pt x="585102" y="456649"/>
                </a:cubicBezTo>
                <a:lnTo>
                  <a:pt x="571354" y="485970"/>
                </a:lnTo>
                <a:cubicBezTo>
                  <a:pt x="566397" y="496429"/>
                  <a:pt x="553958" y="500911"/>
                  <a:pt x="543483" y="496056"/>
                </a:cubicBezTo>
                <a:lnTo>
                  <a:pt x="515238" y="482982"/>
                </a:lnTo>
                <a:cubicBezTo>
                  <a:pt x="499526" y="504833"/>
                  <a:pt x="479137" y="523510"/>
                  <a:pt x="455007" y="537704"/>
                </a:cubicBezTo>
                <a:lnTo>
                  <a:pt x="465763" y="567026"/>
                </a:lnTo>
                <a:cubicBezTo>
                  <a:pt x="469784" y="578045"/>
                  <a:pt x="463986" y="589997"/>
                  <a:pt x="453137" y="593919"/>
                </a:cubicBezTo>
                <a:lnTo>
                  <a:pt x="422741" y="605032"/>
                </a:lnTo>
                <a:cubicBezTo>
                  <a:pt x="411798" y="609047"/>
                  <a:pt x="399827" y="603258"/>
                  <a:pt x="395805" y="592425"/>
                </a:cubicBezTo>
                <a:lnTo>
                  <a:pt x="385050" y="562823"/>
                </a:lnTo>
                <a:cubicBezTo>
                  <a:pt x="357646" y="567212"/>
                  <a:pt x="330056" y="565718"/>
                  <a:pt x="304149" y="558995"/>
                </a:cubicBezTo>
                <a:lnTo>
                  <a:pt x="290682" y="587756"/>
                </a:lnTo>
                <a:cubicBezTo>
                  <a:pt x="285725" y="598215"/>
                  <a:pt x="273192" y="602697"/>
                  <a:pt x="262717" y="597841"/>
                </a:cubicBezTo>
                <a:lnTo>
                  <a:pt x="233350" y="584114"/>
                </a:lnTo>
                <a:cubicBezTo>
                  <a:pt x="222875" y="579165"/>
                  <a:pt x="218385" y="566652"/>
                  <a:pt x="223249" y="556193"/>
                </a:cubicBezTo>
                <a:lnTo>
                  <a:pt x="236810" y="527338"/>
                </a:lnTo>
                <a:cubicBezTo>
                  <a:pt x="215112" y="511650"/>
                  <a:pt x="196407" y="491480"/>
                  <a:pt x="182284" y="467668"/>
                </a:cubicBezTo>
                <a:lnTo>
                  <a:pt x="152169" y="478687"/>
                </a:lnTo>
                <a:cubicBezTo>
                  <a:pt x="141133" y="482609"/>
                  <a:pt x="129161" y="476912"/>
                  <a:pt x="125233" y="466080"/>
                </a:cubicBezTo>
                <a:lnTo>
                  <a:pt x="114104" y="435731"/>
                </a:lnTo>
                <a:cubicBezTo>
                  <a:pt x="110082" y="424712"/>
                  <a:pt x="115881" y="412759"/>
                  <a:pt x="126730" y="408837"/>
                </a:cubicBezTo>
                <a:lnTo>
                  <a:pt x="156845" y="397818"/>
                </a:lnTo>
                <a:cubicBezTo>
                  <a:pt x="153852" y="379422"/>
                  <a:pt x="153478" y="361026"/>
                  <a:pt x="155629" y="342910"/>
                </a:cubicBezTo>
                <a:lnTo>
                  <a:pt x="158622" y="343097"/>
                </a:lnTo>
                <a:cubicBezTo>
                  <a:pt x="181162" y="344030"/>
                  <a:pt x="200522" y="327408"/>
                  <a:pt x="203141" y="305370"/>
                </a:cubicBezTo>
                <a:cubicBezTo>
                  <a:pt x="207723" y="303876"/>
                  <a:pt x="212119" y="302195"/>
                  <a:pt x="216515" y="300515"/>
                </a:cubicBezTo>
                <a:cubicBezTo>
                  <a:pt x="220349" y="304063"/>
                  <a:pt x="224745" y="306958"/>
                  <a:pt x="229609" y="308919"/>
                </a:cubicBezTo>
                <a:cubicBezTo>
                  <a:pt x="219227" y="330957"/>
                  <a:pt x="214831" y="355983"/>
                  <a:pt x="217824" y="381943"/>
                </a:cubicBezTo>
                <a:cubicBezTo>
                  <a:pt x="226709" y="456462"/>
                  <a:pt x="294329" y="509876"/>
                  <a:pt x="368963" y="501192"/>
                </a:cubicBezTo>
                <a:cubicBezTo>
                  <a:pt x="443691" y="492320"/>
                  <a:pt x="497188" y="424899"/>
                  <a:pt x="488490" y="350287"/>
                </a:cubicBezTo>
                <a:cubicBezTo>
                  <a:pt x="479605" y="275675"/>
                  <a:pt x="411985" y="222260"/>
                  <a:pt x="337351" y="231038"/>
                </a:cubicBezTo>
                <a:cubicBezTo>
                  <a:pt x="324632" y="232532"/>
                  <a:pt x="312473" y="235707"/>
                  <a:pt x="301156" y="240376"/>
                </a:cubicBezTo>
                <a:cubicBezTo>
                  <a:pt x="299660" y="236268"/>
                  <a:pt x="297509" y="232345"/>
                  <a:pt x="294797" y="228890"/>
                </a:cubicBezTo>
                <a:cubicBezTo>
                  <a:pt x="297041" y="224688"/>
                  <a:pt x="299005" y="220393"/>
                  <a:pt x="300782" y="216097"/>
                </a:cubicBezTo>
                <a:cubicBezTo>
                  <a:pt x="311164" y="215817"/>
                  <a:pt x="320891" y="211802"/>
                  <a:pt x="328466" y="204891"/>
                </a:cubicBezTo>
                <a:cubicBezTo>
                  <a:pt x="336977" y="197141"/>
                  <a:pt x="341934" y="186589"/>
                  <a:pt x="342402" y="175103"/>
                </a:cubicBezTo>
                <a:lnTo>
                  <a:pt x="342776" y="166978"/>
                </a:lnTo>
                <a:cubicBezTo>
                  <a:pt x="363164" y="165764"/>
                  <a:pt x="383460" y="167912"/>
                  <a:pt x="402820" y="172768"/>
                </a:cubicBezTo>
                <a:lnTo>
                  <a:pt x="415913" y="144567"/>
                </a:lnTo>
                <a:cubicBezTo>
                  <a:pt x="418392" y="139338"/>
                  <a:pt x="422741" y="135602"/>
                  <a:pt x="427779" y="133781"/>
                </a:cubicBezTo>
                <a:close/>
                <a:moveTo>
                  <a:pt x="159906" y="88589"/>
                </a:moveTo>
                <a:cubicBezTo>
                  <a:pt x="142487" y="87818"/>
                  <a:pt x="124764" y="93678"/>
                  <a:pt x="110828" y="106378"/>
                </a:cubicBezTo>
                <a:cubicBezTo>
                  <a:pt x="96145" y="119731"/>
                  <a:pt x="88663" y="138127"/>
                  <a:pt x="88663" y="156523"/>
                </a:cubicBezTo>
                <a:cubicBezTo>
                  <a:pt x="88663" y="172958"/>
                  <a:pt x="94555" y="189393"/>
                  <a:pt x="106526" y="202467"/>
                </a:cubicBezTo>
                <a:cubicBezTo>
                  <a:pt x="131965" y="230294"/>
                  <a:pt x="175081" y="232162"/>
                  <a:pt x="202764" y="206762"/>
                </a:cubicBezTo>
                <a:cubicBezTo>
                  <a:pt x="217448" y="193409"/>
                  <a:pt x="224930" y="175013"/>
                  <a:pt x="224930" y="156523"/>
                </a:cubicBezTo>
                <a:cubicBezTo>
                  <a:pt x="224930" y="140088"/>
                  <a:pt x="219132" y="123653"/>
                  <a:pt x="207160" y="110580"/>
                </a:cubicBezTo>
                <a:cubicBezTo>
                  <a:pt x="194441" y="96760"/>
                  <a:pt x="177325" y="89359"/>
                  <a:pt x="159906" y="88589"/>
                </a:cubicBezTo>
                <a:close/>
                <a:moveTo>
                  <a:pt x="153289" y="17"/>
                </a:moveTo>
                <a:lnTo>
                  <a:pt x="173678" y="951"/>
                </a:lnTo>
                <a:cubicBezTo>
                  <a:pt x="180786" y="1325"/>
                  <a:pt x="186304" y="7114"/>
                  <a:pt x="186304" y="14118"/>
                </a:cubicBezTo>
                <a:lnTo>
                  <a:pt x="186304" y="14771"/>
                </a:lnTo>
                <a:lnTo>
                  <a:pt x="185462" y="34755"/>
                </a:lnTo>
                <a:cubicBezTo>
                  <a:pt x="201923" y="38677"/>
                  <a:pt x="217729" y="45774"/>
                  <a:pt x="231851" y="56232"/>
                </a:cubicBezTo>
                <a:lnTo>
                  <a:pt x="246535" y="42786"/>
                </a:lnTo>
                <a:cubicBezTo>
                  <a:pt x="251866" y="37930"/>
                  <a:pt x="260283" y="38303"/>
                  <a:pt x="265240" y="43626"/>
                </a:cubicBezTo>
                <a:lnTo>
                  <a:pt x="279082" y="58660"/>
                </a:lnTo>
                <a:cubicBezTo>
                  <a:pt x="281420" y="61275"/>
                  <a:pt x="282542" y="64450"/>
                  <a:pt x="282542" y="67625"/>
                </a:cubicBezTo>
                <a:cubicBezTo>
                  <a:pt x="282542" y="71173"/>
                  <a:pt x="281233" y="74722"/>
                  <a:pt x="278334" y="77337"/>
                </a:cubicBezTo>
                <a:lnTo>
                  <a:pt x="263744" y="90690"/>
                </a:lnTo>
                <a:cubicBezTo>
                  <a:pt x="273096" y="105537"/>
                  <a:pt x="278988" y="121973"/>
                  <a:pt x="281420" y="138781"/>
                </a:cubicBezTo>
                <a:lnTo>
                  <a:pt x="301061" y="139621"/>
                </a:lnTo>
                <a:cubicBezTo>
                  <a:pt x="308169" y="139995"/>
                  <a:pt x="313593" y="145878"/>
                  <a:pt x="313593" y="152788"/>
                </a:cubicBezTo>
                <a:lnTo>
                  <a:pt x="313593" y="153442"/>
                </a:lnTo>
                <a:lnTo>
                  <a:pt x="312751" y="173892"/>
                </a:lnTo>
                <a:cubicBezTo>
                  <a:pt x="312377" y="181083"/>
                  <a:pt x="306298" y="186779"/>
                  <a:pt x="298910" y="186405"/>
                </a:cubicBezTo>
                <a:lnTo>
                  <a:pt x="279456" y="185565"/>
                </a:lnTo>
                <a:cubicBezTo>
                  <a:pt x="275622" y="202093"/>
                  <a:pt x="268327" y="218061"/>
                  <a:pt x="257758" y="232162"/>
                </a:cubicBezTo>
                <a:lnTo>
                  <a:pt x="270852" y="246449"/>
                </a:lnTo>
                <a:cubicBezTo>
                  <a:pt x="273190" y="249064"/>
                  <a:pt x="274312" y="252145"/>
                  <a:pt x="274312" y="255414"/>
                </a:cubicBezTo>
                <a:cubicBezTo>
                  <a:pt x="274312" y="258869"/>
                  <a:pt x="273003" y="262511"/>
                  <a:pt x="270104" y="265126"/>
                </a:cubicBezTo>
                <a:lnTo>
                  <a:pt x="255046" y="278946"/>
                </a:lnTo>
                <a:cubicBezTo>
                  <a:pt x="249621" y="283802"/>
                  <a:pt x="241297" y="283428"/>
                  <a:pt x="236340" y="278106"/>
                </a:cubicBezTo>
                <a:lnTo>
                  <a:pt x="223247" y="263724"/>
                </a:lnTo>
                <a:cubicBezTo>
                  <a:pt x="208282" y="272970"/>
                  <a:pt x="191635" y="278853"/>
                  <a:pt x="174800" y="281187"/>
                </a:cubicBezTo>
                <a:lnTo>
                  <a:pt x="173958" y="300610"/>
                </a:lnTo>
                <a:cubicBezTo>
                  <a:pt x="173584" y="307801"/>
                  <a:pt x="167505" y="313590"/>
                  <a:pt x="160117" y="313217"/>
                </a:cubicBezTo>
                <a:lnTo>
                  <a:pt x="139634" y="312283"/>
                </a:lnTo>
                <a:cubicBezTo>
                  <a:pt x="132526" y="311909"/>
                  <a:pt x="127102" y="306120"/>
                  <a:pt x="127102" y="299116"/>
                </a:cubicBezTo>
                <a:lnTo>
                  <a:pt x="127102" y="298463"/>
                </a:lnTo>
                <a:lnTo>
                  <a:pt x="128037" y="279039"/>
                </a:lnTo>
                <a:cubicBezTo>
                  <a:pt x="111577" y="275211"/>
                  <a:pt x="95771" y="267834"/>
                  <a:pt x="81648" y="257281"/>
                </a:cubicBezTo>
                <a:lnTo>
                  <a:pt x="67058" y="270635"/>
                </a:lnTo>
                <a:cubicBezTo>
                  <a:pt x="61727" y="275491"/>
                  <a:pt x="53403" y="275117"/>
                  <a:pt x="48353" y="269701"/>
                </a:cubicBezTo>
                <a:lnTo>
                  <a:pt x="34511" y="254667"/>
                </a:lnTo>
                <a:cubicBezTo>
                  <a:pt x="32173" y="252052"/>
                  <a:pt x="31051" y="248970"/>
                  <a:pt x="31051" y="245702"/>
                </a:cubicBezTo>
                <a:cubicBezTo>
                  <a:pt x="31051" y="242247"/>
                  <a:pt x="32453" y="238605"/>
                  <a:pt x="35259" y="235990"/>
                </a:cubicBezTo>
                <a:lnTo>
                  <a:pt x="50036" y="222544"/>
                </a:lnTo>
                <a:cubicBezTo>
                  <a:pt x="40777" y="207696"/>
                  <a:pt x="35072" y="191261"/>
                  <a:pt x="32640" y="174639"/>
                </a:cubicBezTo>
                <a:lnTo>
                  <a:pt x="12626" y="173705"/>
                </a:lnTo>
                <a:cubicBezTo>
                  <a:pt x="5518" y="173332"/>
                  <a:pt x="0" y="167542"/>
                  <a:pt x="0" y="160539"/>
                </a:cubicBezTo>
                <a:lnTo>
                  <a:pt x="0" y="159885"/>
                </a:lnTo>
                <a:lnTo>
                  <a:pt x="842" y="139621"/>
                </a:lnTo>
                <a:cubicBezTo>
                  <a:pt x="1216" y="132431"/>
                  <a:pt x="7388" y="126642"/>
                  <a:pt x="14683" y="127015"/>
                </a:cubicBezTo>
                <a:lnTo>
                  <a:pt x="34885" y="127949"/>
                </a:lnTo>
                <a:cubicBezTo>
                  <a:pt x="38813" y="111514"/>
                  <a:pt x="46015" y="95826"/>
                  <a:pt x="56490" y="81819"/>
                </a:cubicBezTo>
                <a:lnTo>
                  <a:pt x="42741" y="66878"/>
                </a:lnTo>
                <a:cubicBezTo>
                  <a:pt x="40403" y="64263"/>
                  <a:pt x="39281" y="61182"/>
                  <a:pt x="39281" y="57913"/>
                </a:cubicBezTo>
                <a:cubicBezTo>
                  <a:pt x="39281" y="54458"/>
                  <a:pt x="40684" y="50816"/>
                  <a:pt x="43490" y="48202"/>
                </a:cubicBezTo>
                <a:lnTo>
                  <a:pt x="58641" y="34381"/>
                </a:lnTo>
                <a:cubicBezTo>
                  <a:pt x="63972" y="29526"/>
                  <a:pt x="72296" y="29899"/>
                  <a:pt x="77346" y="35315"/>
                </a:cubicBezTo>
                <a:lnTo>
                  <a:pt x="90627" y="50256"/>
                </a:lnTo>
                <a:cubicBezTo>
                  <a:pt x="105591" y="41011"/>
                  <a:pt x="121864" y="35128"/>
                  <a:pt x="138512" y="32794"/>
                </a:cubicBezTo>
                <a:lnTo>
                  <a:pt x="139447" y="12624"/>
                </a:lnTo>
                <a:cubicBezTo>
                  <a:pt x="139821" y="5433"/>
                  <a:pt x="145901" y="-356"/>
                  <a:pt x="153289" y="1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1" name="îṣḻïḓè">
            <a:extLst>
              <a:ext uri="{FF2B5EF4-FFF2-40B4-BE49-F238E27FC236}">
                <a16:creationId xmlns:a16="http://schemas.microsoft.com/office/drawing/2014/main" id="{30C8A656-A69C-4844-9B4C-38593487F7D6}"/>
              </a:ext>
            </a:extLst>
          </p:cNvPr>
          <p:cNvSpPr/>
          <p:nvPr/>
        </p:nvSpPr>
        <p:spPr bwMode="auto">
          <a:xfrm>
            <a:off x="3297227" y="1914953"/>
            <a:ext cx="180733" cy="180382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81741" h="580612">
                <a:moveTo>
                  <a:pt x="291612" y="187916"/>
                </a:moveTo>
                <a:cubicBezTo>
                  <a:pt x="304876" y="187916"/>
                  <a:pt x="315648" y="198758"/>
                  <a:pt x="315648" y="212088"/>
                </a:cubicBezTo>
                <a:lnTo>
                  <a:pt x="315648" y="491836"/>
                </a:lnTo>
                <a:lnTo>
                  <a:pt x="331227" y="473974"/>
                </a:lnTo>
                <a:cubicBezTo>
                  <a:pt x="339863" y="463932"/>
                  <a:pt x="355086" y="462866"/>
                  <a:pt x="365145" y="471574"/>
                </a:cubicBezTo>
                <a:cubicBezTo>
                  <a:pt x="375116" y="480372"/>
                  <a:pt x="376184" y="495657"/>
                  <a:pt x="367460" y="505699"/>
                </a:cubicBezTo>
                <a:lnTo>
                  <a:pt x="309773" y="572348"/>
                </a:lnTo>
                <a:cubicBezTo>
                  <a:pt x="305143" y="577502"/>
                  <a:pt x="298556" y="580612"/>
                  <a:pt x="291612" y="580612"/>
                </a:cubicBezTo>
                <a:cubicBezTo>
                  <a:pt x="284579" y="580612"/>
                  <a:pt x="278080" y="577680"/>
                  <a:pt x="273451" y="572348"/>
                </a:cubicBezTo>
                <a:lnTo>
                  <a:pt x="215764" y="505699"/>
                </a:lnTo>
                <a:cubicBezTo>
                  <a:pt x="207039" y="495657"/>
                  <a:pt x="208108" y="480372"/>
                  <a:pt x="218078" y="471574"/>
                </a:cubicBezTo>
                <a:cubicBezTo>
                  <a:pt x="228049" y="462866"/>
                  <a:pt x="243272" y="463932"/>
                  <a:pt x="252085" y="473974"/>
                </a:cubicBezTo>
                <a:lnTo>
                  <a:pt x="267486" y="491747"/>
                </a:lnTo>
                <a:lnTo>
                  <a:pt x="267486" y="212088"/>
                </a:lnTo>
                <a:cubicBezTo>
                  <a:pt x="267486" y="198758"/>
                  <a:pt x="278258" y="187916"/>
                  <a:pt x="291612" y="187916"/>
                </a:cubicBezTo>
                <a:close/>
                <a:moveTo>
                  <a:pt x="329499" y="0"/>
                </a:moveTo>
                <a:cubicBezTo>
                  <a:pt x="426248" y="0"/>
                  <a:pt x="465322" y="80426"/>
                  <a:pt x="473332" y="108153"/>
                </a:cubicBezTo>
                <a:cubicBezTo>
                  <a:pt x="535280" y="120684"/>
                  <a:pt x="581474" y="175693"/>
                  <a:pt x="581741" y="241190"/>
                </a:cubicBezTo>
                <a:cubicBezTo>
                  <a:pt x="581741" y="315840"/>
                  <a:pt x="521306" y="376537"/>
                  <a:pt x="446987" y="376537"/>
                </a:cubicBezTo>
                <a:lnTo>
                  <a:pt x="372756" y="376537"/>
                </a:lnTo>
                <a:cubicBezTo>
                  <a:pt x="359316" y="376537"/>
                  <a:pt x="348546" y="365606"/>
                  <a:pt x="348546" y="352276"/>
                </a:cubicBezTo>
                <a:cubicBezTo>
                  <a:pt x="348546" y="338857"/>
                  <a:pt x="359316" y="327926"/>
                  <a:pt x="372756" y="327926"/>
                </a:cubicBezTo>
                <a:lnTo>
                  <a:pt x="446987" y="327926"/>
                </a:lnTo>
                <a:cubicBezTo>
                  <a:pt x="494605" y="327926"/>
                  <a:pt x="533322" y="289090"/>
                  <a:pt x="533322" y="241190"/>
                </a:cubicBezTo>
                <a:cubicBezTo>
                  <a:pt x="533322" y="195334"/>
                  <a:pt x="497720" y="157298"/>
                  <a:pt x="452238" y="154632"/>
                </a:cubicBezTo>
                <a:cubicBezTo>
                  <a:pt x="440934" y="153921"/>
                  <a:pt x="431589" y="145478"/>
                  <a:pt x="429809" y="134192"/>
                </a:cubicBezTo>
                <a:cubicBezTo>
                  <a:pt x="421709" y="84692"/>
                  <a:pt x="379609" y="48789"/>
                  <a:pt x="329677" y="48789"/>
                </a:cubicBezTo>
                <a:cubicBezTo>
                  <a:pt x="279567" y="48789"/>
                  <a:pt x="238001" y="84781"/>
                  <a:pt x="229457" y="134192"/>
                </a:cubicBezTo>
                <a:cubicBezTo>
                  <a:pt x="226520" y="151521"/>
                  <a:pt x="212190" y="162807"/>
                  <a:pt x="192964" y="151077"/>
                </a:cubicBezTo>
                <a:cubicBezTo>
                  <a:pt x="178011" y="141834"/>
                  <a:pt x="160922" y="136947"/>
                  <a:pt x="143299" y="136947"/>
                </a:cubicBezTo>
                <a:cubicBezTo>
                  <a:pt x="90964" y="136947"/>
                  <a:pt x="48419" y="179693"/>
                  <a:pt x="48419" y="232303"/>
                </a:cubicBezTo>
                <a:cubicBezTo>
                  <a:pt x="48419" y="284913"/>
                  <a:pt x="90964" y="327748"/>
                  <a:pt x="143299" y="327748"/>
                </a:cubicBezTo>
                <a:lnTo>
                  <a:pt x="218776" y="327748"/>
                </a:lnTo>
                <a:cubicBezTo>
                  <a:pt x="232216" y="327748"/>
                  <a:pt x="242986" y="338590"/>
                  <a:pt x="242986" y="352009"/>
                </a:cubicBezTo>
                <a:cubicBezTo>
                  <a:pt x="242986" y="365429"/>
                  <a:pt x="232216" y="376271"/>
                  <a:pt x="218776" y="376271"/>
                </a:cubicBezTo>
                <a:lnTo>
                  <a:pt x="143299" y="376271"/>
                </a:lnTo>
                <a:cubicBezTo>
                  <a:pt x="64262" y="376271"/>
                  <a:pt x="0" y="311574"/>
                  <a:pt x="0" y="232214"/>
                </a:cubicBezTo>
                <a:cubicBezTo>
                  <a:pt x="0" y="152854"/>
                  <a:pt x="64262" y="88158"/>
                  <a:pt x="143210" y="88158"/>
                </a:cubicBezTo>
                <a:cubicBezTo>
                  <a:pt x="159231" y="88158"/>
                  <a:pt x="174896" y="90735"/>
                  <a:pt x="189849" y="95978"/>
                </a:cubicBezTo>
                <a:cubicBezTo>
                  <a:pt x="198749" y="73050"/>
                  <a:pt x="238891" y="0"/>
                  <a:pt x="3294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2" name="iş1iḑe">
            <a:extLst>
              <a:ext uri="{FF2B5EF4-FFF2-40B4-BE49-F238E27FC236}">
                <a16:creationId xmlns:a16="http://schemas.microsoft.com/office/drawing/2014/main" id="{79D5FAF9-096B-4C61-A299-6A26A276E128}"/>
              </a:ext>
            </a:extLst>
          </p:cNvPr>
          <p:cNvSpPr/>
          <p:nvPr/>
        </p:nvSpPr>
        <p:spPr bwMode="auto">
          <a:xfrm>
            <a:off x="3039441" y="2222559"/>
            <a:ext cx="180733" cy="180460"/>
          </a:xfrm>
          <a:custGeom>
            <a:avLst/>
            <a:gdLst>
              <a:gd name="connsiteX0" fmla="*/ 303820 w 607639"/>
              <a:gd name="connsiteY0" fmla="*/ 278099 h 606722"/>
              <a:gd name="connsiteX1" fmla="*/ 329118 w 607639"/>
              <a:gd name="connsiteY1" fmla="*/ 303362 h 606722"/>
              <a:gd name="connsiteX2" fmla="*/ 303820 w 607639"/>
              <a:gd name="connsiteY2" fmla="*/ 328625 h 606722"/>
              <a:gd name="connsiteX3" fmla="*/ 278522 w 607639"/>
              <a:gd name="connsiteY3" fmla="*/ 303362 h 606722"/>
              <a:gd name="connsiteX4" fmla="*/ 303820 w 607639"/>
              <a:gd name="connsiteY4" fmla="*/ 278099 h 606722"/>
              <a:gd name="connsiteX5" fmla="*/ 303775 w 607639"/>
              <a:gd name="connsiteY5" fmla="*/ 252735 h 606722"/>
              <a:gd name="connsiteX6" fmla="*/ 253140 w 607639"/>
              <a:gd name="connsiteY6" fmla="*/ 303317 h 606722"/>
              <a:gd name="connsiteX7" fmla="*/ 303775 w 607639"/>
              <a:gd name="connsiteY7" fmla="*/ 353900 h 606722"/>
              <a:gd name="connsiteX8" fmla="*/ 354410 w 607639"/>
              <a:gd name="connsiteY8" fmla="*/ 303317 h 606722"/>
              <a:gd name="connsiteX9" fmla="*/ 303775 w 607639"/>
              <a:gd name="connsiteY9" fmla="*/ 252735 h 606722"/>
              <a:gd name="connsiteX10" fmla="*/ 303775 w 607639"/>
              <a:gd name="connsiteY10" fmla="*/ 202241 h 606722"/>
              <a:gd name="connsiteX11" fmla="*/ 405045 w 607639"/>
              <a:gd name="connsiteY11" fmla="*/ 303317 h 606722"/>
              <a:gd name="connsiteX12" fmla="*/ 303775 w 607639"/>
              <a:gd name="connsiteY12" fmla="*/ 404482 h 606722"/>
              <a:gd name="connsiteX13" fmla="*/ 202593 w 607639"/>
              <a:gd name="connsiteY13" fmla="*/ 303317 h 606722"/>
              <a:gd name="connsiteX14" fmla="*/ 303775 w 607639"/>
              <a:gd name="connsiteY14" fmla="*/ 202241 h 606722"/>
              <a:gd name="connsiteX15" fmla="*/ 303775 w 607639"/>
              <a:gd name="connsiteY15" fmla="*/ 151703 h 606722"/>
              <a:gd name="connsiteX16" fmla="*/ 151932 w 607639"/>
              <a:gd name="connsiteY16" fmla="*/ 303317 h 606722"/>
              <a:gd name="connsiteX17" fmla="*/ 303775 w 607639"/>
              <a:gd name="connsiteY17" fmla="*/ 455019 h 606722"/>
              <a:gd name="connsiteX18" fmla="*/ 455707 w 607639"/>
              <a:gd name="connsiteY18" fmla="*/ 303317 h 606722"/>
              <a:gd name="connsiteX19" fmla="*/ 303775 w 607639"/>
              <a:gd name="connsiteY19" fmla="*/ 151703 h 606722"/>
              <a:gd name="connsiteX20" fmla="*/ 253131 w 607639"/>
              <a:gd name="connsiteY20" fmla="*/ 0 h 606722"/>
              <a:gd name="connsiteX21" fmla="*/ 354419 w 607639"/>
              <a:gd name="connsiteY21" fmla="*/ 0 h 606722"/>
              <a:gd name="connsiteX22" fmla="*/ 379786 w 607639"/>
              <a:gd name="connsiteY22" fmla="*/ 25239 h 606722"/>
              <a:gd name="connsiteX23" fmla="*/ 379786 w 607639"/>
              <a:gd name="connsiteY23" fmla="*/ 62387 h 606722"/>
              <a:gd name="connsiteX24" fmla="*/ 420639 w 607639"/>
              <a:gd name="connsiteY24" fmla="*/ 79451 h 606722"/>
              <a:gd name="connsiteX25" fmla="*/ 446985 w 607639"/>
              <a:gd name="connsiteY25" fmla="*/ 53145 h 606722"/>
              <a:gd name="connsiteX26" fmla="*/ 482854 w 607639"/>
              <a:gd name="connsiteY26" fmla="*/ 53145 h 606722"/>
              <a:gd name="connsiteX27" fmla="*/ 554414 w 607639"/>
              <a:gd name="connsiteY27" fmla="*/ 124597 h 606722"/>
              <a:gd name="connsiteX28" fmla="*/ 554414 w 607639"/>
              <a:gd name="connsiteY28" fmla="*/ 160323 h 606722"/>
              <a:gd name="connsiteX29" fmla="*/ 528069 w 607639"/>
              <a:gd name="connsiteY29" fmla="*/ 186629 h 606722"/>
              <a:gd name="connsiteX30" fmla="*/ 545158 w 607639"/>
              <a:gd name="connsiteY30" fmla="*/ 227510 h 606722"/>
              <a:gd name="connsiteX31" fmla="*/ 582273 w 607639"/>
              <a:gd name="connsiteY31" fmla="*/ 227510 h 606722"/>
              <a:gd name="connsiteX32" fmla="*/ 607639 w 607639"/>
              <a:gd name="connsiteY32" fmla="*/ 252749 h 606722"/>
              <a:gd name="connsiteX33" fmla="*/ 607639 w 607639"/>
              <a:gd name="connsiteY33" fmla="*/ 353884 h 606722"/>
              <a:gd name="connsiteX34" fmla="*/ 582273 w 607639"/>
              <a:gd name="connsiteY34" fmla="*/ 379212 h 606722"/>
              <a:gd name="connsiteX35" fmla="*/ 545158 w 607639"/>
              <a:gd name="connsiteY35" fmla="*/ 379212 h 606722"/>
              <a:gd name="connsiteX36" fmla="*/ 528069 w 607639"/>
              <a:gd name="connsiteY36" fmla="*/ 420004 h 606722"/>
              <a:gd name="connsiteX37" fmla="*/ 554414 w 607639"/>
              <a:gd name="connsiteY37" fmla="*/ 446310 h 606722"/>
              <a:gd name="connsiteX38" fmla="*/ 554414 w 607639"/>
              <a:gd name="connsiteY38" fmla="*/ 482125 h 606722"/>
              <a:gd name="connsiteX39" fmla="*/ 482854 w 607639"/>
              <a:gd name="connsiteY39" fmla="*/ 553577 h 606722"/>
              <a:gd name="connsiteX40" fmla="*/ 446985 w 607639"/>
              <a:gd name="connsiteY40" fmla="*/ 553577 h 606722"/>
              <a:gd name="connsiteX41" fmla="*/ 420639 w 607639"/>
              <a:gd name="connsiteY41" fmla="*/ 527271 h 606722"/>
              <a:gd name="connsiteX42" fmla="*/ 379786 w 607639"/>
              <a:gd name="connsiteY42" fmla="*/ 544246 h 606722"/>
              <a:gd name="connsiteX43" fmla="*/ 379786 w 607639"/>
              <a:gd name="connsiteY43" fmla="*/ 581394 h 606722"/>
              <a:gd name="connsiteX44" fmla="*/ 354419 w 607639"/>
              <a:gd name="connsiteY44" fmla="*/ 606722 h 606722"/>
              <a:gd name="connsiteX45" fmla="*/ 253131 w 607639"/>
              <a:gd name="connsiteY45" fmla="*/ 606722 h 606722"/>
              <a:gd name="connsiteX46" fmla="*/ 227854 w 607639"/>
              <a:gd name="connsiteY46" fmla="*/ 581394 h 606722"/>
              <a:gd name="connsiteX47" fmla="*/ 227854 w 607639"/>
              <a:gd name="connsiteY47" fmla="*/ 544246 h 606722"/>
              <a:gd name="connsiteX48" fmla="*/ 186911 w 607639"/>
              <a:gd name="connsiteY48" fmla="*/ 527271 h 606722"/>
              <a:gd name="connsiteX49" fmla="*/ 160566 w 607639"/>
              <a:gd name="connsiteY49" fmla="*/ 553577 h 606722"/>
              <a:gd name="connsiteX50" fmla="*/ 124786 w 607639"/>
              <a:gd name="connsiteY50" fmla="*/ 553577 h 606722"/>
              <a:gd name="connsiteX51" fmla="*/ 53225 w 607639"/>
              <a:gd name="connsiteY51" fmla="*/ 482125 h 606722"/>
              <a:gd name="connsiteX52" fmla="*/ 53225 w 607639"/>
              <a:gd name="connsiteY52" fmla="*/ 446310 h 606722"/>
              <a:gd name="connsiteX53" fmla="*/ 79482 w 607639"/>
              <a:gd name="connsiteY53" fmla="*/ 420004 h 606722"/>
              <a:gd name="connsiteX54" fmla="*/ 62482 w 607639"/>
              <a:gd name="connsiteY54" fmla="*/ 379212 h 606722"/>
              <a:gd name="connsiteX55" fmla="*/ 25278 w 607639"/>
              <a:gd name="connsiteY55" fmla="*/ 379212 h 606722"/>
              <a:gd name="connsiteX56" fmla="*/ 0 w 607639"/>
              <a:gd name="connsiteY56" fmla="*/ 353884 h 606722"/>
              <a:gd name="connsiteX57" fmla="*/ 0 w 607639"/>
              <a:gd name="connsiteY57" fmla="*/ 252749 h 606722"/>
              <a:gd name="connsiteX58" fmla="*/ 25278 w 607639"/>
              <a:gd name="connsiteY58" fmla="*/ 227510 h 606722"/>
              <a:gd name="connsiteX59" fmla="*/ 62482 w 607639"/>
              <a:gd name="connsiteY59" fmla="*/ 227510 h 606722"/>
              <a:gd name="connsiteX60" fmla="*/ 79482 w 607639"/>
              <a:gd name="connsiteY60" fmla="*/ 186629 h 606722"/>
              <a:gd name="connsiteX61" fmla="*/ 53225 w 607639"/>
              <a:gd name="connsiteY61" fmla="*/ 160323 h 606722"/>
              <a:gd name="connsiteX62" fmla="*/ 53225 w 607639"/>
              <a:gd name="connsiteY62" fmla="*/ 124597 h 606722"/>
              <a:gd name="connsiteX63" fmla="*/ 124786 w 607639"/>
              <a:gd name="connsiteY63" fmla="*/ 53145 h 606722"/>
              <a:gd name="connsiteX64" fmla="*/ 160566 w 607639"/>
              <a:gd name="connsiteY64" fmla="*/ 53145 h 606722"/>
              <a:gd name="connsiteX65" fmla="*/ 186911 w 607639"/>
              <a:gd name="connsiteY65" fmla="*/ 79451 h 606722"/>
              <a:gd name="connsiteX66" fmla="*/ 227854 w 607639"/>
              <a:gd name="connsiteY66" fmla="*/ 62387 h 606722"/>
              <a:gd name="connsiteX67" fmla="*/ 227854 w 607639"/>
              <a:gd name="connsiteY67" fmla="*/ 25239 h 606722"/>
              <a:gd name="connsiteX68" fmla="*/ 253131 w 607639"/>
              <a:gd name="connsiteY68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07639" h="606722">
                <a:moveTo>
                  <a:pt x="303820" y="278099"/>
                </a:moveTo>
                <a:cubicBezTo>
                  <a:pt x="317792" y="278099"/>
                  <a:pt x="329118" y="289410"/>
                  <a:pt x="329118" y="303362"/>
                </a:cubicBezTo>
                <a:cubicBezTo>
                  <a:pt x="329118" y="317314"/>
                  <a:pt x="317792" y="328625"/>
                  <a:pt x="303820" y="328625"/>
                </a:cubicBezTo>
                <a:cubicBezTo>
                  <a:pt x="289848" y="328625"/>
                  <a:pt x="278522" y="317314"/>
                  <a:pt x="278522" y="303362"/>
                </a:cubicBezTo>
                <a:cubicBezTo>
                  <a:pt x="278522" y="289410"/>
                  <a:pt x="289848" y="278099"/>
                  <a:pt x="303820" y="278099"/>
                </a:cubicBezTo>
                <a:close/>
                <a:moveTo>
                  <a:pt x="303775" y="252735"/>
                </a:moveTo>
                <a:cubicBezTo>
                  <a:pt x="275921" y="252735"/>
                  <a:pt x="253140" y="275492"/>
                  <a:pt x="253140" y="303317"/>
                </a:cubicBezTo>
                <a:cubicBezTo>
                  <a:pt x="253140" y="331231"/>
                  <a:pt x="275921" y="353900"/>
                  <a:pt x="303775" y="353900"/>
                </a:cubicBezTo>
                <a:cubicBezTo>
                  <a:pt x="331718" y="353900"/>
                  <a:pt x="354410" y="331231"/>
                  <a:pt x="354410" y="303317"/>
                </a:cubicBezTo>
                <a:cubicBezTo>
                  <a:pt x="354410" y="275492"/>
                  <a:pt x="331718" y="252735"/>
                  <a:pt x="303775" y="252735"/>
                </a:cubicBezTo>
                <a:close/>
                <a:moveTo>
                  <a:pt x="303775" y="202241"/>
                </a:moveTo>
                <a:cubicBezTo>
                  <a:pt x="359660" y="202241"/>
                  <a:pt x="405045" y="247579"/>
                  <a:pt x="405045" y="303317"/>
                </a:cubicBezTo>
                <a:cubicBezTo>
                  <a:pt x="405045" y="359144"/>
                  <a:pt x="359660" y="404482"/>
                  <a:pt x="303775" y="404482"/>
                </a:cubicBezTo>
                <a:cubicBezTo>
                  <a:pt x="247978" y="404482"/>
                  <a:pt x="202593" y="359144"/>
                  <a:pt x="202593" y="303317"/>
                </a:cubicBezTo>
                <a:cubicBezTo>
                  <a:pt x="202593" y="247579"/>
                  <a:pt x="247978" y="202241"/>
                  <a:pt x="303775" y="202241"/>
                </a:cubicBezTo>
                <a:close/>
                <a:moveTo>
                  <a:pt x="303775" y="151703"/>
                </a:moveTo>
                <a:cubicBezTo>
                  <a:pt x="220021" y="151703"/>
                  <a:pt x="151932" y="219689"/>
                  <a:pt x="151932" y="303317"/>
                </a:cubicBezTo>
                <a:cubicBezTo>
                  <a:pt x="151932" y="387033"/>
                  <a:pt x="220021" y="455019"/>
                  <a:pt x="303775" y="455019"/>
                </a:cubicBezTo>
                <a:cubicBezTo>
                  <a:pt x="387618" y="455019"/>
                  <a:pt x="455707" y="387033"/>
                  <a:pt x="455707" y="303317"/>
                </a:cubicBezTo>
                <a:cubicBezTo>
                  <a:pt x="455707" y="219689"/>
                  <a:pt x="387618" y="151703"/>
                  <a:pt x="303775" y="151703"/>
                </a:cubicBezTo>
                <a:close/>
                <a:moveTo>
                  <a:pt x="253131" y="0"/>
                </a:moveTo>
                <a:lnTo>
                  <a:pt x="354419" y="0"/>
                </a:lnTo>
                <a:cubicBezTo>
                  <a:pt x="368482" y="0"/>
                  <a:pt x="379786" y="11287"/>
                  <a:pt x="379786" y="25239"/>
                </a:cubicBezTo>
                <a:lnTo>
                  <a:pt x="379786" y="62387"/>
                </a:lnTo>
                <a:cubicBezTo>
                  <a:pt x="393849" y="66831"/>
                  <a:pt x="407555" y="72519"/>
                  <a:pt x="420639" y="79451"/>
                </a:cubicBezTo>
                <a:lnTo>
                  <a:pt x="446985" y="53145"/>
                </a:lnTo>
                <a:cubicBezTo>
                  <a:pt x="456953" y="43191"/>
                  <a:pt x="472974" y="43191"/>
                  <a:pt x="482854" y="53145"/>
                </a:cubicBezTo>
                <a:lnTo>
                  <a:pt x="554414" y="124597"/>
                </a:lnTo>
                <a:cubicBezTo>
                  <a:pt x="564294" y="134462"/>
                  <a:pt x="564294" y="150459"/>
                  <a:pt x="554414" y="160323"/>
                </a:cubicBezTo>
                <a:lnTo>
                  <a:pt x="528069" y="186629"/>
                </a:lnTo>
                <a:cubicBezTo>
                  <a:pt x="535011" y="199782"/>
                  <a:pt x="540707" y="213468"/>
                  <a:pt x="545158" y="227510"/>
                </a:cubicBezTo>
                <a:lnTo>
                  <a:pt x="582273" y="227510"/>
                </a:lnTo>
                <a:cubicBezTo>
                  <a:pt x="596336" y="227510"/>
                  <a:pt x="607639" y="238796"/>
                  <a:pt x="607639" y="252749"/>
                </a:cubicBezTo>
                <a:lnTo>
                  <a:pt x="607639" y="353884"/>
                </a:lnTo>
                <a:cubicBezTo>
                  <a:pt x="607639" y="367926"/>
                  <a:pt x="596247" y="379212"/>
                  <a:pt x="582273" y="379212"/>
                </a:cubicBezTo>
                <a:lnTo>
                  <a:pt x="545158" y="379212"/>
                </a:lnTo>
                <a:cubicBezTo>
                  <a:pt x="540707" y="393254"/>
                  <a:pt x="535011" y="406940"/>
                  <a:pt x="528069" y="420004"/>
                </a:cubicBezTo>
                <a:lnTo>
                  <a:pt x="554414" y="446310"/>
                </a:lnTo>
                <a:cubicBezTo>
                  <a:pt x="564294" y="456263"/>
                  <a:pt x="564294" y="472260"/>
                  <a:pt x="554414" y="482125"/>
                </a:cubicBezTo>
                <a:lnTo>
                  <a:pt x="482854" y="553577"/>
                </a:lnTo>
                <a:cubicBezTo>
                  <a:pt x="472974" y="563442"/>
                  <a:pt x="456953" y="563442"/>
                  <a:pt x="446985" y="553577"/>
                </a:cubicBezTo>
                <a:lnTo>
                  <a:pt x="420639" y="527271"/>
                </a:lnTo>
                <a:cubicBezTo>
                  <a:pt x="407555" y="534203"/>
                  <a:pt x="393849" y="539802"/>
                  <a:pt x="379786" y="544246"/>
                </a:cubicBezTo>
                <a:lnTo>
                  <a:pt x="379786" y="581394"/>
                </a:lnTo>
                <a:cubicBezTo>
                  <a:pt x="379786" y="595435"/>
                  <a:pt x="368393" y="606722"/>
                  <a:pt x="354419" y="606722"/>
                </a:cubicBezTo>
                <a:lnTo>
                  <a:pt x="253131" y="606722"/>
                </a:lnTo>
                <a:cubicBezTo>
                  <a:pt x="239157" y="606722"/>
                  <a:pt x="227854" y="595435"/>
                  <a:pt x="227854" y="581394"/>
                </a:cubicBezTo>
                <a:lnTo>
                  <a:pt x="227854" y="544246"/>
                </a:lnTo>
                <a:cubicBezTo>
                  <a:pt x="213791" y="539802"/>
                  <a:pt x="200084" y="534203"/>
                  <a:pt x="186911" y="527271"/>
                </a:cubicBezTo>
                <a:lnTo>
                  <a:pt x="160566" y="553577"/>
                </a:lnTo>
                <a:cubicBezTo>
                  <a:pt x="150686" y="563442"/>
                  <a:pt x="134665" y="563442"/>
                  <a:pt x="124786" y="553577"/>
                </a:cubicBezTo>
                <a:lnTo>
                  <a:pt x="53225" y="482125"/>
                </a:lnTo>
                <a:cubicBezTo>
                  <a:pt x="43257" y="472260"/>
                  <a:pt x="43257" y="456263"/>
                  <a:pt x="53225" y="446310"/>
                </a:cubicBezTo>
                <a:lnTo>
                  <a:pt x="79482" y="420004"/>
                </a:lnTo>
                <a:cubicBezTo>
                  <a:pt x="72629" y="406940"/>
                  <a:pt x="66932" y="393254"/>
                  <a:pt x="62482" y="379212"/>
                </a:cubicBezTo>
                <a:lnTo>
                  <a:pt x="25278" y="379212"/>
                </a:lnTo>
                <a:cubicBezTo>
                  <a:pt x="11304" y="379212"/>
                  <a:pt x="0" y="367926"/>
                  <a:pt x="0" y="353884"/>
                </a:cubicBezTo>
                <a:lnTo>
                  <a:pt x="0" y="252749"/>
                </a:lnTo>
                <a:cubicBezTo>
                  <a:pt x="0" y="238796"/>
                  <a:pt x="11304" y="227510"/>
                  <a:pt x="25278" y="227510"/>
                </a:cubicBezTo>
                <a:lnTo>
                  <a:pt x="62482" y="227510"/>
                </a:lnTo>
                <a:cubicBezTo>
                  <a:pt x="66932" y="213468"/>
                  <a:pt x="72629" y="199782"/>
                  <a:pt x="79482" y="186629"/>
                </a:cubicBezTo>
                <a:lnTo>
                  <a:pt x="53225" y="160323"/>
                </a:lnTo>
                <a:cubicBezTo>
                  <a:pt x="43257" y="150459"/>
                  <a:pt x="43257" y="134462"/>
                  <a:pt x="53225" y="124597"/>
                </a:cubicBezTo>
                <a:lnTo>
                  <a:pt x="124786" y="53145"/>
                </a:lnTo>
                <a:cubicBezTo>
                  <a:pt x="134665" y="43191"/>
                  <a:pt x="150686" y="43191"/>
                  <a:pt x="160566" y="53145"/>
                </a:cubicBezTo>
                <a:lnTo>
                  <a:pt x="186911" y="79451"/>
                </a:lnTo>
                <a:cubicBezTo>
                  <a:pt x="200084" y="72519"/>
                  <a:pt x="213791" y="66831"/>
                  <a:pt x="227854" y="62387"/>
                </a:cubicBezTo>
                <a:lnTo>
                  <a:pt x="227854" y="25239"/>
                </a:lnTo>
                <a:cubicBezTo>
                  <a:pt x="227854" y="11287"/>
                  <a:pt x="239157" y="0"/>
                  <a:pt x="25313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3" name="ïṧľíďê">
            <a:extLst>
              <a:ext uri="{FF2B5EF4-FFF2-40B4-BE49-F238E27FC236}">
                <a16:creationId xmlns:a16="http://schemas.microsoft.com/office/drawing/2014/main" id="{83AC56C8-BB22-4DB6-8372-AA84DFFA3A81}"/>
              </a:ext>
            </a:extLst>
          </p:cNvPr>
          <p:cNvSpPr/>
          <p:nvPr/>
        </p:nvSpPr>
        <p:spPr bwMode="auto">
          <a:xfrm>
            <a:off x="2787460" y="2530216"/>
            <a:ext cx="180733" cy="180437"/>
          </a:xfrm>
          <a:custGeom>
            <a:avLst/>
            <a:gdLst>
              <a:gd name="connsiteX0" fmla="*/ 380418 w 604181"/>
              <a:gd name="connsiteY0" fmla="*/ 268007 h 603193"/>
              <a:gd name="connsiteX1" fmla="*/ 519220 w 604181"/>
              <a:gd name="connsiteY1" fmla="*/ 339187 h 603193"/>
              <a:gd name="connsiteX2" fmla="*/ 519220 w 604181"/>
              <a:gd name="connsiteY2" fmla="*/ 355820 h 603193"/>
              <a:gd name="connsiteX3" fmla="*/ 380418 w 604181"/>
              <a:gd name="connsiteY3" fmla="*/ 426850 h 603193"/>
              <a:gd name="connsiteX4" fmla="*/ 380418 w 604181"/>
              <a:gd name="connsiteY4" fmla="*/ 406320 h 603193"/>
              <a:gd name="connsiteX5" fmla="*/ 498212 w 604181"/>
              <a:gd name="connsiteY5" fmla="*/ 347728 h 603193"/>
              <a:gd name="connsiteX6" fmla="*/ 498212 w 604181"/>
              <a:gd name="connsiteY6" fmla="*/ 347129 h 603193"/>
              <a:gd name="connsiteX7" fmla="*/ 380418 w 604181"/>
              <a:gd name="connsiteY7" fmla="*/ 288687 h 603193"/>
              <a:gd name="connsiteX8" fmla="*/ 216565 w 604181"/>
              <a:gd name="connsiteY8" fmla="*/ 268007 h 603193"/>
              <a:gd name="connsiteX9" fmla="*/ 216565 w 604181"/>
              <a:gd name="connsiteY9" fmla="*/ 288687 h 603193"/>
              <a:gd name="connsiteX10" fmla="*/ 99664 w 604181"/>
              <a:gd name="connsiteY10" fmla="*/ 347129 h 603193"/>
              <a:gd name="connsiteX11" fmla="*/ 99664 w 604181"/>
              <a:gd name="connsiteY11" fmla="*/ 347728 h 603193"/>
              <a:gd name="connsiteX12" fmla="*/ 216565 w 604181"/>
              <a:gd name="connsiteY12" fmla="*/ 406320 h 603193"/>
              <a:gd name="connsiteX13" fmla="*/ 216565 w 604181"/>
              <a:gd name="connsiteY13" fmla="*/ 426850 h 603193"/>
              <a:gd name="connsiteX14" fmla="*/ 77904 w 604181"/>
              <a:gd name="connsiteY14" fmla="*/ 355521 h 603193"/>
              <a:gd name="connsiteX15" fmla="*/ 77904 w 604181"/>
              <a:gd name="connsiteY15" fmla="*/ 339486 h 603193"/>
              <a:gd name="connsiteX16" fmla="*/ 338273 w 604181"/>
              <a:gd name="connsiteY16" fmla="*/ 222493 h 603193"/>
              <a:gd name="connsiteX17" fmla="*/ 358684 w 604181"/>
              <a:gd name="connsiteY17" fmla="*/ 222493 h 603193"/>
              <a:gd name="connsiteX18" fmla="*/ 253179 w 604181"/>
              <a:gd name="connsiteY18" fmla="*/ 482103 h 603193"/>
              <a:gd name="connsiteX19" fmla="*/ 233219 w 604181"/>
              <a:gd name="connsiteY19" fmla="*/ 482103 h 603193"/>
              <a:gd name="connsiteX20" fmla="*/ 28813 w 604181"/>
              <a:gd name="connsiteY20" fmla="*/ 128849 h 603193"/>
              <a:gd name="connsiteX21" fmla="*/ 28813 w 604181"/>
              <a:gd name="connsiteY21" fmla="*/ 557497 h 603193"/>
              <a:gd name="connsiteX22" fmla="*/ 45921 w 604181"/>
              <a:gd name="connsiteY22" fmla="*/ 574427 h 603193"/>
              <a:gd name="connsiteX23" fmla="*/ 558410 w 604181"/>
              <a:gd name="connsiteY23" fmla="*/ 574427 h 603193"/>
              <a:gd name="connsiteX24" fmla="*/ 575368 w 604181"/>
              <a:gd name="connsiteY24" fmla="*/ 557497 h 603193"/>
              <a:gd name="connsiteX25" fmla="*/ 575368 w 604181"/>
              <a:gd name="connsiteY25" fmla="*/ 128849 h 603193"/>
              <a:gd name="connsiteX26" fmla="*/ 502734 w 604181"/>
              <a:gd name="connsiteY26" fmla="*/ 43149 h 603193"/>
              <a:gd name="connsiteX27" fmla="*/ 502734 w 604181"/>
              <a:gd name="connsiteY27" fmla="*/ 77309 h 603193"/>
              <a:gd name="connsiteX28" fmla="*/ 537100 w 604181"/>
              <a:gd name="connsiteY28" fmla="*/ 77309 h 603193"/>
              <a:gd name="connsiteX29" fmla="*/ 537100 w 604181"/>
              <a:gd name="connsiteY29" fmla="*/ 43149 h 603193"/>
              <a:gd name="connsiteX30" fmla="*/ 423197 w 604181"/>
              <a:gd name="connsiteY30" fmla="*/ 43149 h 603193"/>
              <a:gd name="connsiteX31" fmla="*/ 423197 w 604181"/>
              <a:gd name="connsiteY31" fmla="*/ 77309 h 603193"/>
              <a:gd name="connsiteX32" fmla="*/ 457563 w 604181"/>
              <a:gd name="connsiteY32" fmla="*/ 77309 h 603193"/>
              <a:gd name="connsiteX33" fmla="*/ 457563 w 604181"/>
              <a:gd name="connsiteY33" fmla="*/ 43149 h 603193"/>
              <a:gd name="connsiteX34" fmla="*/ 45921 w 604181"/>
              <a:gd name="connsiteY34" fmla="*/ 0 h 603193"/>
              <a:gd name="connsiteX35" fmla="*/ 558410 w 604181"/>
              <a:gd name="connsiteY35" fmla="*/ 0 h 603193"/>
              <a:gd name="connsiteX36" fmla="*/ 604181 w 604181"/>
              <a:gd name="connsiteY36" fmla="*/ 45846 h 603193"/>
              <a:gd name="connsiteX37" fmla="*/ 604181 w 604181"/>
              <a:gd name="connsiteY37" fmla="*/ 557497 h 603193"/>
              <a:gd name="connsiteX38" fmla="*/ 558410 w 604181"/>
              <a:gd name="connsiteY38" fmla="*/ 603193 h 603193"/>
              <a:gd name="connsiteX39" fmla="*/ 45921 w 604181"/>
              <a:gd name="connsiteY39" fmla="*/ 603193 h 603193"/>
              <a:gd name="connsiteX40" fmla="*/ 0 w 604181"/>
              <a:gd name="connsiteY40" fmla="*/ 557497 h 603193"/>
              <a:gd name="connsiteX41" fmla="*/ 0 w 604181"/>
              <a:gd name="connsiteY41" fmla="*/ 45846 h 603193"/>
              <a:gd name="connsiteX42" fmla="*/ 45921 w 604181"/>
              <a:gd name="connsiteY42" fmla="*/ 0 h 603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04181" h="603193">
                <a:moveTo>
                  <a:pt x="380418" y="268007"/>
                </a:moveTo>
                <a:lnTo>
                  <a:pt x="519220" y="339187"/>
                </a:lnTo>
                <a:lnTo>
                  <a:pt x="519220" y="355820"/>
                </a:lnTo>
                <a:lnTo>
                  <a:pt x="380418" y="426850"/>
                </a:lnTo>
                <a:lnTo>
                  <a:pt x="380418" y="406320"/>
                </a:lnTo>
                <a:lnTo>
                  <a:pt x="498212" y="347728"/>
                </a:lnTo>
                <a:lnTo>
                  <a:pt x="498212" y="347129"/>
                </a:lnTo>
                <a:lnTo>
                  <a:pt x="380418" y="288687"/>
                </a:lnTo>
                <a:close/>
                <a:moveTo>
                  <a:pt x="216565" y="268007"/>
                </a:moveTo>
                <a:lnTo>
                  <a:pt x="216565" y="288687"/>
                </a:lnTo>
                <a:lnTo>
                  <a:pt x="99664" y="347129"/>
                </a:lnTo>
                <a:lnTo>
                  <a:pt x="99664" y="347728"/>
                </a:lnTo>
                <a:lnTo>
                  <a:pt x="216565" y="406320"/>
                </a:lnTo>
                <a:lnTo>
                  <a:pt x="216565" y="426850"/>
                </a:lnTo>
                <a:lnTo>
                  <a:pt x="77904" y="355521"/>
                </a:lnTo>
                <a:lnTo>
                  <a:pt x="77904" y="339486"/>
                </a:lnTo>
                <a:close/>
                <a:moveTo>
                  <a:pt x="338273" y="222493"/>
                </a:moveTo>
                <a:lnTo>
                  <a:pt x="358684" y="222493"/>
                </a:lnTo>
                <a:lnTo>
                  <a:pt x="253179" y="482103"/>
                </a:lnTo>
                <a:lnTo>
                  <a:pt x="233219" y="482103"/>
                </a:lnTo>
                <a:close/>
                <a:moveTo>
                  <a:pt x="28813" y="128849"/>
                </a:moveTo>
                <a:lnTo>
                  <a:pt x="28813" y="557497"/>
                </a:lnTo>
                <a:cubicBezTo>
                  <a:pt x="28813" y="566786"/>
                  <a:pt x="36467" y="574427"/>
                  <a:pt x="45921" y="574427"/>
                </a:cubicBezTo>
                <a:lnTo>
                  <a:pt x="558410" y="574427"/>
                </a:lnTo>
                <a:cubicBezTo>
                  <a:pt x="567714" y="574427"/>
                  <a:pt x="575368" y="566786"/>
                  <a:pt x="575368" y="557497"/>
                </a:cubicBezTo>
                <a:lnTo>
                  <a:pt x="575368" y="128849"/>
                </a:lnTo>
                <a:close/>
                <a:moveTo>
                  <a:pt x="502734" y="43149"/>
                </a:moveTo>
                <a:lnTo>
                  <a:pt x="502734" y="77309"/>
                </a:lnTo>
                <a:lnTo>
                  <a:pt x="537100" y="77309"/>
                </a:lnTo>
                <a:lnTo>
                  <a:pt x="537100" y="43149"/>
                </a:lnTo>
                <a:close/>
                <a:moveTo>
                  <a:pt x="423197" y="43149"/>
                </a:moveTo>
                <a:lnTo>
                  <a:pt x="423197" y="77309"/>
                </a:lnTo>
                <a:lnTo>
                  <a:pt x="457563" y="77309"/>
                </a:lnTo>
                <a:lnTo>
                  <a:pt x="457563" y="43149"/>
                </a:lnTo>
                <a:close/>
                <a:moveTo>
                  <a:pt x="45921" y="0"/>
                </a:moveTo>
                <a:lnTo>
                  <a:pt x="558410" y="0"/>
                </a:lnTo>
                <a:cubicBezTo>
                  <a:pt x="583621" y="0"/>
                  <a:pt x="604181" y="20526"/>
                  <a:pt x="604181" y="45846"/>
                </a:cubicBezTo>
                <a:lnTo>
                  <a:pt x="604181" y="557497"/>
                </a:lnTo>
                <a:cubicBezTo>
                  <a:pt x="604181" y="582667"/>
                  <a:pt x="583621" y="603193"/>
                  <a:pt x="558410" y="603193"/>
                </a:cubicBezTo>
                <a:lnTo>
                  <a:pt x="45921" y="603193"/>
                </a:lnTo>
                <a:cubicBezTo>
                  <a:pt x="20560" y="603193"/>
                  <a:pt x="0" y="582667"/>
                  <a:pt x="0" y="557497"/>
                </a:cubicBezTo>
                <a:lnTo>
                  <a:pt x="0" y="45846"/>
                </a:lnTo>
                <a:cubicBezTo>
                  <a:pt x="0" y="20526"/>
                  <a:pt x="20560" y="0"/>
                  <a:pt x="4592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4" name="îṣḻîḍé">
            <a:extLst>
              <a:ext uri="{FF2B5EF4-FFF2-40B4-BE49-F238E27FC236}">
                <a16:creationId xmlns:a16="http://schemas.microsoft.com/office/drawing/2014/main" id="{716A4AAF-66FE-4462-901E-658C29D84AD8}"/>
              </a:ext>
            </a:extLst>
          </p:cNvPr>
          <p:cNvSpPr/>
          <p:nvPr/>
        </p:nvSpPr>
        <p:spPr bwMode="auto">
          <a:xfrm>
            <a:off x="2529559" y="2837850"/>
            <a:ext cx="180733" cy="180460"/>
          </a:xfrm>
          <a:custGeom>
            <a:avLst/>
            <a:gdLst>
              <a:gd name="T0" fmla="*/ 6624 w 7154"/>
              <a:gd name="T1" fmla="*/ 2037 h 7154"/>
              <a:gd name="T2" fmla="*/ 6106 w 7154"/>
              <a:gd name="T3" fmla="*/ 1048 h 7154"/>
              <a:gd name="T4" fmla="*/ 5117 w 7154"/>
              <a:gd name="T5" fmla="*/ 530 h 7154"/>
              <a:gd name="T6" fmla="*/ 4643 w 7154"/>
              <a:gd name="T7" fmla="*/ 334 h 7154"/>
              <a:gd name="T8" fmla="*/ 3577 w 7154"/>
              <a:gd name="T9" fmla="*/ 0 h 7154"/>
              <a:gd name="T10" fmla="*/ 2511 w 7154"/>
              <a:gd name="T11" fmla="*/ 334 h 7154"/>
              <a:gd name="T12" fmla="*/ 2037 w 7154"/>
              <a:gd name="T13" fmla="*/ 530 h 7154"/>
              <a:gd name="T14" fmla="*/ 1048 w 7154"/>
              <a:gd name="T15" fmla="*/ 1048 h 7154"/>
              <a:gd name="T16" fmla="*/ 530 w 7154"/>
              <a:gd name="T17" fmla="*/ 2037 h 7154"/>
              <a:gd name="T18" fmla="*/ 334 w 7154"/>
              <a:gd name="T19" fmla="*/ 2511 h 7154"/>
              <a:gd name="T20" fmla="*/ 0 w 7154"/>
              <a:gd name="T21" fmla="*/ 3577 h 7154"/>
              <a:gd name="T22" fmla="*/ 334 w 7154"/>
              <a:gd name="T23" fmla="*/ 4643 h 7154"/>
              <a:gd name="T24" fmla="*/ 530 w 7154"/>
              <a:gd name="T25" fmla="*/ 5117 h 7154"/>
              <a:gd name="T26" fmla="*/ 1048 w 7154"/>
              <a:gd name="T27" fmla="*/ 6106 h 7154"/>
              <a:gd name="T28" fmla="*/ 2037 w 7154"/>
              <a:gd name="T29" fmla="*/ 6624 h 7154"/>
              <a:gd name="T30" fmla="*/ 2511 w 7154"/>
              <a:gd name="T31" fmla="*/ 6820 h 7154"/>
              <a:gd name="T32" fmla="*/ 3577 w 7154"/>
              <a:gd name="T33" fmla="*/ 7154 h 7154"/>
              <a:gd name="T34" fmla="*/ 4643 w 7154"/>
              <a:gd name="T35" fmla="*/ 6820 h 7154"/>
              <a:gd name="T36" fmla="*/ 5117 w 7154"/>
              <a:gd name="T37" fmla="*/ 6624 h 7154"/>
              <a:gd name="T38" fmla="*/ 6106 w 7154"/>
              <a:gd name="T39" fmla="*/ 6106 h 7154"/>
              <a:gd name="T40" fmla="*/ 6624 w 7154"/>
              <a:gd name="T41" fmla="*/ 5117 h 7154"/>
              <a:gd name="T42" fmla="*/ 6820 w 7154"/>
              <a:gd name="T43" fmla="*/ 4643 h 7154"/>
              <a:gd name="T44" fmla="*/ 7154 w 7154"/>
              <a:gd name="T45" fmla="*/ 3577 h 7154"/>
              <a:gd name="T46" fmla="*/ 6820 w 7154"/>
              <a:gd name="T47" fmla="*/ 2511 h 7154"/>
              <a:gd name="T48" fmla="*/ 6624 w 7154"/>
              <a:gd name="T49" fmla="*/ 2037 h 7154"/>
              <a:gd name="T50" fmla="*/ 5857 w 7154"/>
              <a:gd name="T51" fmla="*/ 2406 h 7154"/>
              <a:gd name="T52" fmla="*/ 3286 w 7154"/>
              <a:gd name="T53" fmla="*/ 4976 h 7154"/>
              <a:gd name="T54" fmla="*/ 2875 w 7154"/>
              <a:gd name="T55" fmla="*/ 5387 h 7154"/>
              <a:gd name="T56" fmla="*/ 2464 w 7154"/>
              <a:gd name="T57" fmla="*/ 5387 h 7154"/>
              <a:gd name="T58" fmla="*/ 2053 w 7154"/>
              <a:gd name="T59" fmla="*/ 4976 h 7154"/>
              <a:gd name="T60" fmla="*/ 1297 w 7154"/>
              <a:gd name="T61" fmla="*/ 4221 h 7154"/>
              <a:gd name="T62" fmla="*/ 1297 w 7154"/>
              <a:gd name="T63" fmla="*/ 3809 h 7154"/>
              <a:gd name="T64" fmla="*/ 1708 w 7154"/>
              <a:gd name="T65" fmla="*/ 3398 h 7154"/>
              <a:gd name="T66" fmla="*/ 2120 w 7154"/>
              <a:gd name="T67" fmla="*/ 3398 h 7154"/>
              <a:gd name="T68" fmla="*/ 2669 w 7154"/>
              <a:gd name="T69" fmla="*/ 3948 h 7154"/>
              <a:gd name="T70" fmla="*/ 5034 w 7154"/>
              <a:gd name="T71" fmla="*/ 1583 h 7154"/>
              <a:gd name="T72" fmla="*/ 5445 w 7154"/>
              <a:gd name="T73" fmla="*/ 1583 h 7154"/>
              <a:gd name="T74" fmla="*/ 5857 w 7154"/>
              <a:gd name="T75" fmla="*/ 1994 h 7154"/>
              <a:gd name="T76" fmla="*/ 5857 w 7154"/>
              <a:gd name="T77" fmla="*/ 2406 h 7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154" h="7154">
                <a:moveTo>
                  <a:pt x="6624" y="2037"/>
                </a:moveTo>
                <a:cubicBezTo>
                  <a:pt x="6580" y="1703"/>
                  <a:pt x="6403" y="1345"/>
                  <a:pt x="6106" y="1048"/>
                </a:cubicBezTo>
                <a:cubicBezTo>
                  <a:pt x="5809" y="751"/>
                  <a:pt x="5451" y="574"/>
                  <a:pt x="5117" y="530"/>
                </a:cubicBezTo>
                <a:cubicBezTo>
                  <a:pt x="4966" y="510"/>
                  <a:pt x="4764" y="427"/>
                  <a:pt x="4643" y="334"/>
                </a:cubicBezTo>
                <a:cubicBezTo>
                  <a:pt x="4375" y="128"/>
                  <a:pt x="3997" y="0"/>
                  <a:pt x="3577" y="0"/>
                </a:cubicBezTo>
                <a:cubicBezTo>
                  <a:pt x="3157" y="0"/>
                  <a:pt x="2779" y="128"/>
                  <a:pt x="2511" y="334"/>
                </a:cubicBezTo>
                <a:cubicBezTo>
                  <a:pt x="2390" y="427"/>
                  <a:pt x="2188" y="510"/>
                  <a:pt x="2037" y="530"/>
                </a:cubicBezTo>
                <a:cubicBezTo>
                  <a:pt x="1702" y="574"/>
                  <a:pt x="1345" y="751"/>
                  <a:pt x="1048" y="1048"/>
                </a:cubicBezTo>
                <a:cubicBezTo>
                  <a:pt x="751" y="1345"/>
                  <a:pt x="574" y="1703"/>
                  <a:pt x="530" y="2037"/>
                </a:cubicBezTo>
                <a:cubicBezTo>
                  <a:pt x="510" y="2188"/>
                  <a:pt x="427" y="2390"/>
                  <a:pt x="334" y="2511"/>
                </a:cubicBezTo>
                <a:cubicBezTo>
                  <a:pt x="128" y="2779"/>
                  <a:pt x="0" y="3157"/>
                  <a:pt x="0" y="3577"/>
                </a:cubicBezTo>
                <a:cubicBezTo>
                  <a:pt x="0" y="3997"/>
                  <a:pt x="128" y="4375"/>
                  <a:pt x="334" y="4643"/>
                </a:cubicBezTo>
                <a:cubicBezTo>
                  <a:pt x="427" y="4764"/>
                  <a:pt x="510" y="4966"/>
                  <a:pt x="530" y="5117"/>
                </a:cubicBezTo>
                <a:cubicBezTo>
                  <a:pt x="574" y="5451"/>
                  <a:pt x="751" y="5809"/>
                  <a:pt x="1048" y="6106"/>
                </a:cubicBezTo>
                <a:cubicBezTo>
                  <a:pt x="1345" y="6403"/>
                  <a:pt x="1702" y="6580"/>
                  <a:pt x="2037" y="6624"/>
                </a:cubicBezTo>
                <a:cubicBezTo>
                  <a:pt x="2188" y="6644"/>
                  <a:pt x="2390" y="6727"/>
                  <a:pt x="2511" y="6820"/>
                </a:cubicBezTo>
                <a:cubicBezTo>
                  <a:pt x="2779" y="7025"/>
                  <a:pt x="3157" y="7154"/>
                  <a:pt x="3577" y="7154"/>
                </a:cubicBezTo>
                <a:cubicBezTo>
                  <a:pt x="3997" y="7154"/>
                  <a:pt x="4375" y="7025"/>
                  <a:pt x="4643" y="6820"/>
                </a:cubicBezTo>
                <a:cubicBezTo>
                  <a:pt x="4764" y="6727"/>
                  <a:pt x="4966" y="6644"/>
                  <a:pt x="5117" y="6624"/>
                </a:cubicBezTo>
                <a:cubicBezTo>
                  <a:pt x="5451" y="6580"/>
                  <a:pt x="5809" y="6403"/>
                  <a:pt x="6106" y="6106"/>
                </a:cubicBezTo>
                <a:cubicBezTo>
                  <a:pt x="6403" y="5809"/>
                  <a:pt x="6580" y="5451"/>
                  <a:pt x="6624" y="5117"/>
                </a:cubicBezTo>
                <a:cubicBezTo>
                  <a:pt x="6644" y="4966"/>
                  <a:pt x="6727" y="4764"/>
                  <a:pt x="6820" y="4643"/>
                </a:cubicBezTo>
                <a:cubicBezTo>
                  <a:pt x="7026" y="4375"/>
                  <a:pt x="7154" y="3997"/>
                  <a:pt x="7154" y="3577"/>
                </a:cubicBezTo>
                <a:cubicBezTo>
                  <a:pt x="7154" y="3157"/>
                  <a:pt x="7026" y="2779"/>
                  <a:pt x="6820" y="2511"/>
                </a:cubicBezTo>
                <a:cubicBezTo>
                  <a:pt x="6727" y="2390"/>
                  <a:pt x="6644" y="2188"/>
                  <a:pt x="6624" y="2037"/>
                </a:cubicBezTo>
                <a:close/>
                <a:moveTo>
                  <a:pt x="5857" y="2406"/>
                </a:moveTo>
                <a:lnTo>
                  <a:pt x="3286" y="4976"/>
                </a:lnTo>
                <a:lnTo>
                  <a:pt x="2875" y="5387"/>
                </a:lnTo>
                <a:cubicBezTo>
                  <a:pt x="2762" y="5501"/>
                  <a:pt x="2577" y="5501"/>
                  <a:pt x="2464" y="5387"/>
                </a:cubicBezTo>
                <a:lnTo>
                  <a:pt x="2053" y="4976"/>
                </a:lnTo>
                <a:lnTo>
                  <a:pt x="1297" y="4221"/>
                </a:lnTo>
                <a:cubicBezTo>
                  <a:pt x="1183" y="4107"/>
                  <a:pt x="1183" y="3923"/>
                  <a:pt x="1297" y="3809"/>
                </a:cubicBezTo>
                <a:lnTo>
                  <a:pt x="1708" y="3398"/>
                </a:lnTo>
                <a:cubicBezTo>
                  <a:pt x="1822" y="3285"/>
                  <a:pt x="2006" y="3285"/>
                  <a:pt x="2120" y="3398"/>
                </a:cubicBezTo>
                <a:lnTo>
                  <a:pt x="2669" y="3948"/>
                </a:lnTo>
                <a:lnTo>
                  <a:pt x="5034" y="1583"/>
                </a:lnTo>
                <a:cubicBezTo>
                  <a:pt x="5148" y="1470"/>
                  <a:pt x="5332" y="1470"/>
                  <a:pt x="5445" y="1583"/>
                </a:cubicBezTo>
                <a:lnTo>
                  <a:pt x="5857" y="1994"/>
                </a:lnTo>
                <a:cubicBezTo>
                  <a:pt x="5970" y="2108"/>
                  <a:pt x="5970" y="2292"/>
                  <a:pt x="5857" y="2406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5" name="iṧḷiḑé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383023" y="2210629"/>
            <a:ext cx="1494884" cy="224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按分布模式进行配置</a:t>
            </a:r>
            <a:endParaRPr lang="en-US" altLang="zh-CN" sz="1100" dirty="0"/>
          </a:p>
        </p:txBody>
      </p:sp>
      <p:sp>
        <p:nvSpPr>
          <p:cNvPr id="216" name="îṧḻiḑe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121752" y="2521753"/>
            <a:ext cx="1494884" cy="224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运行第一个实例</a:t>
            </a:r>
            <a:endParaRPr lang="en-US" altLang="zh-CN" sz="1100" dirty="0"/>
          </a:p>
        </p:txBody>
      </p:sp>
      <p:sp>
        <p:nvSpPr>
          <p:cNvPr id="217" name="îṣľïd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2860558" y="2832877"/>
            <a:ext cx="1494884" cy="224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开心</a:t>
            </a:r>
            <a:r>
              <a:rPr lang="en-US" altLang="zh-CN" sz="1100" dirty="0" err="1"/>
              <a:t>ing</a:t>
            </a:r>
            <a:r>
              <a:rPr lang="en-US" altLang="zh-CN" sz="1100" dirty="0"/>
              <a:t>~</a:t>
            </a:r>
          </a:p>
        </p:txBody>
      </p:sp>
      <p:sp>
        <p:nvSpPr>
          <p:cNvPr id="218" name="íṧ1îd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644185" y="1899506"/>
            <a:ext cx="1494884" cy="224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>
                <a:solidFill>
                  <a:schemeClr val="bg1"/>
                </a:solidFill>
              </a:rPr>
              <a:t>在官网下载安装包 解压</a:t>
            </a: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19" name="îs1ïḋ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908640" y="1588381"/>
            <a:ext cx="1494884" cy="224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配置环境变量 使之生效</a:t>
            </a:r>
            <a:endParaRPr lang="en-US" altLang="zh-CN" sz="1100" dirty="0"/>
          </a:p>
        </p:txBody>
      </p:sp>
      <p:sp>
        <p:nvSpPr>
          <p:cNvPr id="220" name="íšliḓ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4169819" y="1277258"/>
            <a:ext cx="1494884" cy="224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</a:t>
            </a:r>
            <a:r>
              <a:rPr lang="en-US" altLang="zh-CN" sz="1100" dirty="0"/>
              <a:t> </a:t>
            </a:r>
            <a:r>
              <a:rPr lang="zh-CN" altLang="en-US" sz="1100" dirty="0"/>
              <a:t>解压</a:t>
            </a:r>
            <a:endParaRPr lang="en-US" altLang="zh-CN" sz="1100" dirty="0"/>
          </a:p>
        </p:txBody>
      </p:sp>
      <p:sp>
        <p:nvSpPr>
          <p:cNvPr id="59" name="ïṣḻîdé">
            <a:extLst>
              <a:ext uri="{FF2B5EF4-FFF2-40B4-BE49-F238E27FC236}">
                <a16:creationId xmlns:a16="http://schemas.microsoft.com/office/drawing/2014/main" id="{EE82D0CD-F8A7-4D1D-90D9-9257C9925543}"/>
              </a:ext>
            </a:extLst>
          </p:cNvPr>
          <p:cNvSpPr/>
          <p:nvPr/>
        </p:nvSpPr>
        <p:spPr bwMode="auto">
          <a:xfrm>
            <a:off x="500063" y="4094224"/>
            <a:ext cx="8143874" cy="1584512"/>
          </a:xfrm>
          <a:custGeom>
            <a:avLst/>
            <a:gdLst>
              <a:gd name="connsiteX0" fmla="*/ 1046871 w 10858499"/>
              <a:gd name="connsiteY0" fmla="*/ 0 h 2112682"/>
              <a:gd name="connsiteX1" fmla="*/ 2085811 w 10858499"/>
              <a:gd name="connsiteY1" fmla="*/ 1056341 h 2112682"/>
              <a:gd name="connsiteX2" fmla="*/ 2079702 w 10858499"/>
              <a:gd name="connsiteY2" fmla="*/ 1056341 h 2112682"/>
              <a:gd name="connsiteX3" fmla="*/ 2793477 w 10858499"/>
              <a:gd name="connsiteY3" fmla="*/ 1784576 h 2112682"/>
              <a:gd name="connsiteX4" fmla="*/ 3515184 w 10858499"/>
              <a:gd name="connsiteY4" fmla="*/ 1056341 h 2112682"/>
              <a:gd name="connsiteX5" fmla="*/ 3514157 w 10858499"/>
              <a:gd name="connsiteY5" fmla="*/ 1056341 h 2112682"/>
              <a:gd name="connsiteX6" fmla="*/ 3509076 w 10858499"/>
              <a:gd name="connsiteY6" fmla="*/ 1056341 h 2112682"/>
              <a:gd name="connsiteX7" fmla="*/ 4555946 w 10858499"/>
              <a:gd name="connsiteY7" fmla="*/ 0 h 2112682"/>
              <a:gd name="connsiteX8" fmla="*/ 5594886 w 10858499"/>
              <a:gd name="connsiteY8" fmla="*/ 1056341 h 2112682"/>
              <a:gd name="connsiteX9" fmla="*/ 5588778 w 10858499"/>
              <a:gd name="connsiteY9" fmla="*/ 1056341 h 2112682"/>
              <a:gd name="connsiteX10" fmla="*/ 6302553 w 10858499"/>
              <a:gd name="connsiteY10" fmla="*/ 1784576 h 2112682"/>
              <a:gd name="connsiteX11" fmla="*/ 7024260 w 10858499"/>
              <a:gd name="connsiteY11" fmla="*/ 1056341 h 2112682"/>
              <a:gd name="connsiteX12" fmla="*/ 7023232 w 10858499"/>
              <a:gd name="connsiteY12" fmla="*/ 1056341 h 2112682"/>
              <a:gd name="connsiteX13" fmla="*/ 7018151 w 10858499"/>
              <a:gd name="connsiteY13" fmla="*/ 1056341 h 2112682"/>
              <a:gd name="connsiteX14" fmla="*/ 8065022 w 10858499"/>
              <a:gd name="connsiteY14" fmla="*/ 0 h 2112682"/>
              <a:gd name="connsiteX15" fmla="*/ 9103962 w 10858499"/>
              <a:gd name="connsiteY15" fmla="*/ 1056341 h 2112682"/>
              <a:gd name="connsiteX16" fmla="*/ 9097852 w 10858499"/>
              <a:gd name="connsiteY16" fmla="*/ 1056341 h 2112682"/>
              <a:gd name="connsiteX17" fmla="*/ 9811628 w 10858499"/>
              <a:gd name="connsiteY17" fmla="*/ 1784576 h 2112682"/>
              <a:gd name="connsiteX18" fmla="*/ 10533335 w 10858499"/>
              <a:gd name="connsiteY18" fmla="*/ 1056341 h 2112682"/>
              <a:gd name="connsiteX19" fmla="*/ 10858499 w 10858499"/>
              <a:gd name="connsiteY19" fmla="*/ 1056341 h 2112682"/>
              <a:gd name="connsiteX20" fmla="*/ 9811628 w 10858499"/>
              <a:gd name="connsiteY20" fmla="*/ 2112682 h 2112682"/>
              <a:gd name="connsiteX21" fmla="*/ 8772688 w 10858499"/>
              <a:gd name="connsiteY21" fmla="*/ 1056341 h 2112682"/>
              <a:gd name="connsiteX22" fmla="*/ 8777769 w 10858499"/>
              <a:gd name="connsiteY22" fmla="*/ 1056341 h 2112682"/>
              <a:gd name="connsiteX23" fmla="*/ 8778797 w 10858499"/>
              <a:gd name="connsiteY23" fmla="*/ 1056341 h 2112682"/>
              <a:gd name="connsiteX24" fmla="*/ 8065022 w 10858499"/>
              <a:gd name="connsiteY24" fmla="*/ 330611 h 2112682"/>
              <a:gd name="connsiteX25" fmla="*/ 7343316 w 10858499"/>
              <a:gd name="connsiteY25" fmla="*/ 1056341 h 2112682"/>
              <a:gd name="connsiteX26" fmla="*/ 7349424 w 10858499"/>
              <a:gd name="connsiteY26" fmla="*/ 1056341 h 2112682"/>
              <a:gd name="connsiteX27" fmla="*/ 6302553 w 10858499"/>
              <a:gd name="connsiteY27" fmla="*/ 2112682 h 2112682"/>
              <a:gd name="connsiteX28" fmla="*/ 5263613 w 10858499"/>
              <a:gd name="connsiteY28" fmla="*/ 1056341 h 2112682"/>
              <a:gd name="connsiteX29" fmla="*/ 5268694 w 10858499"/>
              <a:gd name="connsiteY29" fmla="*/ 1056341 h 2112682"/>
              <a:gd name="connsiteX30" fmla="*/ 5269722 w 10858499"/>
              <a:gd name="connsiteY30" fmla="*/ 1056341 h 2112682"/>
              <a:gd name="connsiteX31" fmla="*/ 4555946 w 10858499"/>
              <a:gd name="connsiteY31" fmla="*/ 330611 h 2112682"/>
              <a:gd name="connsiteX32" fmla="*/ 3834240 w 10858499"/>
              <a:gd name="connsiteY32" fmla="*/ 1056341 h 2112682"/>
              <a:gd name="connsiteX33" fmla="*/ 3840348 w 10858499"/>
              <a:gd name="connsiteY33" fmla="*/ 1056341 h 2112682"/>
              <a:gd name="connsiteX34" fmla="*/ 2793477 w 10858499"/>
              <a:gd name="connsiteY34" fmla="*/ 2112682 h 2112682"/>
              <a:gd name="connsiteX35" fmla="*/ 1754538 w 10858499"/>
              <a:gd name="connsiteY35" fmla="*/ 1056341 h 2112682"/>
              <a:gd name="connsiteX36" fmla="*/ 1759618 w 10858499"/>
              <a:gd name="connsiteY36" fmla="*/ 1056341 h 2112682"/>
              <a:gd name="connsiteX37" fmla="*/ 1760646 w 10858499"/>
              <a:gd name="connsiteY37" fmla="*/ 1056341 h 2112682"/>
              <a:gd name="connsiteX38" fmla="*/ 1046871 w 10858499"/>
              <a:gd name="connsiteY38" fmla="*/ 330611 h 2112682"/>
              <a:gd name="connsiteX39" fmla="*/ 325164 w 10858499"/>
              <a:gd name="connsiteY39" fmla="*/ 1056341 h 2112682"/>
              <a:gd name="connsiteX40" fmla="*/ 0 w 10858499"/>
              <a:gd name="connsiteY40" fmla="*/ 1056341 h 2112682"/>
              <a:gd name="connsiteX41" fmla="*/ 1046871 w 10858499"/>
              <a:gd name="connsiteY41" fmla="*/ 0 h 2112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0858499" h="2112682">
                <a:moveTo>
                  <a:pt x="1046871" y="0"/>
                </a:moveTo>
                <a:cubicBezTo>
                  <a:pt x="1617891" y="0"/>
                  <a:pt x="2085811" y="475757"/>
                  <a:pt x="2085811" y="1056341"/>
                </a:cubicBezTo>
                <a:lnTo>
                  <a:pt x="2079702" y="1056341"/>
                </a:lnTo>
                <a:cubicBezTo>
                  <a:pt x="2079702" y="1456470"/>
                  <a:pt x="2396936" y="1784576"/>
                  <a:pt x="2793477" y="1784576"/>
                </a:cubicBezTo>
                <a:cubicBezTo>
                  <a:pt x="3190019" y="1784576"/>
                  <a:pt x="3515184" y="1456470"/>
                  <a:pt x="3515184" y="1056341"/>
                </a:cubicBezTo>
                <a:lnTo>
                  <a:pt x="3514157" y="1056341"/>
                </a:lnTo>
                <a:cubicBezTo>
                  <a:pt x="3509076" y="1056341"/>
                  <a:pt x="3509076" y="1056341"/>
                  <a:pt x="3509076" y="1056341"/>
                </a:cubicBezTo>
                <a:cubicBezTo>
                  <a:pt x="3509076" y="475757"/>
                  <a:pt x="3976995" y="0"/>
                  <a:pt x="4555946" y="0"/>
                </a:cubicBezTo>
                <a:cubicBezTo>
                  <a:pt x="5126967" y="0"/>
                  <a:pt x="5594886" y="475757"/>
                  <a:pt x="5594886" y="1056341"/>
                </a:cubicBezTo>
                <a:lnTo>
                  <a:pt x="5588778" y="1056341"/>
                </a:lnTo>
                <a:cubicBezTo>
                  <a:pt x="5588778" y="1456470"/>
                  <a:pt x="5906011" y="1784576"/>
                  <a:pt x="6302553" y="1784576"/>
                </a:cubicBezTo>
                <a:cubicBezTo>
                  <a:pt x="6699095" y="1784576"/>
                  <a:pt x="7024260" y="1456470"/>
                  <a:pt x="7024260" y="1056341"/>
                </a:cubicBezTo>
                <a:lnTo>
                  <a:pt x="7023232" y="1056341"/>
                </a:lnTo>
                <a:cubicBezTo>
                  <a:pt x="7018151" y="1056341"/>
                  <a:pt x="7018151" y="1056341"/>
                  <a:pt x="7018151" y="1056341"/>
                </a:cubicBezTo>
                <a:cubicBezTo>
                  <a:pt x="7018151" y="475757"/>
                  <a:pt x="7486071" y="0"/>
                  <a:pt x="8065022" y="0"/>
                </a:cubicBezTo>
                <a:cubicBezTo>
                  <a:pt x="8636042" y="0"/>
                  <a:pt x="9103962" y="475757"/>
                  <a:pt x="9103962" y="1056341"/>
                </a:cubicBezTo>
                <a:lnTo>
                  <a:pt x="9097852" y="1056341"/>
                </a:lnTo>
                <a:cubicBezTo>
                  <a:pt x="9097852" y="1456470"/>
                  <a:pt x="9415086" y="1784576"/>
                  <a:pt x="9811628" y="1784576"/>
                </a:cubicBezTo>
                <a:cubicBezTo>
                  <a:pt x="10208170" y="1784576"/>
                  <a:pt x="10533335" y="1456470"/>
                  <a:pt x="10533335" y="1056341"/>
                </a:cubicBezTo>
                <a:cubicBezTo>
                  <a:pt x="10533335" y="1056341"/>
                  <a:pt x="10533335" y="1056341"/>
                  <a:pt x="10858499" y="1056341"/>
                </a:cubicBezTo>
                <a:cubicBezTo>
                  <a:pt x="10858499" y="1640530"/>
                  <a:pt x="10390579" y="2112682"/>
                  <a:pt x="9811628" y="2112682"/>
                </a:cubicBezTo>
                <a:cubicBezTo>
                  <a:pt x="9240608" y="2112682"/>
                  <a:pt x="8772688" y="1640530"/>
                  <a:pt x="8772688" y="1056341"/>
                </a:cubicBezTo>
                <a:cubicBezTo>
                  <a:pt x="8772688" y="1056341"/>
                  <a:pt x="8772688" y="1056341"/>
                  <a:pt x="8777769" y="1056341"/>
                </a:cubicBezTo>
                <a:lnTo>
                  <a:pt x="8778797" y="1056341"/>
                </a:lnTo>
                <a:cubicBezTo>
                  <a:pt x="8778797" y="653158"/>
                  <a:pt x="8461564" y="330611"/>
                  <a:pt x="8065022" y="330611"/>
                </a:cubicBezTo>
                <a:cubicBezTo>
                  <a:pt x="7660549" y="330611"/>
                  <a:pt x="7343316" y="653158"/>
                  <a:pt x="7343316" y="1056341"/>
                </a:cubicBezTo>
                <a:lnTo>
                  <a:pt x="7349424" y="1056341"/>
                </a:lnTo>
                <a:cubicBezTo>
                  <a:pt x="7349424" y="1640530"/>
                  <a:pt x="6881505" y="2112682"/>
                  <a:pt x="6302553" y="2112682"/>
                </a:cubicBezTo>
                <a:cubicBezTo>
                  <a:pt x="5731533" y="2112682"/>
                  <a:pt x="5263613" y="1640530"/>
                  <a:pt x="5263613" y="1056341"/>
                </a:cubicBezTo>
                <a:cubicBezTo>
                  <a:pt x="5263613" y="1056341"/>
                  <a:pt x="5263613" y="1056341"/>
                  <a:pt x="5268694" y="1056341"/>
                </a:cubicBezTo>
                <a:lnTo>
                  <a:pt x="5269722" y="1056341"/>
                </a:lnTo>
                <a:cubicBezTo>
                  <a:pt x="5269722" y="653158"/>
                  <a:pt x="4952488" y="330611"/>
                  <a:pt x="4555946" y="330611"/>
                </a:cubicBezTo>
                <a:cubicBezTo>
                  <a:pt x="4151473" y="330611"/>
                  <a:pt x="3834240" y="653158"/>
                  <a:pt x="3834240" y="1056341"/>
                </a:cubicBezTo>
                <a:lnTo>
                  <a:pt x="3840348" y="1056341"/>
                </a:lnTo>
                <a:cubicBezTo>
                  <a:pt x="3840348" y="1640530"/>
                  <a:pt x="3372429" y="2112682"/>
                  <a:pt x="2793477" y="2112682"/>
                </a:cubicBezTo>
                <a:cubicBezTo>
                  <a:pt x="2222457" y="2112682"/>
                  <a:pt x="1754538" y="1640530"/>
                  <a:pt x="1754538" y="1056341"/>
                </a:cubicBezTo>
                <a:cubicBezTo>
                  <a:pt x="1754538" y="1056341"/>
                  <a:pt x="1754538" y="1056341"/>
                  <a:pt x="1759618" y="1056341"/>
                </a:cubicBezTo>
                <a:lnTo>
                  <a:pt x="1760646" y="1056341"/>
                </a:lnTo>
                <a:cubicBezTo>
                  <a:pt x="1760646" y="653158"/>
                  <a:pt x="1443412" y="330611"/>
                  <a:pt x="1046871" y="330611"/>
                </a:cubicBezTo>
                <a:cubicBezTo>
                  <a:pt x="642398" y="330611"/>
                  <a:pt x="325164" y="653158"/>
                  <a:pt x="325164" y="1056341"/>
                </a:cubicBezTo>
                <a:cubicBezTo>
                  <a:pt x="0" y="1056341"/>
                  <a:pt x="0" y="1056341"/>
                  <a:pt x="0" y="1056341"/>
                </a:cubicBezTo>
                <a:cubicBezTo>
                  <a:pt x="0" y="475757"/>
                  <a:pt x="467919" y="0"/>
                  <a:pt x="1046871" y="0"/>
                </a:cubicBezTo>
                <a:close/>
              </a:path>
            </a:pathLst>
          </a:custGeom>
          <a:pattFill prst="dkUp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60" name="işḻïdè">
            <a:extLst>
              <a:ext uri="{FF2B5EF4-FFF2-40B4-BE49-F238E27FC236}">
                <a16:creationId xmlns:a16="http://schemas.microsoft.com/office/drawing/2014/main" id="{6B3A024F-2F69-4CC7-ADC9-83CA757D7A89}"/>
              </a:ext>
            </a:extLst>
          </p:cNvPr>
          <p:cNvSpPr/>
          <p:nvPr/>
        </p:nvSpPr>
        <p:spPr>
          <a:xfrm>
            <a:off x="2356105" y="5292881"/>
            <a:ext cx="484078" cy="48407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/>
          <a:p>
            <a:pPr algn="ctr" defTabSz="914354"/>
            <a:r>
              <a:rPr lang="en-US" altLang="zh-CN" sz="2000" dirty="0">
                <a:solidFill>
                  <a:schemeClr val="bg1"/>
                </a:solidFill>
              </a:rPr>
              <a:t>02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61" name="i$1iḋè">
            <a:extLst>
              <a:ext uri="{FF2B5EF4-FFF2-40B4-BE49-F238E27FC236}">
                <a16:creationId xmlns:a16="http://schemas.microsoft.com/office/drawing/2014/main" id="{E4F747BC-3337-45E1-9EDD-4D12C3654B09}"/>
              </a:ext>
            </a:extLst>
          </p:cNvPr>
          <p:cNvSpPr/>
          <p:nvPr/>
        </p:nvSpPr>
        <p:spPr>
          <a:xfrm>
            <a:off x="4987912" y="5292881"/>
            <a:ext cx="484078" cy="48407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/>
          <a:p>
            <a:pPr algn="ctr" defTabSz="914354"/>
            <a:r>
              <a:rPr lang="en-US" altLang="zh-CN" sz="2000" dirty="0">
                <a:solidFill>
                  <a:schemeClr val="bg1"/>
                </a:solidFill>
              </a:rPr>
              <a:t>04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63" name="îšļiḓê">
            <a:extLst>
              <a:ext uri="{FF2B5EF4-FFF2-40B4-BE49-F238E27FC236}">
                <a16:creationId xmlns:a16="http://schemas.microsoft.com/office/drawing/2014/main" id="{DF06470E-41FF-4394-A9D5-B2DC4D0E9394}"/>
              </a:ext>
            </a:extLst>
          </p:cNvPr>
          <p:cNvSpPr/>
          <p:nvPr/>
        </p:nvSpPr>
        <p:spPr>
          <a:xfrm>
            <a:off x="1040202" y="3949312"/>
            <a:ext cx="484078" cy="484079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/>
          <a:p>
            <a:pPr algn="ctr" defTabSz="914354"/>
            <a:r>
              <a:rPr lang="en-US" altLang="zh-CN" sz="2000" dirty="0">
                <a:solidFill>
                  <a:schemeClr val="bg1"/>
                </a:solidFill>
              </a:rPr>
              <a:t>01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64" name="íślîdê">
            <a:extLst>
              <a:ext uri="{FF2B5EF4-FFF2-40B4-BE49-F238E27FC236}">
                <a16:creationId xmlns:a16="http://schemas.microsoft.com/office/drawing/2014/main" id="{943624F4-D82A-439A-99E9-6A0EA2004F67}"/>
              </a:ext>
            </a:extLst>
          </p:cNvPr>
          <p:cNvSpPr/>
          <p:nvPr/>
        </p:nvSpPr>
        <p:spPr>
          <a:xfrm>
            <a:off x="3672009" y="3949312"/>
            <a:ext cx="484078" cy="484079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/>
          <a:p>
            <a:pPr algn="ctr" defTabSz="914354"/>
            <a:r>
              <a:rPr lang="en-US" altLang="zh-CN" sz="2000" dirty="0">
                <a:solidFill>
                  <a:schemeClr val="bg1"/>
                </a:solidFill>
              </a:rPr>
              <a:t>03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82" name="ïŝḻîďê">
            <a:extLst>
              <a:ext uri="{FF2B5EF4-FFF2-40B4-BE49-F238E27FC236}">
                <a16:creationId xmlns:a16="http://schemas.microsoft.com/office/drawing/2014/main" id="{A5A40731-C336-4C01-85DA-A95D1310017D}"/>
              </a:ext>
            </a:extLst>
          </p:cNvPr>
          <p:cNvSpPr txBox="1"/>
          <p:nvPr/>
        </p:nvSpPr>
        <p:spPr>
          <a:xfrm>
            <a:off x="624290" y="4833228"/>
            <a:ext cx="1315903" cy="335022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1600" b="1" dirty="0"/>
              <a:t>官网</a:t>
            </a:r>
            <a:endParaRPr lang="id-ID" sz="1600" b="1" dirty="0"/>
          </a:p>
        </p:txBody>
      </p:sp>
      <p:sp>
        <p:nvSpPr>
          <p:cNvPr id="83" name="išļíḑé">
            <a:extLst>
              <a:ext uri="{FF2B5EF4-FFF2-40B4-BE49-F238E27FC236}">
                <a16:creationId xmlns:a16="http://schemas.microsoft.com/office/drawing/2014/main" id="{43B8B48A-8ED2-4161-B540-630344E5C81A}"/>
              </a:ext>
            </a:extLst>
          </p:cNvPr>
          <p:cNvSpPr/>
          <p:nvPr/>
        </p:nvSpPr>
        <p:spPr bwMode="auto">
          <a:xfrm>
            <a:off x="624290" y="5168254"/>
            <a:ext cx="1315903" cy="953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925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zh-CN" altLang="en-US" sz="1100" dirty="0"/>
              <a:t>系统版本</a:t>
            </a:r>
            <a:r>
              <a:rPr lang="en-US" altLang="zh-CN" sz="1100" dirty="0"/>
              <a:t>(win </a:t>
            </a:r>
            <a:r>
              <a:rPr lang="en-US" altLang="zh-CN" sz="1100" dirty="0" err="1"/>
              <a:t>linux</a:t>
            </a:r>
            <a:r>
              <a:rPr lang="en-US" altLang="zh-CN" sz="1100" dirty="0"/>
              <a:t>)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zh-CN" altLang="en-US" sz="1100" dirty="0"/>
              <a:t>系统位数</a:t>
            </a:r>
            <a:r>
              <a:rPr lang="en-US" altLang="zh-CN" sz="1100" dirty="0"/>
              <a:t>(32   64)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zh-CN" altLang="en-US" sz="1100" dirty="0"/>
              <a:t>软件版本</a:t>
            </a:r>
            <a:r>
              <a:rPr lang="en-US" altLang="zh-CN" sz="1100" dirty="0"/>
              <a:t>(2.x   3.x)</a:t>
            </a:r>
          </a:p>
        </p:txBody>
      </p:sp>
      <p:sp>
        <p:nvSpPr>
          <p:cNvPr id="80" name="ïşlïďe">
            <a:extLst>
              <a:ext uri="{FF2B5EF4-FFF2-40B4-BE49-F238E27FC236}">
                <a16:creationId xmlns:a16="http://schemas.microsoft.com/office/drawing/2014/main" id="{29A76768-68A5-4098-9539-19791C70B88E}"/>
              </a:ext>
            </a:extLst>
          </p:cNvPr>
          <p:cNvSpPr txBox="1"/>
          <p:nvPr/>
        </p:nvSpPr>
        <p:spPr>
          <a:xfrm>
            <a:off x="3256097" y="4833228"/>
            <a:ext cx="1315903" cy="335022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1600" b="1" dirty="0"/>
              <a:t>解压</a:t>
            </a:r>
            <a:r>
              <a:rPr lang="en-US" altLang="zh-CN" sz="1600" b="1" dirty="0"/>
              <a:t>1</a:t>
            </a:r>
            <a:endParaRPr lang="id-ID" sz="1600" b="1" dirty="0"/>
          </a:p>
        </p:txBody>
      </p:sp>
      <p:sp>
        <p:nvSpPr>
          <p:cNvPr id="81" name="ïs1ïḑê">
            <a:extLst>
              <a:ext uri="{FF2B5EF4-FFF2-40B4-BE49-F238E27FC236}">
                <a16:creationId xmlns:a16="http://schemas.microsoft.com/office/drawing/2014/main" id="{8EB15CAF-6819-44FC-9C1C-31311F9040CF}"/>
              </a:ext>
            </a:extLst>
          </p:cNvPr>
          <p:cNvSpPr/>
          <p:nvPr/>
        </p:nvSpPr>
        <p:spPr bwMode="auto">
          <a:xfrm>
            <a:off x="3256097" y="5168254"/>
            <a:ext cx="1315903" cy="953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solidFill>
                  <a:schemeClr val="accent3"/>
                </a:solidFill>
              </a:rPr>
              <a:t>tar -</a:t>
            </a:r>
            <a:r>
              <a:rPr lang="en-US" altLang="zh-CN" sz="1100" dirty="0" err="1">
                <a:solidFill>
                  <a:schemeClr val="accent3"/>
                </a:solidFill>
              </a:rPr>
              <a:t>zxvf</a:t>
            </a:r>
            <a:r>
              <a:rPr lang="en-US" altLang="zh-CN" sz="1100" dirty="0">
                <a:solidFill>
                  <a:schemeClr val="accent3"/>
                </a:solidFill>
              </a:rPr>
              <a:t> hadoop*****.jar</a:t>
            </a:r>
          </a:p>
        </p:txBody>
      </p:sp>
      <p:sp>
        <p:nvSpPr>
          <p:cNvPr id="76" name="ïşḻîďê">
            <a:extLst>
              <a:ext uri="{FF2B5EF4-FFF2-40B4-BE49-F238E27FC236}">
                <a16:creationId xmlns:a16="http://schemas.microsoft.com/office/drawing/2014/main" id="{E450F47C-3373-4648-A3D8-C4813F1BD693}"/>
              </a:ext>
            </a:extLst>
          </p:cNvPr>
          <p:cNvSpPr txBox="1"/>
          <p:nvPr/>
        </p:nvSpPr>
        <p:spPr>
          <a:xfrm>
            <a:off x="1940193" y="3604858"/>
            <a:ext cx="1315903" cy="335022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1600" b="1" dirty="0"/>
              <a:t>下载</a:t>
            </a:r>
            <a:endParaRPr lang="id-ID" sz="1600" b="1" dirty="0"/>
          </a:p>
        </p:txBody>
      </p:sp>
      <p:sp>
        <p:nvSpPr>
          <p:cNvPr id="77" name="íşḷîḓe">
            <a:extLst>
              <a:ext uri="{FF2B5EF4-FFF2-40B4-BE49-F238E27FC236}">
                <a16:creationId xmlns:a16="http://schemas.microsoft.com/office/drawing/2014/main" id="{BBA855F0-E97B-4412-BCD5-C3231ACC7FC3}"/>
              </a:ext>
            </a:extLst>
          </p:cNvPr>
          <p:cNvSpPr/>
          <p:nvPr/>
        </p:nvSpPr>
        <p:spPr bwMode="auto">
          <a:xfrm>
            <a:off x="1940193" y="3939884"/>
            <a:ext cx="1315903" cy="953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zh-CN" altLang="en-US" sz="1100" dirty="0"/>
              <a:t>等</a:t>
            </a:r>
            <a:r>
              <a:rPr lang="en-US" altLang="zh-CN" sz="1100" dirty="0"/>
              <a:t>… …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(</a:t>
            </a:r>
            <a:r>
              <a:rPr lang="zh-CN" altLang="en-US" sz="1100" dirty="0"/>
              <a:t>有现成的就好了</a:t>
            </a:r>
            <a:r>
              <a:rPr lang="en-US" altLang="zh-CN" sz="1100" dirty="0"/>
              <a:t>)</a:t>
            </a:r>
          </a:p>
        </p:txBody>
      </p:sp>
      <p:sp>
        <p:nvSpPr>
          <p:cNvPr id="74" name="îṧļïdè">
            <a:extLst>
              <a:ext uri="{FF2B5EF4-FFF2-40B4-BE49-F238E27FC236}">
                <a16:creationId xmlns:a16="http://schemas.microsoft.com/office/drawing/2014/main" id="{B6FFBFC0-D620-4118-AF2A-BB50983840D4}"/>
              </a:ext>
            </a:extLst>
          </p:cNvPr>
          <p:cNvSpPr txBox="1"/>
          <p:nvPr/>
        </p:nvSpPr>
        <p:spPr>
          <a:xfrm>
            <a:off x="4572000" y="3604858"/>
            <a:ext cx="1315903" cy="335022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1600" b="1" dirty="0"/>
              <a:t>解压</a:t>
            </a:r>
            <a:r>
              <a:rPr lang="en-US" altLang="zh-CN" sz="1600" b="1" dirty="0"/>
              <a:t>2</a:t>
            </a:r>
            <a:endParaRPr lang="id-ID" sz="1600" b="1" dirty="0"/>
          </a:p>
        </p:txBody>
      </p:sp>
      <p:sp>
        <p:nvSpPr>
          <p:cNvPr id="75" name="ïS1iḍé">
            <a:extLst>
              <a:ext uri="{FF2B5EF4-FFF2-40B4-BE49-F238E27FC236}">
                <a16:creationId xmlns:a16="http://schemas.microsoft.com/office/drawing/2014/main" id="{81C09B26-2798-4EA4-9356-29289C925C2C}"/>
              </a:ext>
            </a:extLst>
          </p:cNvPr>
          <p:cNvSpPr/>
          <p:nvPr/>
        </p:nvSpPr>
        <p:spPr bwMode="auto">
          <a:xfrm>
            <a:off x="4572000" y="3939884"/>
            <a:ext cx="1315903" cy="953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solidFill>
                  <a:schemeClr val="accent1"/>
                </a:solidFill>
              </a:rPr>
              <a:t>or</a:t>
            </a:r>
            <a:r>
              <a:rPr lang="zh-CN" altLang="en-US" sz="1100" dirty="0">
                <a:solidFill>
                  <a:schemeClr val="accent1"/>
                </a:solidFill>
              </a:rPr>
              <a:t>左键！右键！</a:t>
            </a:r>
            <a:endParaRPr lang="en-US" altLang="zh-CN" sz="1100" dirty="0">
              <a:solidFill>
                <a:schemeClr val="accent1"/>
              </a:solidFill>
            </a:endParaRPr>
          </a:p>
        </p:txBody>
      </p:sp>
      <p:sp>
        <p:nvSpPr>
          <p:cNvPr id="84" name="ísḷïḍê">
            <a:extLst>
              <a:ext uri="{FF2B5EF4-FFF2-40B4-BE49-F238E27FC236}">
                <a16:creationId xmlns:a16="http://schemas.microsoft.com/office/drawing/2014/main" id="{7E4A60E5-A876-418A-8306-4E13B375B38A}"/>
              </a:ext>
            </a:extLst>
          </p:cNvPr>
          <p:cNvSpPr/>
          <p:nvPr/>
        </p:nvSpPr>
        <p:spPr>
          <a:xfrm>
            <a:off x="7622181" y="5318963"/>
            <a:ext cx="484078" cy="48407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/>
          <a:p>
            <a:pPr algn="ctr" defTabSz="914354"/>
            <a:r>
              <a:rPr lang="en-US" altLang="zh-CN" sz="2000" dirty="0">
                <a:solidFill>
                  <a:schemeClr val="bg1"/>
                </a:solidFill>
              </a:rPr>
              <a:t>06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85" name="ïṣ1iḑe">
            <a:extLst>
              <a:ext uri="{FF2B5EF4-FFF2-40B4-BE49-F238E27FC236}">
                <a16:creationId xmlns:a16="http://schemas.microsoft.com/office/drawing/2014/main" id="{55AA719E-4B33-442C-8C69-09AB588F3B01}"/>
              </a:ext>
            </a:extLst>
          </p:cNvPr>
          <p:cNvSpPr/>
          <p:nvPr/>
        </p:nvSpPr>
        <p:spPr>
          <a:xfrm>
            <a:off x="6306279" y="3975394"/>
            <a:ext cx="484078" cy="484079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/>
          <a:p>
            <a:pPr algn="ctr" defTabSz="914354"/>
            <a:r>
              <a:rPr lang="en-US" altLang="zh-CN" sz="2000" dirty="0">
                <a:solidFill>
                  <a:schemeClr val="bg1"/>
                </a:solidFill>
              </a:rPr>
              <a:t>05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grpSp>
        <p:nvGrpSpPr>
          <p:cNvPr id="86" name="ïṡ1iḓé">
            <a:extLst>
              <a:ext uri="{FF2B5EF4-FFF2-40B4-BE49-F238E27FC236}">
                <a16:creationId xmlns:a16="http://schemas.microsoft.com/office/drawing/2014/main" id="{BE735F24-3D3D-48D6-992B-BD1D01739F36}"/>
              </a:ext>
            </a:extLst>
          </p:cNvPr>
          <p:cNvGrpSpPr/>
          <p:nvPr/>
        </p:nvGrpSpPr>
        <p:grpSpPr>
          <a:xfrm>
            <a:off x="5890367" y="4859310"/>
            <a:ext cx="1315903" cy="1288184"/>
            <a:chOff x="660400" y="4027303"/>
            <a:chExt cx="1754537" cy="1717579"/>
          </a:xfrm>
        </p:grpSpPr>
        <p:sp>
          <p:nvSpPr>
            <p:cNvPr id="87" name="iṡ1íḍé">
              <a:extLst>
                <a:ext uri="{FF2B5EF4-FFF2-40B4-BE49-F238E27FC236}">
                  <a16:creationId xmlns:a16="http://schemas.microsoft.com/office/drawing/2014/main" id="{313D41F7-2A30-4673-9461-7CC01CD8A284}"/>
                </a:ext>
              </a:extLst>
            </p:cNvPr>
            <p:cNvSpPr txBox="1"/>
            <p:nvPr/>
          </p:nvSpPr>
          <p:spPr>
            <a:xfrm>
              <a:off x="660400" y="4027303"/>
              <a:ext cx="1754537" cy="44669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/>
                <a:t>环境变量配置</a:t>
              </a:r>
              <a:endParaRPr lang="id-ID" sz="1600" b="1" dirty="0"/>
            </a:p>
          </p:txBody>
        </p:sp>
        <p:sp>
          <p:nvSpPr>
            <p:cNvPr id="88" name="íśļîḓê">
              <a:extLst>
                <a:ext uri="{FF2B5EF4-FFF2-40B4-BE49-F238E27FC236}">
                  <a16:creationId xmlns:a16="http://schemas.microsoft.com/office/drawing/2014/main" id="{5A452BB4-83E4-4F32-8294-FF0A03FABD20}"/>
                </a:ext>
              </a:extLst>
            </p:cNvPr>
            <p:cNvSpPr/>
            <p:nvPr/>
          </p:nvSpPr>
          <p:spPr bwMode="auto">
            <a:xfrm>
              <a:off x="660400" y="4474004"/>
              <a:ext cx="1754537" cy="12708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vim /</a:t>
              </a:r>
              <a:r>
                <a:rPr lang="en-US" altLang="zh-CN" sz="1100" dirty="0" err="1"/>
                <a:t>etc</a:t>
              </a:r>
              <a:r>
                <a:rPr lang="en-US" altLang="zh-CN" sz="1100" dirty="0"/>
                <a:t>/profile</a:t>
              </a:r>
              <a:endParaRPr lang="zh-CN" altLang="en-US" sz="1100" dirty="0"/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export PATH=$PATH:/</a:t>
              </a:r>
              <a:r>
                <a:rPr lang="en-US" altLang="zh-CN" sz="1100" dirty="0" err="1"/>
                <a:t>hadoop</a:t>
              </a:r>
              <a:r>
                <a:rPr lang="en-US" altLang="zh-CN" sz="1100" dirty="0"/>
                <a:t>/</a:t>
              </a:r>
              <a:r>
                <a:rPr lang="en-US" altLang="zh-CN" sz="1100" dirty="0" err="1"/>
                <a:t>sbin</a:t>
              </a:r>
              <a:r>
                <a:rPr lang="en-US" altLang="zh-CN" sz="1100" dirty="0"/>
                <a:t>:/</a:t>
              </a:r>
              <a:r>
                <a:rPr lang="en-US" altLang="zh-CN" sz="1100" dirty="0" err="1"/>
                <a:t>hadoop</a:t>
              </a:r>
              <a:r>
                <a:rPr lang="en-US" altLang="zh-CN" sz="1100" dirty="0"/>
                <a:t>/bin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source /</a:t>
              </a:r>
              <a:r>
                <a:rPr lang="en-US" altLang="zh-CN" sz="1100" dirty="0" err="1"/>
                <a:t>etc</a:t>
              </a:r>
              <a:r>
                <a:rPr lang="en-US" altLang="zh-CN" sz="1100" dirty="0"/>
                <a:t>/profile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endParaRPr lang="en-US" altLang="zh-CN" sz="1100" dirty="0"/>
            </a:p>
          </p:txBody>
        </p:sp>
      </p:grpSp>
      <p:grpSp>
        <p:nvGrpSpPr>
          <p:cNvPr id="89" name="ï$ḷîḓê">
            <a:extLst>
              <a:ext uri="{FF2B5EF4-FFF2-40B4-BE49-F238E27FC236}">
                <a16:creationId xmlns:a16="http://schemas.microsoft.com/office/drawing/2014/main" id="{441FFC2A-9500-4BDE-871B-0D3593712377}"/>
              </a:ext>
            </a:extLst>
          </p:cNvPr>
          <p:cNvGrpSpPr/>
          <p:nvPr/>
        </p:nvGrpSpPr>
        <p:grpSpPr>
          <a:xfrm>
            <a:off x="7206270" y="3630940"/>
            <a:ext cx="1315903" cy="1288184"/>
            <a:chOff x="660400" y="4027303"/>
            <a:chExt cx="1754537" cy="1717579"/>
          </a:xfrm>
        </p:grpSpPr>
        <p:sp>
          <p:nvSpPr>
            <p:cNvPr id="90" name="ïšľïdè">
              <a:extLst>
                <a:ext uri="{FF2B5EF4-FFF2-40B4-BE49-F238E27FC236}">
                  <a16:creationId xmlns:a16="http://schemas.microsoft.com/office/drawing/2014/main" id="{949B8BA6-48BD-41DB-B2F6-39E8372E704D}"/>
                </a:ext>
              </a:extLst>
            </p:cNvPr>
            <p:cNvSpPr txBox="1"/>
            <p:nvPr/>
          </p:nvSpPr>
          <p:spPr>
            <a:xfrm>
              <a:off x="660400" y="4027303"/>
              <a:ext cx="1754537" cy="44669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/>
                <a:t>分布式</a:t>
              </a:r>
              <a:endParaRPr lang="id-ID" sz="1600" b="1" dirty="0"/>
            </a:p>
          </p:txBody>
        </p:sp>
        <p:sp>
          <p:nvSpPr>
            <p:cNvPr id="91" name="ï$líde">
              <a:extLst>
                <a:ext uri="{FF2B5EF4-FFF2-40B4-BE49-F238E27FC236}">
                  <a16:creationId xmlns:a16="http://schemas.microsoft.com/office/drawing/2014/main" id="{98416040-DD94-4226-B7D2-B62C7586366D}"/>
                </a:ext>
              </a:extLst>
            </p:cNvPr>
            <p:cNvSpPr/>
            <p:nvPr/>
          </p:nvSpPr>
          <p:spPr bwMode="auto">
            <a:xfrm>
              <a:off x="660400" y="4474004"/>
              <a:ext cx="1754537" cy="12708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zh-CN" altLang="en-US" sz="1100" dirty="0"/>
                <a:t>下一步</a:t>
              </a:r>
              <a:endParaRPr lang="en-US" altLang="zh-CN" sz="1100" dirty="0"/>
            </a:p>
          </p:txBody>
        </p:sp>
      </p:grpSp>
    </p:spTree>
    <p:extLst>
      <p:ext uri="{BB962C8B-B14F-4D97-AF65-F5344CB8AC3E}">
        <p14:creationId xmlns:p14="http://schemas.microsoft.com/office/powerpoint/2010/main" val="7978291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000" dirty="0"/>
              <a:t>Hadoop</a:t>
            </a:r>
            <a:r>
              <a:rPr lang="zh-CN" altLang="en-US" sz="2000" dirty="0"/>
              <a:t>的部署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8</a:t>
            </a:fld>
            <a:endParaRPr lang="zh-CN" altLang="en-US" dirty="0"/>
          </a:p>
        </p:txBody>
      </p:sp>
      <p:sp>
        <p:nvSpPr>
          <p:cNvPr id="195" name="iṧḻîďè">
            <a:extLst>
              <a:ext uri="{FF2B5EF4-FFF2-40B4-BE49-F238E27FC236}">
                <a16:creationId xmlns:a16="http://schemas.microsoft.com/office/drawing/2014/main" id="{6FC8272D-4563-47EB-B741-E738A21C2623}"/>
              </a:ext>
            </a:extLst>
          </p:cNvPr>
          <p:cNvSpPr/>
          <p:nvPr/>
        </p:nvSpPr>
        <p:spPr bwMode="auto">
          <a:xfrm>
            <a:off x="4288978" y="2665212"/>
            <a:ext cx="1557132" cy="325661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搞定！</a:t>
            </a:r>
            <a:endParaRPr lang="en-US" altLang="zh-CN" b="1" dirty="0"/>
          </a:p>
        </p:txBody>
      </p:sp>
      <p:sp>
        <p:nvSpPr>
          <p:cNvPr id="196" name="îŝḻiḋé">
            <a:extLst>
              <a:ext uri="{FF2B5EF4-FFF2-40B4-BE49-F238E27FC236}">
                <a16:creationId xmlns:a16="http://schemas.microsoft.com/office/drawing/2014/main" id="{C05C75D7-4258-49B9-958F-F2EEF0B840E0}"/>
              </a:ext>
            </a:extLst>
          </p:cNvPr>
          <p:cNvSpPr/>
          <p:nvPr/>
        </p:nvSpPr>
        <p:spPr bwMode="auto">
          <a:xfrm>
            <a:off x="4546879" y="2354089"/>
            <a:ext cx="1557132" cy="325661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测试</a:t>
            </a:r>
            <a:endParaRPr lang="en-US" altLang="zh-CN" b="1" dirty="0"/>
          </a:p>
        </p:txBody>
      </p:sp>
      <p:sp>
        <p:nvSpPr>
          <p:cNvPr id="197" name="íṥḷíďê">
            <a:extLst>
              <a:ext uri="{FF2B5EF4-FFF2-40B4-BE49-F238E27FC236}">
                <a16:creationId xmlns:a16="http://schemas.microsoft.com/office/drawing/2014/main" id="{D4FCC7AE-5767-4EC4-BB68-B94457D3AE6D}"/>
              </a:ext>
            </a:extLst>
          </p:cNvPr>
          <p:cNvSpPr/>
          <p:nvPr/>
        </p:nvSpPr>
        <p:spPr bwMode="auto">
          <a:xfrm>
            <a:off x="4799293" y="2042965"/>
            <a:ext cx="1557132" cy="325661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/>
              <a:t>配置</a:t>
            </a:r>
            <a:r>
              <a:rPr lang="en-US" altLang="zh-CN" b="1" dirty="0"/>
              <a:t>Hadoop</a:t>
            </a:r>
          </a:p>
        </p:txBody>
      </p:sp>
      <p:sp>
        <p:nvSpPr>
          <p:cNvPr id="198" name="ïś1ïḓè">
            <a:extLst>
              <a:ext uri="{FF2B5EF4-FFF2-40B4-BE49-F238E27FC236}">
                <a16:creationId xmlns:a16="http://schemas.microsoft.com/office/drawing/2014/main" id="{F32E844B-E27C-4A92-9B60-95E4AD88D81F}"/>
              </a:ext>
            </a:extLst>
          </p:cNvPr>
          <p:cNvSpPr/>
          <p:nvPr/>
        </p:nvSpPr>
        <p:spPr bwMode="auto">
          <a:xfrm>
            <a:off x="5056646" y="1731841"/>
            <a:ext cx="1557132" cy="325661"/>
          </a:xfrm>
          <a:prstGeom prst="parallelogram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>
                <a:solidFill>
                  <a:schemeClr val="bg1"/>
                </a:solidFill>
              </a:rPr>
              <a:t>安装</a:t>
            </a:r>
            <a:r>
              <a:rPr lang="en-US" altLang="zh-CN" sz="1750" b="1" dirty="0">
                <a:solidFill>
                  <a:schemeClr val="bg1"/>
                </a:solidFill>
              </a:rPr>
              <a:t>Hadoop</a:t>
            </a:r>
          </a:p>
        </p:txBody>
      </p:sp>
      <p:sp>
        <p:nvSpPr>
          <p:cNvPr id="199" name="îśļïḍè">
            <a:extLst>
              <a:ext uri="{FF2B5EF4-FFF2-40B4-BE49-F238E27FC236}">
                <a16:creationId xmlns:a16="http://schemas.microsoft.com/office/drawing/2014/main" id="{F812BB55-77DE-4E23-95E6-156A22FAD363}"/>
              </a:ext>
            </a:extLst>
          </p:cNvPr>
          <p:cNvSpPr/>
          <p:nvPr/>
        </p:nvSpPr>
        <p:spPr bwMode="auto">
          <a:xfrm>
            <a:off x="5296662" y="1420717"/>
            <a:ext cx="1557132" cy="325661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配置</a:t>
            </a:r>
            <a:r>
              <a:rPr lang="en-US" altLang="zh-CN" b="1" dirty="0"/>
              <a:t>JAVA</a:t>
            </a:r>
          </a:p>
        </p:txBody>
      </p:sp>
      <p:sp>
        <p:nvSpPr>
          <p:cNvPr id="200" name="ï$1íḍé">
            <a:extLst>
              <a:ext uri="{FF2B5EF4-FFF2-40B4-BE49-F238E27FC236}">
                <a16:creationId xmlns:a16="http://schemas.microsoft.com/office/drawing/2014/main" id="{48245F16-84E7-4201-9485-85B5E5B15ECD}"/>
              </a:ext>
            </a:extLst>
          </p:cNvPr>
          <p:cNvSpPr/>
          <p:nvPr/>
        </p:nvSpPr>
        <p:spPr bwMode="auto">
          <a:xfrm>
            <a:off x="5545561" y="1109593"/>
            <a:ext cx="1557132" cy="325661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安装</a:t>
            </a:r>
            <a:r>
              <a:rPr lang="en-US" altLang="zh-CN" b="1" dirty="0"/>
              <a:t>JAVA</a:t>
            </a:r>
          </a:p>
        </p:txBody>
      </p:sp>
      <p:sp>
        <p:nvSpPr>
          <p:cNvPr id="201" name="îṥľïďê">
            <a:extLst>
              <a:ext uri="{FF2B5EF4-FFF2-40B4-BE49-F238E27FC236}">
                <a16:creationId xmlns:a16="http://schemas.microsoft.com/office/drawing/2014/main" id="{920DFBAA-02E5-4206-86B0-FE10F93A7509}"/>
              </a:ext>
            </a:extLst>
          </p:cNvPr>
          <p:cNvSpPr/>
          <p:nvPr/>
        </p:nvSpPr>
        <p:spPr bwMode="auto">
          <a:xfrm>
            <a:off x="4089694" y="1809693"/>
            <a:ext cx="1790040" cy="592976"/>
          </a:xfrm>
          <a:custGeom>
            <a:avLst/>
            <a:gdLst>
              <a:gd name="T0" fmla="*/ 179 w 203"/>
              <a:gd name="T1" fmla="*/ 82 h 82"/>
              <a:gd name="T2" fmla="*/ 203 w 203"/>
              <a:gd name="T3" fmla="*/ 29 h 82"/>
              <a:gd name="T4" fmla="*/ 65 w 203"/>
              <a:gd name="T5" fmla="*/ 27 h 82"/>
              <a:gd name="T6" fmla="*/ 59 w 203"/>
              <a:gd name="T7" fmla="*/ 0 h 82"/>
              <a:gd name="T8" fmla="*/ 59 w 203"/>
              <a:gd name="T9" fmla="*/ 0 h 82"/>
              <a:gd name="T10" fmla="*/ 0 w 203"/>
              <a:gd name="T11" fmla="*/ 80 h 82"/>
              <a:gd name="T12" fmla="*/ 61 w 203"/>
              <a:gd name="T13" fmla="*/ 82 h 82"/>
              <a:gd name="T14" fmla="*/ 179 w 203"/>
              <a:gd name="T15" fmla="*/ 8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3" h="82">
                <a:moveTo>
                  <a:pt x="179" y="82"/>
                </a:moveTo>
                <a:lnTo>
                  <a:pt x="203" y="29"/>
                </a:lnTo>
                <a:lnTo>
                  <a:pt x="65" y="27"/>
                </a:lnTo>
                <a:lnTo>
                  <a:pt x="59" y="0"/>
                </a:lnTo>
                <a:lnTo>
                  <a:pt x="59" y="0"/>
                </a:lnTo>
                <a:lnTo>
                  <a:pt x="0" y="80"/>
                </a:lnTo>
                <a:lnTo>
                  <a:pt x="61" y="82"/>
                </a:lnTo>
                <a:lnTo>
                  <a:pt x="179" y="8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2" name="i$ḻíḋè">
            <a:extLst>
              <a:ext uri="{FF2B5EF4-FFF2-40B4-BE49-F238E27FC236}">
                <a16:creationId xmlns:a16="http://schemas.microsoft.com/office/drawing/2014/main" id="{430BE7EB-B6F0-4F05-80EA-1F517165029F}"/>
              </a:ext>
            </a:extLst>
          </p:cNvPr>
          <p:cNvSpPr/>
          <p:nvPr/>
        </p:nvSpPr>
        <p:spPr bwMode="auto">
          <a:xfrm>
            <a:off x="5435096" y="1109593"/>
            <a:ext cx="668915" cy="118476"/>
          </a:xfrm>
          <a:prstGeom prst="triangle">
            <a:avLst>
              <a:gd name="adj" fmla="val 14726"/>
            </a:avLst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3" name="işľiḋe">
            <a:extLst>
              <a:ext uri="{FF2B5EF4-FFF2-40B4-BE49-F238E27FC236}">
                <a16:creationId xmlns:a16="http://schemas.microsoft.com/office/drawing/2014/main" id="{E4DECB97-43D1-4D26-8C48-41447675AE79}"/>
              </a:ext>
            </a:extLst>
          </p:cNvPr>
          <p:cNvSpPr/>
          <p:nvPr/>
        </p:nvSpPr>
        <p:spPr bwMode="auto">
          <a:xfrm>
            <a:off x="3350569" y="1028701"/>
            <a:ext cx="2753443" cy="521189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4" name="iś1íďé">
            <a:extLst>
              <a:ext uri="{FF2B5EF4-FFF2-40B4-BE49-F238E27FC236}">
                <a16:creationId xmlns:a16="http://schemas.microsoft.com/office/drawing/2014/main" id="{6E7EA96A-F20A-4912-AC31-63A0F19E66DE}"/>
              </a:ext>
            </a:extLst>
          </p:cNvPr>
          <p:cNvSpPr/>
          <p:nvPr/>
        </p:nvSpPr>
        <p:spPr bwMode="auto">
          <a:xfrm>
            <a:off x="3089390" y="1339825"/>
            <a:ext cx="2753443" cy="521189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5" name="ïŝlíḋe">
            <a:extLst>
              <a:ext uri="{FF2B5EF4-FFF2-40B4-BE49-F238E27FC236}">
                <a16:creationId xmlns:a16="http://schemas.microsoft.com/office/drawing/2014/main" id="{66D30D6F-26C9-4C2C-BC01-900AC07DC57E}"/>
              </a:ext>
            </a:extLst>
          </p:cNvPr>
          <p:cNvSpPr/>
          <p:nvPr/>
        </p:nvSpPr>
        <p:spPr bwMode="auto">
          <a:xfrm>
            <a:off x="2824936" y="1650949"/>
            <a:ext cx="2753443" cy="521189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6" name="îSliďè">
            <a:extLst>
              <a:ext uri="{FF2B5EF4-FFF2-40B4-BE49-F238E27FC236}">
                <a16:creationId xmlns:a16="http://schemas.microsoft.com/office/drawing/2014/main" id="{2F6D5554-EACD-4DDD-892F-2E5F97A9C421}"/>
              </a:ext>
            </a:extLst>
          </p:cNvPr>
          <p:cNvSpPr/>
          <p:nvPr/>
        </p:nvSpPr>
        <p:spPr bwMode="auto">
          <a:xfrm>
            <a:off x="2563773" y="1962073"/>
            <a:ext cx="2753443" cy="521189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7" name="îSliďé">
            <a:extLst>
              <a:ext uri="{FF2B5EF4-FFF2-40B4-BE49-F238E27FC236}">
                <a16:creationId xmlns:a16="http://schemas.microsoft.com/office/drawing/2014/main" id="{2E278F3F-C8D8-4E2A-A3EA-29ADCF1A02AA}"/>
              </a:ext>
            </a:extLst>
          </p:cNvPr>
          <p:cNvSpPr/>
          <p:nvPr/>
        </p:nvSpPr>
        <p:spPr bwMode="auto">
          <a:xfrm>
            <a:off x="2302502" y="2273196"/>
            <a:ext cx="2753443" cy="521189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8" name="îs1iďé">
            <a:extLst>
              <a:ext uri="{FF2B5EF4-FFF2-40B4-BE49-F238E27FC236}">
                <a16:creationId xmlns:a16="http://schemas.microsoft.com/office/drawing/2014/main" id="{EB74D0C2-5677-4F3F-A043-44D01A3F3D48}"/>
              </a:ext>
            </a:extLst>
          </p:cNvPr>
          <p:cNvSpPr/>
          <p:nvPr/>
        </p:nvSpPr>
        <p:spPr bwMode="auto">
          <a:xfrm>
            <a:off x="2041308" y="2584320"/>
            <a:ext cx="2753443" cy="521189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9" name="ïṣḻïḋe">
            <a:extLst>
              <a:ext uri="{FF2B5EF4-FFF2-40B4-BE49-F238E27FC236}">
                <a16:creationId xmlns:a16="http://schemas.microsoft.com/office/drawing/2014/main" id="{7709F84E-C33F-462F-B538-51CB71C9284E}"/>
              </a:ext>
            </a:extLst>
          </p:cNvPr>
          <p:cNvSpPr/>
          <p:nvPr/>
        </p:nvSpPr>
        <p:spPr bwMode="auto">
          <a:xfrm>
            <a:off x="3786141" y="1299613"/>
            <a:ext cx="180733" cy="180482"/>
          </a:xfrm>
          <a:custGeom>
            <a:avLst/>
            <a:gdLst>
              <a:gd name="T0" fmla="*/ 400 w 11264"/>
              <a:gd name="T1" fmla="*/ 7099 h 11264"/>
              <a:gd name="T2" fmla="*/ 4165 w 11264"/>
              <a:gd name="T3" fmla="*/ 7099 h 11264"/>
              <a:gd name="T4" fmla="*/ 4165 w 11264"/>
              <a:gd name="T5" fmla="*/ 10864 h 11264"/>
              <a:gd name="T6" fmla="*/ 4565 w 11264"/>
              <a:gd name="T7" fmla="*/ 11264 h 11264"/>
              <a:gd name="T8" fmla="*/ 6699 w 11264"/>
              <a:gd name="T9" fmla="*/ 11264 h 11264"/>
              <a:gd name="T10" fmla="*/ 7099 w 11264"/>
              <a:gd name="T11" fmla="*/ 10864 h 11264"/>
              <a:gd name="T12" fmla="*/ 7099 w 11264"/>
              <a:gd name="T13" fmla="*/ 7099 h 11264"/>
              <a:gd name="T14" fmla="*/ 10864 w 11264"/>
              <a:gd name="T15" fmla="*/ 7099 h 11264"/>
              <a:gd name="T16" fmla="*/ 11264 w 11264"/>
              <a:gd name="T17" fmla="*/ 6699 h 11264"/>
              <a:gd name="T18" fmla="*/ 11264 w 11264"/>
              <a:gd name="T19" fmla="*/ 4565 h 11264"/>
              <a:gd name="T20" fmla="*/ 10864 w 11264"/>
              <a:gd name="T21" fmla="*/ 4165 h 11264"/>
              <a:gd name="T22" fmla="*/ 7099 w 11264"/>
              <a:gd name="T23" fmla="*/ 4165 h 11264"/>
              <a:gd name="T24" fmla="*/ 7099 w 11264"/>
              <a:gd name="T25" fmla="*/ 400 h 11264"/>
              <a:gd name="T26" fmla="*/ 6699 w 11264"/>
              <a:gd name="T27" fmla="*/ 0 h 11264"/>
              <a:gd name="T28" fmla="*/ 4565 w 11264"/>
              <a:gd name="T29" fmla="*/ 0 h 11264"/>
              <a:gd name="T30" fmla="*/ 4165 w 11264"/>
              <a:gd name="T31" fmla="*/ 400 h 11264"/>
              <a:gd name="T32" fmla="*/ 4165 w 11264"/>
              <a:gd name="T33" fmla="*/ 4165 h 11264"/>
              <a:gd name="T34" fmla="*/ 400 w 11264"/>
              <a:gd name="T35" fmla="*/ 4165 h 11264"/>
              <a:gd name="T36" fmla="*/ 0 w 11264"/>
              <a:gd name="T37" fmla="*/ 4565 h 11264"/>
              <a:gd name="T38" fmla="*/ 0 w 11264"/>
              <a:gd name="T39" fmla="*/ 6699 h 11264"/>
              <a:gd name="T40" fmla="*/ 400 w 11264"/>
              <a:gd name="T41" fmla="*/ 7099 h 11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264" h="11264">
                <a:moveTo>
                  <a:pt x="400" y="7099"/>
                </a:moveTo>
                <a:lnTo>
                  <a:pt x="4165" y="7099"/>
                </a:lnTo>
                <a:lnTo>
                  <a:pt x="4165" y="10864"/>
                </a:lnTo>
                <a:cubicBezTo>
                  <a:pt x="4165" y="11085"/>
                  <a:pt x="4344" y="11264"/>
                  <a:pt x="4565" y="11264"/>
                </a:cubicBezTo>
                <a:lnTo>
                  <a:pt x="6699" y="11264"/>
                </a:lnTo>
                <a:cubicBezTo>
                  <a:pt x="6920" y="11264"/>
                  <a:pt x="7099" y="11085"/>
                  <a:pt x="7099" y="10864"/>
                </a:cubicBezTo>
                <a:lnTo>
                  <a:pt x="7099" y="7099"/>
                </a:lnTo>
                <a:lnTo>
                  <a:pt x="10864" y="7099"/>
                </a:lnTo>
                <a:cubicBezTo>
                  <a:pt x="11085" y="7099"/>
                  <a:pt x="11264" y="6920"/>
                  <a:pt x="11264" y="6699"/>
                </a:cubicBezTo>
                <a:lnTo>
                  <a:pt x="11264" y="4565"/>
                </a:lnTo>
                <a:cubicBezTo>
                  <a:pt x="11264" y="4344"/>
                  <a:pt x="11085" y="4165"/>
                  <a:pt x="10864" y="4165"/>
                </a:cubicBezTo>
                <a:lnTo>
                  <a:pt x="7099" y="4165"/>
                </a:lnTo>
                <a:lnTo>
                  <a:pt x="7099" y="400"/>
                </a:lnTo>
                <a:cubicBezTo>
                  <a:pt x="7099" y="179"/>
                  <a:pt x="6920" y="0"/>
                  <a:pt x="6699" y="0"/>
                </a:cubicBezTo>
                <a:lnTo>
                  <a:pt x="4565" y="0"/>
                </a:lnTo>
                <a:cubicBezTo>
                  <a:pt x="4344" y="0"/>
                  <a:pt x="4165" y="179"/>
                  <a:pt x="4165" y="400"/>
                </a:cubicBezTo>
                <a:lnTo>
                  <a:pt x="4165" y="4165"/>
                </a:lnTo>
                <a:lnTo>
                  <a:pt x="400" y="4165"/>
                </a:lnTo>
                <a:cubicBezTo>
                  <a:pt x="179" y="4165"/>
                  <a:pt x="0" y="4344"/>
                  <a:pt x="0" y="4565"/>
                </a:cubicBezTo>
                <a:lnTo>
                  <a:pt x="0" y="6699"/>
                </a:lnTo>
                <a:cubicBezTo>
                  <a:pt x="0" y="6920"/>
                  <a:pt x="179" y="7099"/>
                  <a:pt x="400" y="7099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0" name="îsḷïde">
            <a:extLst>
              <a:ext uri="{FF2B5EF4-FFF2-40B4-BE49-F238E27FC236}">
                <a16:creationId xmlns:a16="http://schemas.microsoft.com/office/drawing/2014/main" id="{F7027C89-1BCC-4A00-9535-016DE4C49FD7}"/>
              </a:ext>
            </a:extLst>
          </p:cNvPr>
          <p:cNvSpPr/>
          <p:nvPr/>
        </p:nvSpPr>
        <p:spPr bwMode="auto">
          <a:xfrm>
            <a:off x="3539117" y="1607132"/>
            <a:ext cx="176984" cy="180733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  <a:gd name="connsiteX107" fmla="*/ 373273 h 605239"/>
              <a:gd name="connsiteY107" fmla="*/ 373273 h 605239"/>
              <a:gd name="connsiteX108" fmla="*/ 373273 h 605239"/>
              <a:gd name="connsiteY108" fmla="*/ 373273 h 605239"/>
              <a:gd name="connsiteX109" fmla="*/ 373273 h 605239"/>
              <a:gd name="connsiteY109" fmla="*/ 373273 h 605239"/>
              <a:gd name="connsiteX110" fmla="*/ 373273 h 605239"/>
              <a:gd name="connsiteY110" fmla="*/ 373273 h 605239"/>
              <a:gd name="connsiteX111" fmla="*/ 373273 h 605239"/>
              <a:gd name="connsiteY111" fmla="*/ 373273 h 605239"/>
              <a:gd name="connsiteX112" fmla="*/ 373273 h 605239"/>
              <a:gd name="connsiteY112" fmla="*/ 373273 h 605239"/>
              <a:gd name="connsiteX113" fmla="*/ 373273 h 605239"/>
              <a:gd name="connsiteY113" fmla="*/ 373273 h 605239"/>
              <a:gd name="connsiteX114" fmla="*/ 373273 h 605239"/>
              <a:gd name="connsiteY114" fmla="*/ 373273 h 605239"/>
              <a:gd name="connsiteX115" fmla="*/ 373273 h 605239"/>
              <a:gd name="connsiteY115" fmla="*/ 373273 h 605239"/>
              <a:gd name="connsiteX116" fmla="*/ 373273 h 605239"/>
              <a:gd name="connsiteY116" fmla="*/ 373273 h 605239"/>
              <a:gd name="connsiteX117" fmla="*/ 373273 h 605239"/>
              <a:gd name="connsiteY117" fmla="*/ 373273 h 605239"/>
              <a:gd name="connsiteX118" fmla="*/ 373273 h 605239"/>
              <a:gd name="connsiteY118" fmla="*/ 373273 h 605239"/>
              <a:gd name="connsiteX119" fmla="*/ 373273 h 605239"/>
              <a:gd name="connsiteY119" fmla="*/ 373273 h 605239"/>
              <a:gd name="connsiteX120" fmla="*/ 373273 h 605239"/>
              <a:gd name="connsiteY120" fmla="*/ 373273 h 605239"/>
              <a:gd name="connsiteX121" fmla="*/ 373273 h 605239"/>
              <a:gd name="connsiteY121" fmla="*/ 373273 h 605239"/>
              <a:gd name="connsiteX122" fmla="*/ 373273 h 605239"/>
              <a:gd name="connsiteY122" fmla="*/ 373273 h 605239"/>
              <a:gd name="connsiteX123" fmla="*/ 373273 h 605239"/>
              <a:gd name="connsiteY123" fmla="*/ 373273 h 605239"/>
              <a:gd name="connsiteX124" fmla="*/ 373273 h 605239"/>
              <a:gd name="connsiteY124" fmla="*/ 373273 h 605239"/>
              <a:gd name="connsiteX125" fmla="*/ 373273 h 605239"/>
              <a:gd name="connsiteY125" fmla="*/ 373273 h 605239"/>
              <a:gd name="connsiteX126" fmla="*/ 373273 h 605239"/>
              <a:gd name="connsiteY126" fmla="*/ 373273 h 605239"/>
              <a:gd name="connsiteX127" fmla="*/ 373273 h 605239"/>
              <a:gd name="connsiteY127" fmla="*/ 373273 h 605239"/>
              <a:gd name="connsiteX128" fmla="*/ 373273 h 605239"/>
              <a:gd name="connsiteY128" fmla="*/ 373273 h 605239"/>
              <a:gd name="connsiteX129" fmla="*/ 373273 h 605239"/>
              <a:gd name="connsiteY12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593733" h="606309">
                <a:moveTo>
                  <a:pt x="353250" y="302855"/>
                </a:moveTo>
                <a:cubicBezTo>
                  <a:pt x="318468" y="302855"/>
                  <a:pt x="290232" y="331146"/>
                  <a:pt x="290232" y="365879"/>
                </a:cubicBezTo>
                <a:cubicBezTo>
                  <a:pt x="290232" y="374189"/>
                  <a:pt x="296964" y="380912"/>
                  <a:pt x="305285" y="380912"/>
                </a:cubicBezTo>
                <a:cubicBezTo>
                  <a:pt x="313607" y="380912"/>
                  <a:pt x="320338" y="374189"/>
                  <a:pt x="320338" y="365879"/>
                </a:cubicBezTo>
                <a:cubicBezTo>
                  <a:pt x="320338" y="347672"/>
                  <a:pt x="335111" y="333014"/>
                  <a:pt x="353250" y="333014"/>
                </a:cubicBezTo>
                <a:cubicBezTo>
                  <a:pt x="361665" y="333014"/>
                  <a:pt x="368397" y="326291"/>
                  <a:pt x="368397" y="317888"/>
                </a:cubicBezTo>
                <a:cubicBezTo>
                  <a:pt x="368397" y="309578"/>
                  <a:pt x="361665" y="302855"/>
                  <a:pt x="353250" y="302855"/>
                </a:cubicBezTo>
                <a:close/>
                <a:moveTo>
                  <a:pt x="353250" y="265041"/>
                </a:moveTo>
                <a:cubicBezTo>
                  <a:pt x="409163" y="265041"/>
                  <a:pt x="454229" y="310232"/>
                  <a:pt x="454229" y="365879"/>
                </a:cubicBezTo>
                <a:cubicBezTo>
                  <a:pt x="454229" y="421527"/>
                  <a:pt x="408976" y="466717"/>
                  <a:pt x="353250" y="466717"/>
                </a:cubicBezTo>
                <a:cubicBezTo>
                  <a:pt x="297525" y="466717"/>
                  <a:pt x="252271" y="421527"/>
                  <a:pt x="252271" y="365879"/>
                </a:cubicBezTo>
                <a:cubicBezTo>
                  <a:pt x="252271" y="310232"/>
                  <a:pt x="297431" y="265041"/>
                  <a:pt x="353250" y="265041"/>
                </a:cubicBezTo>
                <a:close/>
                <a:moveTo>
                  <a:pt x="427779" y="133781"/>
                </a:moveTo>
                <a:cubicBezTo>
                  <a:pt x="432818" y="131960"/>
                  <a:pt x="438547" y="132054"/>
                  <a:pt x="443784" y="134482"/>
                </a:cubicBezTo>
                <a:lnTo>
                  <a:pt x="473245" y="148209"/>
                </a:lnTo>
                <a:cubicBezTo>
                  <a:pt x="483720" y="153158"/>
                  <a:pt x="488209" y="165671"/>
                  <a:pt x="483346" y="176130"/>
                </a:cubicBezTo>
                <a:lnTo>
                  <a:pt x="470252" y="203957"/>
                </a:lnTo>
                <a:cubicBezTo>
                  <a:pt x="492231" y="219646"/>
                  <a:pt x="511123" y="240003"/>
                  <a:pt x="525526" y="264095"/>
                </a:cubicBezTo>
                <a:lnTo>
                  <a:pt x="554426" y="253636"/>
                </a:lnTo>
                <a:cubicBezTo>
                  <a:pt x="565368" y="249714"/>
                  <a:pt x="577340" y="255411"/>
                  <a:pt x="581361" y="266243"/>
                </a:cubicBezTo>
                <a:lnTo>
                  <a:pt x="592491" y="296592"/>
                </a:lnTo>
                <a:cubicBezTo>
                  <a:pt x="596419" y="307612"/>
                  <a:pt x="590714" y="319564"/>
                  <a:pt x="579865" y="323486"/>
                </a:cubicBezTo>
                <a:lnTo>
                  <a:pt x="550965" y="333945"/>
                </a:lnTo>
                <a:cubicBezTo>
                  <a:pt x="555455" y="361586"/>
                  <a:pt x="553958" y="389414"/>
                  <a:pt x="547224" y="415561"/>
                </a:cubicBezTo>
                <a:lnTo>
                  <a:pt x="575095" y="428634"/>
                </a:lnTo>
                <a:cubicBezTo>
                  <a:pt x="585570" y="433490"/>
                  <a:pt x="590059" y="445910"/>
                  <a:pt x="585102" y="456649"/>
                </a:cubicBezTo>
                <a:lnTo>
                  <a:pt x="571354" y="485970"/>
                </a:lnTo>
                <a:cubicBezTo>
                  <a:pt x="566397" y="496429"/>
                  <a:pt x="553958" y="500911"/>
                  <a:pt x="543483" y="496056"/>
                </a:cubicBezTo>
                <a:lnTo>
                  <a:pt x="515238" y="482982"/>
                </a:lnTo>
                <a:cubicBezTo>
                  <a:pt x="499526" y="504833"/>
                  <a:pt x="479137" y="523510"/>
                  <a:pt x="455007" y="537704"/>
                </a:cubicBezTo>
                <a:lnTo>
                  <a:pt x="465763" y="567026"/>
                </a:lnTo>
                <a:cubicBezTo>
                  <a:pt x="469784" y="578045"/>
                  <a:pt x="463986" y="589997"/>
                  <a:pt x="453137" y="593919"/>
                </a:cubicBezTo>
                <a:lnTo>
                  <a:pt x="422741" y="605032"/>
                </a:lnTo>
                <a:cubicBezTo>
                  <a:pt x="411798" y="609047"/>
                  <a:pt x="399827" y="603258"/>
                  <a:pt x="395805" y="592425"/>
                </a:cubicBezTo>
                <a:lnTo>
                  <a:pt x="385050" y="562823"/>
                </a:lnTo>
                <a:cubicBezTo>
                  <a:pt x="357646" y="567212"/>
                  <a:pt x="330056" y="565718"/>
                  <a:pt x="304149" y="558995"/>
                </a:cubicBezTo>
                <a:lnTo>
                  <a:pt x="290682" y="587756"/>
                </a:lnTo>
                <a:cubicBezTo>
                  <a:pt x="285725" y="598215"/>
                  <a:pt x="273192" y="602697"/>
                  <a:pt x="262717" y="597841"/>
                </a:cubicBezTo>
                <a:lnTo>
                  <a:pt x="233350" y="584114"/>
                </a:lnTo>
                <a:cubicBezTo>
                  <a:pt x="222875" y="579165"/>
                  <a:pt x="218385" y="566652"/>
                  <a:pt x="223249" y="556193"/>
                </a:cubicBezTo>
                <a:lnTo>
                  <a:pt x="236810" y="527338"/>
                </a:lnTo>
                <a:cubicBezTo>
                  <a:pt x="215112" y="511650"/>
                  <a:pt x="196407" y="491480"/>
                  <a:pt x="182284" y="467668"/>
                </a:cubicBezTo>
                <a:lnTo>
                  <a:pt x="152169" y="478687"/>
                </a:lnTo>
                <a:cubicBezTo>
                  <a:pt x="141133" y="482609"/>
                  <a:pt x="129161" y="476912"/>
                  <a:pt x="125233" y="466080"/>
                </a:cubicBezTo>
                <a:lnTo>
                  <a:pt x="114104" y="435731"/>
                </a:lnTo>
                <a:cubicBezTo>
                  <a:pt x="110082" y="424712"/>
                  <a:pt x="115881" y="412759"/>
                  <a:pt x="126730" y="408837"/>
                </a:cubicBezTo>
                <a:lnTo>
                  <a:pt x="156845" y="397818"/>
                </a:lnTo>
                <a:cubicBezTo>
                  <a:pt x="153852" y="379422"/>
                  <a:pt x="153478" y="361026"/>
                  <a:pt x="155629" y="342910"/>
                </a:cubicBezTo>
                <a:lnTo>
                  <a:pt x="158622" y="343097"/>
                </a:lnTo>
                <a:cubicBezTo>
                  <a:pt x="181162" y="344030"/>
                  <a:pt x="200522" y="327408"/>
                  <a:pt x="203141" y="305370"/>
                </a:cubicBezTo>
                <a:cubicBezTo>
                  <a:pt x="207723" y="303876"/>
                  <a:pt x="212119" y="302195"/>
                  <a:pt x="216515" y="300515"/>
                </a:cubicBezTo>
                <a:cubicBezTo>
                  <a:pt x="220349" y="304063"/>
                  <a:pt x="224745" y="306958"/>
                  <a:pt x="229609" y="308919"/>
                </a:cubicBezTo>
                <a:cubicBezTo>
                  <a:pt x="219227" y="330957"/>
                  <a:pt x="214831" y="355983"/>
                  <a:pt x="217824" y="381943"/>
                </a:cubicBezTo>
                <a:cubicBezTo>
                  <a:pt x="226709" y="456462"/>
                  <a:pt x="294329" y="509876"/>
                  <a:pt x="368963" y="501192"/>
                </a:cubicBezTo>
                <a:cubicBezTo>
                  <a:pt x="443691" y="492320"/>
                  <a:pt x="497188" y="424899"/>
                  <a:pt x="488490" y="350287"/>
                </a:cubicBezTo>
                <a:cubicBezTo>
                  <a:pt x="479605" y="275675"/>
                  <a:pt x="411985" y="222260"/>
                  <a:pt x="337351" y="231038"/>
                </a:cubicBezTo>
                <a:cubicBezTo>
                  <a:pt x="324632" y="232532"/>
                  <a:pt x="312473" y="235707"/>
                  <a:pt x="301156" y="240376"/>
                </a:cubicBezTo>
                <a:cubicBezTo>
                  <a:pt x="299660" y="236268"/>
                  <a:pt x="297509" y="232345"/>
                  <a:pt x="294797" y="228890"/>
                </a:cubicBezTo>
                <a:cubicBezTo>
                  <a:pt x="297041" y="224688"/>
                  <a:pt x="299005" y="220393"/>
                  <a:pt x="300782" y="216097"/>
                </a:cubicBezTo>
                <a:cubicBezTo>
                  <a:pt x="311164" y="215817"/>
                  <a:pt x="320891" y="211802"/>
                  <a:pt x="328466" y="204891"/>
                </a:cubicBezTo>
                <a:cubicBezTo>
                  <a:pt x="336977" y="197141"/>
                  <a:pt x="341934" y="186589"/>
                  <a:pt x="342402" y="175103"/>
                </a:cubicBezTo>
                <a:lnTo>
                  <a:pt x="342776" y="166978"/>
                </a:lnTo>
                <a:cubicBezTo>
                  <a:pt x="363164" y="165764"/>
                  <a:pt x="383460" y="167912"/>
                  <a:pt x="402820" y="172768"/>
                </a:cubicBezTo>
                <a:lnTo>
                  <a:pt x="415913" y="144567"/>
                </a:lnTo>
                <a:cubicBezTo>
                  <a:pt x="418392" y="139338"/>
                  <a:pt x="422741" y="135602"/>
                  <a:pt x="427779" y="133781"/>
                </a:cubicBezTo>
                <a:close/>
                <a:moveTo>
                  <a:pt x="159906" y="88589"/>
                </a:moveTo>
                <a:cubicBezTo>
                  <a:pt x="142487" y="87818"/>
                  <a:pt x="124764" y="93678"/>
                  <a:pt x="110828" y="106378"/>
                </a:cubicBezTo>
                <a:cubicBezTo>
                  <a:pt x="96145" y="119731"/>
                  <a:pt x="88663" y="138127"/>
                  <a:pt x="88663" y="156523"/>
                </a:cubicBezTo>
                <a:cubicBezTo>
                  <a:pt x="88663" y="172958"/>
                  <a:pt x="94555" y="189393"/>
                  <a:pt x="106526" y="202467"/>
                </a:cubicBezTo>
                <a:cubicBezTo>
                  <a:pt x="131965" y="230294"/>
                  <a:pt x="175081" y="232162"/>
                  <a:pt x="202764" y="206762"/>
                </a:cubicBezTo>
                <a:cubicBezTo>
                  <a:pt x="217448" y="193409"/>
                  <a:pt x="224930" y="175013"/>
                  <a:pt x="224930" y="156523"/>
                </a:cubicBezTo>
                <a:cubicBezTo>
                  <a:pt x="224930" y="140088"/>
                  <a:pt x="219132" y="123653"/>
                  <a:pt x="207160" y="110580"/>
                </a:cubicBezTo>
                <a:cubicBezTo>
                  <a:pt x="194441" y="96760"/>
                  <a:pt x="177325" y="89359"/>
                  <a:pt x="159906" y="88589"/>
                </a:cubicBezTo>
                <a:close/>
                <a:moveTo>
                  <a:pt x="153289" y="17"/>
                </a:moveTo>
                <a:lnTo>
                  <a:pt x="173678" y="951"/>
                </a:lnTo>
                <a:cubicBezTo>
                  <a:pt x="180786" y="1325"/>
                  <a:pt x="186304" y="7114"/>
                  <a:pt x="186304" y="14118"/>
                </a:cubicBezTo>
                <a:lnTo>
                  <a:pt x="186304" y="14771"/>
                </a:lnTo>
                <a:lnTo>
                  <a:pt x="185462" y="34755"/>
                </a:lnTo>
                <a:cubicBezTo>
                  <a:pt x="201923" y="38677"/>
                  <a:pt x="217729" y="45774"/>
                  <a:pt x="231851" y="56232"/>
                </a:cubicBezTo>
                <a:lnTo>
                  <a:pt x="246535" y="42786"/>
                </a:lnTo>
                <a:cubicBezTo>
                  <a:pt x="251866" y="37930"/>
                  <a:pt x="260283" y="38303"/>
                  <a:pt x="265240" y="43626"/>
                </a:cubicBezTo>
                <a:lnTo>
                  <a:pt x="279082" y="58660"/>
                </a:lnTo>
                <a:cubicBezTo>
                  <a:pt x="281420" y="61275"/>
                  <a:pt x="282542" y="64450"/>
                  <a:pt x="282542" y="67625"/>
                </a:cubicBezTo>
                <a:cubicBezTo>
                  <a:pt x="282542" y="71173"/>
                  <a:pt x="281233" y="74722"/>
                  <a:pt x="278334" y="77337"/>
                </a:cubicBezTo>
                <a:lnTo>
                  <a:pt x="263744" y="90690"/>
                </a:lnTo>
                <a:cubicBezTo>
                  <a:pt x="273096" y="105537"/>
                  <a:pt x="278988" y="121973"/>
                  <a:pt x="281420" y="138781"/>
                </a:cubicBezTo>
                <a:lnTo>
                  <a:pt x="301061" y="139621"/>
                </a:lnTo>
                <a:cubicBezTo>
                  <a:pt x="308169" y="139995"/>
                  <a:pt x="313593" y="145878"/>
                  <a:pt x="313593" y="152788"/>
                </a:cubicBezTo>
                <a:lnTo>
                  <a:pt x="313593" y="153442"/>
                </a:lnTo>
                <a:lnTo>
                  <a:pt x="312751" y="173892"/>
                </a:lnTo>
                <a:cubicBezTo>
                  <a:pt x="312377" y="181083"/>
                  <a:pt x="306298" y="186779"/>
                  <a:pt x="298910" y="186405"/>
                </a:cubicBezTo>
                <a:lnTo>
                  <a:pt x="279456" y="185565"/>
                </a:lnTo>
                <a:cubicBezTo>
                  <a:pt x="275622" y="202093"/>
                  <a:pt x="268327" y="218061"/>
                  <a:pt x="257758" y="232162"/>
                </a:cubicBezTo>
                <a:lnTo>
                  <a:pt x="270852" y="246449"/>
                </a:lnTo>
                <a:cubicBezTo>
                  <a:pt x="273190" y="249064"/>
                  <a:pt x="274312" y="252145"/>
                  <a:pt x="274312" y="255414"/>
                </a:cubicBezTo>
                <a:cubicBezTo>
                  <a:pt x="274312" y="258869"/>
                  <a:pt x="273003" y="262511"/>
                  <a:pt x="270104" y="265126"/>
                </a:cubicBezTo>
                <a:lnTo>
                  <a:pt x="255046" y="278946"/>
                </a:lnTo>
                <a:cubicBezTo>
                  <a:pt x="249621" y="283802"/>
                  <a:pt x="241297" y="283428"/>
                  <a:pt x="236340" y="278106"/>
                </a:cubicBezTo>
                <a:lnTo>
                  <a:pt x="223247" y="263724"/>
                </a:lnTo>
                <a:cubicBezTo>
                  <a:pt x="208282" y="272970"/>
                  <a:pt x="191635" y="278853"/>
                  <a:pt x="174800" y="281187"/>
                </a:cubicBezTo>
                <a:lnTo>
                  <a:pt x="173958" y="300610"/>
                </a:lnTo>
                <a:cubicBezTo>
                  <a:pt x="173584" y="307801"/>
                  <a:pt x="167505" y="313590"/>
                  <a:pt x="160117" y="313217"/>
                </a:cubicBezTo>
                <a:lnTo>
                  <a:pt x="139634" y="312283"/>
                </a:lnTo>
                <a:cubicBezTo>
                  <a:pt x="132526" y="311909"/>
                  <a:pt x="127102" y="306120"/>
                  <a:pt x="127102" y="299116"/>
                </a:cubicBezTo>
                <a:lnTo>
                  <a:pt x="127102" y="298463"/>
                </a:lnTo>
                <a:lnTo>
                  <a:pt x="128037" y="279039"/>
                </a:lnTo>
                <a:cubicBezTo>
                  <a:pt x="111577" y="275211"/>
                  <a:pt x="95771" y="267834"/>
                  <a:pt x="81648" y="257281"/>
                </a:cubicBezTo>
                <a:lnTo>
                  <a:pt x="67058" y="270635"/>
                </a:lnTo>
                <a:cubicBezTo>
                  <a:pt x="61727" y="275491"/>
                  <a:pt x="53403" y="275117"/>
                  <a:pt x="48353" y="269701"/>
                </a:cubicBezTo>
                <a:lnTo>
                  <a:pt x="34511" y="254667"/>
                </a:lnTo>
                <a:cubicBezTo>
                  <a:pt x="32173" y="252052"/>
                  <a:pt x="31051" y="248970"/>
                  <a:pt x="31051" y="245702"/>
                </a:cubicBezTo>
                <a:cubicBezTo>
                  <a:pt x="31051" y="242247"/>
                  <a:pt x="32453" y="238605"/>
                  <a:pt x="35259" y="235990"/>
                </a:cubicBezTo>
                <a:lnTo>
                  <a:pt x="50036" y="222544"/>
                </a:lnTo>
                <a:cubicBezTo>
                  <a:pt x="40777" y="207696"/>
                  <a:pt x="35072" y="191261"/>
                  <a:pt x="32640" y="174639"/>
                </a:cubicBezTo>
                <a:lnTo>
                  <a:pt x="12626" y="173705"/>
                </a:lnTo>
                <a:cubicBezTo>
                  <a:pt x="5518" y="173332"/>
                  <a:pt x="0" y="167542"/>
                  <a:pt x="0" y="160539"/>
                </a:cubicBezTo>
                <a:lnTo>
                  <a:pt x="0" y="159885"/>
                </a:lnTo>
                <a:lnTo>
                  <a:pt x="842" y="139621"/>
                </a:lnTo>
                <a:cubicBezTo>
                  <a:pt x="1216" y="132431"/>
                  <a:pt x="7388" y="126642"/>
                  <a:pt x="14683" y="127015"/>
                </a:cubicBezTo>
                <a:lnTo>
                  <a:pt x="34885" y="127949"/>
                </a:lnTo>
                <a:cubicBezTo>
                  <a:pt x="38813" y="111514"/>
                  <a:pt x="46015" y="95826"/>
                  <a:pt x="56490" y="81819"/>
                </a:cubicBezTo>
                <a:lnTo>
                  <a:pt x="42741" y="66878"/>
                </a:lnTo>
                <a:cubicBezTo>
                  <a:pt x="40403" y="64263"/>
                  <a:pt x="39281" y="61182"/>
                  <a:pt x="39281" y="57913"/>
                </a:cubicBezTo>
                <a:cubicBezTo>
                  <a:pt x="39281" y="54458"/>
                  <a:pt x="40684" y="50816"/>
                  <a:pt x="43490" y="48202"/>
                </a:cubicBezTo>
                <a:lnTo>
                  <a:pt x="58641" y="34381"/>
                </a:lnTo>
                <a:cubicBezTo>
                  <a:pt x="63972" y="29526"/>
                  <a:pt x="72296" y="29899"/>
                  <a:pt x="77346" y="35315"/>
                </a:cubicBezTo>
                <a:lnTo>
                  <a:pt x="90627" y="50256"/>
                </a:lnTo>
                <a:cubicBezTo>
                  <a:pt x="105591" y="41011"/>
                  <a:pt x="121864" y="35128"/>
                  <a:pt x="138512" y="32794"/>
                </a:cubicBezTo>
                <a:lnTo>
                  <a:pt x="139447" y="12624"/>
                </a:lnTo>
                <a:cubicBezTo>
                  <a:pt x="139821" y="5433"/>
                  <a:pt x="145901" y="-356"/>
                  <a:pt x="153289" y="1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1" name="îṣḻïḓè">
            <a:extLst>
              <a:ext uri="{FF2B5EF4-FFF2-40B4-BE49-F238E27FC236}">
                <a16:creationId xmlns:a16="http://schemas.microsoft.com/office/drawing/2014/main" id="{30C8A656-A69C-4844-9B4C-38593487F7D6}"/>
              </a:ext>
            </a:extLst>
          </p:cNvPr>
          <p:cNvSpPr/>
          <p:nvPr/>
        </p:nvSpPr>
        <p:spPr bwMode="auto">
          <a:xfrm>
            <a:off x="3297227" y="1914953"/>
            <a:ext cx="180733" cy="180382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81741" h="580612">
                <a:moveTo>
                  <a:pt x="291612" y="187916"/>
                </a:moveTo>
                <a:cubicBezTo>
                  <a:pt x="304876" y="187916"/>
                  <a:pt x="315648" y="198758"/>
                  <a:pt x="315648" y="212088"/>
                </a:cubicBezTo>
                <a:lnTo>
                  <a:pt x="315648" y="491836"/>
                </a:lnTo>
                <a:lnTo>
                  <a:pt x="331227" y="473974"/>
                </a:lnTo>
                <a:cubicBezTo>
                  <a:pt x="339863" y="463932"/>
                  <a:pt x="355086" y="462866"/>
                  <a:pt x="365145" y="471574"/>
                </a:cubicBezTo>
                <a:cubicBezTo>
                  <a:pt x="375116" y="480372"/>
                  <a:pt x="376184" y="495657"/>
                  <a:pt x="367460" y="505699"/>
                </a:cubicBezTo>
                <a:lnTo>
                  <a:pt x="309773" y="572348"/>
                </a:lnTo>
                <a:cubicBezTo>
                  <a:pt x="305143" y="577502"/>
                  <a:pt x="298556" y="580612"/>
                  <a:pt x="291612" y="580612"/>
                </a:cubicBezTo>
                <a:cubicBezTo>
                  <a:pt x="284579" y="580612"/>
                  <a:pt x="278080" y="577680"/>
                  <a:pt x="273451" y="572348"/>
                </a:cubicBezTo>
                <a:lnTo>
                  <a:pt x="215764" y="505699"/>
                </a:lnTo>
                <a:cubicBezTo>
                  <a:pt x="207039" y="495657"/>
                  <a:pt x="208108" y="480372"/>
                  <a:pt x="218078" y="471574"/>
                </a:cubicBezTo>
                <a:cubicBezTo>
                  <a:pt x="228049" y="462866"/>
                  <a:pt x="243272" y="463932"/>
                  <a:pt x="252085" y="473974"/>
                </a:cubicBezTo>
                <a:lnTo>
                  <a:pt x="267486" y="491747"/>
                </a:lnTo>
                <a:lnTo>
                  <a:pt x="267486" y="212088"/>
                </a:lnTo>
                <a:cubicBezTo>
                  <a:pt x="267486" y="198758"/>
                  <a:pt x="278258" y="187916"/>
                  <a:pt x="291612" y="187916"/>
                </a:cubicBezTo>
                <a:close/>
                <a:moveTo>
                  <a:pt x="329499" y="0"/>
                </a:moveTo>
                <a:cubicBezTo>
                  <a:pt x="426248" y="0"/>
                  <a:pt x="465322" y="80426"/>
                  <a:pt x="473332" y="108153"/>
                </a:cubicBezTo>
                <a:cubicBezTo>
                  <a:pt x="535280" y="120684"/>
                  <a:pt x="581474" y="175693"/>
                  <a:pt x="581741" y="241190"/>
                </a:cubicBezTo>
                <a:cubicBezTo>
                  <a:pt x="581741" y="315840"/>
                  <a:pt x="521306" y="376537"/>
                  <a:pt x="446987" y="376537"/>
                </a:cubicBezTo>
                <a:lnTo>
                  <a:pt x="372756" y="376537"/>
                </a:lnTo>
                <a:cubicBezTo>
                  <a:pt x="359316" y="376537"/>
                  <a:pt x="348546" y="365606"/>
                  <a:pt x="348546" y="352276"/>
                </a:cubicBezTo>
                <a:cubicBezTo>
                  <a:pt x="348546" y="338857"/>
                  <a:pt x="359316" y="327926"/>
                  <a:pt x="372756" y="327926"/>
                </a:cubicBezTo>
                <a:lnTo>
                  <a:pt x="446987" y="327926"/>
                </a:lnTo>
                <a:cubicBezTo>
                  <a:pt x="494605" y="327926"/>
                  <a:pt x="533322" y="289090"/>
                  <a:pt x="533322" y="241190"/>
                </a:cubicBezTo>
                <a:cubicBezTo>
                  <a:pt x="533322" y="195334"/>
                  <a:pt x="497720" y="157298"/>
                  <a:pt x="452238" y="154632"/>
                </a:cubicBezTo>
                <a:cubicBezTo>
                  <a:pt x="440934" y="153921"/>
                  <a:pt x="431589" y="145478"/>
                  <a:pt x="429809" y="134192"/>
                </a:cubicBezTo>
                <a:cubicBezTo>
                  <a:pt x="421709" y="84692"/>
                  <a:pt x="379609" y="48789"/>
                  <a:pt x="329677" y="48789"/>
                </a:cubicBezTo>
                <a:cubicBezTo>
                  <a:pt x="279567" y="48789"/>
                  <a:pt x="238001" y="84781"/>
                  <a:pt x="229457" y="134192"/>
                </a:cubicBezTo>
                <a:cubicBezTo>
                  <a:pt x="226520" y="151521"/>
                  <a:pt x="212190" y="162807"/>
                  <a:pt x="192964" y="151077"/>
                </a:cubicBezTo>
                <a:cubicBezTo>
                  <a:pt x="178011" y="141834"/>
                  <a:pt x="160922" y="136947"/>
                  <a:pt x="143299" y="136947"/>
                </a:cubicBezTo>
                <a:cubicBezTo>
                  <a:pt x="90964" y="136947"/>
                  <a:pt x="48419" y="179693"/>
                  <a:pt x="48419" y="232303"/>
                </a:cubicBezTo>
                <a:cubicBezTo>
                  <a:pt x="48419" y="284913"/>
                  <a:pt x="90964" y="327748"/>
                  <a:pt x="143299" y="327748"/>
                </a:cubicBezTo>
                <a:lnTo>
                  <a:pt x="218776" y="327748"/>
                </a:lnTo>
                <a:cubicBezTo>
                  <a:pt x="232216" y="327748"/>
                  <a:pt x="242986" y="338590"/>
                  <a:pt x="242986" y="352009"/>
                </a:cubicBezTo>
                <a:cubicBezTo>
                  <a:pt x="242986" y="365429"/>
                  <a:pt x="232216" y="376271"/>
                  <a:pt x="218776" y="376271"/>
                </a:cubicBezTo>
                <a:lnTo>
                  <a:pt x="143299" y="376271"/>
                </a:lnTo>
                <a:cubicBezTo>
                  <a:pt x="64262" y="376271"/>
                  <a:pt x="0" y="311574"/>
                  <a:pt x="0" y="232214"/>
                </a:cubicBezTo>
                <a:cubicBezTo>
                  <a:pt x="0" y="152854"/>
                  <a:pt x="64262" y="88158"/>
                  <a:pt x="143210" y="88158"/>
                </a:cubicBezTo>
                <a:cubicBezTo>
                  <a:pt x="159231" y="88158"/>
                  <a:pt x="174896" y="90735"/>
                  <a:pt x="189849" y="95978"/>
                </a:cubicBezTo>
                <a:cubicBezTo>
                  <a:pt x="198749" y="73050"/>
                  <a:pt x="238891" y="0"/>
                  <a:pt x="329499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2" name="iş1iḑe">
            <a:extLst>
              <a:ext uri="{FF2B5EF4-FFF2-40B4-BE49-F238E27FC236}">
                <a16:creationId xmlns:a16="http://schemas.microsoft.com/office/drawing/2014/main" id="{79D5FAF9-096B-4C61-A299-6A26A276E128}"/>
              </a:ext>
            </a:extLst>
          </p:cNvPr>
          <p:cNvSpPr/>
          <p:nvPr/>
        </p:nvSpPr>
        <p:spPr bwMode="auto">
          <a:xfrm>
            <a:off x="3039441" y="2222559"/>
            <a:ext cx="180733" cy="180460"/>
          </a:xfrm>
          <a:custGeom>
            <a:avLst/>
            <a:gdLst>
              <a:gd name="connsiteX0" fmla="*/ 303820 w 607639"/>
              <a:gd name="connsiteY0" fmla="*/ 278099 h 606722"/>
              <a:gd name="connsiteX1" fmla="*/ 329118 w 607639"/>
              <a:gd name="connsiteY1" fmla="*/ 303362 h 606722"/>
              <a:gd name="connsiteX2" fmla="*/ 303820 w 607639"/>
              <a:gd name="connsiteY2" fmla="*/ 328625 h 606722"/>
              <a:gd name="connsiteX3" fmla="*/ 278522 w 607639"/>
              <a:gd name="connsiteY3" fmla="*/ 303362 h 606722"/>
              <a:gd name="connsiteX4" fmla="*/ 303820 w 607639"/>
              <a:gd name="connsiteY4" fmla="*/ 278099 h 606722"/>
              <a:gd name="connsiteX5" fmla="*/ 303775 w 607639"/>
              <a:gd name="connsiteY5" fmla="*/ 252735 h 606722"/>
              <a:gd name="connsiteX6" fmla="*/ 253140 w 607639"/>
              <a:gd name="connsiteY6" fmla="*/ 303317 h 606722"/>
              <a:gd name="connsiteX7" fmla="*/ 303775 w 607639"/>
              <a:gd name="connsiteY7" fmla="*/ 353900 h 606722"/>
              <a:gd name="connsiteX8" fmla="*/ 354410 w 607639"/>
              <a:gd name="connsiteY8" fmla="*/ 303317 h 606722"/>
              <a:gd name="connsiteX9" fmla="*/ 303775 w 607639"/>
              <a:gd name="connsiteY9" fmla="*/ 252735 h 606722"/>
              <a:gd name="connsiteX10" fmla="*/ 303775 w 607639"/>
              <a:gd name="connsiteY10" fmla="*/ 202241 h 606722"/>
              <a:gd name="connsiteX11" fmla="*/ 405045 w 607639"/>
              <a:gd name="connsiteY11" fmla="*/ 303317 h 606722"/>
              <a:gd name="connsiteX12" fmla="*/ 303775 w 607639"/>
              <a:gd name="connsiteY12" fmla="*/ 404482 h 606722"/>
              <a:gd name="connsiteX13" fmla="*/ 202593 w 607639"/>
              <a:gd name="connsiteY13" fmla="*/ 303317 h 606722"/>
              <a:gd name="connsiteX14" fmla="*/ 303775 w 607639"/>
              <a:gd name="connsiteY14" fmla="*/ 202241 h 606722"/>
              <a:gd name="connsiteX15" fmla="*/ 303775 w 607639"/>
              <a:gd name="connsiteY15" fmla="*/ 151703 h 606722"/>
              <a:gd name="connsiteX16" fmla="*/ 151932 w 607639"/>
              <a:gd name="connsiteY16" fmla="*/ 303317 h 606722"/>
              <a:gd name="connsiteX17" fmla="*/ 303775 w 607639"/>
              <a:gd name="connsiteY17" fmla="*/ 455019 h 606722"/>
              <a:gd name="connsiteX18" fmla="*/ 455707 w 607639"/>
              <a:gd name="connsiteY18" fmla="*/ 303317 h 606722"/>
              <a:gd name="connsiteX19" fmla="*/ 303775 w 607639"/>
              <a:gd name="connsiteY19" fmla="*/ 151703 h 606722"/>
              <a:gd name="connsiteX20" fmla="*/ 253131 w 607639"/>
              <a:gd name="connsiteY20" fmla="*/ 0 h 606722"/>
              <a:gd name="connsiteX21" fmla="*/ 354419 w 607639"/>
              <a:gd name="connsiteY21" fmla="*/ 0 h 606722"/>
              <a:gd name="connsiteX22" fmla="*/ 379786 w 607639"/>
              <a:gd name="connsiteY22" fmla="*/ 25239 h 606722"/>
              <a:gd name="connsiteX23" fmla="*/ 379786 w 607639"/>
              <a:gd name="connsiteY23" fmla="*/ 62387 h 606722"/>
              <a:gd name="connsiteX24" fmla="*/ 420639 w 607639"/>
              <a:gd name="connsiteY24" fmla="*/ 79451 h 606722"/>
              <a:gd name="connsiteX25" fmla="*/ 446985 w 607639"/>
              <a:gd name="connsiteY25" fmla="*/ 53145 h 606722"/>
              <a:gd name="connsiteX26" fmla="*/ 482854 w 607639"/>
              <a:gd name="connsiteY26" fmla="*/ 53145 h 606722"/>
              <a:gd name="connsiteX27" fmla="*/ 554414 w 607639"/>
              <a:gd name="connsiteY27" fmla="*/ 124597 h 606722"/>
              <a:gd name="connsiteX28" fmla="*/ 554414 w 607639"/>
              <a:gd name="connsiteY28" fmla="*/ 160323 h 606722"/>
              <a:gd name="connsiteX29" fmla="*/ 528069 w 607639"/>
              <a:gd name="connsiteY29" fmla="*/ 186629 h 606722"/>
              <a:gd name="connsiteX30" fmla="*/ 545158 w 607639"/>
              <a:gd name="connsiteY30" fmla="*/ 227510 h 606722"/>
              <a:gd name="connsiteX31" fmla="*/ 582273 w 607639"/>
              <a:gd name="connsiteY31" fmla="*/ 227510 h 606722"/>
              <a:gd name="connsiteX32" fmla="*/ 607639 w 607639"/>
              <a:gd name="connsiteY32" fmla="*/ 252749 h 606722"/>
              <a:gd name="connsiteX33" fmla="*/ 607639 w 607639"/>
              <a:gd name="connsiteY33" fmla="*/ 353884 h 606722"/>
              <a:gd name="connsiteX34" fmla="*/ 582273 w 607639"/>
              <a:gd name="connsiteY34" fmla="*/ 379212 h 606722"/>
              <a:gd name="connsiteX35" fmla="*/ 545158 w 607639"/>
              <a:gd name="connsiteY35" fmla="*/ 379212 h 606722"/>
              <a:gd name="connsiteX36" fmla="*/ 528069 w 607639"/>
              <a:gd name="connsiteY36" fmla="*/ 420004 h 606722"/>
              <a:gd name="connsiteX37" fmla="*/ 554414 w 607639"/>
              <a:gd name="connsiteY37" fmla="*/ 446310 h 606722"/>
              <a:gd name="connsiteX38" fmla="*/ 554414 w 607639"/>
              <a:gd name="connsiteY38" fmla="*/ 482125 h 606722"/>
              <a:gd name="connsiteX39" fmla="*/ 482854 w 607639"/>
              <a:gd name="connsiteY39" fmla="*/ 553577 h 606722"/>
              <a:gd name="connsiteX40" fmla="*/ 446985 w 607639"/>
              <a:gd name="connsiteY40" fmla="*/ 553577 h 606722"/>
              <a:gd name="connsiteX41" fmla="*/ 420639 w 607639"/>
              <a:gd name="connsiteY41" fmla="*/ 527271 h 606722"/>
              <a:gd name="connsiteX42" fmla="*/ 379786 w 607639"/>
              <a:gd name="connsiteY42" fmla="*/ 544246 h 606722"/>
              <a:gd name="connsiteX43" fmla="*/ 379786 w 607639"/>
              <a:gd name="connsiteY43" fmla="*/ 581394 h 606722"/>
              <a:gd name="connsiteX44" fmla="*/ 354419 w 607639"/>
              <a:gd name="connsiteY44" fmla="*/ 606722 h 606722"/>
              <a:gd name="connsiteX45" fmla="*/ 253131 w 607639"/>
              <a:gd name="connsiteY45" fmla="*/ 606722 h 606722"/>
              <a:gd name="connsiteX46" fmla="*/ 227854 w 607639"/>
              <a:gd name="connsiteY46" fmla="*/ 581394 h 606722"/>
              <a:gd name="connsiteX47" fmla="*/ 227854 w 607639"/>
              <a:gd name="connsiteY47" fmla="*/ 544246 h 606722"/>
              <a:gd name="connsiteX48" fmla="*/ 186911 w 607639"/>
              <a:gd name="connsiteY48" fmla="*/ 527271 h 606722"/>
              <a:gd name="connsiteX49" fmla="*/ 160566 w 607639"/>
              <a:gd name="connsiteY49" fmla="*/ 553577 h 606722"/>
              <a:gd name="connsiteX50" fmla="*/ 124786 w 607639"/>
              <a:gd name="connsiteY50" fmla="*/ 553577 h 606722"/>
              <a:gd name="connsiteX51" fmla="*/ 53225 w 607639"/>
              <a:gd name="connsiteY51" fmla="*/ 482125 h 606722"/>
              <a:gd name="connsiteX52" fmla="*/ 53225 w 607639"/>
              <a:gd name="connsiteY52" fmla="*/ 446310 h 606722"/>
              <a:gd name="connsiteX53" fmla="*/ 79482 w 607639"/>
              <a:gd name="connsiteY53" fmla="*/ 420004 h 606722"/>
              <a:gd name="connsiteX54" fmla="*/ 62482 w 607639"/>
              <a:gd name="connsiteY54" fmla="*/ 379212 h 606722"/>
              <a:gd name="connsiteX55" fmla="*/ 25278 w 607639"/>
              <a:gd name="connsiteY55" fmla="*/ 379212 h 606722"/>
              <a:gd name="connsiteX56" fmla="*/ 0 w 607639"/>
              <a:gd name="connsiteY56" fmla="*/ 353884 h 606722"/>
              <a:gd name="connsiteX57" fmla="*/ 0 w 607639"/>
              <a:gd name="connsiteY57" fmla="*/ 252749 h 606722"/>
              <a:gd name="connsiteX58" fmla="*/ 25278 w 607639"/>
              <a:gd name="connsiteY58" fmla="*/ 227510 h 606722"/>
              <a:gd name="connsiteX59" fmla="*/ 62482 w 607639"/>
              <a:gd name="connsiteY59" fmla="*/ 227510 h 606722"/>
              <a:gd name="connsiteX60" fmla="*/ 79482 w 607639"/>
              <a:gd name="connsiteY60" fmla="*/ 186629 h 606722"/>
              <a:gd name="connsiteX61" fmla="*/ 53225 w 607639"/>
              <a:gd name="connsiteY61" fmla="*/ 160323 h 606722"/>
              <a:gd name="connsiteX62" fmla="*/ 53225 w 607639"/>
              <a:gd name="connsiteY62" fmla="*/ 124597 h 606722"/>
              <a:gd name="connsiteX63" fmla="*/ 124786 w 607639"/>
              <a:gd name="connsiteY63" fmla="*/ 53145 h 606722"/>
              <a:gd name="connsiteX64" fmla="*/ 160566 w 607639"/>
              <a:gd name="connsiteY64" fmla="*/ 53145 h 606722"/>
              <a:gd name="connsiteX65" fmla="*/ 186911 w 607639"/>
              <a:gd name="connsiteY65" fmla="*/ 79451 h 606722"/>
              <a:gd name="connsiteX66" fmla="*/ 227854 w 607639"/>
              <a:gd name="connsiteY66" fmla="*/ 62387 h 606722"/>
              <a:gd name="connsiteX67" fmla="*/ 227854 w 607639"/>
              <a:gd name="connsiteY67" fmla="*/ 25239 h 606722"/>
              <a:gd name="connsiteX68" fmla="*/ 253131 w 607639"/>
              <a:gd name="connsiteY68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07639" h="606722">
                <a:moveTo>
                  <a:pt x="303820" y="278099"/>
                </a:moveTo>
                <a:cubicBezTo>
                  <a:pt x="317792" y="278099"/>
                  <a:pt x="329118" y="289410"/>
                  <a:pt x="329118" y="303362"/>
                </a:cubicBezTo>
                <a:cubicBezTo>
                  <a:pt x="329118" y="317314"/>
                  <a:pt x="317792" y="328625"/>
                  <a:pt x="303820" y="328625"/>
                </a:cubicBezTo>
                <a:cubicBezTo>
                  <a:pt x="289848" y="328625"/>
                  <a:pt x="278522" y="317314"/>
                  <a:pt x="278522" y="303362"/>
                </a:cubicBezTo>
                <a:cubicBezTo>
                  <a:pt x="278522" y="289410"/>
                  <a:pt x="289848" y="278099"/>
                  <a:pt x="303820" y="278099"/>
                </a:cubicBezTo>
                <a:close/>
                <a:moveTo>
                  <a:pt x="303775" y="252735"/>
                </a:moveTo>
                <a:cubicBezTo>
                  <a:pt x="275921" y="252735"/>
                  <a:pt x="253140" y="275492"/>
                  <a:pt x="253140" y="303317"/>
                </a:cubicBezTo>
                <a:cubicBezTo>
                  <a:pt x="253140" y="331231"/>
                  <a:pt x="275921" y="353900"/>
                  <a:pt x="303775" y="353900"/>
                </a:cubicBezTo>
                <a:cubicBezTo>
                  <a:pt x="331718" y="353900"/>
                  <a:pt x="354410" y="331231"/>
                  <a:pt x="354410" y="303317"/>
                </a:cubicBezTo>
                <a:cubicBezTo>
                  <a:pt x="354410" y="275492"/>
                  <a:pt x="331718" y="252735"/>
                  <a:pt x="303775" y="252735"/>
                </a:cubicBezTo>
                <a:close/>
                <a:moveTo>
                  <a:pt x="303775" y="202241"/>
                </a:moveTo>
                <a:cubicBezTo>
                  <a:pt x="359660" y="202241"/>
                  <a:pt x="405045" y="247579"/>
                  <a:pt x="405045" y="303317"/>
                </a:cubicBezTo>
                <a:cubicBezTo>
                  <a:pt x="405045" y="359144"/>
                  <a:pt x="359660" y="404482"/>
                  <a:pt x="303775" y="404482"/>
                </a:cubicBezTo>
                <a:cubicBezTo>
                  <a:pt x="247978" y="404482"/>
                  <a:pt x="202593" y="359144"/>
                  <a:pt x="202593" y="303317"/>
                </a:cubicBezTo>
                <a:cubicBezTo>
                  <a:pt x="202593" y="247579"/>
                  <a:pt x="247978" y="202241"/>
                  <a:pt x="303775" y="202241"/>
                </a:cubicBezTo>
                <a:close/>
                <a:moveTo>
                  <a:pt x="303775" y="151703"/>
                </a:moveTo>
                <a:cubicBezTo>
                  <a:pt x="220021" y="151703"/>
                  <a:pt x="151932" y="219689"/>
                  <a:pt x="151932" y="303317"/>
                </a:cubicBezTo>
                <a:cubicBezTo>
                  <a:pt x="151932" y="387033"/>
                  <a:pt x="220021" y="455019"/>
                  <a:pt x="303775" y="455019"/>
                </a:cubicBezTo>
                <a:cubicBezTo>
                  <a:pt x="387618" y="455019"/>
                  <a:pt x="455707" y="387033"/>
                  <a:pt x="455707" y="303317"/>
                </a:cubicBezTo>
                <a:cubicBezTo>
                  <a:pt x="455707" y="219689"/>
                  <a:pt x="387618" y="151703"/>
                  <a:pt x="303775" y="151703"/>
                </a:cubicBezTo>
                <a:close/>
                <a:moveTo>
                  <a:pt x="253131" y="0"/>
                </a:moveTo>
                <a:lnTo>
                  <a:pt x="354419" y="0"/>
                </a:lnTo>
                <a:cubicBezTo>
                  <a:pt x="368482" y="0"/>
                  <a:pt x="379786" y="11287"/>
                  <a:pt x="379786" y="25239"/>
                </a:cubicBezTo>
                <a:lnTo>
                  <a:pt x="379786" y="62387"/>
                </a:lnTo>
                <a:cubicBezTo>
                  <a:pt x="393849" y="66831"/>
                  <a:pt x="407555" y="72519"/>
                  <a:pt x="420639" y="79451"/>
                </a:cubicBezTo>
                <a:lnTo>
                  <a:pt x="446985" y="53145"/>
                </a:lnTo>
                <a:cubicBezTo>
                  <a:pt x="456953" y="43191"/>
                  <a:pt x="472974" y="43191"/>
                  <a:pt x="482854" y="53145"/>
                </a:cubicBezTo>
                <a:lnTo>
                  <a:pt x="554414" y="124597"/>
                </a:lnTo>
                <a:cubicBezTo>
                  <a:pt x="564294" y="134462"/>
                  <a:pt x="564294" y="150459"/>
                  <a:pt x="554414" y="160323"/>
                </a:cubicBezTo>
                <a:lnTo>
                  <a:pt x="528069" y="186629"/>
                </a:lnTo>
                <a:cubicBezTo>
                  <a:pt x="535011" y="199782"/>
                  <a:pt x="540707" y="213468"/>
                  <a:pt x="545158" y="227510"/>
                </a:cubicBezTo>
                <a:lnTo>
                  <a:pt x="582273" y="227510"/>
                </a:lnTo>
                <a:cubicBezTo>
                  <a:pt x="596336" y="227510"/>
                  <a:pt x="607639" y="238796"/>
                  <a:pt x="607639" y="252749"/>
                </a:cubicBezTo>
                <a:lnTo>
                  <a:pt x="607639" y="353884"/>
                </a:lnTo>
                <a:cubicBezTo>
                  <a:pt x="607639" y="367926"/>
                  <a:pt x="596247" y="379212"/>
                  <a:pt x="582273" y="379212"/>
                </a:cubicBezTo>
                <a:lnTo>
                  <a:pt x="545158" y="379212"/>
                </a:lnTo>
                <a:cubicBezTo>
                  <a:pt x="540707" y="393254"/>
                  <a:pt x="535011" y="406940"/>
                  <a:pt x="528069" y="420004"/>
                </a:cubicBezTo>
                <a:lnTo>
                  <a:pt x="554414" y="446310"/>
                </a:lnTo>
                <a:cubicBezTo>
                  <a:pt x="564294" y="456263"/>
                  <a:pt x="564294" y="472260"/>
                  <a:pt x="554414" y="482125"/>
                </a:cubicBezTo>
                <a:lnTo>
                  <a:pt x="482854" y="553577"/>
                </a:lnTo>
                <a:cubicBezTo>
                  <a:pt x="472974" y="563442"/>
                  <a:pt x="456953" y="563442"/>
                  <a:pt x="446985" y="553577"/>
                </a:cubicBezTo>
                <a:lnTo>
                  <a:pt x="420639" y="527271"/>
                </a:lnTo>
                <a:cubicBezTo>
                  <a:pt x="407555" y="534203"/>
                  <a:pt x="393849" y="539802"/>
                  <a:pt x="379786" y="544246"/>
                </a:cubicBezTo>
                <a:lnTo>
                  <a:pt x="379786" y="581394"/>
                </a:lnTo>
                <a:cubicBezTo>
                  <a:pt x="379786" y="595435"/>
                  <a:pt x="368393" y="606722"/>
                  <a:pt x="354419" y="606722"/>
                </a:cubicBezTo>
                <a:lnTo>
                  <a:pt x="253131" y="606722"/>
                </a:lnTo>
                <a:cubicBezTo>
                  <a:pt x="239157" y="606722"/>
                  <a:pt x="227854" y="595435"/>
                  <a:pt x="227854" y="581394"/>
                </a:cubicBezTo>
                <a:lnTo>
                  <a:pt x="227854" y="544246"/>
                </a:lnTo>
                <a:cubicBezTo>
                  <a:pt x="213791" y="539802"/>
                  <a:pt x="200084" y="534203"/>
                  <a:pt x="186911" y="527271"/>
                </a:cubicBezTo>
                <a:lnTo>
                  <a:pt x="160566" y="553577"/>
                </a:lnTo>
                <a:cubicBezTo>
                  <a:pt x="150686" y="563442"/>
                  <a:pt x="134665" y="563442"/>
                  <a:pt x="124786" y="553577"/>
                </a:cubicBezTo>
                <a:lnTo>
                  <a:pt x="53225" y="482125"/>
                </a:lnTo>
                <a:cubicBezTo>
                  <a:pt x="43257" y="472260"/>
                  <a:pt x="43257" y="456263"/>
                  <a:pt x="53225" y="446310"/>
                </a:cubicBezTo>
                <a:lnTo>
                  <a:pt x="79482" y="420004"/>
                </a:lnTo>
                <a:cubicBezTo>
                  <a:pt x="72629" y="406940"/>
                  <a:pt x="66932" y="393254"/>
                  <a:pt x="62482" y="379212"/>
                </a:cubicBezTo>
                <a:lnTo>
                  <a:pt x="25278" y="379212"/>
                </a:lnTo>
                <a:cubicBezTo>
                  <a:pt x="11304" y="379212"/>
                  <a:pt x="0" y="367926"/>
                  <a:pt x="0" y="353884"/>
                </a:cubicBezTo>
                <a:lnTo>
                  <a:pt x="0" y="252749"/>
                </a:lnTo>
                <a:cubicBezTo>
                  <a:pt x="0" y="238796"/>
                  <a:pt x="11304" y="227510"/>
                  <a:pt x="25278" y="227510"/>
                </a:cubicBezTo>
                <a:lnTo>
                  <a:pt x="62482" y="227510"/>
                </a:lnTo>
                <a:cubicBezTo>
                  <a:pt x="66932" y="213468"/>
                  <a:pt x="72629" y="199782"/>
                  <a:pt x="79482" y="186629"/>
                </a:cubicBezTo>
                <a:lnTo>
                  <a:pt x="53225" y="160323"/>
                </a:lnTo>
                <a:cubicBezTo>
                  <a:pt x="43257" y="150459"/>
                  <a:pt x="43257" y="134462"/>
                  <a:pt x="53225" y="124597"/>
                </a:cubicBezTo>
                <a:lnTo>
                  <a:pt x="124786" y="53145"/>
                </a:lnTo>
                <a:cubicBezTo>
                  <a:pt x="134665" y="43191"/>
                  <a:pt x="150686" y="43191"/>
                  <a:pt x="160566" y="53145"/>
                </a:cubicBezTo>
                <a:lnTo>
                  <a:pt x="186911" y="79451"/>
                </a:lnTo>
                <a:cubicBezTo>
                  <a:pt x="200084" y="72519"/>
                  <a:pt x="213791" y="66831"/>
                  <a:pt x="227854" y="62387"/>
                </a:cubicBezTo>
                <a:lnTo>
                  <a:pt x="227854" y="25239"/>
                </a:lnTo>
                <a:cubicBezTo>
                  <a:pt x="227854" y="11287"/>
                  <a:pt x="239157" y="0"/>
                  <a:pt x="25313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3" name="ïṧľíďê">
            <a:extLst>
              <a:ext uri="{FF2B5EF4-FFF2-40B4-BE49-F238E27FC236}">
                <a16:creationId xmlns:a16="http://schemas.microsoft.com/office/drawing/2014/main" id="{83AC56C8-BB22-4DB6-8372-AA84DFFA3A81}"/>
              </a:ext>
            </a:extLst>
          </p:cNvPr>
          <p:cNvSpPr/>
          <p:nvPr/>
        </p:nvSpPr>
        <p:spPr bwMode="auto">
          <a:xfrm>
            <a:off x="2787460" y="2530216"/>
            <a:ext cx="180733" cy="180437"/>
          </a:xfrm>
          <a:custGeom>
            <a:avLst/>
            <a:gdLst>
              <a:gd name="connsiteX0" fmla="*/ 380418 w 604181"/>
              <a:gd name="connsiteY0" fmla="*/ 268007 h 603193"/>
              <a:gd name="connsiteX1" fmla="*/ 519220 w 604181"/>
              <a:gd name="connsiteY1" fmla="*/ 339187 h 603193"/>
              <a:gd name="connsiteX2" fmla="*/ 519220 w 604181"/>
              <a:gd name="connsiteY2" fmla="*/ 355820 h 603193"/>
              <a:gd name="connsiteX3" fmla="*/ 380418 w 604181"/>
              <a:gd name="connsiteY3" fmla="*/ 426850 h 603193"/>
              <a:gd name="connsiteX4" fmla="*/ 380418 w 604181"/>
              <a:gd name="connsiteY4" fmla="*/ 406320 h 603193"/>
              <a:gd name="connsiteX5" fmla="*/ 498212 w 604181"/>
              <a:gd name="connsiteY5" fmla="*/ 347728 h 603193"/>
              <a:gd name="connsiteX6" fmla="*/ 498212 w 604181"/>
              <a:gd name="connsiteY6" fmla="*/ 347129 h 603193"/>
              <a:gd name="connsiteX7" fmla="*/ 380418 w 604181"/>
              <a:gd name="connsiteY7" fmla="*/ 288687 h 603193"/>
              <a:gd name="connsiteX8" fmla="*/ 216565 w 604181"/>
              <a:gd name="connsiteY8" fmla="*/ 268007 h 603193"/>
              <a:gd name="connsiteX9" fmla="*/ 216565 w 604181"/>
              <a:gd name="connsiteY9" fmla="*/ 288687 h 603193"/>
              <a:gd name="connsiteX10" fmla="*/ 99664 w 604181"/>
              <a:gd name="connsiteY10" fmla="*/ 347129 h 603193"/>
              <a:gd name="connsiteX11" fmla="*/ 99664 w 604181"/>
              <a:gd name="connsiteY11" fmla="*/ 347728 h 603193"/>
              <a:gd name="connsiteX12" fmla="*/ 216565 w 604181"/>
              <a:gd name="connsiteY12" fmla="*/ 406320 h 603193"/>
              <a:gd name="connsiteX13" fmla="*/ 216565 w 604181"/>
              <a:gd name="connsiteY13" fmla="*/ 426850 h 603193"/>
              <a:gd name="connsiteX14" fmla="*/ 77904 w 604181"/>
              <a:gd name="connsiteY14" fmla="*/ 355521 h 603193"/>
              <a:gd name="connsiteX15" fmla="*/ 77904 w 604181"/>
              <a:gd name="connsiteY15" fmla="*/ 339486 h 603193"/>
              <a:gd name="connsiteX16" fmla="*/ 338273 w 604181"/>
              <a:gd name="connsiteY16" fmla="*/ 222493 h 603193"/>
              <a:gd name="connsiteX17" fmla="*/ 358684 w 604181"/>
              <a:gd name="connsiteY17" fmla="*/ 222493 h 603193"/>
              <a:gd name="connsiteX18" fmla="*/ 253179 w 604181"/>
              <a:gd name="connsiteY18" fmla="*/ 482103 h 603193"/>
              <a:gd name="connsiteX19" fmla="*/ 233219 w 604181"/>
              <a:gd name="connsiteY19" fmla="*/ 482103 h 603193"/>
              <a:gd name="connsiteX20" fmla="*/ 28813 w 604181"/>
              <a:gd name="connsiteY20" fmla="*/ 128849 h 603193"/>
              <a:gd name="connsiteX21" fmla="*/ 28813 w 604181"/>
              <a:gd name="connsiteY21" fmla="*/ 557497 h 603193"/>
              <a:gd name="connsiteX22" fmla="*/ 45921 w 604181"/>
              <a:gd name="connsiteY22" fmla="*/ 574427 h 603193"/>
              <a:gd name="connsiteX23" fmla="*/ 558410 w 604181"/>
              <a:gd name="connsiteY23" fmla="*/ 574427 h 603193"/>
              <a:gd name="connsiteX24" fmla="*/ 575368 w 604181"/>
              <a:gd name="connsiteY24" fmla="*/ 557497 h 603193"/>
              <a:gd name="connsiteX25" fmla="*/ 575368 w 604181"/>
              <a:gd name="connsiteY25" fmla="*/ 128849 h 603193"/>
              <a:gd name="connsiteX26" fmla="*/ 502734 w 604181"/>
              <a:gd name="connsiteY26" fmla="*/ 43149 h 603193"/>
              <a:gd name="connsiteX27" fmla="*/ 502734 w 604181"/>
              <a:gd name="connsiteY27" fmla="*/ 77309 h 603193"/>
              <a:gd name="connsiteX28" fmla="*/ 537100 w 604181"/>
              <a:gd name="connsiteY28" fmla="*/ 77309 h 603193"/>
              <a:gd name="connsiteX29" fmla="*/ 537100 w 604181"/>
              <a:gd name="connsiteY29" fmla="*/ 43149 h 603193"/>
              <a:gd name="connsiteX30" fmla="*/ 423197 w 604181"/>
              <a:gd name="connsiteY30" fmla="*/ 43149 h 603193"/>
              <a:gd name="connsiteX31" fmla="*/ 423197 w 604181"/>
              <a:gd name="connsiteY31" fmla="*/ 77309 h 603193"/>
              <a:gd name="connsiteX32" fmla="*/ 457563 w 604181"/>
              <a:gd name="connsiteY32" fmla="*/ 77309 h 603193"/>
              <a:gd name="connsiteX33" fmla="*/ 457563 w 604181"/>
              <a:gd name="connsiteY33" fmla="*/ 43149 h 603193"/>
              <a:gd name="connsiteX34" fmla="*/ 45921 w 604181"/>
              <a:gd name="connsiteY34" fmla="*/ 0 h 603193"/>
              <a:gd name="connsiteX35" fmla="*/ 558410 w 604181"/>
              <a:gd name="connsiteY35" fmla="*/ 0 h 603193"/>
              <a:gd name="connsiteX36" fmla="*/ 604181 w 604181"/>
              <a:gd name="connsiteY36" fmla="*/ 45846 h 603193"/>
              <a:gd name="connsiteX37" fmla="*/ 604181 w 604181"/>
              <a:gd name="connsiteY37" fmla="*/ 557497 h 603193"/>
              <a:gd name="connsiteX38" fmla="*/ 558410 w 604181"/>
              <a:gd name="connsiteY38" fmla="*/ 603193 h 603193"/>
              <a:gd name="connsiteX39" fmla="*/ 45921 w 604181"/>
              <a:gd name="connsiteY39" fmla="*/ 603193 h 603193"/>
              <a:gd name="connsiteX40" fmla="*/ 0 w 604181"/>
              <a:gd name="connsiteY40" fmla="*/ 557497 h 603193"/>
              <a:gd name="connsiteX41" fmla="*/ 0 w 604181"/>
              <a:gd name="connsiteY41" fmla="*/ 45846 h 603193"/>
              <a:gd name="connsiteX42" fmla="*/ 45921 w 604181"/>
              <a:gd name="connsiteY42" fmla="*/ 0 h 603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04181" h="603193">
                <a:moveTo>
                  <a:pt x="380418" y="268007"/>
                </a:moveTo>
                <a:lnTo>
                  <a:pt x="519220" y="339187"/>
                </a:lnTo>
                <a:lnTo>
                  <a:pt x="519220" y="355820"/>
                </a:lnTo>
                <a:lnTo>
                  <a:pt x="380418" y="426850"/>
                </a:lnTo>
                <a:lnTo>
                  <a:pt x="380418" y="406320"/>
                </a:lnTo>
                <a:lnTo>
                  <a:pt x="498212" y="347728"/>
                </a:lnTo>
                <a:lnTo>
                  <a:pt x="498212" y="347129"/>
                </a:lnTo>
                <a:lnTo>
                  <a:pt x="380418" y="288687"/>
                </a:lnTo>
                <a:close/>
                <a:moveTo>
                  <a:pt x="216565" y="268007"/>
                </a:moveTo>
                <a:lnTo>
                  <a:pt x="216565" y="288687"/>
                </a:lnTo>
                <a:lnTo>
                  <a:pt x="99664" y="347129"/>
                </a:lnTo>
                <a:lnTo>
                  <a:pt x="99664" y="347728"/>
                </a:lnTo>
                <a:lnTo>
                  <a:pt x="216565" y="406320"/>
                </a:lnTo>
                <a:lnTo>
                  <a:pt x="216565" y="426850"/>
                </a:lnTo>
                <a:lnTo>
                  <a:pt x="77904" y="355521"/>
                </a:lnTo>
                <a:lnTo>
                  <a:pt x="77904" y="339486"/>
                </a:lnTo>
                <a:close/>
                <a:moveTo>
                  <a:pt x="338273" y="222493"/>
                </a:moveTo>
                <a:lnTo>
                  <a:pt x="358684" y="222493"/>
                </a:lnTo>
                <a:lnTo>
                  <a:pt x="253179" y="482103"/>
                </a:lnTo>
                <a:lnTo>
                  <a:pt x="233219" y="482103"/>
                </a:lnTo>
                <a:close/>
                <a:moveTo>
                  <a:pt x="28813" y="128849"/>
                </a:moveTo>
                <a:lnTo>
                  <a:pt x="28813" y="557497"/>
                </a:lnTo>
                <a:cubicBezTo>
                  <a:pt x="28813" y="566786"/>
                  <a:pt x="36467" y="574427"/>
                  <a:pt x="45921" y="574427"/>
                </a:cubicBezTo>
                <a:lnTo>
                  <a:pt x="558410" y="574427"/>
                </a:lnTo>
                <a:cubicBezTo>
                  <a:pt x="567714" y="574427"/>
                  <a:pt x="575368" y="566786"/>
                  <a:pt x="575368" y="557497"/>
                </a:cubicBezTo>
                <a:lnTo>
                  <a:pt x="575368" y="128849"/>
                </a:lnTo>
                <a:close/>
                <a:moveTo>
                  <a:pt x="502734" y="43149"/>
                </a:moveTo>
                <a:lnTo>
                  <a:pt x="502734" y="77309"/>
                </a:lnTo>
                <a:lnTo>
                  <a:pt x="537100" y="77309"/>
                </a:lnTo>
                <a:lnTo>
                  <a:pt x="537100" y="43149"/>
                </a:lnTo>
                <a:close/>
                <a:moveTo>
                  <a:pt x="423197" y="43149"/>
                </a:moveTo>
                <a:lnTo>
                  <a:pt x="423197" y="77309"/>
                </a:lnTo>
                <a:lnTo>
                  <a:pt x="457563" y="77309"/>
                </a:lnTo>
                <a:lnTo>
                  <a:pt x="457563" y="43149"/>
                </a:lnTo>
                <a:close/>
                <a:moveTo>
                  <a:pt x="45921" y="0"/>
                </a:moveTo>
                <a:lnTo>
                  <a:pt x="558410" y="0"/>
                </a:lnTo>
                <a:cubicBezTo>
                  <a:pt x="583621" y="0"/>
                  <a:pt x="604181" y="20526"/>
                  <a:pt x="604181" y="45846"/>
                </a:cubicBezTo>
                <a:lnTo>
                  <a:pt x="604181" y="557497"/>
                </a:lnTo>
                <a:cubicBezTo>
                  <a:pt x="604181" y="582667"/>
                  <a:pt x="583621" y="603193"/>
                  <a:pt x="558410" y="603193"/>
                </a:cubicBezTo>
                <a:lnTo>
                  <a:pt x="45921" y="603193"/>
                </a:lnTo>
                <a:cubicBezTo>
                  <a:pt x="20560" y="603193"/>
                  <a:pt x="0" y="582667"/>
                  <a:pt x="0" y="557497"/>
                </a:cubicBezTo>
                <a:lnTo>
                  <a:pt x="0" y="45846"/>
                </a:lnTo>
                <a:cubicBezTo>
                  <a:pt x="0" y="20526"/>
                  <a:pt x="20560" y="0"/>
                  <a:pt x="4592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4" name="îṣḻîḍé">
            <a:extLst>
              <a:ext uri="{FF2B5EF4-FFF2-40B4-BE49-F238E27FC236}">
                <a16:creationId xmlns:a16="http://schemas.microsoft.com/office/drawing/2014/main" id="{716A4AAF-66FE-4462-901E-658C29D84AD8}"/>
              </a:ext>
            </a:extLst>
          </p:cNvPr>
          <p:cNvSpPr/>
          <p:nvPr/>
        </p:nvSpPr>
        <p:spPr bwMode="auto">
          <a:xfrm>
            <a:off x="2529559" y="2837850"/>
            <a:ext cx="180733" cy="180460"/>
          </a:xfrm>
          <a:custGeom>
            <a:avLst/>
            <a:gdLst>
              <a:gd name="T0" fmla="*/ 6624 w 7154"/>
              <a:gd name="T1" fmla="*/ 2037 h 7154"/>
              <a:gd name="T2" fmla="*/ 6106 w 7154"/>
              <a:gd name="T3" fmla="*/ 1048 h 7154"/>
              <a:gd name="T4" fmla="*/ 5117 w 7154"/>
              <a:gd name="T5" fmla="*/ 530 h 7154"/>
              <a:gd name="T6" fmla="*/ 4643 w 7154"/>
              <a:gd name="T7" fmla="*/ 334 h 7154"/>
              <a:gd name="T8" fmla="*/ 3577 w 7154"/>
              <a:gd name="T9" fmla="*/ 0 h 7154"/>
              <a:gd name="T10" fmla="*/ 2511 w 7154"/>
              <a:gd name="T11" fmla="*/ 334 h 7154"/>
              <a:gd name="T12" fmla="*/ 2037 w 7154"/>
              <a:gd name="T13" fmla="*/ 530 h 7154"/>
              <a:gd name="T14" fmla="*/ 1048 w 7154"/>
              <a:gd name="T15" fmla="*/ 1048 h 7154"/>
              <a:gd name="T16" fmla="*/ 530 w 7154"/>
              <a:gd name="T17" fmla="*/ 2037 h 7154"/>
              <a:gd name="T18" fmla="*/ 334 w 7154"/>
              <a:gd name="T19" fmla="*/ 2511 h 7154"/>
              <a:gd name="T20" fmla="*/ 0 w 7154"/>
              <a:gd name="T21" fmla="*/ 3577 h 7154"/>
              <a:gd name="T22" fmla="*/ 334 w 7154"/>
              <a:gd name="T23" fmla="*/ 4643 h 7154"/>
              <a:gd name="T24" fmla="*/ 530 w 7154"/>
              <a:gd name="T25" fmla="*/ 5117 h 7154"/>
              <a:gd name="T26" fmla="*/ 1048 w 7154"/>
              <a:gd name="T27" fmla="*/ 6106 h 7154"/>
              <a:gd name="T28" fmla="*/ 2037 w 7154"/>
              <a:gd name="T29" fmla="*/ 6624 h 7154"/>
              <a:gd name="T30" fmla="*/ 2511 w 7154"/>
              <a:gd name="T31" fmla="*/ 6820 h 7154"/>
              <a:gd name="T32" fmla="*/ 3577 w 7154"/>
              <a:gd name="T33" fmla="*/ 7154 h 7154"/>
              <a:gd name="T34" fmla="*/ 4643 w 7154"/>
              <a:gd name="T35" fmla="*/ 6820 h 7154"/>
              <a:gd name="T36" fmla="*/ 5117 w 7154"/>
              <a:gd name="T37" fmla="*/ 6624 h 7154"/>
              <a:gd name="T38" fmla="*/ 6106 w 7154"/>
              <a:gd name="T39" fmla="*/ 6106 h 7154"/>
              <a:gd name="T40" fmla="*/ 6624 w 7154"/>
              <a:gd name="T41" fmla="*/ 5117 h 7154"/>
              <a:gd name="T42" fmla="*/ 6820 w 7154"/>
              <a:gd name="T43" fmla="*/ 4643 h 7154"/>
              <a:gd name="T44" fmla="*/ 7154 w 7154"/>
              <a:gd name="T45" fmla="*/ 3577 h 7154"/>
              <a:gd name="T46" fmla="*/ 6820 w 7154"/>
              <a:gd name="T47" fmla="*/ 2511 h 7154"/>
              <a:gd name="T48" fmla="*/ 6624 w 7154"/>
              <a:gd name="T49" fmla="*/ 2037 h 7154"/>
              <a:gd name="T50" fmla="*/ 5857 w 7154"/>
              <a:gd name="T51" fmla="*/ 2406 h 7154"/>
              <a:gd name="T52" fmla="*/ 3286 w 7154"/>
              <a:gd name="T53" fmla="*/ 4976 h 7154"/>
              <a:gd name="T54" fmla="*/ 2875 w 7154"/>
              <a:gd name="T55" fmla="*/ 5387 h 7154"/>
              <a:gd name="T56" fmla="*/ 2464 w 7154"/>
              <a:gd name="T57" fmla="*/ 5387 h 7154"/>
              <a:gd name="T58" fmla="*/ 2053 w 7154"/>
              <a:gd name="T59" fmla="*/ 4976 h 7154"/>
              <a:gd name="T60" fmla="*/ 1297 w 7154"/>
              <a:gd name="T61" fmla="*/ 4221 h 7154"/>
              <a:gd name="T62" fmla="*/ 1297 w 7154"/>
              <a:gd name="T63" fmla="*/ 3809 h 7154"/>
              <a:gd name="T64" fmla="*/ 1708 w 7154"/>
              <a:gd name="T65" fmla="*/ 3398 h 7154"/>
              <a:gd name="T66" fmla="*/ 2120 w 7154"/>
              <a:gd name="T67" fmla="*/ 3398 h 7154"/>
              <a:gd name="T68" fmla="*/ 2669 w 7154"/>
              <a:gd name="T69" fmla="*/ 3948 h 7154"/>
              <a:gd name="T70" fmla="*/ 5034 w 7154"/>
              <a:gd name="T71" fmla="*/ 1583 h 7154"/>
              <a:gd name="T72" fmla="*/ 5445 w 7154"/>
              <a:gd name="T73" fmla="*/ 1583 h 7154"/>
              <a:gd name="T74" fmla="*/ 5857 w 7154"/>
              <a:gd name="T75" fmla="*/ 1994 h 7154"/>
              <a:gd name="T76" fmla="*/ 5857 w 7154"/>
              <a:gd name="T77" fmla="*/ 2406 h 7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154" h="7154">
                <a:moveTo>
                  <a:pt x="6624" y="2037"/>
                </a:moveTo>
                <a:cubicBezTo>
                  <a:pt x="6580" y="1703"/>
                  <a:pt x="6403" y="1345"/>
                  <a:pt x="6106" y="1048"/>
                </a:cubicBezTo>
                <a:cubicBezTo>
                  <a:pt x="5809" y="751"/>
                  <a:pt x="5451" y="574"/>
                  <a:pt x="5117" y="530"/>
                </a:cubicBezTo>
                <a:cubicBezTo>
                  <a:pt x="4966" y="510"/>
                  <a:pt x="4764" y="427"/>
                  <a:pt x="4643" y="334"/>
                </a:cubicBezTo>
                <a:cubicBezTo>
                  <a:pt x="4375" y="128"/>
                  <a:pt x="3997" y="0"/>
                  <a:pt x="3577" y="0"/>
                </a:cubicBezTo>
                <a:cubicBezTo>
                  <a:pt x="3157" y="0"/>
                  <a:pt x="2779" y="128"/>
                  <a:pt x="2511" y="334"/>
                </a:cubicBezTo>
                <a:cubicBezTo>
                  <a:pt x="2390" y="427"/>
                  <a:pt x="2188" y="510"/>
                  <a:pt x="2037" y="530"/>
                </a:cubicBezTo>
                <a:cubicBezTo>
                  <a:pt x="1702" y="574"/>
                  <a:pt x="1345" y="751"/>
                  <a:pt x="1048" y="1048"/>
                </a:cubicBezTo>
                <a:cubicBezTo>
                  <a:pt x="751" y="1345"/>
                  <a:pt x="574" y="1703"/>
                  <a:pt x="530" y="2037"/>
                </a:cubicBezTo>
                <a:cubicBezTo>
                  <a:pt x="510" y="2188"/>
                  <a:pt x="427" y="2390"/>
                  <a:pt x="334" y="2511"/>
                </a:cubicBezTo>
                <a:cubicBezTo>
                  <a:pt x="128" y="2779"/>
                  <a:pt x="0" y="3157"/>
                  <a:pt x="0" y="3577"/>
                </a:cubicBezTo>
                <a:cubicBezTo>
                  <a:pt x="0" y="3997"/>
                  <a:pt x="128" y="4375"/>
                  <a:pt x="334" y="4643"/>
                </a:cubicBezTo>
                <a:cubicBezTo>
                  <a:pt x="427" y="4764"/>
                  <a:pt x="510" y="4966"/>
                  <a:pt x="530" y="5117"/>
                </a:cubicBezTo>
                <a:cubicBezTo>
                  <a:pt x="574" y="5451"/>
                  <a:pt x="751" y="5809"/>
                  <a:pt x="1048" y="6106"/>
                </a:cubicBezTo>
                <a:cubicBezTo>
                  <a:pt x="1345" y="6403"/>
                  <a:pt x="1702" y="6580"/>
                  <a:pt x="2037" y="6624"/>
                </a:cubicBezTo>
                <a:cubicBezTo>
                  <a:pt x="2188" y="6644"/>
                  <a:pt x="2390" y="6727"/>
                  <a:pt x="2511" y="6820"/>
                </a:cubicBezTo>
                <a:cubicBezTo>
                  <a:pt x="2779" y="7025"/>
                  <a:pt x="3157" y="7154"/>
                  <a:pt x="3577" y="7154"/>
                </a:cubicBezTo>
                <a:cubicBezTo>
                  <a:pt x="3997" y="7154"/>
                  <a:pt x="4375" y="7025"/>
                  <a:pt x="4643" y="6820"/>
                </a:cubicBezTo>
                <a:cubicBezTo>
                  <a:pt x="4764" y="6727"/>
                  <a:pt x="4966" y="6644"/>
                  <a:pt x="5117" y="6624"/>
                </a:cubicBezTo>
                <a:cubicBezTo>
                  <a:pt x="5451" y="6580"/>
                  <a:pt x="5809" y="6403"/>
                  <a:pt x="6106" y="6106"/>
                </a:cubicBezTo>
                <a:cubicBezTo>
                  <a:pt x="6403" y="5809"/>
                  <a:pt x="6580" y="5451"/>
                  <a:pt x="6624" y="5117"/>
                </a:cubicBezTo>
                <a:cubicBezTo>
                  <a:pt x="6644" y="4966"/>
                  <a:pt x="6727" y="4764"/>
                  <a:pt x="6820" y="4643"/>
                </a:cubicBezTo>
                <a:cubicBezTo>
                  <a:pt x="7026" y="4375"/>
                  <a:pt x="7154" y="3997"/>
                  <a:pt x="7154" y="3577"/>
                </a:cubicBezTo>
                <a:cubicBezTo>
                  <a:pt x="7154" y="3157"/>
                  <a:pt x="7026" y="2779"/>
                  <a:pt x="6820" y="2511"/>
                </a:cubicBezTo>
                <a:cubicBezTo>
                  <a:pt x="6727" y="2390"/>
                  <a:pt x="6644" y="2188"/>
                  <a:pt x="6624" y="2037"/>
                </a:cubicBezTo>
                <a:close/>
                <a:moveTo>
                  <a:pt x="5857" y="2406"/>
                </a:moveTo>
                <a:lnTo>
                  <a:pt x="3286" y="4976"/>
                </a:lnTo>
                <a:lnTo>
                  <a:pt x="2875" y="5387"/>
                </a:lnTo>
                <a:cubicBezTo>
                  <a:pt x="2762" y="5501"/>
                  <a:pt x="2577" y="5501"/>
                  <a:pt x="2464" y="5387"/>
                </a:cubicBezTo>
                <a:lnTo>
                  <a:pt x="2053" y="4976"/>
                </a:lnTo>
                <a:lnTo>
                  <a:pt x="1297" y="4221"/>
                </a:lnTo>
                <a:cubicBezTo>
                  <a:pt x="1183" y="4107"/>
                  <a:pt x="1183" y="3923"/>
                  <a:pt x="1297" y="3809"/>
                </a:cubicBezTo>
                <a:lnTo>
                  <a:pt x="1708" y="3398"/>
                </a:lnTo>
                <a:cubicBezTo>
                  <a:pt x="1822" y="3285"/>
                  <a:pt x="2006" y="3285"/>
                  <a:pt x="2120" y="3398"/>
                </a:cubicBezTo>
                <a:lnTo>
                  <a:pt x="2669" y="3948"/>
                </a:lnTo>
                <a:lnTo>
                  <a:pt x="5034" y="1583"/>
                </a:lnTo>
                <a:cubicBezTo>
                  <a:pt x="5148" y="1470"/>
                  <a:pt x="5332" y="1470"/>
                  <a:pt x="5445" y="1583"/>
                </a:cubicBezTo>
                <a:lnTo>
                  <a:pt x="5857" y="1994"/>
                </a:lnTo>
                <a:cubicBezTo>
                  <a:pt x="5970" y="2108"/>
                  <a:pt x="5970" y="2292"/>
                  <a:pt x="5857" y="2406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5" name="iṧḷiḑé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383023" y="2210629"/>
            <a:ext cx="1494884" cy="224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按分布模式进行配置</a:t>
            </a:r>
            <a:endParaRPr lang="en-US" altLang="zh-CN" sz="1100" dirty="0"/>
          </a:p>
        </p:txBody>
      </p:sp>
      <p:sp>
        <p:nvSpPr>
          <p:cNvPr id="216" name="îṧḻiḑe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121752" y="2521753"/>
            <a:ext cx="1494884" cy="224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运行第一个实例</a:t>
            </a:r>
            <a:endParaRPr lang="en-US" altLang="zh-CN" sz="1100" dirty="0"/>
          </a:p>
        </p:txBody>
      </p:sp>
      <p:sp>
        <p:nvSpPr>
          <p:cNvPr id="217" name="îṣľïd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2860558" y="2832877"/>
            <a:ext cx="1494884" cy="224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开心</a:t>
            </a:r>
            <a:r>
              <a:rPr lang="en-US" altLang="zh-CN" sz="1100" dirty="0" err="1"/>
              <a:t>ing</a:t>
            </a:r>
            <a:r>
              <a:rPr lang="en-US" altLang="zh-CN" sz="1100" dirty="0"/>
              <a:t>~</a:t>
            </a:r>
          </a:p>
        </p:txBody>
      </p:sp>
      <p:sp>
        <p:nvSpPr>
          <p:cNvPr id="218" name="íṧ1îd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644185" y="1899506"/>
            <a:ext cx="1494884" cy="224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>
                <a:solidFill>
                  <a:schemeClr val="bg1"/>
                </a:solidFill>
              </a:rPr>
              <a:t>在官网下载安装包 解压</a:t>
            </a: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19" name="îs1ïḋ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908640" y="1588381"/>
            <a:ext cx="1494884" cy="224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配置环境变量 使之生效</a:t>
            </a:r>
            <a:endParaRPr lang="en-US" altLang="zh-CN" sz="1100" dirty="0"/>
          </a:p>
        </p:txBody>
      </p:sp>
      <p:sp>
        <p:nvSpPr>
          <p:cNvPr id="220" name="íšliḓ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4169819" y="1277258"/>
            <a:ext cx="1494884" cy="224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</a:t>
            </a:r>
            <a:r>
              <a:rPr lang="en-US" altLang="zh-CN" sz="1100" dirty="0"/>
              <a:t> </a:t>
            </a:r>
            <a:r>
              <a:rPr lang="zh-CN" altLang="en-US" sz="1100" dirty="0"/>
              <a:t>解压</a:t>
            </a:r>
            <a:endParaRPr lang="en-US" altLang="zh-CN" sz="1100" dirty="0"/>
          </a:p>
        </p:txBody>
      </p:sp>
      <p:sp>
        <p:nvSpPr>
          <p:cNvPr id="59" name="ïṣḻîdé">
            <a:extLst>
              <a:ext uri="{FF2B5EF4-FFF2-40B4-BE49-F238E27FC236}">
                <a16:creationId xmlns:a16="http://schemas.microsoft.com/office/drawing/2014/main" id="{EE82D0CD-F8A7-4D1D-90D9-9257C9925543}"/>
              </a:ext>
            </a:extLst>
          </p:cNvPr>
          <p:cNvSpPr/>
          <p:nvPr/>
        </p:nvSpPr>
        <p:spPr bwMode="auto">
          <a:xfrm>
            <a:off x="500063" y="4094224"/>
            <a:ext cx="8143874" cy="1584512"/>
          </a:xfrm>
          <a:custGeom>
            <a:avLst/>
            <a:gdLst>
              <a:gd name="connsiteX0" fmla="*/ 1046871 w 10858499"/>
              <a:gd name="connsiteY0" fmla="*/ 0 h 2112682"/>
              <a:gd name="connsiteX1" fmla="*/ 2085811 w 10858499"/>
              <a:gd name="connsiteY1" fmla="*/ 1056341 h 2112682"/>
              <a:gd name="connsiteX2" fmla="*/ 2079702 w 10858499"/>
              <a:gd name="connsiteY2" fmla="*/ 1056341 h 2112682"/>
              <a:gd name="connsiteX3" fmla="*/ 2793477 w 10858499"/>
              <a:gd name="connsiteY3" fmla="*/ 1784576 h 2112682"/>
              <a:gd name="connsiteX4" fmla="*/ 3515184 w 10858499"/>
              <a:gd name="connsiteY4" fmla="*/ 1056341 h 2112682"/>
              <a:gd name="connsiteX5" fmla="*/ 3514157 w 10858499"/>
              <a:gd name="connsiteY5" fmla="*/ 1056341 h 2112682"/>
              <a:gd name="connsiteX6" fmla="*/ 3509076 w 10858499"/>
              <a:gd name="connsiteY6" fmla="*/ 1056341 h 2112682"/>
              <a:gd name="connsiteX7" fmla="*/ 4555946 w 10858499"/>
              <a:gd name="connsiteY7" fmla="*/ 0 h 2112682"/>
              <a:gd name="connsiteX8" fmla="*/ 5594886 w 10858499"/>
              <a:gd name="connsiteY8" fmla="*/ 1056341 h 2112682"/>
              <a:gd name="connsiteX9" fmla="*/ 5588778 w 10858499"/>
              <a:gd name="connsiteY9" fmla="*/ 1056341 h 2112682"/>
              <a:gd name="connsiteX10" fmla="*/ 6302553 w 10858499"/>
              <a:gd name="connsiteY10" fmla="*/ 1784576 h 2112682"/>
              <a:gd name="connsiteX11" fmla="*/ 7024260 w 10858499"/>
              <a:gd name="connsiteY11" fmla="*/ 1056341 h 2112682"/>
              <a:gd name="connsiteX12" fmla="*/ 7023232 w 10858499"/>
              <a:gd name="connsiteY12" fmla="*/ 1056341 h 2112682"/>
              <a:gd name="connsiteX13" fmla="*/ 7018151 w 10858499"/>
              <a:gd name="connsiteY13" fmla="*/ 1056341 h 2112682"/>
              <a:gd name="connsiteX14" fmla="*/ 8065022 w 10858499"/>
              <a:gd name="connsiteY14" fmla="*/ 0 h 2112682"/>
              <a:gd name="connsiteX15" fmla="*/ 9103962 w 10858499"/>
              <a:gd name="connsiteY15" fmla="*/ 1056341 h 2112682"/>
              <a:gd name="connsiteX16" fmla="*/ 9097852 w 10858499"/>
              <a:gd name="connsiteY16" fmla="*/ 1056341 h 2112682"/>
              <a:gd name="connsiteX17" fmla="*/ 9811628 w 10858499"/>
              <a:gd name="connsiteY17" fmla="*/ 1784576 h 2112682"/>
              <a:gd name="connsiteX18" fmla="*/ 10533335 w 10858499"/>
              <a:gd name="connsiteY18" fmla="*/ 1056341 h 2112682"/>
              <a:gd name="connsiteX19" fmla="*/ 10858499 w 10858499"/>
              <a:gd name="connsiteY19" fmla="*/ 1056341 h 2112682"/>
              <a:gd name="connsiteX20" fmla="*/ 9811628 w 10858499"/>
              <a:gd name="connsiteY20" fmla="*/ 2112682 h 2112682"/>
              <a:gd name="connsiteX21" fmla="*/ 8772688 w 10858499"/>
              <a:gd name="connsiteY21" fmla="*/ 1056341 h 2112682"/>
              <a:gd name="connsiteX22" fmla="*/ 8777769 w 10858499"/>
              <a:gd name="connsiteY22" fmla="*/ 1056341 h 2112682"/>
              <a:gd name="connsiteX23" fmla="*/ 8778797 w 10858499"/>
              <a:gd name="connsiteY23" fmla="*/ 1056341 h 2112682"/>
              <a:gd name="connsiteX24" fmla="*/ 8065022 w 10858499"/>
              <a:gd name="connsiteY24" fmla="*/ 330611 h 2112682"/>
              <a:gd name="connsiteX25" fmla="*/ 7343316 w 10858499"/>
              <a:gd name="connsiteY25" fmla="*/ 1056341 h 2112682"/>
              <a:gd name="connsiteX26" fmla="*/ 7349424 w 10858499"/>
              <a:gd name="connsiteY26" fmla="*/ 1056341 h 2112682"/>
              <a:gd name="connsiteX27" fmla="*/ 6302553 w 10858499"/>
              <a:gd name="connsiteY27" fmla="*/ 2112682 h 2112682"/>
              <a:gd name="connsiteX28" fmla="*/ 5263613 w 10858499"/>
              <a:gd name="connsiteY28" fmla="*/ 1056341 h 2112682"/>
              <a:gd name="connsiteX29" fmla="*/ 5268694 w 10858499"/>
              <a:gd name="connsiteY29" fmla="*/ 1056341 h 2112682"/>
              <a:gd name="connsiteX30" fmla="*/ 5269722 w 10858499"/>
              <a:gd name="connsiteY30" fmla="*/ 1056341 h 2112682"/>
              <a:gd name="connsiteX31" fmla="*/ 4555946 w 10858499"/>
              <a:gd name="connsiteY31" fmla="*/ 330611 h 2112682"/>
              <a:gd name="connsiteX32" fmla="*/ 3834240 w 10858499"/>
              <a:gd name="connsiteY32" fmla="*/ 1056341 h 2112682"/>
              <a:gd name="connsiteX33" fmla="*/ 3840348 w 10858499"/>
              <a:gd name="connsiteY33" fmla="*/ 1056341 h 2112682"/>
              <a:gd name="connsiteX34" fmla="*/ 2793477 w 10858499"/>
              <a:gd name="connsiteY34" fmla="*/ 2112682 h 2112682"/>
              <a:gd name="connsiteX35" fmla="*/ 1754538 w 10858499"/>
              <a:gd name="connsiteY35" fmla="*/ 1056341 h 2112682"/>
              <a:gd name="connsiteX36" fmla="*/ 1759618 w 10858499"/>
              <a:gd name="connsiteY36" fmla="*/ 1056341 h 2112682"/>
              <a:gd name="connsiteX37" fmla="*/ 1760646 w 10858499"/>
              <a:gd name="connsiteY37" fmla="*/ 1056341 h 2112682"/>
              <a:gd name="connsiteX38" fmla="*/ 1046871 w 10858499"/>
              <a:gd name="connsiteY38" fmla="*/ 330611 h 2112682"/>
              <a:gd name="connsiteX39" fmla="*/ 325164 w 10858499"/>
              <a:gd name="connsiteY39" fmla="*/ 1056341 h 2112682"/>
              <a:gd name="connsiteX40" fmla="*/ 0 w 10858499"/>
              <a:gd name="connsiteY40" fmla="*/ 1056341 h 2112682"/>
              <a:gd name="connsiteX41" fmla="*/ 1046871 w 10858499"/>
              <a:gd name="connsiteY41" fmla="*/ 0 h 2112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0858499" h="2112682">
                <a:moveTo>
                  <a:pt x="1046871" y="0"/>
                </a:moveTo>
                <a:cubicBezTo>
                  <a:pt x="1617891" y="0"/>
                  <a:pt x="2085811" y="475757"/>
                  <a:pt x="2085811" y="1056341"/>
                </a:cubicBezTo>
                <a:lnTo>
                  <a:pt x="2079702" y="1056341"/>
                </a:lnTo>
                <a:cubicBezTo>
                  <a:pt x="2079702" y="1456470"/>
                  <a:pt x="2396936" y="1784576"/>
                  <a:pt x="2793477" y="1784576"/>
                </a:cubicBezTo>
                <a:cubicBezTo>
                  <a:pt x="3190019" y="1784576"/>
                  <a:pt x="3515184" y="1456470"/>
                  <a:pt x="3515184" y="1056341"/>
                </a:cubicBezTo>
                <a:lnTo>
                  <a:pt x="3514157" y="1056341"/>
                </a:lnTo>
                <a:cubicBezTo>
                  <a:pt x="3509076" y="1056341"/>
                  <a:pt x="3509076" y="1056341"/>
                  <a:pt x="3509076" y="1056341"/>
                </a:cubicBezTo>
                <a:cubicBezTo>
                  <a:pt x="3509076" y="475757"/>
                  <a:pt x="3976995" y="0"/>
                  <a:pt x="4555946" y="0"/>
                </a:cubicBezTo>
                <a:cubicBezTo>
                  <a:pt x="5126967" y="0"/>
                  <a:pt x="5594886" y="475757"/>
                  <a:pt x="5594886" y="1056341"/>
                </a:cubicBezTo>
                <a:lnTo>
                  <a:pt x="5588778" y="1056341"/>
                </a:lnTo>
                <a:cubicBezTo>
                  <a:pt x="5588778" y="1456470"/>
                  <a:pt x="5906011" y="1784576"/>
                  <a:pt x="6302553" y="1784576"/>
                </a:cubicBezTo>
                <a:cubicBezTo>
                  <a:pt x="6699095" y="1784576"/>
                  <a:pt x="7024260" y="1456470"/>
                  <a:pt x="7024260" y="1056341"/>
                </a:cubicBezTo>
                <a:lnTo>
                  <a:pt x="7023232" y="1056341"/>
                </a:lnTo>
                <a:cubicBezTo>
                  <a:pt x="7018151" y="1056341"/>
                  <a:pt x="7018151" y="1056341"/>
                  <a:pt x="7018151" y="1056341"/>
                </a:cubicBezTo>
                <a:cubicBezTo>
                  <a:pt x="7018151" y="475757"/>
                  <a:pt x="7486071" y="0"/>
                  <a:pt x="8065022" y="0"/>
                </a:cubicBezTo>
                <a:cubicBezTo>
                  <a:pt x="8636042" y="0"/>
                  <a:pt x="9103962" y="475757"/>
                  <a:pt x="9103962" y="1056341"/>
                </a:cubicBezTo>
                <a:lnTo>
                  <a:pt x="9097852" y="1056341"/>
                </a:lnTo>
                <a:cubicBezTo>
                  <a:pt x="9097852" y="1456470"/>
                  <a:pt x="9415086" y="1784576"/>
                  <a:pt x="9811628" y="1784576"/>
                </a:cubicBezTo>
                <a:cubicBezTo>
                  <a:pt x="10208170" y="1784576"/>
                  <a:pt x="10533335" y="1456470"/>
                  <a:pt x="10533335" y="1056341"/>
                </a:cubicBezTo>
                <a:cubicBezTo>
                  <a:pt x="10533335" y="1056341"/>
                  <a:pt x="10533335" y="1056341"/>
                  <a:pt x="10858499" y="1056341"/>
                </a:cubicBezTo>
                <a:cubicBezTo>
                  <a:pt x="10858499" y="1640530"/>
                  <a:pt x="10390579" y="2112682"/>
                  <a:pt x="9811628" y="2112682"/>
                </a:cubicBezTo>
                <a:cubicBezTo>
                  <a:pt x="9240608" y="2112682"/>
                  <a:pt x="8772688" y="1640530"/>
                  <a:pt x="8772688" y="1056341"/>
                </a:cubicBezTo>
                <a:cubicBezTo>
                  <a:pt x="8772688" y="1056341"/>
                  <a:pt x="8772688" y="1056341"/>
                  <a:pt x="8777769" y="1056341"/>
                </a:cubicBezTo>
                <a:lnTo>
                  <a:pt x="8778797" y="1056341"/>
                </a:lnTo>
                <a:cubicBezTo>
                  <a:pt x="8778797" y="653158"/>
                  <a:pt x="8461564" y="330611"/>
                  <a:pt x="8065022" y="330611"/>
                </a:cubicBezTo>
                <a:cubicBezTo>
                  <a:pt x="7660549" y="330611"/>
                  <a:pt x="7343316" y="653158"/>
                  <a:pt x="7343316" y="1056341"/>
                </a:cubicBezTo>
                <a:lnTo>
                  <a:pt x="7349424" y="1056341"/>
                </a:lnTo>
                <a:cubicBezTo>
                  <a:pt x="7349424" y="1640530"/>
                  <a:pt x="6881505" y="2112682"/>
                  <a:pt x="6302553" y="2112682"/>
                </a:cubicBezTo>
                <a:cubicBezTo>
                  <a:pt x="5731533" y="2112682"/>
                  <a:pt x="5263613" y="1640530"/>
                  <a:pt x="5263613" y="1056341"/>
                </a:cubicBezTo>
                <a:cubicBezTo>
                  <a:pt x="5263613" y="1056341"/>
                  <a:pt x="5263613" y="1056341"/>
                  <a:pt x="5268694" y="1056341"/>
                </a:cubicBezTo>
                <a:lnTo>
                  <a:pt x="5269722" y="1056341"/>
                </a:lnTo>
                <a:cubicBezTo>
                  <a:pt x="5269722" y="653158"/>
                  <a:pt x="4952488" y="330611"/>
                  <a:pt x="4555946" y="330611"/>
                </a:cubicBezTo>
                <a:cubicBezTo>
                  <a:pt x="4151473" y="330611"/>
                  <a:pt x="3834240" y="653158"/>
                  <a:pt x="3834240" y="1056341"/>
                </a:cubicBezTo>
                <a:lnTo>
                  <a:pt x="3840348" y="1056341"/>
                </a:lnTo>
                <a:cubicBezTo>
                  <a:pt x="3840348" y="1640530"/>
                  <a:pt x="3372429" y="2112682"/>
                  <a:pt x="2793477" y="2112682"/>
                </a:cubicBezTo>
                <a:cubicBezTo>
                  <a:pt x="2222457" y="2112682"/>
                  <a:pt x="1754538" y="1640530"/>
                  <a:pt x="1754538" y="1056341"/>
                </a:cubicBezTo>
                <a:cubicBezTo>
                  <a:pt x="1754538" y="1056341"/>
                  <a:pt x="1754538" y="1056341"/>
                  <a:pt x="1759618" y="1056341"/>
                </a:cubicBezTo>
                <a:lnTo>
                  <a:pt x="1760646" y="1056341"/>
                </a:lnTo>
                <a:cubicBezTo>
                  <a:pt x="1760646" y="653158"/>
                  <a:pt x="1443412" y="330611"/>
                  <a:pt x="1046871" y="330611"/>
                </a:cubicBezTo>
                <a:cubicBezTo>
                  <a:pt x="642398" y="330611"/>
                  <a:pt x="325164" y="653158"/>
                  <a:pt x="325164" y="1056341"/>
                </a:cubicBezTo>
                <a:cubicBezTo>
                  <a:pt x="0" y="1056341"/>
                  <a:pt x="0" y="1056341"/>
                  <a:pt x="0" y="1056341"/>
                </a:cubicBezTo>
                <a:cubicBezTo>
                  <a:pt x="0" y="475757"/>
                  <a:pt x="467919" y="0"/>
                  <a:pt x="1046871" y="0"/>
                </a:cubicBezTo>
                <a:close/>
              </a:path>
            </a:pathLst>
          </a:custGeom>
          <a:pattFill prst="dkUp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60" name="işḻïdè">
            <a:extLst>
              <a:ext uri="{FF2B5EF4-FFF2-40B4-BE49-F238E27FC236}">
                <a16:creationId xmlns:a16="http://schemas.microsoft.com/office/drawing/2014/main" id="{6B3A024F-2F69-4CC7-ADC9-83CA757D7A89}"/>
              </a:ext>
            </a:extLst>
          </p:cNvPr>
          <p:cNvSpPr/>
          <p:nvPr/>
        </p:nvSpPr>
        <p:spPr>
          <a:xfrm>
            <a:off x="2356105" y="5292881"/>
            <a:ext cx="484078" cy="48407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/>
          <a:p>
            <a:pPr algn="ctr" defTabSz="914354"/>
            <a:r>
              <a:rPr lang="en-US" altLang="zh-CN" sz="2000" dirty="0">
                <a:solidFill>
                  <a:schemeClr val="bg1"/>
                </a:solidFill>
              </a:rPr>
              <a:t>02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61" name="i$1iḋè">
            <a:extLst>
              <a:ext uri="{FF2B5EF4-FFF2-40B4-BE49-F238E27FC236}">
                <a16:creationId xmlns:a16="http://schemas.microsoft.com/office/drawing/2014/main" id="{E4F747BC-3337-45E1-9EDD-4D12C3654B09}"/>
              </a:ext>
            </a:extLst>
          </p:cNvPr>
          <p:cNvSpPr/>
          <p:nvPr/>
        </p:nvSpPr>
        <p:spPr>
          <a:xfrm>
            <a:off x="4987912" y="5292881"/>
            <a:ext cx="484078" cy="48407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/>
          <a:p>
            <a:pPr algn="ctr" defTabSz="914354"/>
            <a:r>
              <a:rPr lang="en-US" altLang="zh-CN" sz="2000" dirty="0">
                <a:solidFill>
                  <a:schemeClr val="bg1"/>
                </a:solidFill>
              </a:rPr>
              <a:t>04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63" name="îšļiḓê">
            <a:extLst>
              <a:ext uri="{FF2B5EF4-FFF2-40B4-BE49-F238E27FC236}">
                <a16:creationId xmlns:a16="http://schemas.microsoft.com/office/drawing/2014/main" id="{DF06470E-41FF-4394-A9D5-B2DC4D0E9394}"/>
              </a:ext>
            </a:extLst>
          </p:cNvPr>
          <p:cNvSpPr/>
          <p:nvPr/>
        </p:nvSpPr>
        <p:spPr>
          <a:xfrm>
            <a:off x="1040202" y="3949312"/>
            <a:ext cx="484078" cy="484079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/>
          <a:p>
            <a:pPr algn="ctr" defTabSz="914354"/>
            <a:r>
              <a:rPr lang="en-US" altLang="zh-CN" sz="2000" dirty="0">
                <a:solidFill>
                  <a:schemeClr val="bg1"/>
                </a:solidFill>
              </a:rPr>
              <a:t>01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64" name="íślîdê">
            <a:extLst>
              <a:ext uri="{FF2B5EF4-FFF2-40B4-BE49-F238E27FC236}">
                <a16:creationId xmlns:a16="http://schemas.microsoft.com/office/drawing/2014/main" id="{943624F4-D82A-439A-99E9-6A0EA2004F67}"/>
              </a:ext>
            </a:extLst>
          </p:cNvPr>
          <p:cNvSpPr/>
          <p:nvPr/>
        </p:nvSpPr>
        <p:spPr>
          <a:xfrm>
            <a:off x="3672009" y="3949312"/>
            <a:ext cx="484078" cy="484079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/>
          <a:p>
            <a:pPr algn="ctr" defTabSz="914354"/>
            <a:r>
              <a:rPr lang="en-US" altLang="zh-CN" sz="2000" dirty="0">
                <a:solidFill>
                  <a:schemeClr val="bg1"/>
                </a:solidFill>
              </a:rPr>
              <a:t>03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82" name="ïŝḻîďê">
            <a:extLst>
              <a:ext uri="{FF2B5EF4-FFF2-40B4-BE49-F238E27FC236}">
                <a16:creationId xmlns:a16="http://schemas.microsoft.com/office/drawing/2014/main" id="{A5A40731-C336-4C01-85DA-A95D1310017D}"/>
              </a:ext>
            </a:extLst>
          </p:cNvPr>
          <p:cNvSpPr txBox="1"/>
          <p:nvPr/>
        </p:nvSpPr>
        <p:spPr>
          <a:xfrm>
            <a:off x="624290" y="4833228"/>
            <a:ext cx="1315903" cy="335022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1600" b="1" dirty="0"/>
              <a:t>官网</a:t>
            </a:r>
            <a:endParaRPr lang="id-ID" sz="1600" b="1" dirty="0"/>
          </a:p>
        </p:txBody>
      </p:sp>
      <p:sp>
        <p:nvSpPr>
          <p:cNvPr id="83" name="išļíḑé">
            <a:extLst>
              <a:ext uri="{FF2B5EF4-FFF2-40B4-BE49-F238E27FC236}">
                <a16:creationId xmlns:a16="http://schemas.microsoft.com/office/drawing/2014/main" id="{43B8B48A-8ED2-4161-B540-630344E5C81A}"/>
              </a:ext>
            </a:extLst>
          </p:cNvPr>
          <p:cNvSpPr/>
          <p:nvPr/>
        </p:nvSpPr>
        <p:spPr bwMode="auto">
          <a:xfrm>
            <a:off x="624290" y="5168254"/>
            <a:ext cx="1315903" cy="953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925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zh-CN" altLang="en-US" sz="1100" dirty="0"/>
              <a:t>系统版本</a:t>
            </a:r>
            <a:r>
              <a:rPr lang="en-US" altLang="zh-CN" sz="1100" dirty="0"/>
              <a:t>(win </a:t>
            </a:r>
            <a:r>
              <a:rPr lang="en-US" altLang="zh-CN" sz="1100" dirty="0" err="1"/>
              <a:t>linux</a:t>
            </a:r>
            <a:r>
              <a:rPr lang="en-US" altLang="zh-CN" sz="1100" dirty="0"/>
              <a:t>)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zh-CN" altLang="en-US" sz="1100" dirty="0"/>
              <a:t>系统位数</a:t>
            </a:r>
            <a:r>
              <a:rPr lang="en-US" altLang="zh-CN" sz="1100" dirty="0"/>
              <a:t>(32   64)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zh-CN" altLang="en-US" sz="1100" dirty="0"/>
              <a:t>软件版本</a:t>
            </a:r>
            <a:r>
              <a:rPr lang="en-US" altLang="zh-CN" sz="1100" dirty="0"/>
              <a:t>(2.x   3.x)</a:t>
            </a:r>
          </a:p>
        </p:txBody>
      </p:sp>
      <p:sp>
        <p:nvSpPr>
          <p:cNvPr id="80" name="ïşlïďe">
            <a:extLst>
              <a:ext uri="{FF2B5EF4-FFF2-40B4-BE49-F238E27FC236}">
                <a16:creationId xmlns:a16="http://schemas.microsoft.com/office/drawing/2014/main" id="{29A76768-68A5-4098-9539-19791C70B88E}"/>
              </a:ext>
            </a:extLst>
          </p:cNvPr>
          <p:cNvSpPr txBox="1"/>
          <p:nvPr/>
        </p:nvSpPr>
        <p:spPr>
          <a:xfrm>
            <a:off x="3256097" y="4833228"/>
            <a:ext cx="1315903" cy="335022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1600" b="1" dirty="0"/>
              <a:t>解压</a:t>
            </a:r>
            <a:r>
              <a:rPr lang="en-US" altLang="zh-CN" sz="1600" b="1" dirty="0"/>
              <a:t>1</a:t>
            </a:r>
            <a:endParaRPr lang="id-ID" sz="1600" b="1" dirty="0"/>
          </a:p>
        </p:txBody>
      </p:sp>
      <p:sp>
        <p:nvSpPr>
          <p:cNvPr id="81" name="ïs1ïḑê">
            <a:extLst>
              <a:ext uri="{FF2B5EF4-FFF2-40B4-BE49-F238E27FC236}">
                <a16:creationId xmlns:a16="http://schemas.microsoft.com/office/drawing/2014/main" id="{8EB15CAF-6819-44FC-9C1C-31311F9040CF}"/>
              </a:ext>
            </a:extLst>
          </p:cNvPr>
          <p:cNvSpPr/>
          <p:nvPr/>
        </p:nvSpPr>
        <p:spPr bwMode="auto">
          <a:xfrm>
            <a:off x="3256097" y="5168254"/>
            <a:ext cx="1315903" cy="953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solidFill>
                  <a:schemeClr val="accent3"/>
                </a:solidFill>
              </a:rPr>
              <a:t>tar -</a:t>
            </a:r>
            <a:r>
              <a:rPr lang="en-US" altLang="zh-CN" sz="1100" dirty="0" err="1">
                <a:solidFill>
                  <a:schemeClr val="accent3"/>
                </a:solidFill>
              </a:rPr>
              <a:t>zxvf</a:t>
            </a:r>
            <a:r>
              <a:rPr lang="en-US" altLang="zh-CN" sz="1100" dirty="0">
                <a:solidFill>
                  <a:schemeClr val="accent3"/>
                </a:solidFill>
              </a:rPr>
              <a:t> hadoop*****.jar</a:t>
            </a:r>
          </a:p>
        </p:txBody>
      </p:sp>
      <p:sp>
        <p:nvSpPr>
          <p:cNvPr id="76" name="ïşḻîďê">
            <a:extLst>
              <a:ext uri="{FF2B5EF4-FFF2-40B4-BE49-F238E27FC236}">
                <a16:creationId xmlns:a16="http://schemas.microsoft.com/office/drawing/2014/main" id="{E450F47C-3373-4648-A3D8-C4813F1BD693}"/>
              </a:ext>
            </a:extLst>
          </p:cNvPr>
          <p:cNvSpPr txBox="1"/>
          <p:nvPr/>
        </p:nvSpPr>
        <p:spPr>
          <a:xfrm>
            <a:off x="1940193" y="3604858"/>
            <a:ext cx="1315903" cy="335022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1600" b="1" dirty="0"/>
              <a:t>下载</a:t>
            </a:r>
            <a:endParaRPr lang="id-ID" sz="1600" b="1" dirty="0"/>
          </a:p>
        </p:txBody>
      </p:sp>
      <p:sp>
        <p:nvSpPr>
          <p:cNvPr id="77" name="íşḷîḓe">
            <a:extLst>
              <a:ext uri="{FF2B5EF4-FFF2-40B4-BE49-F238E27FC236}">
                <a16:creationId xmlns:a16="http://schemas.microsoft.com/office/drawing/2014/main" id="{BBA855F0-E97B-4412-BCD5-C3231ACC7FC3}"/>
              </a:ext>
            </a:extLst>
          </p:cNvPr>
          <p:cNvSpPr/>
          <p:nvPr/>
        </p:nvSpPr>
        <p:spPr bwMode="auto">
          <a:xfrm>
            <a:off x="1940193" y="3939884"/>
            <a:ext cx="1315903" cy="953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zh-CN" altLang="en-US" sz="1100" dirty="0"/>
              <a:t>等</a:t>
            </a:r>
            <a:r>
              <a:rPr lang="en-US" altLang="zh-CN" sz="1100" dirty="0"/>
              <a:t>… …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(</a:t>
            </a:r>
            <a:r>
              <a:rPr lang="zh-CN" altLang="en-US" sz="1100" dirty="0"/>
              <a:t>有现成的就好了</a:t>
            </a:r>
            <a:r>
              <a:rPr lang="en-US" altLang="zh-CN" sz="1100" dirty="0"/>
              <a:t>)</a:t>
            </a:r>
          </a:p>
        </p:txBody>
      </p:sp>
      <p:sp>
        <p:nvSpPr>
          <p:cNvPr id="74" name="îṧļïdè">
            <a:extLst>
              <a:ext uri="{FF2B5EF4-FFF2-40B4-BE49-F238E27FC236}">
                <a16:creationId xmlns:a16="http://schemas.microsoft.com/office/drawing/2014/main" id="{B6FFBFC0-D620-4118-AF2A-BB50983840D4}"/>
              </a:ext>
            </a:extLst>
          </p:cNvPr>
          <p:cNvSpPr txBox="1"/>
          <p:nvPr/>
        </p:nvSpPr>
        <p:spPr>
          <a:xfrm>
            <a:off x="4572000" y="3604858"/>
            <a:ext cx="1315903" cy="335022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1600" b="1" dirty="0"/>
              <a:t>解压</a:t>
            </a:r>
            <a:r>
              <a:rPr lang="en-US" altLang="zh-CN" sz="1600" b="1" dirty="0"/>
              <a:t>2</a:t>
            </a:r>
            <a:endParaRPr lang="id-ID" sz="1600" b="1" dirty="0"/>
          </a:p>
        </p:txBody>
      </p:sp>
      <p:sp>
        <p:nvSpPr>
          <p:cNvPr id="75" name="ïS1iḍé">
            <a:extLst>
              <a:ext uri="{FF2B5EF4-FFF2-40B4-BE49-F238E27FC236}">
                <a16:creationId xmlns:a16="http://schemas.microsoft.com/office/drawing/2014/main" id="{81C09B26-2798-4EA4-9356-29289C925C2C}"/>
              </a:ext>
            </a:extLst>
          </p:cNvPr>
          <p:cNvSpPr/>
          <p:nvPr/>
        </p:nvSpPr>
        <p:spPr bwMode="auto">
          <a:xfrm>
            <a:off x="4572000" y="3939884"/>
            <a:ext cx="1315903" cy="953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solidFill>
                  <a:schemeClr val="accent1"/>
                </a:solidFill>
              </a:rPr>
              <a:t>or</a:t>
            </a:r>
            <a:r>
              <a:rPr lang="zh-CN" altLang="en-US" sz="1100" dirty="0">
                <a:solidFill>
                  <a:schemeClr val="accent1"/>
                </a:solidFill>
              </a:rPr>
              <a:t>左键！右键！</a:t>
            </a:r>
            <a:endParaRPr lang="en-US" altLang="zh-CN" sz="1100" dirty="0">
              <a:solidFill>
                <a:schemeClr val="accent1"/>
              </a:solidFill>
            </a:endParaRPr>
          </a:p>
        </p:txBody>
      </p:sp>
      <p:sp>
        <p:nvSpPr>
          <p:cNvPr id="79" name="ísḷïḍê">
            <a:extLst>
              <a:ext uri="{FF2B5EF4-FFF2-40B4-BE49-F238E27FC236}">
                <a16:creationId xmlns:a16="http://schemas.microsoft.com/office/drawing/2014/main" id="{609C05DB-7AF8-45E3-AC7A-1174FDF4A160}"/>
              </a:ext>
            </a:extLst>
          </p:cNvPr>
          <p:cNvSpPr/>
          <p:nvPr/>
        </p:nvSpPr>
        <p:spPr>
          <a:xfrm>
            <a:off x="7622181" y="5318963"/>
            <a:ext cx="484078" cy="48407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/>
          <a:p>
            <a:pPr algn="ctr" defTabSz="914354"/>
            <a:r>
              <a:rPr lang="en-US" altLang="zh-CN" sz="2000" dirty="0">
                <a:solidFill>
                  <a:schemeClr val="bg1"/>
                </a:solidFill>
              </a:rPr>
              <a:t>06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sp>
        <p:nvSpPr>
          <p:cNvPr id="84" name="ïṣ1iḑe">
            <a:extLst>
              <a:ext uri="{FF2B5EF4-FFF2-40B4-BE49-F238E27FC236}">
                <a16:creationId xmlns:a16="http://schemas.microsoft.com/office/drawing/2014/main" id="{7B8DCC86-DD05-43D3-A01C-D9A58291D8D4}"/>
              </a:ext>
            </a:extLst>
          </p:cNvPr>
          <p:cNvSpPr/>
          <p:nvPr/>
        </p:nvSpPr>
        <p:spPr>
          <a:xfrm>
            <a:off x="6306279" y="3975394"/>
            <a:ext cx="484078" cy="484079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/>
          <a:p>
            <a:pPr algn="ctr" defTabSz="914354"/>
            <a:r>
              <a:rPr lang="en-US" altLang="zh-CN" sz="2000" dirty="0">
                <a:solidFill>
                  <a:schemeClr val="bg1"/>
                </a:solidFill>
              </a:rPr>
              <a:t>05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  <p:grpSp>
        <p:nvGrpSpPr>
          <p:cNvPr id="85" name="ïṡ1iḓé">
            <a:extLst>
              <a:ext uri="{FF2B5EF4-FFF2-40B4-BE49-F238E27FC236}">
                <a16:creationId xmlns:a16="http://schemas.microsoft.com/office/drawing/2014/main" id="{EA2C5658-0A07-4083-838B-330A5065D279}"/>
              </a:ext>
            </a:extLst>
          </p:cNvPr>
          <p:cNvGrpSpPr/>
          <p:nvPr/>
        </p:nvGrpSpPr>
        <p:grpSpPr>
          <a:xfrm>
            <a:off x="5890367" y="4859310"/>
            <a:ext cx="1315903" cy="1288184"/>
            <a:chOff x="660400" y="4027303"/>
            <a:chExt cx="1754537" cy="1717579"/>
          </a:xfrm>
        </p:grpSpPr>
        <p:sp>
          <p:nvSpPr>
            <p:cNvPr id="86" name="iṡ1íḍé">
              <a:extLst>
                <a:ext uri="{FF2B5EF4-FFF2-40B4-BE49-F238E27FC236}">
                  <a16:creationId xmlns:a16="http://schemas.microsoft.com/office/drawing/2014/main" id="{4DFDE5FA-8B58-4DF3-9ECB-4291106BC3D9}"/>
                </a:ext>
              </a:extLst>
            </p:cNvPr>
            <p:cNvSpPr txBox="1"/>
            <p:nvPr/>
          </p:nvSpPr>
          <p:spPr>
            <a:xfrm>
              <a:off x="660400" y="4027303"/>
              <a:ext cx="1754537" cy="44669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/>
                <a:t>环境变量配置</a:t>
              </a:r>
              <a:endParaRPr lang="id-ID" sz="1600" b="1" dirty="0"/>
            </a:p>
          </p:txBody>
        </p:sp>
        <p:sp>
          <p:nvSpPr>
            <p:cNvPr id="87" name="íśļîḓê">
              <a:extLst>
                <a:ext uri="{FF2B5EF4-FFF2-40B4-BE49-F238E27FC236}">
                  <a16:creationId xmlns:a16="http://schemas.microsoft.com/office/drawing/2014/main" id="{8F5444D3-510B-44BF-962D-CF9000CBB30D}"/>
                </a:ext>
              </a:extLst>
            </p:cNvPr>
            <p:cNvSpPr/>
            <p:nvPr/>
          </p:nvSpPr>
          <p:spPr bwMode="auto">
            <a:xfrm>
              <a:off x="660400" y="4474004"/>
              <a:ext cx="1754537" cy="12708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vim /</a:t>
              </a:r>
              <a:r>
                <a:rPr lang="en-US" altLang="zh-CN" sz="1100" dirty="0" err="1"/>
                <a:t>etc</a:t>
              </a:r>
              <a:r>
                <a:rPr lang="en-US" altLang="zh-CN" sz="1100" dirty="0"/>
                <a:t>/profile</a:t>
              </a:r>
              <a:endParaRPr lang="zh-CN" altLang="en-US" sz="1100" dirty="0"/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export PATH=$PATH:/</a:t>
              </a:r>
              <a:r>
                <a:rPr lang="en-US" altLang="zh-CN" sz="1100" dirty="0" err="1"/>
                <a:t>hadoop</a:t>
              </a:r>
              <a:r>
                <a:rPr lang="en-US" altLang="zh-CN" sz="1100" dirty="0"/>
                <a:t>/</a:t>
              </a:r>
              <a:r>
                <a:rPr lang="en-US" altLang="zh-CN" sz="1100" dirty="0" err="1"/>
                <a:t>sbin</a:t>
              </a:r>
              <a:r>
                <a:rPr lang="en-US" altLang="zh-CN" sz="1100" dirty="0"/>
                <a:t>:/</a:t>
              </a:r>
              <a:r>
                <a:rPr lang="en-US" altLang="zh-CN" sz="1100" dirty="0" err="1"/>
                <a:t>hadoop</a:t>
              </a:r>
              <a:r>
                <a:rPr lang="en-US" altLang="zh-CN" sz="1100" dirty="0"/>
                <a:t>/bin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source /</a:t>
              </a:r>
              <a:r>
                <a:rPr lang="en-US" altLang="zh-CN" sz="1100" dirty="0" err="1"/>
                <a:t>etc</a:t>
              </a:r>
              <a:r>
                <a:rPr lang="en-US" altLang="zh-CN" sz="1100" dirty="0"/>
                <a:t>/profile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endParaRPr lang="en-US" altLang="zh-CN" sz="1100" dirty="0"/>
            </a:p>
          </p:txBody>
        </p:sp>
      </p:grpSp>
      <p:grpSp>
        <p:nvGrpSpPr>
          <p:cNvPr id="88" name="ï$ḷîḓê">
            <a:extLst>
              <a:ext uri="{FF2B5EF4-FFF2-40B4-BE49-F238E27FC236}">
                <a16:creationId xmlns:a16="http://schemas.microsoft.com/office/drawing/2014/main" id="{A6E85AF4-BD32-473D-8330-19370FB36AA4}"/>
              </a:ext>
            </a:extLst>
          </p:cNvPr>
          <p:cNvGrpSpPr/>
          <p:nvPr/>
        </p:nvGrpSpPr>
        <p:grpSpPr>
          <a:xfrm>
            <a:off x="7206270" y="3630940"/>
            <a:ext cx="1315903" cy="1288184"/>
            <a:chOff x="660400" y="4027303"/>
            <a:chExt cx="1754537" cy="1717579"/>
          </a:xfrm>
        </p:grpSpPr>
        <p:sp>
          <p:nvSpPr>
            <p:cNvPr id="89" name="ïšľïdè">
              <a:extLst>
                <a:ext uri="{FF2B5EF4-FFF2-40B4-BE49-F238E27FC236}">
                  <a16:creationId xmlns:a16="http://schemas.microsoft.com/office/drawing/2014/main" id="{8A3A1842-613A-40EA-B697-2B2D37BFB2C8}"/>
                </a:ext>
              </a:extLst>
            </p:cNvPr>
            <p:cNvSpPr txBox="1"/>
            <p:nvPr/>
          </p:nvSpPr>
          <p:spPr>
            <a:xfrm>
              <a:off x="660400" y="4027303"/>
              <a:ext cx="1754537" cy="44669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/>
                <a:t>分布式</a:t>
              </a:r>
              <a:endParaRPr lang="id-ID" sz="1600" b="1" dirty="0"/>
            </a:p>
          </p:txBody>
        </p:sp>
        <p:sp>
          <p:nvSpPr>
            <p:cNvPr id="90" name="ï$líde">
              <a:extLst>
                <a:ext uri="{FF2B5EF4-FFF2-40B4-BE49-F238E27FC236}">
                  <a16:creationId xmlns:a16="http://schemas.microsoft.com/office/drawing/2014/main" id="{B27487D6-02DB-4BB7-802C-CC884B48573E}"/>
                </a:ext>
              </a:extLst>
            </p:cNvPr>
            <p:cNvSpPr/>
            <p:nvPr/>
          </p:nvSpPr>
          <p:spPr bwMode="auto">
            <a:xfrm>
              <a:off x="660400" y="4474004"/>
              <a:ext cx="1754537" cy="12708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zh-CN" altLang="en-US" sz="1100" dirty="0"/>
                <a:t>下一步</a:t>
              </a:r>
              <a:endParaRPr lang="en-US" altLang="zh-CN" sz="1100" dirty="0"/>
            </a:p>
          </p:txBody>
        </p:sp>
      </p:grpSp>
    </p:spTree>
    <p:extLst>
      <p:ext uri="{BB962C8B-B14F-4D97-AF65-F5344CB8AC3E}">
        <p14:creationId xmlns:p14="http://schemas.microsoft.com/office/powerpoint/2010/main" val="2579582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0"/>
    </mc:Choice>
    <mc:Fallback xmlns="">
      <p:transition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xit" presetSubtype="544" fill="hold" grpId="0" nodeType="withEffect">
                                  <p:stCondLst>
                                    <p:cond delay="259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" dur="500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53" presetClass="exit" presetSubtype="544" fill="hold" grpId="0" nodeType="withEffect">
                                  <p:stCondLst>
                                    <p:cond delay="4"/>
                                  </p:stCondLst>
                                  <p:childTnLst>
                                    <p:anim calcmode="lin" valueType="num">
                                      <p:cBhvr>
                                        <p:cTn id="13" dur="500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53" presetClass="exit" presetSubtype="544" fill="hold" grpId="0" nodeType="withEffect">
                                  <p:stCondLst>
                                    <p:cond delay="11"/>
                                  </p:stCondLst>
                                  <p:childTnLst>
                                    <p:anim calcmode="lin" valueType="num">
                                      <p:cBhvr>
                                        <p:cTn id="20" dur="500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500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53" presetClass="exit" presetSubtype="544" fill="hold" grpId="0" nodeType="withEffect">
                                  <p:stCondLst>
                                    <p:cond delay="232"/>
                                  </p:stCondLst>
                                  <p:childTnLst>
                                    <p:anim calcmode="lin" valueType="num">
                                      <p:cBhvr>
                                        <p:cTn id="27" dur="500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500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53" presetClass="exit" presetSubtype="544" fill="hold" grpId="0" nodeType="withEffect">
                                  <p:stCondLst>
                                    <p:cond delay="72"/>
                                  </p:stCondLst>
                                  <p:childTnLst>
                                    <p:anim calcmode="lin" valueType="num">
                                      <p:cBhvr>
                                        <p:cTn id="34" dur="500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500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53" presetClass="exit" presetSubtype="544" fill="hold" grpId="0" nodeType="withEffect">
                                  <p:stCondLst>
                                    <p:cond delay="217"/>
                                  </p:stCondLst>
                                  <p:childTnLst>
                                    <p:anim calcmode="lin" valueType="num">
                                      <p:cBhvr>
                                        <p:cTn id="41" dur="500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500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53" presetClass="exit" presetSubtype="544" fill="hold" grpId="0" nodeType="withEffect">
                                  <p:stCondLst>
                                    <p:cond delay="134"/>
                                  </p:stCondLst>
                                  <p:childTnLst>
                                    <p:anim calcmode="lin" valueType="num">
                                      <p:cBhvr>
                                        <p:cTn id="48" dur="500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0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500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53" presetClass="exit" presetSubtype="544" fill="hold" grpId="0" nodeType="withEffect">
                                  <p:stCondLst>
                                    <p:cond delay="146"/>
                                  </p:stCondLst>
                                  <p:childTnLst>
                                    <p:anim calcmode="lin" valueType="num">
                                      <p:cBhvr>
                                        <p:cTn id="55" dur="500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500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53" presetClass="exit" presetSubtype="544" fill="hold" grpId="0" nodeType="withEffect">
                                  <p:stCondLst>
                                    <p:cond delay="267"/>
                                  </p:stCondLst>
                                  <p:childTnLst>
                                    <p:anim calcmode="lin" valueType="num">
                                      <p:cBhvr>
                                        <p:cTn id="62" dur="500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500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53" presetClass="exit" presetSubtype="544" fill="hold" grpId="0" nodeType="withEffect">
                                  <p:stCondLst>
                                    <p:cond delay="207"/>
                                  </p:stCondLst>
                                  <p:childTnLst>
                                    <p:anim calcmode="lin" valueType="num">
                                      <p:cBhvr>
                                        <p:cTn id="69" dur="500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7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500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53" presetClass="exit" presetSubtype="544" fill="hold" grpId="0" nodeType="withEffect">
                                  <p:stCondLst>
                                    <p:cond delay="71"/>
                                  </p:stCondLst>
                                  <p:childTnLst>
                                    <p:anim calcmode="lin" valueType="num">
                                      <p:cBhvr>
                                        <p:cTn id="76" dur="500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78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" dur="500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53" presetClass="exit" presetSubtype="54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83" dur="500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5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6" dur="500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500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53" presetClass="exit" presetSubtype="54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90" dur="500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3" dur="500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500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6" presetID="53" presetClass="exit" presetSubtype="544" fill="hold" grpId="0" nodeType="withEffect">
                                  <p:stCondLst>
                                    <p:cond delay="8"/>
                                  </p:stCondLst>
                                  <p:childTnLst>
                                    <p:anim calcmode="lin" valueType="num">
                                      <p:cBhvr>
                                        <p:cTn id="97" dur="500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9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0" dur="500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500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53" presetClass="exit" presetSubtype="544" fill="hold" grpId="0" nodeType="withEffect">
                                  <p:stCondLst>
                                    <p:cond delay="224"/>
                                  </p:stCondLst>
                                  <p:childTnLst>
                                    <p:anim calcmode="lin" valueType="num">
                                      <p:cBhvr>
                                        <p:cTn id="104" dur="500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500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06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7" dur="500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500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53" presetClass="exit" presetSubtype="54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1" dur="500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500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13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4" dur="500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500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53" presetClass="exit" presetSubtype="544" fill="hold" nodeType="withEffect">
                                  <p:stCondLst>
                                    <p:cond delay="246"/>
                                  </p:stCondLst>
                                  <p:childTnLst>
                                    <p:anim calcmode="lin" valueType="num">
                                      <p:cBhvr>
                                        <p:cTn id="118" dur="500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500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2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1" dur="500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500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  <p:bldP spid="60" grpId="0" animBg="1"/>
      <p:bldP spid="61" grpId="0" animBg="1"/>
      <p:bldP spid="63" grpId="0" animBg="1"/>
      <p:bldP spid="64" grpId="0" animBg="1"/>
      <p:bldP spid="82" grpId="0"/>
      <p:bldP spid="83" grpId="0"/>
      <p:bldP spid="80" grpId="0"/>
      <p:bldP spid="81" grpId="0"/>
      <p:bldP spid="76" grpId="0"/>
      <p:bldP spid="77" grpId="0"/>
      <p:bldP spid="74" grpId="0"/>
      <p:bldP spid="75" grpId="0"/>
      <p:bldP spid="79" grpId="0" animBg="1"/>
      <p:bldP spid="84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000" dirty="0"/>
              <a:t>Hadoop</a:t>
            </a:r>
            <a:r>
              <a:rPr lang="zh-CN" altLang="en-US" sz="2000" dirty="0"/>
              <a:t>的部署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9</a:t>
            </a:fld>
            <a:endParaRPr lang="zh-CN" altLang="en-US"/>
          </a:p>
        </p:txBody>
      </p:sp>
      <p:sp>
        <p:nvSpPr>
          <p:cNvPr id="195" name="iṧḻîďè">
            <a:extLst>
              <a:ext uri="{FF2B5EF4-FFF2-40B4-BE49-F238E27FC236}">
                <a16:creationId xmlns:a16="http://schemas.microsoft.com/office/drawing/2014/main" id="{6FC8272D-4563-47EB-B741-E738A21C2623}"/>
              </a:ext>
            </a:extLst>
          </p:cNvPr>
          <p:cNvSpPr/>
          <p:nvPr/>
        </p:nvSpPr>
        <p:spPr bwMode="auto">
          <a:xfrm>
            <a:off x="4127680" y="4366718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搞定！</a:t>
            </a:r>
            <a:endParaRPr lang="en-US" altLang="zh-CN" b="1" dirty="0"/>
          </a:p>
        </p:txBody>
      </p:sp>
      <p:sp>
        <p:nvSpPr>
          <p:cNvPr id="196" name="îŝḻiḋé">
            <a:extLst>
              <a:ext uri="{FF2B5EF4-FFF2-40B4-BE49-F238E27FC236}">
                <a16:creationId xmlns:a16="http://schemas.microsoft.com/office/drawing/2014/main" id="{C05C75D7-4258-49B9-958F-F2EEF0B840E0}"/>
              </a:ext>
            </a:extLst>
          </p:cNvPr>
          <p:cNvSpPr/>
          <p:nvPr/>
        </p:nvSpPr>
        <p:spPr bwMode="auto">
          <a:xfrm>
            <a:off x="4532019" y="3878936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测试</a:t>
            </a:r>
            <a:endParaRPr lang="en-US" altLang="zh-CN" b="1" dirty="0"/>
          </a:p>
        </p:txBody>
      </p:sp>
      <p:sp>
        <p:nvSpPr>
          <p:cNvPr id="197" name="íṥḷíďê">
            <a:extLst>
              <a:ext uri="{FF2B5EF4-FFF2-40B4-BE49-F238E27FC236}">
                <a16:creationId xmlns:a16="http://schemas.microsoft.com/office/drawing/2014/main" id="{D4FCC7AE-5767-4EC4-BB68-B94457D3AE6D}"/>
              </a:ext>
            </a:extLst>
          </p:cNvPr>
          <p:cNvSpPr/>
          <p:nvPr/>
        </p:nvSpPr>
        <p:spPr bwMode="auto">
          <a:xfrm>
            <a:off x="4927756" y="3391154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 dirty="0">
                <a:solidFill>
                  <a:schemeClr val="bg1"/>
                </a:solidFill>
              </a:rPr>
              <a:t>配置</a:t>
            </a:r>
            <a:r>
              <a:rPr lang="en-US" altLang="zh-CN" sz="1750" b="1" dirty="0">
                <a:solidFill>
                  <a:schemeClr val="bg1"/>
                </a:solidFill>
              </a:rPr>
              <a:t>Hadoop</a:t>
            </a:r>
          </a:p>
        </p:txBody>
      </p:sp>
      <p:sp>
        <p:nvSpPr>
          <p:cNvPr id="198" name="ïś1ïḓè">
            <a:extLst>
              <a:ext uri="{FF2B5EF4-FFF2-40B4-BE49-F238E27FC236}">
                <a16:creationId xmlns:a16="http://schemas.microsoft.com/office/drawing/2014/main" id="{F32E844B-E27C-4A92-9B60-95E4AD88D81F}"/>
              </a:ext>
            </a:extLst>
          </p:cNvPr>
          <p:cNvSpPr/>
          <p:nvPr/>
        </p:nvSpPr>
        <p:spPr bwMode="auto">
          <a:xfrm>
            <a:off x="5331236" y="2903372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 dirty="0"/>
              <a:t>安装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9" name="îśļïḍè">
            <a:extLst>
              <a:ext uri="{FF2B5EF4-FFF2-40B4-BE49-F238E27FC236}">
                <a16:creationId xmlns:a16="http://schemas.microsoft.com/office/drawing/2014/main" id="{F812BB55-77DE-4E23-95E6-156A22FAD363}"/>
              </a:ext>
            </a:extLst>
          </p:cNvPr>
          <p:cNvSpPr/>
          <p:nvPr/>
        </p:nvSpPr>
        <p:spPr bwMode="auto">
          <a:xfrm>
            <a:off x="5707535" y="2415589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配置</a:t>
            </a:r>
            <a:r>
              <a:rPr lang="en-US" altLang="zh-CN" b="1" dirty="0"/>
              <a:t>JAVA</a:t>
            </a:r>
          </a:p>
        </p:txBody>
      </p:sp>
      <p:sp>
        <p:nvSpPr>
          <p:cNvPr id="200" name="ï$1íḍé">
            <a:extLst>
              <a:ext uri="{FF2B5EF4-FFF2-40B4-BE49-F238E27FC236}">
                <a16:creationId xmlns:a16="http://schemas.microsoft.com/office/drawing/2014/main" id="{48245F16-84E7-4201-9485-85B5E5B15ECD}"/>
              </a:ext>
            </a:extLst>
          </p:cNvPr>
          <p:cNvSpPr/>
          <p:nvPr/>
        </p:nvSpPr>
        <p:spPr bwMode="auto">
          <a:xfrm>
            <a:off x="6097761" y="1927807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安装</a:t>
            </a:r>
            <a:r>
              <a:rPr lang="en-US" altLang="zh-CN" b="1" dirty="0"/>
              <a:t>JAVA</a:t>
            </a:r>
          </a:p>
        </p:txBody>
      </p:sp>
      <p:sp>
        <p:nvSpPr>
          <p:cNvPr id="201" name="îṥľïďê">
            <a:extLst>
              <a:ext uri="{FF2B5EF4-FFF2-40B4-BE49-F238E27FC236}">
                <a16:creationId xmlns:a16="http://schemas.microsoft.com/office/drawing/2014/main" id="{920DFBAA-02E5-4206-86B0-FE10F93A7509}"/>
              </a:ext>
            </a:extLst>
          </p:cNvPr>
          <p:cNvSpPr/>
          <p:nvPr/>
        </p:nvSpPr>
        <p:spPr bwMode="auto">
          <a:xfrm>
            <a:off x="3815241" y="3025429"/>
            <a:ext cx="2806439" cy="929672"/>
          </a:xfrm>
          <a:custGeom>
            <a:avLst/>
            <a:gdLst>
              <a:gd name="T0" fmla="*/ 179 w 203"/>
              <a:gd name="T1" fmla="*/ 82 h 82"/>
              <a:gd name="T2" fmla="*/ 203 w 203"/>
              <a:gd name="T3" fmla="*/ 29 h 82"/>
              <a:gd name="T4" fmla="*/ 65 w 203"/>
              <a:gd name="T5" fmla="*/ 27 h 82"/>
              <a:gd name="T6" fmla="*/ 59 w 203"/>
              <a:gd name="T7" fmla="*/ 0 h 82"/>
              <a:gd name="T8" fmla="*/ 59 w 203"/>
              <a:gd name="T9" fmla="*/ 0 h 82"/>
              <a:gd name="T10" fmla="*/ 0 w 203"/>
              <a:gd name="T11" fmla="*/ 80 h 82"/>
              <a:gd name="T12" fmla="*/ 61 w 203"/>
              <a:gd name="T13" fmla="*/ 82 h 82"/>
              <a:gd name="T14" fmla="*/ 179 w 203"/>
              <a:gd name="T15" fmla="*/ 8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3" h="82">
                <a:moveTo>
                  <a:pt x="179" y="82"/>
                </a:moveTo>
                <a:lnTo>
                  <a:pt x="203" y="29"/>
                </a:lnTo>
                <a:lnTo>
                  <a:pt x="65" y="27"/>
                </a:lnTo>
                <a:lnTo>
                  <a:pt x="59" y="0"/>
                </a:lnTo>
                <a:lnTo>
                  <a:pt x="59" y="0"/>
                </a:lnTo>
                <a:lnTo>
                  <a:pt x="0" y="80"/>
                </a:lnTo>
                <a:lnTo>
                  <a:pt x="61" y="82"/>
                </a:lnTo>
                <a:lnTo>
                  <a:pt x="179" y="8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2" name="i$ḻíḋè">
            <a:extLst>
              <a:ext uri="{FF2B5EF4-FFF2-40B4-BE49-F238E27FC236}">
                <a16:creationId xmlns:a16="http://schemas.microsoft.com/office/drawing/2014/main" id="{430BE7EB-B6F0-4F05-80EA-1F517165029F}"/>
              </a:ext>
            </a:extLst>
          </p:cNvPr>
          <p:cNvSpPr/>
          <p:nvPr/>
        </p:nvSpPr>
        <p:spPr bwMode="auto">
          <a:xfrm>
            <a:off x="5924572" y="1927807"/>
            <a:ext cx="1048730" cy="185748"/>
          </a:xfrm>
          <a:prstGeom prst="triangle">
            <a:avLst>
              <a:gd name="adj" fmla="val 14726"/>
            </a:avLst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3" name="işľiḋe">
            <a:extLst>
              <a:ext uri="{FF2B5EF4-FFF2-40B4-BE49-F238E27FC236}">
                <a16:creationId xmlns:a16="http://schemas.microsoft.com/office/drawing/2014/main" id="{E4DECB97-43D1-4D26-8C48-41447675AE79}"/>
              </a:ext>
            </a:extLst>
          </p:cNvPr>
          <p:cNvSpPr/>
          <p:nvPr/>
        </p:nvSpPr>
        <p:spPr bwMode="auto">
          <a:xfrm>
            <a:off x="2656434" y="1800983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4" name="iś1íďé">
            <a:extLst>
              <a:ext uri="{FF2B5EF4-FFF2-40B4-BE49-F238E27FC236}">
                <a16:creationId xmlns:a16="http://schemas.microsoft.com/office/drawing/2014/main" id="{6E7EA96A-F20A-4912-AC31-63A0F19E66DE}"/>
              </a:ext>
            </a:extLst>
          </p:cNvPr>
          <p:cNvSpPr/>
          <p:nvPr/>
        </p:nvSpPr>
        <p:spPr bwMode="auto">
          <a:xfrm>
            <a:off x="2246957" y="2288765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5" name="ïŝlíḋe">
            <a:extLst>
              <a:ext uri="{FF2B5EF4-FFF2-40B4-BE49-F238E27FC236}">
                <a16:creationId xmlns:a16="http://schemas.microsoft.com/office/drawing/2014/main" id="{66D30D6F-26C9-4C2C-BC01-900AC07DC57E}"/>
              </a:ext>
            </a:extLst>
          </p:cNvPr>
          <p:cNvSpPr/>
          <p:nvPr/>
        </p:nvSpPr>
        <p:spPr bwMode="auto">
          <a:xfrm>
            <a:off x="1832342" y="2776548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6" name="îSliďè">
            <a:extLst>
              <a:ext uri="{FF2B5EF4-FFF2-40B4-BE49-F238E27FC236}">
                <a16:creationId xmlns:a16="http://schemas.microsoft.com/office/drawing/2014/main" id="{2F6D5554-EACD-4DDD-892F-2E5F97A9C421}"/>
              </a:ext>
            </a:extLst>
          </p:cNvPr>
          <p:cNvSpPr/>
          <p:nvPr/>
        </p:nvSpPr>
        <p:spPr bwMode="auto">
          <a:xfrm>
            <a:off x="1422890" y="3264330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7" name="îSliďé">
            <a:extLst>
              <a:ext uri="{FF2B5EF4-FFF2-40B4-BE49-F238E27FC236}">
                <a16:creationId xmlns:a16="http://schemas.microsoft.com/office/drawing/2014/main" id="{2E278F3F-C8D8-4E2A-A3EA-29ADCF1A02AA}"/>
              </a:ext>
            </a:extLst>
          </p:cNvPr>
          <p:cNvSpPr/>
          <p:nvPr/>
        </p:nvSpPr>
        <p:spPr bwMode="auto">
          <a:xfrm>
            <a:off x="1013267" y="3752112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8" name="îs1iďé">
            <a:extLst>
              <a:ext uri="{FF2B5EF4-FFF2-40B4-BE49-F238E27FC236}">
                <a16:creationId xmlns:a16="http://schemas.microsoft.com/office/drawing/2014/main" id="{EB74D0C2-5677-4F3F-A043-44D01A3F3D48}"/>
              </a:ext>
            </a:extLst>
          </p:cNvPr>
          <p:cNvSpPr/>
          <p:nvPr/>
        </p:nvSpPr>
        <p:spPr bwMode="auto">
          <a:xfrm>
            <a:off x="603765" y="4239894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9" name="ïṣḻïḋe">
            <a:extLst>
              <a:ext uri="{FF2B5EF4-FFF2-40B4-BE49-F238E27FC236}">
                <a16:creationId xmlns:a16="http://schemas.microsoft.com/office/drawing/2014/main" id="{7709F84E-C33F-462F-B538-51CB71C9284E}"/>
              </a:ext>
            </a:extLst>
          </p:cNvPr>
          <p:cNvSpPr/>
          <p:nvPr/>
        </p:nvSpPr>
        <p:spPr bwMode="auto">
          <a:xfrm>
            <a:off x="3339328" y="2225720"/>
            <a:ext cx="283355" cy="282961"/>
          </a:xfrm>
          <a:custGeom>
            <a:avLst/>
            <a:gdLst>
              <a:gd name="T0" fmla="*/ 400 w 11264"/>
              <a:gd name="T1" fmla="*/ 7099 h 11264"/>
              <a:gd name="T2" fmla="*/ 4165 w 11264"/>
              <a:gd name="T3" fmla="*/ 7099 h 11264"/>
              <a:gd name="T4" fmla="*/ 4165 w 11264"/>
              <a:gd name="T5" fmla="*/ 10864 h 11264"/>
              <a:gd name="T6" fmla="*/ 4565 w 11264"/>
              <a:gd name="T7" fmla="*/ 11264 h 11264"/>
              <a:gd name="T8" fmla="*/ 6699 w 11264"/>
              <a:gd name="T9" fmla="*/ 11264 h 11264"/>
              <a:gd name="T10" fmla="*/ 7099 w 11264"/>
              <a:gd name="T11" fmla="*/ 10864 h 11264"/>
              <a:gd name="T12" fmla="*/ 7099 w 11264"/>
              <a:gd name="T13" fmla="*/ 7099 h 11264"/>
              <a:gd name="T14" fmla="*/ 10864 w 11264"/>
              <a:gd name="T15" fmla="*/ 7099 h 11264"/>
              <a:gd name="T16" fmla="*/ 11264 w 11264"/>
              <a:gd name="T17" fmla="*/ 6699 h 11264"/>
              <a:gd name="T18" fmla="*/ 11264 w 11264"/>
              <a:gd name="T19" fmla="*/ 4565 h 11264"/>
              <a:gd name="T20" fmla="*/ 10864 w 11264"/>
              <a:gd name="T21" fmla="*/ 4165 h 11264"/>
              <a:gd name="T22" fmla="*/ 7099 w 11264"/>
              <a:gd name="T23" fmla="*/ 4165 h 11264"/>
              <a:gd name="T24" fmla="*/ 7099 w 11264"/>
              <a:gd name="T25" fmla="*/ 400 h 11264"/>
              <a:gd name="T26" fmla="*/ 6699 w 11264"/>
              <a:gd name="T27" fmla="*/ 0 h 11264"/>
              <a:gd name="T28" fmla="*/ 4565 w 11264"/>
              <a:gd name="T29" fmla="*/ 0 h 11264"/>
              <a:gd name="T30" fmla="*/ 4165 w 11264"/>
              <a:gd name="T31" fmla="*/ 400 h 11264"/>
              <a:gd name="T32" fmla="*/ 4165 w 11264"/>
              <a:gd name="T33" fmla="*/ 4165 h 11264"/>
              <a:gd name="T34" fmla="*/ 400 w 11264"/>
              <a:gd name="T35" fmla="*/ 4165 h 11264"/>
              <a:gd name="T36" fmla="*/ 0 w 11264"/>
              <a:gd name="T37" fmla="*/ 4565 h 11264"/>
              <a:gd name="T38" fmla="*/ 0 w 11264"/>
              <a:gd name="T39" fmla="*/ 6699 h 11264"/>
              <a:gd name="T40" fmla="*/ 400 w 11264"/>
              <a:gd name="T41" fmla="*/ 7099 h 11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264" h="11264">
                <a:moveTo>
                  <a:pt x="400" y="7099"/>
                </a:moveTo>
                <a:lnTo>
                  <a:pt x="4165" y="7099"/>
                </a:lnTo>
                <a:lnTo>
                  <a:pt x="4165" y="10864"/>
                </a:lnTo>
                <a:cubicBezTo>
                  <a:pt x="4165" y="11085"/>
                  <a:pt x="4344" y="11264"/>
                  <a:pt x="4565" y="11264"/>
                </a:cubicBezTo>
                <a:lnTo>
                  <a:pt x="6699" y="11264"/>
                </a:lnTo>
                <a:cubicBezTo>
                  <a:pt x="6920" y="11264"/>
                  <a:pt x="7099" y="11085"/>
                  <a:pt x="7099" y="10864"/>
                </a:cubicBezTo>
                <a:lnTo>
                  <a:pt x="7099" y="7099"/>
                </a:lnTo>
                <a:lnTo>
                  <a:pt x="10864" y="7099"/>
                </a:lnTo>
                <a:cubicBezTo>
                  <a:pt x="11085" y="7099"/>
                  <a:pt x="11264" y="6920"/>
                  <a:pt x="11264" y="6699"/>
                </a:cubicBezTo>
                <a:lnTo>
                  <a:pt x="11264" y="4565"/>
                </a:lnTo>
                <a:cubicBezTo>
                  <a:pt x="11264" y="4344"/>
                  <a:pt x="11085" y="4165"/>
                  <a:pt x="10864" y="4165"/>
                </a:cubicBezTo>
                <a:lnTo>
                  <a:pt x="7099" y="4165"/>
                </a:lnTo>
                <a:lnTo>
                  <a:pt x="7099" y="400"/>
                </a:lnTo>
                <a:cubicBezTo>
                  <a:pt x="7099" y="179"/>
                  <a:pt x="6920" y="0"/>
                  <a:pt x="6699" y="0"/>
                </a:cubicBezTo>
                <a:lnTo>
                  <a:pt x="4565" y="0"/>
                </a:lnTo>
                <a:cubicBezTo>
                  <a:pt x="4344" y="0"/>
                  <a:pt x="4165" y="179"/>
                  <a:pt x="4165" y="400"/>
                </a:cubicBezTo>
                <a:lnTo>
                  <a:pt x="4165" y="4165"/>
                </a:lnTo>
                <a:lnTo>
                  <a:pt x="400" y="4165"/>
                </a:lnTo>
                <a:cubicBezTo>
                  <a:pt x="179" y="4165"/>
                  <a:pt x="0" y="4344"/>
                  <a:pt x="0" y="4565"/>
                </a:cubicBezTo>
                <a:lnTo>
                  <a:pt x="0" y="6699"/>
                </a:lnTo>
                <a:cubicBezTo>
                  <a:pt x="0" y="6920"/>
                  <a:pt x="179" y="7099"/>
                  <a:pt x="400" y="7099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0" name="îsḷïde">
            <a:extLst>
              <a:ext uri="{FF2B5EF4-FFF2-40B4-BE49-F238E27FC236}">
                <a16:creationId xmlns:a16="http://schemas.microsoft.com/office/drawing/2014/main" id="{F7027C89-1BCC-4A00-9535-016DE4C49FD7}"/>
              </a:ext>
            </a:extLst>
          </p:cNvPr>
          <p:cNvSpPr/>
          <p:nvPr/>
        </p:nvSpPr>
        <p:spPr bwMode="auto">
          <a:xfrm>
            <a:off x="2952042" y="2707851"/>
            <a:ext cx="277477" cy="283355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  <a:gd name="connsiteX107" fmla="*/ 373273 h 605239"/>
              <a:gd name="connsiteY107" fmla="*/ 373273 h 605239"/>
              <a:gd name="connsiteX108" fmla="*/ 373273 h 605239"/>
              <a:gd name="connsiteY108" fmla="*/ 373273 h 605239"/>
              <a:gd name="connsiteX109" fmla="*/ 373273 h 605239"/>
              <a:gd name="connsiteY109" fmla="*/ 373273 h 605239"/>
              <a:gd name="connsiteX110" fmla="*/ 373273 h 605239"/>
              <a:gd name="connsiteY110" fmla="*/ 373273 h 605239"/>
              <a:gd name="connsiteX111" fmla="*/ 373273 h 605239"/>
              <a:gd name="connsiteY111" fmla="*/ 373273 h 605239"/>
              <a:gd name="connsiteX112" fmla="*/ 373273 h 605239"/>
              <a:gd name="connsiteY112" fmla="*/ 373273 h 605239"/>
              <a:gd name="connsiteX113" fmla="*/ 373273 h 605239"/>
              <a:gd name="connsiteY113" fmla="*/ 373273 h 605239"/>
              <a:gd name="connsiteX114" fmla="*/ 373273 h 605239"/>
              <a:gd name="connsiteY114" fmla="*/ 373273 h 605239"/>
              <a:gd name="connsiteX115" fmla="*/ 373273 h 605239"/>
              <a:gd name="connsiteY115" fmla="*/ 373273 h 605239"/>
              <a:gd name="connsiteX116" fmla="*/ 373273 h 605239"/>
              <a:gd name="connsiteY116" fmla="*/ 373273 h 605239"/>
              <a:gd name="connsiteX117" fmla="*/ 373273 h 605239"/>
              <a:gd name="connsiteY117" fmla="*/ 373273 h 605239"/>
              <a:gd name="connsiteX118" fmla="*/ 373273 h 605239"/>
              <a:gd name="connsiteY118" fmla="*/ 373273 h 605239"/>
              <a:gd name="connsiteX119" fmla="*/ 373273 h 605239"/>
              <a:gd name="connsiteY119" fmla="*/ 373273 h 605239"/>
              <a:gd name="connsiteX120" fmla="*/ 373273 h 605239"/>
              <a:gd name="connsiteY120" fmla="*/ 373273 h 605239"/>
              <a:gd name="connsiteX121" fmla="*/ 373273 h 605239"/>
              <a:gd name="connsiteY121" fmla="*/ 373273 h 605239"/>
              <a:gd name="connsiteX122" fmla="*/ 373273 h 605239"/>
              <a:gd name="connsiteY122" fmla="*/ 373273 h 605239"/>
              <a:gd name="connsiteX123" fmla="*/ 373273 h 605239"/>
              <a:gd name="connsiteY123" fmla="*/ 373273 h 605239"/>
              <a:gd name="connsiteX124" fmla="*/ 373273 h 605239"/>
              <a:gd name="connsiteY124" fmla="*/ 373273 h 605239"/>
              <a:gd name="connsiteX125" fmla="*/ 373273 h 605239"/>
              <a:gd name="connsiteY125" fmla="*/ 373273 h 605239"/>
              <a:gd name="connsiteX126" fmla="*/ 373273 h 605239"/>
              <a:gd name="connsiteY126" fmla="*/ 373273 h 605239"/>
              <a:gd name="connsiteX127" fmla="*/ 373273 h 605239"/>
              <a:gd name="connsiteY127" fmla="*/ 373273 h 605239"/>
              <a:gd name="connsiteX128" fmla="*/ 373273 h 605239"/>
              <a:gd name="connsiteY128" fmla="*/ 373273 h 605239"/>
              <a:gd name="connsiteX129" fmla="*/ 373273 h 605239"/>
              <a:gd name="connsiteY12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593733" h="606309">
                <a:moveTo>
                  <a:pt x="353250" y="302855"/>
                </a:moveTo>
                <a:cubicBezTo>
                  <a:pt x="318468" y="302855"/>
                  <a:pt x="290232" y="331146"/>
                  <a:pt x="290232" y="365879"/>
                </a:cubicBezTo>
                <a:cubicBezTo>
                  <a:pt x="290232" y="374189"/>
                  <a:pt x="296964" y="380912"/>
                  <a:pt x="305285" y="380912"/>
                </a:cubicBezTo>
                <a:cubicBezTo>
                  <a:pt x="313607" y="380912"/>
                  <a:pt x="320338" y="374189"/>
                  <a:pt x="320338" y="365879"/>
                </a:cubicBezTo>
                <a:cubicBezTo>
                  <a:pt x="320338" y="347672"/>
                  <a:pt x="335111" y="333014"/>
                  <a:pt x="353250" y="333014"/>
                </a:cubicBezTo>
                <a:cubicBezTo>
                  <a:pt x="361665" y="333014"/>
                  <a:pt x="368397" y="326291"/>
                  <a:pt x="368397" y="317888"/>
                </a:cubicBezTo>
                <a:cubicBezTo>
                  <a:pt x="368397" y="309578"/>
                  <a:pt x="361665" y="302855"/>
                  <a:pt x="353250" y="302855"/>
                </a:cubicBezTo>
                <a:close/>
                <a:moveTo>
                  <a:pt x="353250" y="265041"/>
                </a:moveTo>
                <a:cubicBezTo>
                  <a:pt x="409163" y="265041"/>
                  <a:pt x="454229" y="310232"/>
                  <a:pt x="454229" y="365879"/>
                </a:cubicBezTo>
                <a:cubicBezTo>
                  <a:pt x="454229" y="421527"/>
                  <a:pt x="408976" y="466717"/>
                  <a:pt x="353250" y="466717"/>
                </a:cubicBezTo>
                <a:cubicBezTo>
                  <a:pt x="297525" y="466717"/>
                  <a:pt x="252271" y="421527"/>
                  <a:pt x="252271" y="365879"/>
                </a:cubicBezTo>
                <a:cubicBezTo>
                  <a:pt x="252271" y="310232"/>
                  <a:pt x="297431" y="265041"/>
                  <a:pt x="353250" y="265041"/>
                </a:cubicBezTo>
                <a:close/>
                <a:moveTo>
                  <a:pt x="427779" y="133781"/>
                </a:moveTo>
                <a:cubicBezTo>
                  <a:pt x="432818" y="131960"/>
                  <a:pt x="438547" y="132054"/>
                  <a:pt x="443784" y="134482"/>
                </a:cubicBezTo>
                <a:lnTo>
                  <a:pt x="473245" y="148209"/>
                </a:lnTo>
                <a:cubicBezTo>
                  <a:pt x="483720" y="153158"/>
                  <a:pt x="488209" y="165671"/>
                  <a:pt x="483346" y="176130"/>
                </a:cubicBezTo>
                <a:lnTo>
                  <a:pt x="470252" y="203957"/>
                </a:lnTo>
                <a:cubicBezTo>
                  <a:pt x="492231" y="219646"/>
                  <a:pt x="511123" y="240003"/>
                  <a:pt x="525526" y="264095"/>
                </a:cubicBezTo>
                <a:lnTo>
                  <a:pt x="554426" y="253636"/>
                </a:lnTo>
                <a:cubicBezTo>
                  <a:pt x="565368" y="249714"/>
                  <a:pt x="577340" y="255411"/>
                  <a:pt x="581361" y="266243"/>
                </a:cubicBezTo>
                <a:lnTo>
                  <a:pt x="592491" y="296592"/>
                </a:lnTo>
                <a:cubicBezTo>
                  <a:pt x="596419" y="307612"/>
                  <a:pt x="590714" y="319564"/>
                  <a:pt x="579865" y="323486"/>
                </a:cubicBezTo>
                <a:lnTo>
                  <a:pt x="550965" y="333945"/>
                </a:lnTo>
                <a:cubicBezTo>
                  <a:pt x="555455" y="361586"/>
                  <a:pt x="553958" y="389414"/>
                  <a:pt x="547224" y="415561"/>
                </a:cubicBezTo>
                <a:lnTo>
                  <a:pt x="575095" y="428634"/>
                </a:lnTo>
                <a:cubicBezTo>
                  <a:pt x="585570" y="433490"/>
                  <a:pt x="590059" y="445910"/>
                  <a:pt x="585102" y="456649"/>
                </a:cubicBezTo>
                <a:lnTo>
                  <a:pt x="571354" y="485970"/>
                </a:lnTo>
                <a:cubicBezTo>
                  <a:pt x="566397" y="496429"/>
                  <a:pt x="553958" y="500911"/>
                  <a:pt x="543483" y="496056"/>
                </a:cubicBezTo>
                <a:lnTo>
                  <a:pt x="515238" y="482982"/>
                </a:lnTo>
                <a:cubicBezTo>
                  <a:pt x="499526" y="504833"/>
                  <a:pt x="479137" y="523510"/>
                  <a:pt x="455007" y="537704"/>
                </a:cubicBezTo>
                <a:lnTo>
                  <a:pt x="465763" y="567026"/>
                </a:lnTo>
                <a:cubicBezTo>
                  <a:pt x="469784" y="578045"/>
                  <a:pt x="463986" y="589997"/>
                  <a:pt x="453137" y="593919"/>
                </a:cubicBezTo>
                <a:lnTo>
                  <a:pt x="422741" y="605032"/>
                </a:lnTo>
                <a:cubicBezTo>
                  <a:pt x="411798" y="609047"/>
                  <a:pt x="399827" y="603258"/>
                  <a:pt x="395805" y="592425"/>
                </a:cubicBezTo>
                <a:lnTo>
                  <a:pt x="385050" y="562823"/>
                </a:lnTo>
                <a:cubicBezTo>
                  <a:pt x="357646" y="567212"/>
                  <a:pt x="330056" y="565718"/>
                  <a:pt x="304149" y="558995"/>
                </a:cubicBezTo>
                <a:lnTo>
                  <a:pt x="290682" y="587756"/>
                </a:lnTo>
                <a:cubicBezTo>
                  <a:pt x="285725" y="598215"/>
                  <a:pt x="273192" y="602697"/>
                  <a:pt x="262717" y="597841"/>
                </a:cubicBezTo>
                <a:lnTo>
                  <a:pt x="233350" y="584114"/>
                </a:lnTo>
                <a:cubicBezTo>
                  <a:pt x="222875" y="579165"/>
                  <a:pt x="218385" y="566652"/>
                  <a:pt x="223249" y="556193"/>
                </a:cubicBezTo>
                <a:lnTo>
                  <a:pt x="236810" y="527338"/>
                </a:lnTo>
                <a:cubicBezTo>
                  <a:pt x="215112" y="511650"/>
                  <a:pt x="196407" y="491480"/>
                  <a:pt x="182284" y="467668"/>
                </a:cubicBezTo>
                <a:lnTo>
                  <a:pt x="152169" y="478687"/>
                </a:lnTo>
                <a:cubicBezTo>
                  <a:pt x="141133" y="482609"/>
                  <a:pt x="129161" y="476912"/>
                  <a:pt x="125233" y="466080"/>
                </a:cubicBezTo>
                <a:lnTo>
                  <a:pt x="114104" y="435731"/>
                </a:lnTo>
                <a:cubicBezTo>
                  <a:pt x="110082" y="424712"/>
                  <a:pt x="115881" y="412759"/>
                  <a:pt x="126730" y="408837"/>
                </a:cubicBezTo>
                <a:lnTo>
                  <a:pt x="156845" y="397818"/>
                </a:lnTo>
                <a:cubicBezTo>
                  <a:pt x="153852" y="379422"/>
                  <a:pt x="153478" y="361026"/>
                  <a:pt x="155629" y="342910"/>
                </a:cubicBezTo>
                <a:lnTo>
                  <a:pt x="158622" y="343097"/>
                </a:lnTo>
                <a:cubicBezTo>
                  <a:pt x="181162" y="344030"/>
                  <a:pt x="200522" y="327408"/>
                  <a:pt x="203141" y="305370"/>
                </a:cubicBezTo>
                <a:cubicBezTo>
                  <a:pt x="207723" y="303876"/>
                  <a:pt x="212119" y="302195"/>
                  <a:pt x="216515" y="300515"/>
                </a:cubicBezTo>
                <a:cubicBezTo>
                  <a:pt x="220349" y="304063"/>
                  <a:pt x="224745" y="306958"/>
                  <a:pt x="229609" y="308919"/>
                </a:cubicBezTo>
                <a:cubicBezTo>
                  <a:pt x="219227" y="330957"/>
                  <a:pt x="214831" y="355983"/>
                  <a:pt x="217824" y="381943"/>
                </a:cubicBezTo>
                <a:cubicBezTo>
                  <a:pt x="226709" y="456462"/>
                  <a:pt x="294329" y="509876"/>
                  <a:pt x="368963" y="501192"/>
                </a:cubicBezTo>
                <a:cubicBezTo>
                  <a:pt x="443691" y="492320"/>
                  <a:pt x="497188" y="424899"/>
                  <a:pt x="488490" y="350287"/>
                </a:cubicBezTo>
                <a:cubicBezTo>
                  <a:pt x="479605" y="275675"/>
                  <a:pt x="411985" y="222260"/>
                  <a:pt x="337351" y="231038"/>
                </a:cubicBezTo>
                <a:cubicBezTo>
                  <a:pt x="324632" y="232532"/>
                  <a:pt x="312473" y="235707"/>
                  <a:pt x="301156" y="240376"/>
                </a:cubicBezTo>
                <a:cubicBezTo>
                  <a:pt x="299660" y="236268"/>
                  <a:pt x="297509" y="232345"/>
                  <a:pt x="294797" y="228890"/>
                </a:cubicBezTo>
                <a:cubicBezTo>
                  <a:pt x="297041" y="224688"/>
                  <a:pt x="299005" y="220393"/>
                  <a:pt x="300782" y="216097"/>
                </a:cubicBezTo>
                <a:cubicBezTo>
                  <a:pt x="311164" y="215817"/>
                  <a:pt x="320891" y="211802"/>
                  <a:pt x="328466" y="204891"/>
                </a:cubicBezTo>
                <a:cubicBezTo>
                  <a:pt x="336977" y="197141"/>
                  <a:pt x="341934" y="186589"/>
                  <a:pt x="342402" y="175103"/>
                </a:cubicBezTo>
                <a:lnTo>
                  <a:pt x="342776" y="166978"/>
                </a:lnTo>
                <a:cubicBezTo>
                  <a:pt x="363164" y="165764"/>
                  <a:pt x="383460" y="167912"/>
                  <a:pt x="402820" y="172768"/>
                </a:cubicBezTo>
                <a:lnTo>
                  <a:pt x="415913" y="144567"/>
                </a:lnTo>
                <a:cubicBezTo>
                  <a:pt x="418392" y="139338"/>
                  <a:pt x="422741" y="135602"/>
                  <a:pt x="427779" y="133781"/>
                </a:cubicBezTo>
                <a:close/>
                <a:moveTo>
                  <a:pt x="159906" y="88589"/>
                </a:moveTo>
                <a:cubicBezTo>
                  <a:pt x="142487" y="87818"/>
                  <a:pt x="124764" y="93678"/>
                  <a:pt x="110828" y="106378"/>
                </a:cubicBezTo>
                <a:cubicBezTo>
                  <a:pt x="96145" y="119731"/>
                  <a:pt x="88663" y="138127"/>
                  <a:pt x="88663" y="156523"/>
                </a:cubicBezTo>
                <a:cubicBezTo>
                  <a:pt x="88663" y="172958"/>
                  <a:pt x="94555" y="189393"/>
                  <a:pt x="106526" y="202467"/>
                </a:cubicBezTo>
                <a:cubicBezTo>
                  <a:pt x="131965" y="230294"/>
                  <a:pt x="175081" y="232162"/>
                  <a:pt x="202764" y="206762"/>
                </a:cubicBezTo>
                <a:cubicBezTo>
                  <a:pt x="217448" y="193409"/>
                  <a:pt x="224930" y="175013"/>
                  <a:pt x="224930" y="156523"/>
                </a:cubicBezTo>
                <a:cubicBezTo>
                  <a:pt x="224930" y="140088"/>
                  <a:pt x="219132" y="123653"/>
                  <a:pt x="207160" y="110580"/>
                </a:cubicBezTo>
                <a:cubicBezTo>
                  <a:pt x="194441" y="96760"/>
                  <a:pt x="177325" y="89359"/>
                  <a:pt x="159906" y="88589"/>
                </a:cubicBezTo>
                <a:close/>
                <a:moveTo>
                  <a:pt x="153289" y="17"/>
                </a:moveTo>
                <a:lnTo>
                  <a:pt x="173678" y="951"/>
                </a:lnTo>
                <a:cubicBezTo>
                  <a:pt x="180786" y="1325"/>
                  <a:pt x="186304" y="7114"/>
                  <a:pt x="186304" y="14118"/>
                </a:cubicBezTo>
                <a:lnTo>
                  <a:pt x="186304" y="14771"/>
                </a:lnTo>
                <a:lnTo>
                  <a:pt x="185462" y="34755"/>
                </a:lnTo>
                <a:cubicBezTo>
                  <a:pt x="201923" y="38677"/>
                  <a:pt x="217729" y="45774"/>
                  <a:pt x="231851" y="56232"/>
                </a:cubicBezTo>
                <a:lnTo>
                  <a:pt x="246535" y="42786"/>
                </a:lnTo>
                <a:cubicBezTo>
                  <a:pt x="251866" y="37930"/>
                  <a:pt x="260283" y="38303"/>
                  <a:pt x="265240" y="43626"/>
                </a:cubicBezTo>
                <a:lnTo>
                  <a:pt x="279082" y="58660"/>
                </a:lnTo>
                <a:cubicBezTo>
                  <a:pt x="281420" y="61275"/>
                  <a:pt x="282542" y="64450"/>
                  <a:pt x="282542" y="67625"/>
                </a:cubicBezTo>
                <a:cubicBezTo>
                  <a:pt x="282542" y="71173"/>
                  <a:pt x="281233" y="74722"/>
                  <a:pt x="278334" y="77337"/>
                </a:cubicBezTo>
                <a:lnTo>
                  <a:pt x="263744" y="90690"/>
                </a:lnTo>
                <a:cubicBezTo>
                  <a:pt x="273096" y="105537"/>
                  <a:pt x="278988" y="121973"/>
                  <a:pt x="281420" y="138781"/>
                </a:cubicBezTo>
                <a:lnTo>
                  <a:pt x="301061" y="139621"/>
                </a:lnTo>
                <a:cubicBezTo>
                  <a:pt x="308169" y="139995"/>
                  <a:pt x="313593" y="145878"/>
                  <a:pt x="313593" y="152788"/>
                </a:cubicBezTo>
                <a:lnTo>
                  <a:pt x="313593" y="153442"/>
                </a:lnTo>
                <a:lnTo>
                  <a:pt x="312751" y="173892"/>
                </a:lnTo>
                <a:cubicBezTo>
                  <a:pt x="312377" y="181083"/>
                  <a:pt x="306298" y="186779"/>
                  <a:pt x="298910" y="186405"/>
                </a:cubicBezTo>
                <a:lnTo>
                  <a:pt x="279456" y="185565"/>
                </a:lnTo>
                <a:cubicBezTo>
                  <a:pt x="275622" y="202093"/>
                  <a:pt x="268327" y="218061"/>
                  <a:pt x="257758" y="232162"/>
                </a:cubicBezTo>
                <a:lnTo>
                  <a:pt x="270852" y="246449"/>
                </a:lnTo>
                <a:cubicBezTo>
                  <a:pt x="273190" y="249064"/>
                  <a:pt x="274312" y="252145"/>
                  <a:pt x="274312" y="255414"/>
                </a:cubicBezTo>
                <a:cubicBezTo>
                  <a:pt x="274312" y="258869"/>
                  <a:pt x="273003" y="262511"/>
                  <a:pt x="270104" y="265126"/>
                </a:cubicBezTo>
                <a:lnTo>
                  <a:pt x="255046" y="278946"/>
                </a:lnTo>
                <a:cubicBezTo>
                  <a:pt x="249621" y="283802"/>
                  <a:pt x="241297" y="283428"/>
                  <a:pt x="236340" y="278106"/>
                </a:cubicBezTo>
                <a:lnTo>
                  <a:pt x="223247" y="263724"/>
                </a:lnTo>
                <a:cubicBezTo>
                  <a:pt x="208282" y="272970"/>
                  <a:pt x="191635" y="278853"/>
                  <a:pt x="174800" y="281187"/>
                </a:cubicBezTo>
                <a:lnTo>
                  <a:pt x="173958" y="300610"/>
                </a:lnTo>
                <a:cubicBezTo>
                  <a:pt x="173584" y="307801"/>
                  <a:pt x="167505" y="313590"/>
                  <a:pt x="160117" y="313217"/>
                </a:cubicBezTo>
                <a:lnTo>
                  <a:pt x="139634" y="312283"/>
                </a:lnTo>
                <a:cubicBezTo>
                  <a:pt x="132526" y="311909"/>
                  <a:pt x="127102" y="306120"/>
                  <a:pt x="127102" y="299116"/>
                </a:cubicBezTo>
                <a:lnTo>
                  <a:pt x="127102" y="298463"/>
                </a:lnTo>
                <a:lnTo>
                  <a:pt x="128037" y="279039"/>
                </a:lnTo>
                <a:cubicBezTo>
                  <a:pt x="111577" y="275211"/>
                  <a:pt x="95771" y="267834"/>
                  <a:pt x="81648" y="257281"/>
                </a:cubicBezTo>
                <a:lnTo>
                  <a:pt x="67058" y="270635"/>
                </a:lnTo>
                <a:cubicBezTo>
                  <a:pt x="61727" y="275491"/>
                  <a:pt x="53403" y="275117"/>
                  <a:pt x="48353" y="269701"/>
                </a:cubicBezTo>
                <a:lnTo>
                  <a:pt x="34511" y="254667"/>
                </a:lnTo>
                <a:cubicBezTo>
                  <a:pt x="32173" y="252052"/>
                  <a:pt x="31051" y="248970"/>
                  <a:pt x="31051" y="245702"/>
                </a:cubicBezTo>
                <a:cubicBezTo>
                  <a:pt x="31051" y="242247"/>
                  <a:pt x="32453" y="238605"/>
                  <a:pt x="35259" y="235990"/>
                </a:cubicBezTo>
                <a:lnTo>
                  <a:pt x="50036" y="222544"/>
                </a:lnTo>
                <a:cubicBezTo>
                  <a:pt x="40777" y="207696"/>
                  <a:pt x="35072" y="191261"/>
                  <a:pt x="32640" y="174639"/>
                </a:cubicBezTo>
                <a:lnTo>
                  <a:pt x="12626" y="173705"/>
                </a:lnTo>
                <a:cubicBezTo>
                  <a:pt x="5518" y="173332"/>
                  <a:pt x="0" y="167542"/>
                  <a:pt x="0" y="160539"/>
                </a:cubicBezTo>
                <a:lnTo>
                  <a:pt x="0" y="159885"/>
                </a:lnTo>
                <a:lnTo>
                  <a:pt x="842" y="139621"/>
                </a:lnTo>
                <a:cubicBezTo>
                  <a:pt x="1216" y="132431"/>
                  <a:pt x="7388" y="126642"/>
                  <a:pt x="14683" y="127015"/>
                </a:cubicBezTo>
                <a:lnTo>
                  <a:pt x="34885" y="127949"/>
                </a:lnTo>
                <a:cubicBezTo>
                  <a:pt x="38813" y="111514"/>
                  <a:pt x="46015" y="95826"/>
                  <a:pt x="56490" y="81819"/>
                </a:cubicBezTo>
                <a:lnTo>
                  <a:pt x="42741" y="66878"/>
                </a:lnTo>
                <a:cubicBezTo>
                  <a:pt x="40403" y="64263"/>
                  <a:pt x="39281" y="61182"/>
                  <a:pt x="39281" y="57913"/>
                </a:cubicBezTo>
                <a:cubicBezTo>
                  <a:pt x="39281" y="54458"/>
                  <a:pt x="40684" y="50816"/>
                  <a:pt x="43490" y="48202"/>
                </a:cubicBezTo>
                <a:lnTo>
                  <a:pt x="58641" y="34381"/>
                </a:lnTo>
                <a:cubicBezTo>
                  <a:pt x="63972" y="29526"/>
                  <a:pt x="72296" y="29899"/>
                  <a:pt x="77346" y="35315"/>
                </a:cubicBezTo>
                <a:lnTo>
                  <a:pt x="90627" y="50256"/>
                </a:lnTo>
                <a:cubicBezTo>
                  <a:pt x="105591" y="41011"/>
                  <a:pt x="121864" y="35128"/>
                  <a:pt x="138512" y="32794"/>
                </a:cubicBezTo>
                <a:lnTo>
                  <a:pt x="139447" y="12624"/>
                </a:lnTo>
                <a:cubicBezTo>
                  <a:pt x="139821" y="5433"/>
                  <a:pt x="145901" y="-356"/>
                  <a:pt x="153289" y="1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1" name="îṣḻïḓè">
            <a:extLst>
              <a:ext uri="{FF2B5EF4-FFF2-40B4-BE49-F238E27FC236}">
                <a16:creationId xmlns:a16="http://schemas.microsoft.com/office/drawing/2014/main" id="{30C8A656-A69C-4844-9B4C-38593487F7D6}"/>
              </a:ext>
            </a:extLst>
          </p:cNvPr>
          <p:cNvSpPr/>
          <p:nvPr/>
        </p:nvSpPr>
        <p:spPr bwMode="auto">
          <a:xfrm>
            <a:off x="2572805" y="3190456"/>
            <a:ext cx="283355" cy="282804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81741" h="580612">
                <a:moveTo>
                  <a:pt x="291612" y="187916"/>
                </a:moveTo>
                <a:cubicBezTo>
                  <a:pt x="304876" y="187916"/>
                  <a:pt x="315648" y="198758"/>
                  <a:pt x="315648" y="212088"/>
                </a:cubicBezTo>
                <a:lnTo>
                  <a:pt x="315648" y="491836"/>
                </a:lnTo>
                <a:lnTo>
                  <a:pt x="331227" y="473974"/>
                </a:lnTo>
                <a:cubicBezTo>
                  <a:pt x="339863" y="463932"/>
                  <a:pt x="355086" y="462866"/>
                  <a:pt x="365145" y="471574"/>
                </a:cubicBezTo>
                <a:cubicBezTo>
                  <a:pt x="375116" y="480372"/>
                  <a:pt x="376184" y="495657"/>
                  <a:pt x="367460" y="505699"/>
                </a:cubicBezTo>
                <a:lnTo>
                  <a:pt x="309773" y="572348"/>
                </a:lnTo>
                <a:cubicBezTo>
                  <a:pt x="305143" y="577502"/>
                  <a:pt x="298556" y="580612"/>
                  <a:pt x="291612" y="580612"/>
                </a:cubicBezTo>
                <a:cubicBezTo>
                  <a:pt x="284579" y="580612"/>
                  <a:pt x="278080" y="577680"/>
                  <a:pt x="273451" y="572348"/>
                </a:cubicBezTo>
                <a:lnTo>
                  <a:pt x="215764" y="505699"/>
                </a:lnTo>
                <a:cubicBezTo>
                  <a:pt x="207039" y="495657"/>
                  <a:pt x="208108" y="480372"/>
                  <a:pt x="218078" y="471574"/>
                </a:cubicBezTo>
                <a:cubicBezTo>
                  <a:pt x="228049" y="462866"/>
                  <a:pt x="243272" y="463932"/>
                  <a:pt x="252085" y="473974"/>
                </a:cubicBezTo>
                <a:lnTo>
                  <a:pt x="267486" y="491747"/>
                </a:lnTo>
                <a:lnTo>
                  <a:pt x="267486" y="212088"/>
                </a:lnTo>
                <a:cubicBezTo>
                  <a:pt x="267486" y="198758"/>
                  <a:pt x="278258" y="187916"/>
                  <a:pt x="291612" y="187916"/>
                </a:cubicBezTo>
                <a:close/>
                <a:moveTo>
                  <a:pt x="329499" y="0"/>
                </a:moveTo>
                <a:cubicBezTo>
                  <a:pt x="426248" y="0"/>
                  <a:pt x="465322" y="80426"/>
                  <a:pt x="473332" y="108153"/>
                </a:cubicBezTo>
                <a:cubicBezTo>
                  <a:pt x="535280" y="120684"/>
                  <a:pt x="581474" y="175693"/>
                  <a:pt x="581741" y="241190"/>
                </a:cubicBezTo>
                <a:cubicBezTo>
                  <a:pt x="581741" y="315840"/>
                  <a:pt x="521306" y="376537"/>
                  <a:pt x="446987" y="376537"/>
                </a:cubicBezTo>
                <a:lnTo>
                  <a:pt x="372756" y="376537"/>
                </a:lnTo>
                <a:cubicBezTo>
                  <a:pt x="359316" y="376537"/>
                  <a:pt x="348546" y="365606"/>
                  <a:pt x="348546" y="352276"/>
                </a:cubicBezTo>
                <a:cubicBezTo>
                  <a:pt x="348546" y="338857"/>
                  <a:pt x="359316" y="327926"/>
                  <a:pt x="372756" y="327926"/>
                </a:cubicBezTo>
                <a:lnTo>
                  <a:pt x="446987" y="327926"/>
                </a:lnTo>
                <a:cubicBezTo>
                  <a:pt x="494605" y="327926"/>
                  <a:pt x="533322" y="289090"/>
                  <a:pt x="533322" y="241190"/>
                </a:cubicBezTo>
                <a:cubicBezTo>
                  <a:pt x="533322" y="195334"/>
                  <a:pt x="497720" y="157298"/>
                  <a:pt x="452238" y="154632"/>
                </a:cubicBezTo>
                <a:cubicBezTo>
                  <a:pt x="440934" y="153921"/>
                  <a:pt x="431589" y="145478"/>
                  <a:pt x="429809" y="134192"/>
                </a:cubicBezTo>
                <a:cubicBezTo>
                  <a:pt x="421709" y="84692"/>
                  <a:pt x="379609" y="48789"/>
                  <a:pt x="329677" y="48789"/>
                </a:cubicBezTo>
                <a:cubicBezTo>
                  <a:pt x="279567" y="48789"/>
                  <a:pt x="238001" y="84781"/>
                  <a:pt x="229457" y="134192"/>
                </a:cubicBezTo>
                <a:cubicBezTo>
                  <a:pt x="226520" y="151521"/>
                  <a:pt x="212190" y="162807"/>
                  <a:pt x="192964" y="151077"/>
                </a:cubicBezTo>
                <a:cubicBezTo>
                  <a:pt x="178011" y="141834"/>
                  <a:pt x="160922" y="136947"/>
                  <a:pt x="143299" y="136947"/>
                </a:cubicBezTo>
                <a:cubicBezTo>
                  <a:pt x="90964" y="136947"/>
                  <a:pt x="48419" y="179693"/>
                  <a:pt x="48419" y="232303"/>
                </a:cubicBezTo>
                <a:cubicBezTo>
                  <a:pt x="48419" y="284913"/>
                  <a:pt x="90964" y="327748"/>
                  <a:pt x="143299" y="327748"/>
                </a:cubicBezTo>
                <a:lnTo>
                  <a:pt x="218776" y="327748"/>
                </a:lnTo>
                <a:cubicBezTo>
                  <a:pt x="232216" y="327748"/>
                  <a:pt x="242986" y="338590"/>
                  <a:pt x="242986" y="352009"/>
                </a:cubicBezTo>
                <a:cubicBezTo>
                  <a:pt x="242986" y="365429"/>
                  <a:pt x="232216" y="376271"/>
                  <a:pt x="218776" y="376271"/>
                </a:cubicBezTo>
                <a:lnTo>
                  <a:pt x="143299" y="376271"/>
                </a:lnTo>
                <a:cubicBezTo>
                  <a:pt x="64262" y="376271"/>
                  <a:pt x="0" y="311574"/>
                  <a:pt x="0" y="232214"/>
                </a:cubicBezTo>
                <a:cubicBezTo>
                  <a:pt x="0" y="152854"/>
                  <a:pt x="64262" y="88158"/>
                  <a:pt x="143210" y="88158"/>
                </a:cubicBezTo>
                <a:cubicBezTo>
                  <a:pt x="159231" y="88158"/>
                  <a:pt x="174896" y="90735"/>
                  <a:pt x="189849" y="95978"/>
                </a:cubicBezTo>
                <a:cubicBezTo>
                  <a:pt x="198749" y="73050"/>
                  <a:pt x="238891" y="0"/>
                  <a:pt x="329499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2" name="iş1iḑe">
            <a:extLst>
              <a:ext uri="{FF2B5EF4-FFF2-40B4-BE49-F238E27FC236}">
                <a16:creationId xmlns:a16="http://schemas.microsoft.com/office/drawing/2014/main" id="{79D5FAF9-096B-4C61-A299-6A26A276E128}"/>
              </a:ext>
            </a:extLst>
          </p:cNvPr>
          <p:cNvSpPr/>
          <p:nvPr/>
        </p:nvSpPr>
        <p:spPr bwMode="auto">
          <a:xfrm>
            <a:off x="2168646" y="3672722"/>
            <a:ext cx="283355" cy="282927"/>
          </a:xfrm>
          <a:custGeom>
            <a:avLst/>
            <a:gdLst>
              <a:gd name="connsiteX0" fmla="*/ 303820 w 607639"/>
              <a:gd name="connsiteY0" fmla="*/ 278099 h 606722"/>
              <a:gd name="connsiteX1" fmla="*/ 329118 w 607639"/>
              <a:gd name="connsiteY1" fmla="*/ 303362 h 606722"/>
              <a:gd name="connsiteX2" fmla="*/ 303820 w 607639"/>
              <a:gd name="connsiteY2" fmla="*/ 328625 h 606722"/>
              <a:gd name="connsiteX3" fmla="*/ 278522 w 607639"/>
              <a:gd name="connsiteY3" fmla="*/ 303362 h 606722"/>
              <a:gd name="connsiteX4" fmla="*/ 303820 w 607639"/>
              <a:gd name="connsiteY4" fmla="*/ 278099 h 606722"/>
              <a:gd name="connsiteX5" fmla="*/ 303775 w 607639"/>
              <a:gd name="connsiteY5" fmla="*/ 252735 h 606722"/>
              <a:gd name="connsiteX6" fmla="*/ 253140 w 607639"/>
              <a:gd name="connsiteY6" fmla="*/ 303317 h 606722"/>
              <a:gd name="connsiteX7" fmla="*/ 303775 w 607639"/>
              <a:gd name="connsiteY7" fmla="*/ 353900 h 606722"/>
              <a:gd name="connsiteX8" fmla="*/ 354410 w 607639"/>
              <a:gd name="connsiteY8" fmla="*/ 303317 h 606722"/>
              <a:gd name="connsiteX9" fmla="*/ 303775 w 607639"/>
              <a:gd name="connsiteY9" fmla="*/ 252735 h 606722"/>
              <a:gd name="connsiteX10" fmla="*/ 303775 w 607639"/>
              <a:gd name="connsiteY10" fmla="*/ 202241 h 606722"/>
              <a:gd name="connsiteX11" fmla="*/ 405045 w 607639"/>
              <a:gd name="connsiteY11" fmla="*/ 303317 h 606722"/>
              <a:gd name="connsiteX12" fmla="*/ 303775 w 607639"/>
              <a:gd name="connsiteY12" fmla="*/ 404482 h 606722"/>
              <a:gd name="connsiteX13" fmla="*/ 202593 w 607639"/>
              <a:gd name="connsiteY13" fmla="*/ 303317 h 606722"/>
              <a:gd name="connsiteX14" fmla="*/ 303775 w 607639"/>
              <a:gd name="connsiteY14" fmla="*/ 202241 h 606722"/>
              <a:gd name="connsiteX15" fmla="*/ 303775 w 607639"/>
              <a:gd name="connsiteY15" fmla="*/ 151703 h 606722"/>
              <a:gd name="connsiteX16" fmla="*/ 151932 w 607639"/>
              <a:gd name="connsiteY16" fmla="*/ 303317 h 606722"/>
              <a:gd name="connsiteX17" fmla="*/ 303775 w 607639"/>
              <a:gd name="connsiteY17" fmla="*/ 455019 h 606722"/>
              <a:gd name="connsiteX18" fmla="*/ 455707 w 607639"/>
              <a:gd name="connsiteY18" fmla="*/ 303317 h 606722"/>
              <a:gd name="connsiteX19" fmla="*/ 303775 w 607639"/>
              <a:gd name="connsiteY19" fmla="*/ 151703 h 606722"/>
              <a:gd name="connsiteX20" fmla="*/ 253131 w 607639"/>
              <a:gd name="connsiteY20" fmla="*/ 0 h 606722"/>
              <a:gd name="connsiteX21" fmla="*/ 354419 w 607639"/>
              <a:gd name="connsiteY21" fmla="*/ 0 h 606722"/>
              <a:gd name="connsiteX22" fmla="*/ 379786 w 607639"/>
              <a:gd name="connsiteY22" fmla="*/ 25239 h 606722"/>
              <a:gd name="connsiteX23" fmla="*/ 379786 w 607639"/>
              <a:gd name="connsiteY23" fmla="*/ 62387 h 606722"/>
              <a:gd name="connsiteX24" fmla="*/ 420639 w 607639"/>
              <a:gd name="connsiteY24" fmla="*/ 79451 h 606722"/>
              <a:gd name="connsiteX25" fmla="*/ 446985 w 607639"/>
              <a:gd name="connsiteY25" fmla="*/ 53145 h 606722"/>
              <a:gd name="connsiteX26" fmla="*/ 482854 w 607639"/>
              <a:gd name="connsiteY26" fmla="*/ 53145 h 606722"/>
              <a:gd name="connsiteX27" fmla="*/ 554414 w 607639"/>
              <a:gd name="connsiteY27" fmla="*/ 124597 h 606722"/>
              <a:gd name="connsiteX28" fmla="*/ 554414 w 607639"/>
              <a:gd name="connsiteY28" fmla="*/ 160323 h 606722"/>
              <a:gd name="connsiteX29" fmla="*/ 528069 w 607639"/>
              <a:gd name="connsiteY29" fmla="*/ 186629 h 606722"/>
              <a:gd name="connsiteX30" fmla="*/ 545158 w 607639"/>
              <a:gd name="connsiteY30" fmla="*/ 227510 h 606722"/>
              <a:gd name="connsiteX31" fmla="*/ 582273 w 607639"/>
              <a:gd name="connsiteY31" fmla="*/ 227510 h 606722"/>
              <a:gd name="connsiteX32" fmla="*/ 607639 w 607639"/>
              <a:gd name="connsiteY32" fmla="*/ 252749 h 606722"/>
              <a:gd name="connsiteX33" fmla="*/ 607639 w 607639"/>
              <a:gd name="connsiteY33" fmla="*/ 353884 h 606722"/>
              <a:gd name="connsiteX34" fmla="*/ 582273 w 607639"/>
              <a:gd name="connsiteY34" fmla="*/ 379212 h 606722"/>
              <a:gd name="connsiteX35" fmla="*/ 545158 w 607639"/>
              <a:gd name="connsiteY35" fmla="*/ 379212 h 606722"/>
              <a:gd name="connsiteX36" fmla="*/ 528069 w 607639"/>
              <a:gd name="connsiteY36" fmla="*/ 420004 h 606722"/>
              <a:gd name="connsiteX37" fmla="*/ 554414 w 607639"/>
              <a:gd name="connsiteY37" fmla="*/ 446310 h 606722"/>
              <a:gd name="connsiteX38" fmla="*/ 554414 w 607639"/>
              <a:gd name="connsiteY38" fmla="*/ 482125 h 606722"/>
              <a:gd name="connsiteX39" fmla="*/ 482854 w 607639"/>
              <a:gd name="connsiteY39" fmla="*/ 553577 h 606722"/>
              <a:gd name="connsiteX40" fmla="*/ 446985 w 607639"/>
              <a:gd name="connsiteY40" fmla="*/ 553577 h 606722"/>
              <a:gd name="connsiteX41" fmla="*/ 420639 w 607639"/>
              <a:gd name="connsiteY41" fmla="*/ 527271 h 606722"/>
              <a:gd name="connsiteX42" fmla="*/ 379786 w 607639"/>
              <a:gd name="connsiteY42" fmla="*/ 544246 h 606722"/>
              <a:gd name="connsiteX43" fmla="*/ 379786 w 607639"/>
              <a:gd name="connsiteY43" fmla="*/ 581394 h 606722"/>
              <a:gd name="connsiteX44" fmla="*/ 354419 w 607639"/>
              <a:gd name="connsiteY44" fmla="*/ 606722 h 606722"/>
              <a:gd name="connsiteX45" fmla="*/ 253131 w 607639"/>
              <a:gd name="connsiteY45" fmla="*/ 606722 h 606722"/>
              <a:gd name="connsiteX46" fmla="*/ 227854 w 607639"/>
              <a:gd name="connsiteY46" fmla="*/ 581394 h 606722"/>
              <a:gd name="connsiteX47" fmla="*/ 227854 w 607639"/>
              <a:gd name="connsiteY47" fmla="*/ 544246 h 606722"/>
              <a:gd name="connsiteX48" fmla="*/ 186911 w 607639"/>
              <a:gd name="connsiteY48" fmla="*/ 527271 h 606722"/>
              <a:gd name="connsiteX49" fmla="*/ 160566 w 607639"/>
              <a:gd name="connsiteY49" fmla="*/ 553577 h 606722"/>
              <a:gd name="connsiteX50" fmla="*/ 124786 w 607639"/>
              <a:gd name="connsiteY50" fmla="*/ 553577 h 606722"/>
              <a:gd name="connsiteX51" fmla="*/ 53225 w 607639"/>
              <a:gd name="connsiteY51" fmla="*/ 482125 h 606722"/>
              <a:gd name="connsiteX52" fmla="*/ 53225 w 607639"/>
              <a:gd name="connsiteY52" fmla="*/ 446310 h 606722"/>
              <a:gd name="connsiteX53" fmla="*/ 79482 w 607639"/>
              <a:gd name="connsiteY53" fmla="*/ 420004 h 606722"/>
              <a:gd name="connsiteX54" fmla="*/ 62482 w 607639"/>
              <a:gd name="connsiteY54" fmla="*/ 379212 h 606722"/>
              <a:gd name="connsiteX55" fmla="*/ 25278 w 607639"/>
              <a:gd name="connsiteY55" fmla="*/ 379212 h 606722"/>
              <a:gd name="connsiteX56" fmla="*/ 0 w 607639"/>
              <a:gd name="connsiteY56" fmla="*/ 353884 h 606722"/>
              <a:gd name="connsiteX57" fmla="*/ 0 w 607639"/>
              <a:gd name="connsiteY57" fmla="*/ 252749 h 606722"/>
              <a:gd name="connsiteX58" fmla="*/ 25278 w 607639"/>
              <a:gd name="connsiteY58" fmla="*/ 227510 h 606722"/>
              <a:gd name="connsiteX59" fmla="*/ 62482 w 607639"/>
              <a:gd name="connsiteY59" fmla="*/ 227510 h 606722"/>
              <a:gd name="connsiteX60" fmla="*/ 79482 w 607639"/>
              <a:gd name="connsiteY60" fmla="*/ 186629 h 606722"/>
              <a:gd name="connsiteX61" fmla="*/ 53225 w 607639"/>
              <a:gd name="connsiteY61" fmla="*/ 160323 h 606722"/>
              <a:gd name="connsiteX62" fmla="*/ 53225 w 607639"/>
              <a:gd name="connsiteY62" fmla="*/ 124597 h 606722"/>
              <a:gd name="connsiteX63" fmla="*/ 124786 w 607639"/>
              <a:gd name="connsiteY63" fmla="*/ 53145 h 606722"/>
              <a:gd name="connsiteX64" fmla="*/ 160566 w 607639"/>
              <a:gd name="connsiteY64" fmla="*/ 53145 h 606722"/>
              <a:gd name="connsiteX65" fmla="*/ 186911 w 607639"/>
              <a:gd name="connsiteY65" fmla="*/ 79451 h 606722"/>
              <a:gd name="connsiteX66" fmla="*/ 227854 w 607639"/>
              <a:gd name="connsiteY66" fmla="*/ 62387 h 606722"/>
              <a:gd name="connsiteX67" fmla="*/ 227854 w 607639"/>
              <a:gd name="connsiteY67" fmla="*/ 25239 h 606722"/>
              <a:gd name="connsiteX68" fmla="*/ 253131 w 607639"/>
              <a:gd name="connsiteY68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07639" h="606722">
                <a:moveTo>
                  <a:pt x="303820" y="278099"/>
                </a:moveTo>
                <a:cubicBezTo>
                  <a:pt x="317792" y="278099"/>
                  <a:pt x="329118" y="289410"/>
                  <a:pt x="329118" y="303362"/>
                </a:cubicBezTo>
                <a:cubicBezTo>
                  <a:pt x="329118" y="317314"/>
                  <a:pt x="317792" y="328625"/>
                  <a:pt x="303820" y="328625"/>
                </a:cubicBezTo>
                <a:cubicBezTo>
                  <a:pt x="289848" y="328625"/>
                  <a:pt x="278522" y="317314"/>
                  <a:pt x="278522" y="303362"/>
                </a:cubicBezTo>
                <a:cubicBezTo>
                  <a:pt x="278522" y="289410"/>
                  <a:pt x="289848" y="278099"/>
                  <a:pt x="303820" y="278099"/>
                </a:cubicBezTo>
                <a:close/>
                <a:moveTo>
                  <a:pt x="303775" y="252735"/>
                </a:moveTo>
                <a:cubicBezTo>
                  <a:pt x="275921" y="252735"/>
                  <a:pt x="253140" y="275492"/>
                  <a:pt x="253140" y="303317"/>
                </a:cubicBezTo>
                <a:cubicBezTo>
                  <a:pt x="253140" y="331231"/>
                  <a:pt x="275921" y="353900"/>
                  <a:pt x="303775" y="353900"/>
                </a:cubicBezTo>
                <a:cubicBezTo>
                  <a:pt x="331718" y="353900"/>
                  <a:pt x="354410" y="331231"/>
                  <a:pt x="354410" y="303317"/>
                </a:cubicBezTo>
                <a:cubicBezTo>
                  <a:pt x="354410" y="275492"/>
                  <a:pt x="331718" y="252735"/>
                  <a:pt x="303775" y="252735"/>
                </a:cubicBezTo>
                <a:close/>
                <a:moveTo>
                  <a:pt x="303775" y="202241"/>
                </a:moveTo>
                <a:cubicBezTo>
                  <a:pt x="359660" y="202241"/>
                  <a:pt x="405045" y="247579"/>
                  <a:pt x="405045" y="303317"/>
                </a:cubicBezTo>
                <a:cubicBezTo>
                  <a:pt x="405045" y="359144"/>
                  <a:pt x="359660" y="404482"/>
                  <a:pt x="303775" y="404482"/>
                </a:cubicBezTo>
                <a:cubicBezTo>
                  <a:pt x="247978" y="404482"/>
                  <a:pt x="202593" y="359144"/>
                  <a:pt x="202593" y="303317"/>
                </a:cubicBezTo>
                <a:cubicBezTo>
                  <a:pt x="202593" y="247579"/>
                  <a:pt x="247978" y="202241"/>
                  <a:pt x="303775" y="202241"/>
                </a:cubicBezTo>
                <a:close/>
                <a:moveTo>
                  <a:pt x="303775" y="151703"/>
                </a:moveTo>
                <a:cubicBezTo>
                  <a:pt x="220021" y="151703"/>
                  <a:pt x="151932" y="219689"/>
                  <a:pt x="151932" y="303317"/>
                </a:cubicBezTo>
                <a:cubicBezTo>
                  <a:pt x="151932" y="387033"/>
                  <a:pt x="220021" y="455019"/>
                  <a:pt x="303775" y="455019"/>
                </a:cubicBezTo>
                <a:cubicBezTo>
                  <a:pt x="387618" y="455019"/>
                  <a:pt x="455707" y="387033"/>
                  <a:pt x="455707" y="303317"/>
                </a:cubicBezTo>
                <a:cubicBezTo>
                  <a:pt x="455707" y="219689"/>
                  <a:pt x="387618" y="151703"/>
                  <a:pt x="303775" y="151703"/>
                </a:cubicBezTo>
                <a:close/>
                <a:moveTo>
                  <a:pt x="253131" y="0"/>
                </a:moveTo>
                <a:lnTo>
                  <a:pt x="354419" y="0"/>
                </a:lnTo>
                <a:cubicBezTo>
                  <a:pt x="368482" y="0"/>
                  <a:pt x="379786" y="11287"/>
                  <a:pt x="379786" y="25239"/>
                </a:cubicBezTo>
                <a:lnTo>
                  <a:pt x="379786" y="62387"/>
                </a:lnTo>
                <a:cubicBezTo>
                  <a:pt x="393849" y="66831"/>
                  <a:pt x="407555" y="72519"/>
                  <a:pt x="420639" y="79451"/>
                </a:cubicBezTo>
                <a:lnTo>
                  <a:pt x="446985" y="53145"/>
                </a:lnTo>
                <a:cubicBezTo>
                  <a:pt x="456953" y="43191"/>
                  <a:pt x="472974" y="43191"/>
                  <a:pt x="482854" y="53145"/>
                </a:cubicBezTo>
                <a:lnTo>
                  <a:pt x="554414" y="124597"/>
                </a:lnTo>
                <a:cubicBezTo>
                  <a:pt x="564294" y="134462"/>
                  <a:pt x="564294" y="150459"/>
                  <a:pt x="554414" y="160323"/>
                </a:cubicBezTo>
                <a:lnTo>
                  <a:pt x="528069" y="186629"/>
                </a:lnTo>
                <a:cubicBezTo>
                  <a:pt x="535011" y="199782"/>
                  <a:pt x="540707" y="213468"/>
                  <a:pt x="545158" y="227510"/>
                </a:cubicBezTo>
                <a:lnTo>
                  <a:pt x="582273" y="227510"/>
                </a:lnTo>
                <a:cubicBezTo>
                  <a:pt x="596336" y="227510"/>
                  <a:pt x="607639" y="238796"/>
                  <a:pt x="607639" y="252749"/>
                </a:cubicBezTo>
                <a:lnTo>
                  <a:pt x="607639" y="353884"/>
                </a:lnTo>
                <a:cubicBezTo>
                  <a:pt x="607639" y="367926"/>
                  <a:pt x="596247" y="379212"/>
                  <a:pt x="582273" y="379212"/>
                </a:cubicBezTo>
                <a:lnTo>
                  <a:pt x="545158" y="379212"/>
                </a:lnTo>
                <a:cubicBezTo>
                  <a:pt x="540707" y="393254"/>
                  <a:pt x="535011" y="406940"/>
                  <a:pt x="528069" y="420004"/>
                </a:cubicBezTo>
                <a:lnTo>
                  <a:pt x="554414" y="446310"/>
                </a:lnTo>
                <a:cubicBezTo>
                  <a:pt x="564294" y="456263"/>
                  <a:pt x="564294" y="472260"/>
                  <a:pt x="554414" y="482125"/>
                </a:cubicBezTo>
                <a:lnTo>
                  <a:pt x="482854" y="553577"/>
                </a:lnTo>
                <a:cubicBezTo>
                  <a:pt x="472974" y="563442"/>
                  <a:pt x="456953" y="563442"/>
                  <a:pt x="446985" y="553577"/>
                </a:cubicBezTo>
                <a:lnTo>
                  <a:pt x="420639" y="527271"/>
                </a:lnTo>
                <a:cubicBezTo>
                  <a:pt x="407555" y="534203"/>
                  <a:pt x="393849" y="539802"/>
                  <a:pt x="379786" y="544246"/>
                </a:cubicBezTo>
                <a:lnTo>
                  <a:pt x="379786" y="581394"/>
                </a:lnTo>
                <a:cubicBezTo>
                  <a:pt x="379786" y="595435"/>
                  <a:pt x="368393" y="606722"/>
                  <a:pt x="354419" y="606722"/>
                </a:cubicBezTo>
                <a:lnTo>
                  <a:pt x="253131" y="606722"/>
                </a:lnTo>
                <a:cubicBezTo>
                  <a:pt x="239157" y="606722"/>
                  <a:pt x="227854" y="595435"/>
                  <a:pt x="227854" y="581394"/>
                </a:cubicBezTo>
                <a:lnTo>
                  <a:pt x="227854" y="544246"/>
                </a:lnTo>
                <a:cubicBezTo>
                  <a:pt x="213791" y="539802"/>
                  <a:pt x="200084" y="534203"/>
                  <a:pt x="186911" y="527271"/>
                </a:cubicBezTo>
                <a:lnTo>
                  <a:pt x="160566" y="553577"/>
                </a:lnTo>
                <a:cubicBezTo>
                  <a:pt x="150686" y="563442"/>
                  <a:pt x="134665" y="563442"/>
                  <a:pt x="124786" y="553577"/>
                </a:cubicBezTo>
                <a:lnTo>
                  <a:pt x="53225" y="482125"/>
                </a:lnTo>
                <a:cubicBezTo>
                  <a:pt x="43257" y="472260"/>
                  <a:pt x="43257" y="456263"/>
                  <a:pt x="53225" y="446310"/>
                </a:cubicBezTo>
                <a:lnTo>
                  <a:pt x="79482" y="420004"/>
                </a:lnTo>
                <a:cubicBezTo>
                  <a:pt x="72629" y="406940"/>
                  <a:pt x="66932" y="393254"/>
                  <a:pt x="62482" y="379212"/>
                </a:cubicBezTo>
                <a:lnTo>
                  <a:pt x="25278" y="379212"/>
                </a:lnTo>
                <a:cubicBezTo>
                  <a:pt x="11304" y="379212"/>
                  <a:pt x="0" y="367926"/>
                  <a:pt x="0" y="353884"/>
                </a:cubicBezTo>
                <a:lnTo>
                  <a:pt x="0" y="252749"/>
                </a:lnTo>
                <a:cubicBezTo>
                  <a:pt x="0" y="238796"/>
                  <a:pt x="11304" y="227510"/>
                  <a:pt x="25278" y="227510"/>
                </a:cubicBezTo>
                <a:lnTo>
                  <a:pt x="62482" y="227510"/>
                </a:lnTo>
                <a:cubicBezTo>
                  <a:pt x="66932" y="213468"/>
                  <a:pt x="72629" y="199782"/>
                  <a:pt x="79482" y="186629"/>
                </a:cubicBezTo>
                <a:lnTo>
                  <a:pt x="53225" y="160323"/>
                </a:lnTo>
                <a:cubicBezTo>
                  <a:pt x="43257" y="150459"/>
                  <a:pt x="43257" y="134462"/>
                  <a:pt x="53225" y="124597"/>
                </a:cubicBezTo>
                <a:lnTo>
                  <a:pt x="124786" y="53145"/>
                </a:lnTo>
                <a:cubicBezTo>
                  <a:pt x="134665" y="43191"/>
                  <a:pt x="150686" y="43191"/>
                  <a:pt x="160566" y="53145"/>
                </a:cubicBezTo>
                <a:lnTo>
                  <a:pt x="186911" y="79451"/>
                </a:lnTo>
                <a:cubicBezTo>
                  <a:pt x="200084" y="72519"/>
                  <a:pt x="213791" y="66831"/>
                  <a:pt x="227854" y="62387"/>
                </a:cubicBezTo>
                <a:lnTo>
                  <a:pt x="227854" y="25239"/>
                </a:lnTo>
                <a:cubicBezTo>
                  <a:pt x="227854" y="11287"/>
                  <a:pt x="239157" y="0"/>
                  <a:pt x="253131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3" name="ïṧľíďê">
            <a:extLst>
              <a:ext uri="{FF2B5EF4-FFF2-40B4-BE49-F238E27FC236}">
                <a16:creationId xmlns:a16="http://schemas.microsoft.com/office/drawing/2014/main" id="{83AC56C8-BB22-4DB6-8372-AA84DFFA3A81}"/>
              </a:ext>
            </a:extLst>
          </p:cNvPr>
          <p:cNvSpPr/>
          <p:nvPr/>
        </p:nvSpPr>
        <p:spPr bwMode="auto">
          <a:xfrm>
            <a:off x="1773587" y="4155069"/>
            <a:ext cx="283355" cy="282891"/>
          </a:xfrm>
          <a:custGeom>
            <a:avLst/>
            <a:gdLst>
              <a:gd name="connsiteX0" fmla="*/ 380418 w 604181"/>
              <a:gd name="connsiteY0" fmla="*/ 268007 h 603193"/>
              <a:gd name="connsiteX1" fmla="*/ 519220 w 604181"/>
              <a:gd name="connsiteY1" fmla="*/ 339187 h 603193"/>
              <a:gd name="connsiteX2" fmla="*/ 519220 w 604181"/>
              <a:gd name="connsiteY2" fmla="*/ 355820 h 603193"/>
              <a:gd name="connsiteX3" fmla="*/ 380418 w 604181"/>
              <a:gd name="connsiteY3" fmla="*/ 426850 h 603193"/>
              <a:gd name="connsiteX4" fmla="*/ 380418 w 604181"/>
              <a:gd name="connsiteY4" fmla="*/ 406320 h 603193"/>
              <a:gd name="connsiteX5" fmla="*/ 498212 w 604181"/>
              <a:gd name="connsiteY5" fmla="*/ 347728 h 603193"/>
              <a:gd name="connsiteX6" fmla="*/ 498212 w 604181"/>
              <a:gd name="connsiteY6" fmla="*/ 347129 h 603193"/>
              <a:gd name="connsiteX7" fmla="*/ 380418 w 604181"/>
              <a:gd name="connsiteY7" fmla="*/ 288687 h 603193"/>
              <a:gd name="connsiteX8" fmla="*/ 216565 w 604181"/>
              <a:gd name="connsiteY8" fmla="*/ 268007 h 603193"/>
              <a:gd name="connsiteX9" fmla="*/ 216565 w 604181"/>
              <a:gd name="connsiteY9" fmla="*/ 288687 h 603193"/>
              <a:gd name="connsiteX10" fmla="*/ 99664 w 604181"/>
              <a:gd name="connsiteY10" fmla="*/ 347129 h 603193"/>
              <a:gd name="connsiteX11" fmla="*/ 99664 w 604181"/>
              <a:gd name="connsiteY11" fmla="*/ 347728 h 603193"/>
              <a:gd name="connsiteX12" fmla="*/ 216565 w 604181"/>
              <a:gd name="connsiteY12" fmla="*/ 406320 h 603193"/>
              <a:gd name="connsiteX13" fmla="*/ 216565 w 604181"/>
              <a:gd name="connsiteY13" fmla="*/ 426850 h 603193"/>
              <a:gd name="connsiteX14" fmla="*/ 77904 w 604181"/>
              <a:gd name="connsiteY14" fmla="*/ 355521 h 603193"/>
              <a:gd name="connsiteX15" fmla="*/ 77904 w 604181"/>
              <a:gd name="connsiteY15" fmla="*/ 339486 h 603193"/>
              <a:gd name="connsiteX16" fmla="*/ 338273 w 604181"/>
              <a:gd name="connsiteY16" fmla="*/ 222493 h 603193"/>
              <a:gd name="connsiteX17" fmla="*/ 358684 w 604181"/>
              <a:gd name="connsiteY17" fmla="*/ 222493 h 603193"/>
              <a:gd name="connsiteX18" fmla="*/ 253179 w 604181"/>
              <a:gd name="connsiteY18" fmla="*/ 482103 h 603193"/>
              <a:gd name="connsiteX19" fmla="*/ 233219 w 604181"/>
              <a:gd name="connsiteY19" fmla="*/ 482103 h 603193"/>
              <a:gd name="connsiteX20" fmla="*/ 28813 w 604181"/>
              <a:gd name="connsiteY20" fmla="*/ 128849 h 603193"/>
              <a:gd name="connsiteX21" fmla="*/ 28813 w 604181"/>
              <a:gd name="connsiteY21" fmla="*/ 557497 h 603193"/>
              <a:gd name="connsiteX22" fmla="*/ 45921 w 604181"/>
              <a:gd name="connsiteY22" fmla="*/ 574427 h 603193"/>
              <a:gd name="connsiteX23" fmla="*/ 558410 w 604181"/>
              <a:gd name="connsiteY23" fmla="*/ 574427 h 603193"/>
              <a:gd name="connsiteX24" fmla="*/ 575368 w 604181"/>
              <a:gd name="connsiteY24" fmla="*/ 557497 h 603193"/>
              <a:gd name="connsiteX25" fmla="*/ 575368 w 604181"/>
              <a:gd name="connsiteY25" fmla="*/ 128849 h 603193"/>
              <a:gd name="connsiteX26" fmla="*/ 502734 w 604181"/>
              <a:gd name="connsiteY26" fmla="*/ 43149 h 603193"/>
              <a:gd name="connsiteX27" fmla="*/ 502734 w 604181"/>
              <a:gd name="connsiteY27" fmla="*/ 77309 h 603193"/>
              <a:gd name="connsiteX28" fmla="*/ 537100 w 604181"/>
              <a:gd name="connsiteY28" fmla="*/ 77309 h 603193"/>
              <a:gd name="connsiteX29" fmla="*/ 537100 w 604181"/>
              <a:gd name="connsiteY29" fmla="*/ 43149 h 603193"/>
              <a:gd name="connsiteX30" fmla="*/ 423197 w 604181"/>
              <a:gd name="connsiteY30" fmla="*/ 43149 h 603193"/>
              <a:gd name="connsiteX31" fmla="*/ 423197 w 604181"/>
              <a:gd name="connsiteY31" fmla="*/ 77309 h 603193"/>
              <a:gd name="connsiteX32" fmla="*/ 457563 w 604181"/>
              <a:gd name="connsiteY32" fmla="*/ 77309 h 603193"/>
              <a:gd name="connsiteX33" fmla="*/ 457563 w 604181"/>
              <a:gd name="connsiteY33" fmla="*/ 43149 h 603193"/>
              <a:gd name="connsiteX34" fmla="*/ 45921 w 604181"/>
              <a:gd name="connsiteY34" fmla="*/ 0 h 603193"/>
              <a:gd name="connsiteX35" fmla="*/ 558410 w 604181"/>
              <a:gd name="connsiteY35" fmla="*/ 0 h 603193"/>
              <a:gd name="connsiteX36" fmla="*/ 604181 w 604181"/>
              <a:gd name="connsiteY36" fmla="*/ 45846 h 603193"/>
              <a:gd name="connsiteX37" fmla="*/ 604181 w 604181"/>
              <a:gd name="connsiteY37" fmla="*/ 557497 h 603193"/>
              <a:gd name="connsiteX38" fmla="*/ 558410 w 604181"/>
              <a:gd name="connsiteY38" fmla="*/ 603193 h 603193"/>
              <a:gd name="connsiteX39" fmla="*/ 45921 w 604181"/>
              <a:gd name="connsiteY39" fmla="*/ 603193 h 603193"/>
              <a:gd name="connsiteX40" fmla="*/ 0 w 604181"/>
              <a:gd name="connsiteY40" fmla="*/ 557497 h 603193"/>
              <a:gd name="connsiteX41" fmla="*/ 0 w 604181"/>
              <a:gd name="connsiteY41" fmla="*/ 45846 h 603193"/>
              <a:gd name="connsiteX42" fmla="*/ 45921 w 604181"/>
              <a:gd name="connsiteY42" fmla="*/ 0 h 603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04181" h="603193">
                <a:moveTo>
                  <a:pt x="380418" y="268007"/>
                </a:moveTo>
                <a:lnTo>
                  <a:pt x="519220" y="339187"/>
                </a:lnTo>
                <a:lnTo>
                  <a:pt x="519220" y="355820"/>
                </a:lnTo>
                <a:lnTo>
                  <a:pt x="380418" y="426850"/>
                </a:lnTo>
                <a:lnTo>
                  <a:pt x="380418" y="406320"/>
                </a:lnTo>
                <a:lnTo>
                  <a:pt x="498212" y="347728"/>
                </a:lnTo>
                <a:lnTo>
                  <a:pt x="498212" y="347129"/>
                </a:lnTo>
                <a:lnTo>
                  <a:pt x="380418" y="288687"/>
                </a:lnTo>
                <a:close/>
                <a:moveTo>
                  <a:pt x="216565" y="268007"/>
                </a:moveTo>
                <a:lnTo>
                  <a:pt x="216565" y="288687"/>
                </a:lnTo>
                <a:lnTo>
                  <a:pt x="99664" y="347129"/>
                </a:lnTo>
                <a:lnTo>
                  <a:pt x="99664" y="347728"/>
                </a:lnTo>
                <a:lnTo>
                  <a:pt x="216565" y="406320"/>
                </a:lnTo>
                <a:lnTo>
                  <a:pt x="216565" y="426850"/>
                </a:lnTo>
                <a:lnTo>
                  <a:pt x="77904" y="355521"/>
                </a:lnTo>
                <a:lnTo>
                  <a:pt x="77904" y="339486"/>
                </a:lnTo>
                <a:close/>
                <a:moveTo>
                  <a:pt x="338273" y="222493"/>
                </a:moveTo>
                <a:lnTo>
                  <a:pt x="358684" y="222493"/>
                </a:lnTo>
                <a:lnTo>
                  <a:pt x="253179" y="482103"/>
                </a:lnTo>
                <a:lnTo>
                  <a:pt x="233219" y="482103"/>
                </a:lnTo>
                <a:close/>
                <a:moveTo>
                  <a:pt x="28813" y="128849"/>
                </a:moveTo>
                <a:lnTo>
                  <a:pt x="28813" y="557497"/>
                </a:lnTo>
                <a:cubicBezTo>
                  <a:pt x="28813" y="566786"/>
                  <a:pt x="36467" y="574427"/>
                  <a:pt x="45921" y="574427"/>
                </a:cubicBezTo>
                <a:lnTo>
                  <a:pt x="558410" y="574427"/>
                </a:lnTo>
                <a:cubicBezTo>
                  <a:pt x="567714" y="574427"/>
                  <a:pt x="575368" y="566786"/>
                  <a:pt x="575368" y="557497"/>
                </a:cubicBezTo>
                <a:lnTo>
                  <a:pt x="575368" y="128849"/>
                </a:lnTo>
                <a:close/>
                <a:moveTo>
                  <a:pt x="502734" y="43149"/>
                </a:moveTo>
                <a:lnTo>
                  <a:pt x="502734" y="77309"/>
                </a:lnTo>
                <a:lnTo>
                  <a:pt x="537100" y="77309"/>
                </a:lnTo>
                <a:lnTo>
                  <a:pt x="537100" y="43149"/>
                </a:lnTo>
                <a:close/>
                <a:moveTo>
                  <a:pt x="423197" y="43149"/>
                </a:moveTo>
                <a:lnTo>
                  <a:pt x="423197" y="77309"/>
                </a:lnTo>
                <a:lnTo>
                  <a:pt x="457563" y="77309"/>
                </a:lnTo>
                <a:lnTo>
                  <a:pt x="457563" y="43149"/>
                </a:lnTo>
                <a:close/>
                <a:moveTo>
                  <a:pt x="45921" y="0"/>
                </a:moveTo>
                <a:lnTo>
                  <a:pt x="558410" y="0"/>
                </a:lnTo>
                <a:cubicBezTo>
                  <a:pt x="583621" y="0"/>
                  <a:pt x="604181" y="20526"/>
                  <a:pt x="604181" y="45846"/>
                </a:cubicBezTo>
                <a:lnTo>
                  <a:pt x="604181" y="557497"/>
                </a:lnTo>
                <a:cubicBezTo>
                  <a:pt x="604181" y="582667"/>
                  <a:pt x="583621" y="603193"/>
                  <a:pt x="558410" y="603193"/>
                </a:cubicBezTo>
                <a:lnTo>
                  <a:pt x="45921" y="603193"/>
                </a:lnTo>
                <a:cubicBezTo>
                  <a:pt x="20560" y="603193"/>
                  <a:pt x="0" y="582667"/>
                  <a:pt x="0" y="557497"/>
                </a:cubicBezTo>
                <a:lnTo>
                  <a:pt x="0" y="45846"/>
                </a:lnTo>
                <a:cubicBezTo>
                  <a:pt x="0" y="20526"/>
                  <a:pt x="20560" y="0"/>
                  <a:pt x="4592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4" name="îṣḻîḍé">
            <a:extLst>
              <a:ext uri="{FF2B5EF4-FFF2-40B4-BE49-F238E27FC236}">
                <a16:creationId xmlns:a16="http://schemas.microsoft.com/office/drawing/2014/main" id="{716A4AAF-66FE-4462-901E-658C29D84AD8}"/>
              </a:ext>
            </a:extLst>
          </p:cNvPr>
          <p:cNvSpPr/>
          <p:nvPr/>
        </p:nvSpPr>
        <p:spPr bwMode="auto">
          <a:xfrm>
            <a:off x="1369248" y="4637380"/>
            <a:ext cx="283355" cy="282926"/>
          </a:xfrm>
          <a:custGeom>
            <a:avLst/>
            <a:gdLst>
              <a:gd name="T0" fmla="*/ 6624 w 7154"/>
              <a:gd name="T1" fmla="*/ 2037 h 7154"/>
              <a:gd name="T2" fmla="*/ 6106 w 7154"/>
              <a:gd name="T3" fmla="*/ 1048 h 7154"/>
              <a:gd name="T4" fmla="*/ 5117 w 7154"/>
              <a:gd name="T5" fmla="*/ 530 h 7154"/>
              <a:gd name="T6" fmla="*/ 4643 w 7154"/>
              <a:gd name="T7" fmla="*/ 334 h 7154"/>
              <a:gd name="T8" fmla="*/ 3577 w 7154"/>
              <a:gd name="T9" fmla="*/ 0 h 7154"/>
              <a:gd name="T10" fmla="*/ 2511 w 7154"/>
              <a:gd name="T11" fmla="*/ 334 h 7154"/>
              <a:gd name="T12" fmla="*/ 2037 w 7154"/>
              <a:gd name="T13" fmla="*/ 530 h 7154"/>
              <a:gd name="T14" fmla="*/ 1048 w 7154"/>
              <a:gd name="T15" fmla="*/ 1048 h 7154"/>
              <a:gd name="T16" fmla="*/ 530 w 7154"/>
              <a:gd name="T17" fmla="*/ 2037 h 7154"/>
              <a:gd name="T18" fmla="*/ 334 w 7154"/>
              <a:gd name="T19" fmla="*/ 2511 h 7154"/>
              <a:gd name="T20" fmla="*/ 0 w 7154"/>
              <a:gd name="T21" fmla="*/ 3577 h 7154"/>
              <a:gd name="T22" fmla="*/ 334 w 7154"/>
              <a:gd name="T23" fmla="*/ 4643 h 7154"/>
              <a:gd name="T24" fmla="*/ 530 w 7154"/>
              <a:gd name="T25" fmla="*/ 5117 h 7154"/>
              <a:gd name="T26" fmla="*/ 1048 w 7154"/>
              <a:gd name="T27" fmla="*/ 6106 h 7154"/>
              <a:gd name="T28" fmla="*/ 2037 w 7154"/>
              <a:gd name="T29" fmla="*/ 6624 h 7154"/>
              <a:gd name="T30" fmla="*/ 2511 w 7154"/>
              <a:gd name="T31" fmla="*/ 6820 h 7154"/>
              <a:gd name="T32" fmla="*/ 3577 w 7154"/>
              <a:gd name="T33" fmla="*/ 7154 h 7154"/>
              <a:gd name="T34" fmla="*/ 4643 w 7154"/>
              <a:gd name="T35" fmla="*/ 6820 h 7154"/>
              <a:gd name="T36" fmla="*/ 5117 w 7154"/>
              <a:gd name="T37" fmla="*/ 6624 h 7154"/>
              <a:gd name="T38" fmla="*/ 6106 w 7154"/>
              <a:gd name="T39" fmla="*/ 6106 h 7154"/>
              <a:gd name="T40" fmla="*/ 6624 w 7154"/>
              <a:gd name="T41" fmla="*/ 5117 h 7154"/>
              <a:gd name="T42" fmla="*/ 6820 w 7154"/>
              <a:gd name="T43" fmla="*/ 4643 h 7154"/>
              <a:gd name="T44" fmla="*/ 7154 w 7154"/>
              <a:gd name="T45" fmla="*/ 3577 h 7154"/>
              <a:gd name="T46" fmla="*/ 6820 w 7154"/>
              <a:gd name="T47" fmla="*/ 2511 h 7154"/>
              <a:gd name="T48" fmla="*/ 6624 w 7154"/>
              <a:gd name="T49" fmla="*/ 2037 h 7154"/>
              <a:gd name="T50" fmla="*/ 5857 w 7154"/>
              <a:gd name="T51" fmla="*/ 2406 h 7154"/>
              <a:gd name="T52" fmla="*/ 3286 w 7154"/>
              <a:gd name="T53" fmla="*/ 4976 h 7154"/>
              <a:gd name="T54" fmla="*/ 2875 w 7154"/>
              <a:gd name="T55" fmla="*/ 5387 h 7154"/>
              <a:gd name="T56" fmla="*/ 2464 w 7154"/>
              <a:gd name="T57" fmla="*/ 5387 h 7154"/>
              <a:gd name="T58" fmla="*/ 2053 w 7154"/>
              <a:gd name="T59" fmla="*/ 4976 h 7154"/>
              <a:gd name="T60" fmla="*/ 1297 w 7154"/>
              <a:gd name="T61" fmla="*/ 4221 h 7154"/>
              <a:gd name="T62" fmla="*/ 1297 w 7154"/>
              <a:gd name="T63" fmla="*/ 3809 h 7154"/>
              <a:gd name="T64" fmla="*/ 1708 w 7154"/>
              <a:gd name="T65" fmla="*/ 3398 h 7154"/>
              <a:gd name="T66" fmla="*/ 2120 w 7154"/>
              <a:gd name="T67" fmla="*/ 3398 h 7154"/>
              <a:gd name="T68" fmla="*/ 2669 w 7154"/>
              <a:gd name="T69" fmla="*/ 3948 h 7154"/>
              <a:gd name="T70" fmla="*/ 5034 w 7154"/>
              <a:gd name="T71" fmla="*/ 1583 h 7154"/>
              <a:gd name="T72" fmla="*/ 5445 w 7154"/>
              <a:gd name="T73" fmla="*/ 1583 h 7154"/>
              <a:gd name="T74" fmla="*/ 5857 w 7154"/>
              <a:gd name="T75" fmla="*/ 1994 h 7154"/>
              <a:gd name="T76" fmla="*/ 5857 w 7154"/>
              <a:gd name="T77" fmla="*/ 2406 h 7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154" h="7154">
                <a:moveTo>
                  <a:pt x="6624" y="2037"/>
                </a:moveTo>
                <a:cubicBezTo>
                  <a:pt x="6580" y="1703"/>
                  <a:pt x="6403" y="1345"/>
                  <a:pt x="6106" y="1048"/>
                </a:cubicBezTo>
                <a:cubicBezTo>
                  <a:pt x="5809" y="751"/>
                  <a:pt x="5451" y="574"/>
                  <a:pt x="5117" y="530"/>
                </a:cubicBezTo>
                <a:cubicBezTo>
                  <a:pt x="4966" y="510"/>
                  <a:pt x="4764" y="427"/>
                  <a:pt x="4643" y="334"/>
                </a:cubicBezTo>
                <a:cubicBezTo>
                  <a:pt x="4375" y="128"/>
                  <a:pt x="3997" y="0"/>
                  <a:pt x="3577" y="0"/>
                </a:cubicBezTo>
                <a:cubicBezTo>
                  <a:pt x="3157" y="0"/>
                  <a:pt x="2779" y="128"/>
                  <a:pt x="2511" y="334"/>
                </a:cubicBezTo>
                <a:cubicBezTo>
                  <a:pt x="2390" y="427"/>
                  <a:pt x="2188" y="510"/>
                  <a:pt x="2037" y="530"/>
                </a:cubicBezTo>
                <a:cubicBezTo>
                  <a:pt x="1702" y="574"/>
                  <a:pt x="1345" y="751"/>
                  <a:pt x="1048" y="1048"/>
                </a:cubicBezTo>
                <a:cubicBezTo>
                  <a:pt x="751" y="1345"/>
                  <a:pt x="574" y="1703"/>
                  <a:pt x="530" y="2037"/>
                </a:cubicBezTo>
                <a:cubicBezTo>
                  <a:pt x="510" y="2188"/>
                  <a:pt x="427" y="2390"/>
                  <a:pt x="334" y="2511"/>
                </a:cubicBezTo>
                <a:cubicBezTo>
                  <a:pt x="128" y="2779"/>
                  <a:pt x="0" y="3157"/>
                  <a:pt x="0" y="3577"/>
                </a:cubicBezTo>
                <a:cubicBezTo>
                  <a:pt x="0" y="3997"/>
                  <a:pt x="128" y="4375"/>
                  <a:pt x="334" y="4643"/>
                </a:cubicBezTo>
                <a:cubicBezTo>
                  <a:pt x="427" y="4764"/>
                  <a:pt x="510" y="4966"/>
                  <a:pt x="530" y="5117"/>
                </a:cubicBezTo>
                <a:cubicBezTo>
                  <a:pt x="574" y="5451"/>
                  <a:pt x="751" y="5809"/>
                  <a:pt x="1048" y="6106"/>
                </a:cubicBezTo>
                <a:cubicBezTo>
                  <a:pt x="1345" y="6403"/>
                  <a:pt x="1702" y="6580"/>
                  <a:pt x="2037" y="6624"/>
                </a:cubicBezTo>
                <a:cubicBezTo>
                  <a:pt x="2188" y="6644"/>
                  <a:pt x="2390" y="6727"/>
                  <a:pt x="2511" y="6820"/>
                </a:cubicBezTo>
                <a:cubicBezTo>
                  <a:pt x="2779" y="7025"/>
                  <a:pt x="3157" y="7154"/>
                  <a:pt x="3577" y="7154"/>
                </a:cubicBezTo>
                <a:cubicBezTo>
                  <a:pt x="3997" y="7154"/>
                  <a:pt x="4375" y="7025"/>
                  <a:pt x="4643" y="6820"/>
                </a:cubicBezTo>
                <a:cubicBezTo>
                  <a:pt x="4764" y="6727"/>
                  <a:pt x="4966" y="6644"/>
                  <a:pt x="5117" y="6624"/>
                </a:cubicBezTo>
                <a:cubicBezTo>
                  <a:pt x="5451" y="6580"/>
                  <a:pt x="5809" y="6403"/>
                  <a:pt x="6106" y="6106"/>
                </a:cubicBezTo>
                <a:cubicBezTo>
                  <a:pt x="6403" y="5809"/>
                  <a:pt x="6580" y="5451"/>
                  <a:pt x="6624" y="5117"/>
                </a:cubicBezTo>
                <a:cubicBezTo>
                  <a:pt x="6644" y="4966"/>
                  <a:pt x="6727" y="4764"/>
                  <a:pt x="6820" y="4643"/>
                </a:cubicBezTo>
                <a:cubicBezTo>
                  <a:pt x="7026" y="4375"/>
                  <a:pt x="7154" y="3997"/>
                  <a:pt x="7154" y="3577"/>
                </a:cubicBezTo>
                <a:cubicBezTo>
                  <a:pt x="7154" y="3157"/>
                  <a:pt x="7026" y="2779"/>
                  <a:pt x="6820" y="2511"/>
                </a:cubicBezTo>
                <a:cubicBezTo>
                  <a:pt x="6727" y="2390"/>
                  <a:pt x="6644" y="2188"/>
                  <a:pt x="6624" y="2037"/>
                </a:cubicBezTo>
                <a:close/>
                <a:moveTo>
                  <a:pt x="5857" y="2406"/>
                </a:moveTo>
                <a:lnTo>
                  <a:pt x="3286" y="4976"/>
                </a:lnTo>
                <a:lnTo>
                  <a:pt x="2875" y="5387"/>
                </a:lnTo>
                <a:cubicBezTo>
                  <a:pt x="2762" y="5501"/>
                  <a:pt x="2577" y="5501"/>
                  <a:pt x="2464" y="5387"/>
                </a:cubicBezTo>
                <a:lnTo>
                  <a:pt x="2053" y="4976"/>
                </a:lnTo>
                <a:lnTo>
                  <a:pt x="1297" y="4221"/>
                </a:lnTo>
                <a:cubicBezTo>
                  <a:pt x="1183" y="4107"/>
                  <a:pt x="1183" y="3923"/>
                  <a:pt x="1297" y="3809"/>
                </a:cubicBezTo>
                <a:lnTo>
                  <a:pt x="1708" y="3398"/>
                </a:lnTo>
                <a:cubicBezTo>
                  <a:pt x="1822" y="3285"/>
                  <a:pt x="2006" y="3285"/>
                  <a:pt x="2120" y="3398"/>
                </a:cubicBezTo>
                <a:lnTo>
                  <a:pt x="2669" y="3948"/>
                </a:lnTo>
                <a:lnTo>
                  <a:pt x="5034" y="1583"/>
                </a:lnTo>
                <a:cubicBezTo>
                  <a:pt x="5148" y="1470"/>
                  <a:pt x="5332" y="1470"/>
                  <a:pt x="5445" y="1583"/>
                </a:cubicBezTo>
                <a:lnTo>
                  <a:pt x="5857" y="1994"/>
                </a:lnTo>
                <a:cubicBezTo>
                  <a:pt x="5970" y="2108"/>
                  <a:pt x="5970" y="2292"/>
                  <a:pt x="5857" y="2406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5" name="iṧḷiḑé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2707316" y="3654019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>
                <a:solidFill>
                  <a:schemeClr val="bg1"/>
                </a:solidFill>
              </a:rPr>
              <a:t>按分布模式进行配置</a:t>
            </a: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16" name="îṧḻiḑe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2297693" y="4141801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运行第一个实例</a:t>
            </a:r>
            <a:endParaRPr lang="en-US" altLang="zh-CN" sz="1100" dirty="0"/>
          </a:p>
        </p:txBody>
      </p:sp>
      <p:sp>
        <p:nvSpPr>
          <p:cNvPr id="217" name="îṣľïd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1888191" y="4629583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开心</a:t>
            </a:r>
            <a:r>
              <a:rPr lang="en-US" altLang="zh-CN" sz="1100" dirty="0" err="1"/>
              <a:t>ing</a:t>
            </a:r>
            <a:r>
              <a:rPr lang="en-US" altLang="zh-CN" sz="1100" dirty="0"/>
              <a:t>~</a:t>
            </a:r>
          </a:p>
        </p:txBody>
      </p:sp>
      <p:sp>
        <p:nvSpPr>
          <p:cNvPr id="218" name="íṧ1îd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116769" y="3166237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 解压</a:t>
            </a:r>
            <a:endParaRPr lang="en-US" altLang="zh-CN" sz="1100" dirty="0"/>
          </a:p>
        </p:txBody>
      </p:sp>
      <p:sp>
        <p:nvSpPr>
          <p:cNvPr id="219" name="îs1ïḋ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531383" y="2678454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配置环境变量 使之生效</a:t>
            </a:r>
            <a:endParaRPr lang="en-US" altLang="zh-CN" sz="1100" dirty="0"/>
          </a:p>
        </p:txBody>
      </p:sp>
      <p:sp>
        <p:nvSpPr>
          <p:cNvPr id="220" name="íšliḓ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940861" y="2190672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</a:t>
            </a:r>
            <a:r>
              <a:rPr lang="en-US" altLang="zh-CN" sz="1100" dirty="0"/>
              <a:t> </a:t>
            </a:r>
            <a:r>
              <a:rPr lang="zh-CN" altLang="en-US" sz="1100" dirty="0"/>
              <a:t>解压</a:t>
            </a:r>
            <a:endParaRPr lang="en-US" altLang="zh-CN" sz="1100" dirty="0"/>
          </a:p>
        </p:txBody>
      </p:sp>
      <p:sp>
        <p:nvSpPr>
          <p:cNvPr id="71" name="išļíde">
            <a:extLst>
              <a:ext uri="{FF2B5EF4-FFF2-40B4-BE49-F238E27FC236}">
                <a16:creationId xmlns:a16="http://schemas.microsoft.com/office/drawing/2014/main" id="{D9A8DC0F-01E4-4F9D-87F0-BA5E7AD9096F}"/>
              </a:ext>
            </a:extLst>
          </p:cNvPr>
          <p:cNvSpPr/>
          <p:nvPr/>
        </p:nvSpPr>
        <p:spPr bwMode="auto">
          <a:xfrm>
            <a:off x="-10847771" y="2925515"/>
            <a:ext cx="6462137" cy="1765300"/>
          </a:xfrm>
          <a:custGeom>
            <a:avLst/>
            <a:gdLst/>
            <a:ahLst/>
            <a:cxnLst>
              <a:cxn ang="0">
                <a:pos x="1972" y="620"/>
              </a:cxn>
              <a:cxn ang="0">
                <a:pos x="1765" y="500"/>
              </a:cxn>
              <a:cxn ang="0">
                <a:pos x="1765" y="580"/>
              </a:cxn>
              <a:cxn ang="0">
                <a:pos x="860" y="580"/>
              </a:cxn>
              <a:cxn ang="0">
                <a:pos x="820" y="540"/>
              </a:cxn>
              <a:cxn ang="0">
                <a:pos x="820" y="120"/>
              </a:cxn>
              <a:cxn ang="0">
                <a:pos x="700" y="0"/>
              </a:cxn>
              <a:cxn ang="0">
                <a:pos x="0" y="0"/>
              </a:cxn>
              <a:cxn ang="0">
                <a:pos x="0" y="80"/>
              </a:cxn>
              <a:cxn ang="0">
                <a:pos x="700" y="80"/>
              </a:cxn>
              <a:cxn ang="0">
                <a:pos x="740" y="120"/>
              </a:cxn>
              <a:cxn ang="0">
                <a:pos x="740" y="540"/>
              </a:cxn>
              <a:cxn ang="0">
                <a:pos x="860" y="660"/>
              </a:cxn>
              <a:cxn ang="0">
                <a:pos x="1765" y="660"/>
              </a:cxn>
              <a:cxn ang="0">
                <a:pos x="1765" y="740"/>
              </a:cxn>
              <a:cxn ang="0">
                <a:pos x="1972" y="620"/>
              </a:cxn>
            </a:cxnLst>
            <a:rect l="0" t="0" r="r" b="b"/>
            <a:pathLst>
              <a:path w="1972" h="740">
                <a:moveTo>
                  <a:pt x="1972" y="620"/>
                </a:moveTo>
                <a:cubicBezTo>
                  <a:pt x="1765" y="500"/>
                  <a:pt x="1765" y="500"/>
                  <a:pt x="1765" y="500"/>
                </a:cubicBezTo>
                <a:cubicBezTo>
                  <a:pt x="1765" y="580"/>
                  <a:pt x="1765" y="580"/>
                  <a:pt x="1765" y="580"/>
                </a:cubicBezTo>
                <a:cubicBezTo>
                  <a:pt x="860" y="580"/>
                  <a:pt x="860" y="580"/>
                  <a:pt x="860" y="580"/>
                </a:cubicBezTo>
                <a:cubicBezTo>
                  <a:pt x="838" y="580"/>
                  <a:pt x="820" y="562"/>
                  <a:pt x="820" y="540"/>
                </a:cubicBezTo>
                <a:cubicBezTo>
                  <a:pt x="820" y="120"/>
                  <a:pt x="820" y="120"/>
                  <a:pt x="820" y="120"/>
                </a:cubicBezTo>
                <a:cubicBezTo>
                  <a:pt x="820" y="54"/>
                  <a:pt x="766" y="0"/>
                  <a:pt x="70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0"/>
                  <a:pt x="0" y="80"/>
                  <a:pt x="0" y="80"/>
                </a:cubicBezTo>
                <a:cubicBezTo>
                  <a:pt x="700" y="80"/>
                  <a:pt x="700" y="80"/>
                  <a:pt x="700" y="80"/>
                </a:cubicBezTo>
                <a:cubicBezTo>
                  <a:pt x="722" y="80"/>
                  <a:pt x="740" y="98"/>
                  <a:pt x="740" y="120"/>
                </a:cubicBezTo>
                <a:cubicBezTo>
                  <a:pt x="740" y="540"/>
                  <a:pt x="740" y="540"/>
                  <a:pt x="740" y="540"/>
                </a:cubicBezTo>
                <a:cubicBezTo>
                  <a:pt x="740" y="606"/>
                  <a:pt x="794" y="660"/>
                  <a:pt x="860" y="660"/>
                </a:cubicBezTo>
                <a:cubicBezTo>
                  <a:pt x="1765" y="660"/>
                  <a:pt x="1765" y="660"/>
                  <a:pt x="1765" y="660"/>
                </a:cubicBezTo>
                <a:cubicBezTo>
                  <a:pt x="1765" y="740"/>
                  <a:pt x="1765" y="740"/>
                  <a:pt x="1765" y="740"/>
                </a:cubicBezTo>
                <a:lnTo>
                  <a:pt x="1972" y="62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72" name="ïṣlïďê">
            <a:extLst>
              <a:ext uri="{FF2B5EF4-FFF2-40B4-BE49-F238E27FC236}">
                <a16:creationId xmlns:a16="http://schemas.microsoft.com/office/drawing/2014/main" id="{EE64D503-6A44-4188-9D56-3D7D04F8313C}"/>
              </a:ext>
            </a:extLst>
          </p:cNvPr>
          <p:cNvSpPr/>
          <p:nvPr/>
        </p:nvSpPr>
        <p:spPr bwMode="auto">
          <a:xfrm>
            <a:off x="-10377495" y="2019054"/>
            <a:ext cx="5779378" cy="2538414"/>
          </a:xfrm>
          <a:custGeom>
            <a:avLst/>
            <a:gdLst/>
            <a:ahLst/>
            <a:cxnLst>
              <a:cxn ang="0">
                <a:pos x="1764" y="120"/>
              </a:cxn>
              <a:cxn ang="0">
                <a:pos x="1557" y="0"/>
              </a:cxn>
              <a:cxn ang="0">
                <a:pos x="1557" y="80"/>
              </a:cxn>
              <a:cxn ang="0">
                <a:pos x="392" y="80"/>
              </a:cxn>
              <a:cxn ang="0">
                <a:pos x="272" y="200"/>
              </a:cxn>
              <a:cxn ang="0">
                <a:pos x="272" y="944"/>
              </a:cxn>
              <a:cxn ang="0">
                <a:pos x="232" y="984"/>
              </a:cxn>
              <a:cxn ang="0">
                <a:pos x="0" y="984"/>
              </a:cxn>
              <a:cxn ang="0">
                <a:pos x="0" y="1064"/>
              </a:cxn>
              <a:cxn ang="0">
                <a:pos x="232" y="1064"/>
              </a:cxn>
              <a:cxn ang="0">
                <a:pos x="352" y="944"/>
              </a:cxn>
              <a:cxn ang="0">
                <a:pos x="352" y="200"/>
              </a:cxn>
              <a:cxn ang="0">
                <a:pos x="392" y="160"/>
              </a:cxn>
              <a:cxn ang="0">
                <a:pos x="1557" y="160"/>
              </a:cxn>
              <a:cxn ang="0">
                <a:pos x="1557" y="240"/>
              </a:cxn>
              <a:cxn ang="0">
                <a:pos x="1764" y="120"/>
              </a:cxn>
            </a:cxnLst>
            <a:rect l="0" t="0" r="r" b="b"/>
            <a:pathLst>
              <a:path w="1764" h="1064">
                <a:moveTo>
                  <a:pt x="1764" y="120"/>
                </a:moveTo>
                <a:cubicBezTo>
                  <a:pt x="1557" y="0"/>
                  <a:pt x="1557" y="0"/>
                  <a:pt x="1557" y="0"/>
                </a:cubicBezTo>
                <a:cubicBezTo>
                  <a:pt x="1557" y="80"/>
                  <a:pt x="1557" y="80"/>
                  <a:pt x="1557" y="80"/>
                </a:cubicBezTo>
                <a:cubicBezTo>
                  <a:pt x="392" y="80"/>
                  <a:pt x="392" y="80"/>
                  <a:pt x="392" y="80"/>
                </a:cubicBezTo>
                <a:cubicBezTo>
                  <a:pt x="326" y="80"/>
                  <a:pt x="272" y="134"/>
                  <a:pt x="272" y="200"/>
                </a:cubicBezTo>
                <a:cubicBezTo>
                  <a:pt x="272" y="944"/>
                  <a:pt x="272" y="944"/>
                  <a:pt x="272" y="944"/>
                </a:cubicBezTo>
                <a:cubicBezTo>
                  <a:pt x="272" y="966"/>
                  <a:pt x="254" y="984"/>
                  <a:pt x="232" y="984"/>
                </a:cubicBezTo>
                <a:cubicBezTo>
                  <a:pt x="0" y="984"/>
                  <a:pt x="0" y="984"/>
                  <a:pt x="0" y="984"/>
                </a:cubicBezTo>
                <a:cubicBezTo>
                  <a:pt x="0" y="1064"/>
                  <a:pt x="0" y="1064"/>
                  <a:pt x="0" y="1064"/>
                </a:cubicBezTo>
                <a:cubicBezTo>
                  <a:pt x="232" y="1064"/>
                  <a:pt x="232" y="1064"/>
                  <a:pt x="232" y="1064"/>
                </a:cubicBezTo>
                <a:cubicBezTo>
                  <a:pt x="298" y="1064"/>
                  <a:pt x="352" y="1010"/>
                  <a:pt x="352" y="944"/>
                </a:cubicBezTo>
                <a:cubicBezTo>
                  <a:pt x="352" y="200"/>
                  <a:pt x="352" y="200"/>
                  <a:pt x="352" y="200"/>
                </a:cubicBezTo>
                <a:cubicBezTo>
                  <a:pt x="352" y="178"/>
                  <a:pt x="370" y="160"/>
                  <a:pt x="392" y="160"/>
                </a:cubicBezTo>
                <a:cubicBezTo>
                  <a:pt x="1557" y="160"/>
                  <a:pt x="1557" y="160"/>
                  <a:pt x="1557" y="160"/>
                </a:cubicBezTo>
                <a:cubicBezTo>
                  <a:pt x="1557" y="240"/>
                  <a:pt x="1557" y="240"/>
                  <a:pt x="1557" y="240"/>
                </a:cubicBezTo>
                <a:lnTo>
                  <a:pt x="1764" y="12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73" name="îŝliḑê">
            <a:extLst>
              <a:ext uri="{FF2B5EF4-FFF2-40B4-BE49-F238E27FC236}">
                <a16:creationId xmlns:a16="http://schemas.microsoft.com/office/drawing/2014/main" id="{C97A1FC4-BE85-4F5A-9315-73AF0E92B750}"/>
              </a:ext>
            </a:extLst>
          </p:cNvPr>
          <p:cNvSpPr/>
          <p:nvPr/>
        </p:nvSpPr>
        <p:spPr bwMode="auto">
          <a:xfrm>
            <a:off x="-10377496" y="3126031"/>
            <a:ext cx="4626128" cy="2119314"/>
          </a:xfrm>
          <a:custGeom>
            <a:avLst/>
            <a:gdLst/>
            <a:ahLst/>
            <a:cxnLst>
              <a:cxn ang="0">
                <a:pos x="1412" y="120"/>
              </a:cxn>
              <a:cxn ang="0">
                <a:pos x="1205" y="0"/>
              </a:cxn>
              <a:cxn ang="0">
                <a:pos x="1205" y="80"/>
              </a:cxn>
              <a:cxn ang="0">
                <a:pos x="564" y="80"/>
              </a:cxn>
              <a:cxn ang="0">
                <a:pos x="444" y="200"/>
              </a:cxn>
              <a:cxn ang="0">
                <a:pos x="444" y="768"/>
              </a:cxn>
              <a:cxn ang="0">
                <a:pos x="404" y="808"/>
              </a:cxn>
              <a:cxn ang="0">
                <a:pos x="0" y="808"/>
              </a:cxn>
              <a:cxn ang="0">
                <a:pos x="0" y="888"/>
              </a:cxn>
              <a:cxn ang="0">
                <a:pos x="404" y="888"/>
              </a:cxn>
              <a:cxn ang="0">
                <a:pos x="524" y="768"/>
              </a:cxn>
              <a:cxn ang="0">
                <a:pos x="524" y="200"/>
              </a:cxn>
              <a:cxn ang="0">
                <a:pos x="564" y="160"/>
              </a:cxn>
              <a:cxn ang="0">
                <a:pos x="1205" y="160"/>
              </a:cxn>
              <a:cxn ang="0">
                <a:pos x="1205" y="240"/>
              </a:cxn>
              <a:cxn ang="0">
                <a:pos x="1412" y="120"/>
              </a:cxn>
            </a:cxnLst>
            <a:rect l="0" t="0" r="r" b="b"/>
            <a:pathLst>
              <a:path w="1412" h="888">
                <a:moveTo>
                  <a:pt x="1412" y="120"/>
                </a:moveTo>
                <a:cubicBezTo>
                  <a:pt x="1205" y="0"/>
                  <a:pt x="1205" y="0"/>
                  <a:pt x="1205" y="0"/>
                </a:cubicBezTo>
                <a:cubicBezTo>
                  <a:pt x="1205" y="80"/>
                  <a:pt x="1205" y="80"/>
                  <a:pt x="1205" y="80"/>
                </a:cubicBezTo>
                <a:cubicBezTo>
                  <a:pt x="564" y="80"/>
                  <a:pt x="564" y="80"/>
                  <a:pt x="564" y="80"/>
                </a:cubicBezTo>
                <a:cubicBezTo>
                  <a:pt x="498" y="80"/>
                  <a:pt x="444" y="134"/>
                  <a:pt x="444" y="200"/>
                </a:cubicBezTo>
                <a:cubicBezTo>
                  <a:pt x="444" y="768"/>
                  <a:pt x="444" y="768"/>
                  <a:pt x="444" y="768"/>
                </a:cubicBezTo>
                <a:cubicBezTo>
                  <a:pt x="444" y="790"/>
                  <a:pt x="426" y="808"/>
                  <a:pt x="404" y="808"/>
                </a:cubicBezTo>
                <a:cubicBezTo>
                  <a:pt x="0" y="808"/>
                  <a:pt x="0" y="808"/>
                  <a:pt x="0" y="808"/>
                </a:cubicBezTo>
                <a:cubicBezTo>
                  <a:pt x="0" y="888"/>
                  <a:pt x="0" y="888"/>
                  <a:pt x="0" y="888"/>
                </a:cubicBezTo>
                <a:cubicBezTo>
                  <a:pt x="404" y="888"/>
                  <a:pt x="404" y="888"/>
                  <a:pt x="404" y="888"/>
                </a:cubicBezTo>
                <a:cubicBezTo>
                  <a:pt x="470" y="888"/>
                  <a:pt x="524" y="834"/>
                  <a:pt x="524" y="768"/>
                </a:cubicBezTo>
                <a:cubicBezTo>
                  <a:pt x="524" y="200"/>
                  <a:pt x="524" y="200"/>
                  <a:pt x="524" y="200"/>
                </a:cubicBezTo>
                <a:cubicBezTo>
                  <a:pt x="524" y="178"/>
                  <a:pt x="542" y="160"/>
                  <a:pt x="564" y="160"/>
                </a:cubicBezTo>
                <a:cubicBezTo>
                  <a:pt x="1205" y="160"/>
                  <a:pt x="1205" y="160"/>
                  <a:pt x="1205" y="160"/>
                </a:cubicBezTo>
                <a:cubicBezTo>
                  <a:pt x="1205" y="240"/>
                  <a:pt x="1205" y="240"/>
                  <a:pt x="1205" y="240"/>
                </a:cubicBezTo>
                <a:lnTo>
                  <a:pt x="1412" y="120"/>
                </a:lnTo>
                <a:close/>
              </a:path>
            </a:pathLst>
          </a:custGeom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grpSp>
        <p:nvGrpSpPr>
          <p:cNvPr id="74" name="íśḷiďe">
            <a:extLst>
              <a:ext uri="{FF2B5EF4-FFF2-40B4-BE49-F238E27FC236}">
                <a16:creationId xmlns:a16="http://schemas.microsoft.com/office/drawing/2014/main" id="{2518D013-5AF7-4BC6-BEFB-E8D2BC0B176A}"/>
              </a:ext>
            </a:extLst>
          </p:cNvPr>
          <p:cNvGrpSpPr/>
          <p:nvPr/>
        </p:nvGrpSpPr>
        <p:grpSpPr>
          <a:xfrm>
            <a:off x="10763380" y="1550863"/>
            <a:ext cx="1802902" cy="1109719"/>
            <a:chOff x="1197898" y="2503545"/>
            <a:chExt cx="2198693" cy="1006991"/>
          </a:xfrm>
        </p:grpSpPr>
        <p:sp>
          <p:nvSpPr>
            <p:cNvPr id="75" name="ïsľíḓê">
              <a:extLst>
                <a:ext uri="{FF2B5EF4-FFF2-40B4-BE49-F238E27FC236}">
                  <a16:creationId xmlns:a16="http://schemas.microsoft.com/office/drawing/2014/main" id="{4B197695-6FEF-4B25-8281-0C518D30A556}"/>
                </a:ext>
              </a:extLst>
            </p:cNvPr>
            <p:cNvSpPr txBox="1"/>
            <p:nvPr/>
          </p:nvSpPr>
          <p:spPr>
            <a:xfrm>
              <a:off x="1197898" y="2503545"/>
              <a:ext cx="2198693" cy="264215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 fontScale="92500" lnSpcReduction="20000"/>
            </a:bodyPr>
            <a:lstStyle/>
            <a:p>
              <a:r>
                <a:rPr lang="zh-CN" altLang="en-US" sz="1600" b="1" dirty="0"/>
                <a:t>单机模式</a:t>
              </a:r>
            </a:p>
          </p:txBody>
        </p:sp>
        <p:sp>
          <p:nvSpPr>
            <p:cNvPr id="76" name="ïs1íḓé">
              <a:extLst>
                <a:ext uri="{FF2B5EF4-FFF2-40B4-BE49-F238E27FC236}">
                  <a16:creationId xmlns:a16="http://schemas.microsoft.com/office/drawing/2014/main" id="{5926715D-E6A4-4062-9B0C-AA9C7A01E36F}"/>
                </a:ext>
              </a:extLst>
            </p:cNvPr>
            <p:cNvSpPr txBox="1"/>
            <p:nvPr/>
          </p:nvSpPr>
          <p:spPr>
            <a:xfrm>
              <a:off x="1197898" y="2743144"/>
              <a:ext cx="2198693" cy="767392"/>
            </a:xfrm>
            <a:prstGeom prst="rect">
              <a:avLst/>
            </a:prstGeom>
          </p:spPr>
          <p:txBody>
            <a:bodyPr vert="horz" wrap="square" lIns="91440" tIns="45720" rIns="91440" bIns="45720" anchor="ctr" anchorCtr="0">
              <a:normAutofit fontScale="70000" lnSpcReduction="20000"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100" dirty="0"/>
                <a:t>易于配置，使用，以及代码的调试，已经可以开始了！</a:t>
              </a:r>
              <a:endParaRPr lang="en-US" altLang="zh-CN" sz="1100" dirty="0"/>
            </a:p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单机模式下</a:t>
              </a:r>
              <a:r>
                <a:rPr lang="en-US" altLang="zh-CN" sz="1100" dirty="0"/>
                <a:t>Hadoop</a:t>
              </a:r>
              <a:r>
                <a:rPr lang="zh-CN" altLang="en-US" sz="1100" dirty="0"/>
                <a:t>不会使用</a:t>
              </a:r>
              <a:r>
                <a:rPr lang="en-US" altLang="zh-CN" sz="1100" dirty="0"/>
                <a:t>HDFS,</a:t>
              </a:r>
              <a:r>
                <a:rPr lang="zh-CN" altLang="en-US" sz="1100" dirty="0"/>
                <a:t>也不会开启任何</a:t>
              </a:r>
              <a:r>
                <a:rPr lang="en-US" altLang="zh-CN" sz="1100" dirty="0"/>
                <a:t>Hadoop</a:t>
              </a:r>
              <a:r>
                <a:rPr lang="zh-CN" altLang="en-US" sz="1100" dirty="0"/>
                <a:t>守护进程</a:t>
              </a:r>
              <a:r>
                <a:rPr lang="en-US" altLang="zh-CN" sz="1100" dirty="0"/>
                <a:t>,</a:t>
              </a:r>
              <a:r>
                <a:rPr lang="zh-CN" altLang="en-US" sz="1100" dirty="0"/>
                <a:t>所有程序将在一个</a:t>
              </a:r>
              <a:r>
                <a:rPr lang="en-US" altLang="zh-CN" sz="1100" dirty="0"/>
                <a:t>JVM</a:t>
              </a:r>
              <a:r>
                <a:rPr lang="zh-CN" altLang="en-US" sz="1100" dirty="0"/>
                <a:t>上运行并且最多只允许拥有一个</a:t>
              </a:r>
              <a:r>
                <a:rPr lang="en-US" altLang="zh-CN" sz="1100" dirty="0"/>
                <a:t>reducer</a:t>
              </a:r>
            </a:p>
          </p:txBody>
        </p:sp>
      </p:grpSp>
      <p:grpSp>
        <p:nvGrpSpPr>
          <p:cNvPr id="77" name="ïśļïḓé">
            <a:extLst>
              <a:ext uri="{FF2B5EF4-FFF2-40B4-BE49-F238E27FC236}">
                <a16:creationId xmlns:a16="http://schemas.microsoft.com/office/drawing/2014/main" id="{6DEEEE8B-FAA7-4F93-A745-D45D90A8145D}"/>
              </a:ext>
            </a:extLst>
          </p:cNvPr>
          <p:cNvGrpSpPr/>
          <p:nvPr/>
        </p:nvGrpSpPr>
        <p:grpSpPr>
          <a:xfrm>
            <a:off x="11000945" y="3660818"/>
            <a:ext cx="1802902" cy="2052719"/>
            <a:chOff x="1197898" y="2503545"/>
            <a:chExt cx="2198693" cy="1006991"/>
          </a:xfrm>
        </p:grpSpPr>
        <p:sp>
          <p:nvSpPr>
            <p:cNvPr id="78" name="íṩ1iďè">
              <a:extLst>
                <a:ext uri="{FF2B5EF4-FFF2-40B4-BE49-F238E27FC236}">
                  <a16:creationId xmlns:a16="http://schemas.microsoft.com/office/drawing/2014/main" id="{338D348A-EFEB-459B-B1E6-3466B49E4DEB}"/>
                </a:ext>
              </a:extLst>
            </p:cNvPr>
            <p:cNvSpPr txBox="1"/>
            <p:nvPr/>
          </p:nvSpPr>
          <p:spPr>
            <a:xfrm>
              <a:off x="1197898" y="2503545"/>
              <a:ext cx="2198693" cy="142837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 fontScale="92500" lnSpcReduction="20000"/>
            </a:bodyPr>
            <a:lstStyle/>
            <a:p>
              <a:r>
                <a:rPr lang="zh-CN" altLang="en-US" sz="1600" b="1" dirty="0"/>
                <a:t>完全分布模式</a:t>
              </a:r>
            </a:p>
          </p:txBody>
        </p:sp>
        <p:sp>
          <p:nvSpPr>
            <p:cNvPr id="79" name="ïṩḷíḑê">
              <a:extLst>
                <a:ext uri="{FF2B5EF4-FFF2-40B4-BE49-F238E27FC236}">
                  <a16:creationId xmlns:a16="http://schemas.microsoft.com/office/drawing/2014/main" id="{AEE3C1C1-1CBA-48B8-9EC8-E50269FB03E9}"/>
                </a:ext>
              </a:extLst>
            </p:cNvPr>
            <p:cNvSpPr txBox="1"/>
            <p:nvPr/>
          </p:nvSpPr>
          <p:spPr>
            <a:xfrm>
              <a:off x="1197898" y="2615217"/>
              <a:ext cx="2198693" cy="895319"/>
            </a:xfrm>
            <a:prstGeom prst="rect">
              <a:avLst/>
            </a:prstGeom>
          </p:spPr>
          <p:txBody>
            <a:bodyPr vert="horz" wrap="square" lIns="91440" tIns="45720" rIns="91440" bIns="45720" anchor="ctr" anchorCtr="0">
              <a:normAutofit fontScale="70000" lnSpcReduction="20000"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100" dirty="0"/>
                <a:t>1</a:t>
              </a:r>
              <a:r>
                <a:rPr lang="zh-CN" altLang="en-US" sz="1100" dirty="0"/>
                <a:t>、配置好几台虚拟机</a:t>
              </a:r>
              <a:r>
                <a:rPr lang="en-US" altLang="zh-CN" sz="1100" dirty="0"/>
                <a:t>,</a:t>
              </a:r>
              <a:r>
                <a:rPr lang="zh-CN" altLang="en-US" sz="1100" dirty="0"/>
                <a:t>安装好</a:t>
              </a:r>
              <a:r>
                <a:rPr lang="en-US" altLang="zh-CN" sz="1100" dirty="0" err="1"/>
                <a:t>jdk</a:t>
              </a:r>
              <a:r>
                <a:rPr lang="zh-CN" altLang="en-US" sz="1100" dirty="0"/>
                <a:t>和</a:t>
              </a:r>
              <a:r>
                <a:rPr lang="en-US" altLang="zh-CN" sz="1100" dirty="0" err="1"/>
                <a:t>hadoop</a:t>
              </a:r>
              <a:r>
                <a:rPr lang="zh-CN" altLang="en-US" sz="1100" dirty="0"/>
                <a:t>；</a:t>
              </a:r>
              <a:endParaRPr lang="en-US" altLang="zh-CN" sz="1100" dirty="0"/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2</a:t>
              </a:r>
              <a:r>
                <a:rPr lang="zh-CN" altLang="en-US" sz="1100" dirty="0"/>
                <a:t>、安装配置</a:t>
              </a:r>
              <a:r>
                <a:rPr lang="en-US" altLang="zh-CN" sz="1100" dirty="0"/>
                <a:t>SSH</a:t>
              </a:r>
              <a:r>
                <a:rPr lang="zh-CN" altLang="en-US" sz="1100" dirty="0"/>
                <a:t>；</a:t>
              </a:r>
              <a:endParaRPr lang="en-US" altLang="zh-CN" sz="1100" dirty="0"/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3</a:t>
              </a:r>
              <a:r>
                <a:rPr lang="zh-CN" altLang="en-US" sz="1100" dirty="0"/>
                <a:t>、</a:t>
              </a:r>
              <a:r>
                <a:rPr lang="en-US" altLang="zh-CN" sz="1100" dirty="0" err="1"/>
                <a:t>hadoop</a:t>
              </a:r>
              <a:r>
                <a:rPr lang="zh-CN" altLang="en-US" sz="1100" dirty="0"/>
                <a:t>配置；</a:t>
              </a:r>
              <a:endParaRPr lang="en-US" altLang="zh-CN" sz="1100" dirty="0"/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4</a:t>
              </a:r>
              <a:r>
                <a:rPr lang="zh-CN" altLang="en-US" sz="1100" dirty="0"/>
                <a:t>、</a:t>
              </a:r>
              <a:r>
                <a:rPr lang="en-US" altLang="zh-CN" sz="1100" dirty="0"/>
                <a:t>hadoop-env.sh</a:t>
              </a:r>
              <a:r>
                <a:rPr lang="zh-CN" altLang="en-US" sz="1100" dirty="0"/>
                <a:t>，</a:t>
              </a:r>
              <a:r>
                <a:rPr lang="en-US" altLang="zh-CN" sz="1100" dirty="0" err="1"/>
                <a:t>hadoop</a:t>
              </a:r>
              <a:r>
                <a:rPr lang="en-US" altLang="zh-CN" sz="1100" dirty="0"/>
                <a:t>-core-</a:t>
              </a:r>
              <a:r>
                <a:rPr lang="en-US" altLang="zh-CN" sz="1100" dirty="0" err="1"/>
                <a:t>site.xm</a:t>
              </a:r>
              <a:r>
                <a:rPr lang="zh-CN" altLang="en-US" sz="1100" dirty="0"/>
                <a:t>，</a:t>
              </a:r>
              <a:r>
                <a:rPr lang="en-US" altLang="zh-CN" sz="1100" dirty="0" err="1"/>
                <a:t>hadoop-hdfs-site.xm</a:t>
              </a:r>
              <a:r>
                <a:rPr lang="zh-CN" altLang="en-US" sz="1100" dirty="0"/>
                <a:t>，</a:t>
              </a:r>
              <a:r>
                <a:rPr lang="en-US" altLang="zh-CN" sz="1100" dirty="0"/>
                <a:t>hadoop-mapred-site.xml</a:t>
              </a:r>
              <a:r>
                <a:rPr lang="zh-CN" altLang="en-US" sz="1100" dirty="0"/>
                <a:t>，</a:t>
              </a:r>
              <a:r>
                <a:rPr lang="en-US" altLang="zh-CN" sz="1100" dirty="0"/>
                <a:t>hadoop-yarn-site.xml</a:t>
              </a:r>
              <a:r>
                <a:rPr lang="zh-CN" altLang="en-US" sz="1100" dirty="0"/>
                <a:t>；</a:t>
              </a:r>
              <a:r>
                <a:rPr lang="en-US" altLang="zh-CN" sz="1100" dirty="0"/>
                <a:t>5</a:t>
              </a:r>
              <a:r>
                <a:rPr lang="zh-CN" altLang="en-US" sz="1100" dirty="0"/>
                <a:t>、配置</a:t>
              </a:r>
              <a:r>
                <a:rPr lang="en-US" altLang="zh-CN" sz="1100" dirty="0"/>
                <a:t>slave</a:t>
              </a:r>
              <a:r>
                <a:rPr lang="zh-CN" altLang="en-US" sz="1100" dirty="0"/>
                <a:t>；</a:t>
              </a:r>
              <a:endParaRPr lang="en-US" altLang="zh-CN" sz="1100" dirty="0"/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6</a:t>
              </a:r>
              <a:r>
                <a:rPr lang="zh-CN" altLang="en-US" sz="1100" dirty="0"/>
                <a:t>、分发到所有虚拟机上；</a:t>
              </a:r>
              <a:endParaRPr lang="en-US" altLang="zh-CN" sz="1100" dirty="0"/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7</a:t>
              </a:r>
              <a:r>
                <a:rPr lang="zh-CN" altLang="en-US" sz="1100" dirty="0"/>
                <a:t>、</a:t>
              </a:r>
              <a:r>
                <a:rPr lang="en-US" altLang="zh-CN" sz="1100" dirty="0" err="1"/>
                <a:t>namenode</a:t>
              </a:r>
              <a:r>
                <a:rPr lang="zh-CN" altLang="en-US" sz="1100" dirty="0"/>
                <a:t>格式化；</a:t>
              </a:r>
              <a:endParaRPr lang="en-US" altLang="zh-CN" sz="1100" dirty="0"/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8</a:t>
              </a:r>
              <a:r>
                <a:rPr lang="zh-CN" altLang="en-US" sz="1100" dirty="0"/>
                <a:t>、启动进程；</a:t>
              </a:r>
              <a:endParaRPr lang="en-US" altLang="zh-CN" sz="1100" dirty="0"/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9</a:t>
              </a:r>
              <a:r>
                <a:rPr lang="zh-CN" altLang="en-US" sz="1100" dirty="0"/>
                <a:t>、查看（</a:t>
              </a:r>
              <a:r>
                <a:rPr lang="en-US" altLang="zh-CN" sz="1100" dirty="0" err="1"/>
                <a:t>jps</a:t>
              </a:r>
              <a:r>
                <a:rPr lang="zh-CN" altLang="en-US" sz="1100" dirty="0"/>
                <a:t>，</a:t>
              </a:r>
              <a:r>
                <a:rPr lang="en-US" altLang="zh-CN" sz="1100" dirty="0"/>
                <a:t>web</a:t>
              </a:r>
              <a:r>
                <a:rPr lang="zh-CN" altLang="en-US" sz="1100" dirty="0"/>
                <a:t>）；</a:t>
              </a:r>
            </a:p>
          </p:txBody>
        </p:sp>
      </p:grpSp>
      <p:grpSp>
        <p:nvGrpSpPr>
          <p:cNvPr id="80" name="îṧḻïḍé">
            <a:extLst>
              <a:ext uri="{FF2B5EF4-FFF2-40B4-BE49-F238E27FC236}">
                <a16:creationId xmlns:a16="http://schemas.microsoft.com/office/drawing/2014/main" id="{7C42207E-1F0C-4E67-B285-BA7D69A4567D}"/>
              </a:ext>
            </a:extLst>
          </p:cNvPr>
          <p:cNvGrpSpPr/>
          <p:nvPr/>
        </p:nvGrpSpPr>
        <p:grpSpPr>
          <a:xfrm>
            <a:off x="9973709" y="2660583"/>
            <a:ext cx="1911887" cy="1109719"/>
            <a:chOff x="1304696" y="2503545"/>
            <a:chExt cx="2198694" cy="1086301"/>
          </a:xfrm>
        </p:grpSpPr>
        <p:sp>
          <p:nvSpPr>
            <p:cNvPr id="81" name="î$ļîḍè">
              <a:extLst>
                <a:ext uri="{FF2B5EF4-FFF2-40B4-BE49-F238E27FC236}">
                  <a16:creationId xmlns:a16="http://schemas.microsoft.com/office/drawing/2014/main" id="{17CC866C-7347-49C9-B5F0-2E32AC5D9347}"/>
                </a:ext>
              </a:extLst>
            </p:cNvPr>
            <p:cNvSpPr txBox="1"/>
            <p:nvPr/>
          </p:nvSpPr>
          <p:spPr>
            <a:xfrm>
              <a:off x="1304697" y="2503545"/>
              <a:ext cx="2198693" cy="285025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 fontScale="92500" lnSpcReduction="20000"/>
            </a:bodyPr>
            <a:lstStyle/>
            <a:p>
              <a:r>
                <a:rPr lang="zh-CN" altLang="en-US" sz="1600" b="1" dirty="0"/>
                <a:t>伪分布模式</a:t>
              </a:r>
            </a:p>
          </p:txBody>
        </p:sp>
        <p:sp>
          <p:nvSpPr>
            <p:cNvPr id="82" name="ïṡ1iḓê">
              <a:extLst>
                <a:ext uri="{FF2B5EF4-FFF2-40B4-BE49-F238E27FC236}">
                  <a16:creationId xmlns:a16="http://schemas.microsoft.com/office/drawing/2014/main" id="{E31ECFB4-70B0-42D7-A3CD-D477D98EA2BD}"/>
                </a:ext>
              </a:extLst>
            </p:cNvPr>
            <p:cNvSpPr txBox="1"/>
            <p:nvPr/>
          </p:nvSpPr>
          <p:spPr>
            <a:xfrm>
              <a:off x="1304696" y="2666312"/>
              <a:ext cx="2198693" cy="923534"/>
            </a:xfrm>
            <a:prstGeom prst="rect">
              <a:avLst/>
            </a:prstGeom>
          </p:spPr>
          <p:txBody>
            <a:bodyPr vert="horz" wrap="square" lIns="91440" tIns="45720" rIns="91440" bIns="45720" anchor="ctr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800" b="1" dirty="0"/>
                <a:t>HADOOP_HOME/</a:t>
              </a:r>
              <a:r>
                <a:rPr lang="en-US" altLang="zh-CN" sz="800" b="1" dirty="0" err="1"/>
                <a:t>etc</a:t>
              </a:r>
              <a:r>
                <a:rPr lang="en-US" altLang="zh-CN" sz="800" b="1" dirty="0"/>
                <a:t>/Hadoop</a:t>
              </a:r>
              <a:r>
                <a:rPr lang="zh-CN" altLang="en-US" sz="800" b="1" dirty="0"/>
                <a:t>下</a:t>
              </a:r>
              <a:endParaRPr lang="en-US" altLang="zh-CN" sz="800" b="1" dirty="0"/>
            </a:p>
            <a:p>
              <a:pPr>
                <a:lnSpc>
                  <a:spcPct val="120000"/>
                </a:lnSpc>
              </a:pPr>
              <a:r>
                <a:rPr lang="en-US" altLang="zh-CN" sz="800" b="1" dirty="0"/>
                <a:t>core-site.xml  hdfs-site.xml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800" b="1" dirty="0" err="1"/>
                <a:t>hdfs</a:t>
              </a:r>
              <a:r>
                <a:rPr lang="en-US" altLang="zh-CN" sz="800" b="1" dirty="0"/>
                <a:t> </a:t>
              </a:r>
              <a:r>
                <a:rPr lang="en-US" altLang="zh-CN" sz="800" b="1" dirty="0" err="1"/>
                <a:t>namenode</a:t>
              </a:r>
              <a:r>
                <a:rPr lang="en-US" altLang="zh-CN" sz="800" b="1" dirty="0"/>
                <a:t> -format 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800" b="1" dirty="0"/>
                <a:t>start-dfs.sh 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800" b="1" dirty="0" err="1"/>
                <a:t>jps</a:t>
              </a:r>
              <a:endParaRPr lang="en-US" altLang="zh-CN" sz="800" b="1" dirty="0"/>
            </a:p>
          </p:txBody>
        </p:sp>
      </p:grpSp>
      <p:sp>
        <p:nvSpPr>
          <p:cNvPr id="83" name="图形 5">
            <a:extLst>
              <a:ext uri="{FF2B5EF4-FFF2-40B4-BE49-F238E27FC236}">
                <a16:creationId xmlns:a16="http://schemas.microsoft.com/office/drawing/2014/main" id="{EA22746D-B7AC-47F6-8EF1-35E9150F6771}"/>
              </a:ext>
            </a:extLst>
          </p:cNvPr>
          <p:cNvSpPr/>
          <p:nvPr/>
        </p:nvSpPr>
        <p:spPr>
          <a:xfrm>
            <a:off x="10305718" y="1701929"/>
            <a:ext cx="365043" cy="373216"/>
          </a:xfrm>
          <a:custGeom>
            <a:avLst/>
            <a:gdLst>
              <a:gd name="connsiteX0" fmla="*/ 365354 w 365043"/>
              <a:gd name="connsiteY0" fmla="*/ 184987 h 373215"/>
              <a:gd name="connsiteX1" fmla="*/ 363962 w 365043"/>
              <a:gd name="connsiteY1" fmla="*/ 180287 h 373215"/>
              <a:gd name="connsiteX2" fmla="*/ 354542 w 365043"/>
              <a:gd name="connsiteY2" fmla="*/ 170511 h 373215"/>
              <a:gd name="connsiteX3" fmla="*/ 318954 w 365043"/>
              <a:gd name="connsiteY3" fmla="*/ 134587 h 373215"/>
              <a:gd name="connsiteX4" fmla="*/ 292974 w 365043"/>
              <a:gd name="connsiteY4" fmla="*/ 108283 h 373215"/>
              <a:gd name="connsiteX5" fmla="*/ 270334 w 365043"/>
              <a:gd name="connsiteY5" fmla="*/ 84952 h 373215"/>
              <a:gd name="connsiteX6" fmla="*/ 243119 w 365043"/>
              <a:gd name="connsiteY6" fmla="*/ 57046 h 373215"/>
              <a:gd name="connsiteX7" fmla="*/ 240398 w 365043"/>
              <a:gd name="connsiteY7" fmla="*/ 54817 h 373215"/>
              <a:gd name="connsiteX8" fmla="*/ 230726 w 365043"/>
              <a:gd name="connsiteY8" fmla="*/ 44664 h 373215"/>
              <a:gd name="connsiteX9" fmla="*/ 203396 w 365043"/>
              <a:gd name="connsiteY9" fmla="*/ 16664 h 373215"/>
              <a:gd name="connsiteX10" fmla="*/ 200643 w 365043"/>
              <a:gd name="connsiteY10" fmla="*/ 14434 h 373215"/>
              <a:gd name="connsiteX11" fmla="*/ 191296 w 365043"/>
              <a:gd name="connsiteY11" fmla="*/ 4417 h 373215"/>
              <a:gd name="connsiteX12" fmla="*/ 170906 w 365043"/>
              <a:gd name="connsiteY12" fmla="*/ 4574 h 373215"/>
              <a:gd name="connsiteX13" fmla="*/ 158555 w 365043"/>
              <a:gd name="connsiteY13" fmla="*/ 17459 h 373215"/>
              <a:gd name="connsiteX14" fmla="*/ 127153 w 365043"/>
              <a:gd name="connsiteY14" fmla="*/ 49908 h 373215"/>
              <a:gd name="connsiteX15" fmla="*/ 97594 w 365043"/>
              <a:gd name="connsiteY15" fmla="*/ 80796 h 373215"/>
              <a:gd name="connsiteX16" fmla="*/ 77256 w 365043"/>
              <a:gd name="connsiteY16" fmla="*/ 101731 h 373215"/>
              <a:gd name="connsiteX17" fmla="*/ 57033 w 365043"/>
              <a:gd name="connsiteY17" fmla="*/ 122466 h 373215"/>
              <a:gd name="connsiteX18" fmla="*/ 29452 w 365043"/>
              <a:gd name="connsiteY18" fmla="*/ 150727 h 373215"/>
              <a:gd name="connsiteX19" fmla="*/ 2175 w 365043"/>
              <a:gd name="connsiteY19" fmla="*/ 178811 h 373215"/>
              <a:gd name="connsiteX20" fmla="*/ 82 w 365043"/>
              <a:gd name="connsiteY20" fmla="*/ 184767 h 373215"/>
              <a:gd name="connsiteX21" fmla="*/ 2688 w 365043"/>
              <a:gd name="connsiteY21" fmla="*/ 196804 h 373215"/>
              <a:gd name="connsiteX22" fmla="*/ 25245 w 365043"/>
              <a:gd name="connsiteY22" fmla="*/ 213551 h 373215"/>
              <a:gd name="connsiteX23" fmla="*/ 46106 w 365043"/>
              <a:gd name="connsiteY23" fmla="*/ 213468 h 373215"/>
              <a:gd name="connsiteX24" fmla="*/ 48922 w 365043"/>
              <a:gd name="connsiteY24" fmla="*/ 216262 h 373215"/>
              <a:gd name="connsiteX25" fmla="*/ 48744 w 365043"/>
              <a:gd name="connsiteY25" fmla="*/ 344108 h 373215"/>
              <a:gd name="connsiteX26" fmla="*/ 57651 w 365043"/>
              <a:gd name="connsiteY26" fmla="*/ 365734 h 373215"/>
              <a:gd name="connsiteX27" fmla="*/ 80564 w 365043"/>
              <a:gd name="connsiteY27" fmla="*/ 373427 h 373215"/>
              <a:gd name="connsiteX28" fmla="*/ 139368 w 365043"/>
              <a:gd name="connsiteY28" fmla="*/ 373532 h 373215"/>
              <a:gd name="connsiteX29" fmla="*/ 143283 w 365043"/>
              <a:gd name="connsiteY29" fmla="*/ 369774 h 373215"/>
              <a:gd name="connsiteX30" fmla="*/ 143189 w 365043"/>
              <a:gd name="connsiteY30" fmla="*/ 279432 h 373215"/>
              <a:gd name="connsiteX31" fmla="*/ 143283 w 365043"/>
              <a:gd name="connsiteY31" fmla="*/ 244723 h 373215"/>
              <a:gd name="connsiteX32" fmla="*/ 153133 w 365043"/>
              <a:gd name="connsiteY32" fmla="*/ 234622 h 373215"/>
              <a:gd name="connsiteX33" fmla="*/ 214051 w 365043"/>
              <a:gd name="connsiteY33" fmla="*/ 234758 h 373215"/>
              <a:gd name="connsiteX34" fmla="*/ 221745 w 365043"/>
              <a:gd name="connsiteY34" fmla="*/ 242734 h 373215"/>
              <a:gd name="connsiteX35" fmla="*/ 221692 w 365043"/>
              <a:gd name="connsiteY35" fmla="*/ 369889 h 373215"/>
              <a:gd name="connsiteX36" fmla="*/ 225063 w 365043"/>
              <a:gd name="connsiteY36" fmla="*/ 373542 h 373215"/>
              <a:gd name="connsiteX37" fmla="*/ 282800 w 365043"/>
              <a:gd name="connsiteY37" fmla="*/ 373385 h 373215"/>
              <a:gd name="connsiteX38" fmla="*/ 298333 w 365043"/>
              <a:gd name="connsiteY38" fmla="*/ 370245 h 373215"/>
              <a:gd name="connsiteX39" fmla="*/ 309847 w 365043"/>
              <a:gd name="connsiteY39" fmla="*/ 360825 h 373215"/>
              <a:gd name="connsiteX40" fmla="*/ 318064 w 365043"/>
              <a:gd name="connsiteY40" fmla="*/ 342182 h 373215"/>
              <a:gd name="connsiteX41" fmla="*/ 318284 w 365043"/>
              <a:gd name="connsiteY41" fmla="*/ 308614 h 373215"/>
              <a:gd name="connsiteX42" fmla="*/ 318357 w 365043"/>
              <a:gd name="connsiteY42" fmla="*/ 259973 h 373215"/>
              <a:gd name="connsiteX43" fmla="*/ 318357 w 365043"/>
              <a:gd name="connsiteY43" fmla="*/ 213897 h 373215"/>
              <a:gd name="connsiteX44" fmla="*/ 319655 w 365043"/>
              <a:gd name="connsiteY44" fmla="*/ 212306 h 373215"/>
              <a:gd name="connsiteX45" fmla="*/ 344776 w 365043"/>
              <a:gd name="connsiteY45" fmla="*/ 212505 h 373215"/>
              <a:gd name="connsiteX46" fmla="*/ 360299 w 365043"/>
              <a:gd name="connsiteY46" fmla="*/ 205094 h 373215"/>
              <a:gd name="connsiteX47" fmla="*/ 365198 w 365043"/>
              <a:gd name="connsiteY47" fmla="*/ 184987 h 373215"/>
              <a:gd name="connsiteX48" fmla="*/ 348775 w 365043"/>
              <a:gd name="connsiteY48" fmla="*/ 190011 h 373215"/>
              <a:gd name="connsiteX49" fmla="*/ 342494 w 365043"/>
              <a:gd name="connsiteY49" fmla="*/ 196134 h 373215"/>
              <a:gd name="connsiteX50" fmla="*/ 305660 w 365043"/>
              <a:gd name="connsiteY50" fmla="*/ 196029 h 373215"/>
              <a:gd name="connsiteX51" fmla="*/ 302237 w 365043"/>
              <a:gd name="connsiteY51" fmla="*/ 199588 h 373215"/>
              <a:gd name="connsiteX52" fmla="*/ 302028 w 365043"/>
              <a:gd name="connsiteY52" fmla="*/ 255180 h 373215"/>
              <a:gd name="connsiteX53" fmla="*/ 301693 w 365043"/>
              <a:gd name="connsiteY53" fmla="*/ 327508 h 373215"/>
              <a:gd name="connsiteX54" fmla="*/ 301882 w 365043"/>
              <a:gd name="connsiteY54" fmla="*/ 338687 h 373215"/>
              <a:gd name="connsiteX55" fmla="*/ 283428 w 365043"/>
              <a:gd name="connsiteY55" fmla="*/ 356878 h 373215"/>
              <a:gd name="connsiteX56" fmla="*/ 241643 w 365043"/>
              <a:gd name="connsiteY56" fmla="*/ 356753 h 373215"/>
              <a:gd name="connsiteX57" fmla="*/ 238314 w 365043"/>
              <a:gd name="connsiteY57" fmla="*/ 353330 h 373215"/>
              <a:gd name="connsiteX58" fmla="*/ 238513 w 365043"/>
              <a:gd name="connsiteY58" fmla="*/ 296117 h 373215"/>
              <a:gd name="connsiteX59" fmla="*/ 238398 w 365043"/>
              <a:gd name="connsiteY59" fmla="*/ 243184 h 373215"/>
              <a:gd name="connsiteX60" fmla="*/ 228433 w 365043"/>
              <a:gd name="connsiteY60" fmla="*/ 222459 h 373215"/>
              <a:gd name="connsiteX61" fmla="*/ 218877 w 365043"/>
              <a:gd name="connsiteY61" fmla="*/ 218984 h 373215"/>
              <a:gd name="connsiteX62" fmla="*/ 152316 w 365043"/>
              <a:gd name="connsiteY62" fmla="*/ 218984 h 373215"/>
              <a:gd name="connsiteX63" fmla="*/ 142959 w 365043"/>
              <a:gd name="connsiteY63" fmla="*/ 219727 h 373215"/>
              <a:gd name="connsiteX64" fmla="*/ 127541 w 365043"/>
              <a:gd name="connsiteY64" fmla="*/ 240138 h 373215"/>
              <a:gd name="connsiteX65" fmla="*/ 127258 w 365043"/>
              <a:gd name="connsiteY65" fmla="*/ 245759 h 373215"/>
              <a:gd name="connsiteX66" fmla="*/ 127321 w 365043"/>
              <a:gd name="connsiteY66" fmla="*/ 353100 h 373215"/>
              <a:gd name="connsiteX67" fmla="*/ 123667 w 365043"/>
              <a:gd name="connsiteY67" fmla="*/ 356763 h 373215"/>
              <a:gd name="connsiteX68" fmla="*/ 75519 w 365043"/>
              <a:gd name="connsiteY68" fmla="*/ 356523 h 373215"/>
              <a:gd name="connsiteX69" fmla="*/ 65738 w 365043"/>
              <a:gd name="connsiteY69" fmla="*/ 347477 h 373215"/>
              <a:gd name="connsiteX70" fmla="*/ 65732 w 365043"/>
              <a:gd name="connsiteY70" fmla="*/ 347249 h 373215"/>
              <a:gd name="connsiteX71" fmla="*/ 65439 w 365043"/>
              <a:gd name="connsiteY71" fmla="*/ 329224 h 373215"/>
              <a:gd name="connsiteX72" fmla="*/ 65439 w 365043"/>
              <a:gd name="connsiteY72" fmla="*/ 272544 h 373215"/>
              <a:gd name="connsiteX73" fmla="*/ 65501 w 365043"/>
              <a:gd name="connsiteY73" fmla="*/ 200635 h 373215"/>
              <a:gd name="connsiteX74" fmla="*/ 62068 w 365043"/>
              <a:gd name="connsiteY74" fmla="*/ 197128 h 373215"/>
              <a:gd name="connsiteX75" fmla="*/ 26292 w 365043"/>
              <a:gd name="connsiteY75" fmla="*/ 197202 h 373215"/>
              <a:gd name="connsiteX76" fmla="*/ 17405 w 365043"/>
              <a:gd name="connsiteY76" fmla="*/ 188765 h 373215"/>
              <a:gd name="connsiteX77" fmla="*/ 22345 w 365043"/>
              <a:gd name="connsiteY77" fmla="*/ 181669 h 373215"/>
              <a:gd name="connsiteX78" fmla="*/ 45174 w 365043"/>
              <a:gd name="connsiteY78" fmla="*/ 158274 h 373215"/>
              <a:gd name="connsiteX79" fmla="*/ 79486 w 365043"/>
              <a:gd name="connsiteY79" fmla="*/ 122979 h 373215"/>
              <a:gd name="connsiteX80" fmla="*/ 111117 w 365043"/>
              <a:gd name="connsiteY80" fmla="*/ 89631 h 373215"/>
              <a:gd name="connsiteX81" fmla="*/ 138918 w 365043"/>
              <a:gd name="connsiteY81" fmla="*/ 61055 h 373215"/>
              <a:gd name="connsiteX82" fmla="*/ 164678 w 365043"/>
              <a:gd name="connsiteY82" fmla="*/ 34207 h 373215"/>
              <a:gd name="connsiteX83" fmla="*/ 180190 w 365043"/>
              <a:gd name="connsiteY83" fmla="*/ 18506 h 373215"/>
              <a:gd name="connsiteX84" fmla="*/ 182284 w 365043"/>
              <a:gd name="connsiteY84" fmla="*/ 18600 h 373215"/>
              <a:gd name="connsiteX85" fmla="*/ 196624 w 365043"/>
              <a:gd name="connsiteY85" fmla="*/ 32804 h 373215"/>
              <a:gd name="connsiteX86" fmla="*/ 221745 w 365043"/>
              <a:gd name="connsiteY86" fmla="*/ 58826 h 373215"/>
              <a:gd name="connsiteX87" fmla="*/ 254895 w 365043"/>
              <a:gd name="connsiteY87" fmla="*/ 92499 h 373215"/>
              <a:gd name="connsiteX88" fmla="*/ 279147 w 365043"/>
              <a:gd name="connsiteY88" fmla="*/ 116814 h 373215"/>
              <a:gd name="connsiteX89" fmla="*/ 300353 w 365043"/>
              <a:gd name="connsiteY89" fmla="*/ 138617 h 373215"/>
              <a:gd name="connsiteX90" fmla="*/ 319268 w 365043"/>
              <a:gd name="connsiteY90" fmla="*/ 157594 h 373215"/>
              <a:gd name="connsiteX91" fmla="*/ 342484 w 365043"/>
              <a:gd name="connsiteY91" fmla="*/ 181825 h 373215"/>
              <a:gd name="connsiteX92" fmla="*/ 347288 w 365043"/>
              <a:gd name="connsiteY92" fmla="*/ 186389 h 373215"/>
              <a:gd name="connsiteX93" fmla="*/ 348848 w 365043"/>
              <a:gd name="connsiteY93" fmla="*/ 190032 h 373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365043" h="373215">
                <a:moveTo>
                  <a:pt x="365354" y="184987"/>
                </a:moveTo>
                <a:cubicBezTo>
                  <a:pt x="365354" y="183312"/>
                  <a:pt x="365585" y="181553"/>
                  <a:pt x="363962" y="180287"/>
                </a:cubicBezTo>
                <a:cubicBezTo>
                  <a:pt x="360362" y="177471"/>
                  <a:pt x="357682" y="173692"/>
                  <a:pt x="354542" y="170511"/>
                </a:cubicBezTo>
                <a:cubicBezTo>
                  <a:pt x="342679" y="158557"/>
                  <a:pt x="330816" y="146582"/>
                  <a:pt x="318954" y="134587"/>
                </a:cubicBezTo>
                <a:cubicBezTo>
                  <a:pt x="310297" y="125826"/>
                  <a:pt x="301599" y="117086"/>
                  <a:pt x="292974" y="108283"/>
                </a:cubicBezTo>
                <a:cubicBezTo>
                  <a:pt x="285396" y="100537"/>
                  <a:pt x="277891" y="92719"/>
                  <a:pt x="270334" y="84952"/>
                </a:cubicBezTo>
                <a:cubicBezTo>
                  <a:pt x="261269" y="75646"/>
                  <a:pt x="251807" y="66739"/>
                  <a:pt x="243119" y="57046"/>
                </a:cubicBezTo>
                <a:cubicBezTo>
                  <a:pt x="242229" y="56272"/>
                  <a:pt x="241266" y="55612"/>
                  <a:pt x="240398" y="54817"/>
                </a:cubicBezTo>
                <a:cubicBezTo>
                  <a:pt x="237174" y="51426"/>
                  <a:pt x="233981" y="48003"/>
                  <a:pt x="230726" y="44664"/>
                </a:cubicBezTo>
                <a:cubicBezTo>
                  <a:pt x="221654" y="35292"/>
                  <a:pt x="212544" y="25959"/>
                  <a:pt x="203396" y="16664"/>
                </a:cubicBezTo>
                <a:cubicBezTo>
                  <a:pt x="202531" y="15858"/>
                  <a:pt x="201611" y="15113"/>
                  <a:pt x="200643" y="14434"/>
                </a:cubicBezTo>
                <a:cubicBezTo>
                  <a:pt x="198037" y="10604"/>
                  <a:pt x="194196" y="7955"/>
                  <a:pt x="191296" y="4417"/>
                </a:cubicBezTo>
                <a:cubicBezTo>
                  <a:pt x="186732" y="-1193"/>
                  <a:pt x="175983" y="-1800"/>
                  <a:pt x="170906" y="4574"/>
                </a:cubicBezTo>
                <a:cubicBezTo>
                  <a:pt x="167222" y="9211"/>
                  <a:pt x="162784" y="13304"/>
                  <a:pt x="158555" y="17459"/>
                </a:cubicBezTo>
                <a:cubicBezTo>
                  <a:pt x="147826" y="28010"/>
                  <a:pt x="137694" y="39169"/>
                  <a:pt x="127153" y="49908"/>
                </a:cubicBezTo>
                <a:cubicBezTo>
                  <a:pt x="117178" y="60061"/>
                  <a:pt x="107077" y="70120"/>
                  <a:pt x="97594" y="80796"/>
                </a:cubicBezTo>
                <a:cubicBezTo>
                  <a:pt x="91136" y="88071"/>
                  <a:pt x="83704" y="94404"/>
                  <a:pt x="77256" y="101731"/>
                </a:cubicBezTo>
                <a:cubicBezTo>
                  <a:pt x="70808" y="109058"/>
                  <a:pt x="63921" y="115725"/>
                  <a:pt x="57033" y="122466"/>
                </a:cubicBezTo>
                <a:cubicBezTo>
                  <a:pt x="47613" y="131698"/>
                  <a:pt x="38967" y="141621"/>
                  <a:pt x="29452" y="150727"/>
                </a:cubicBezTo>
                <a:cubicBezTo>
                  <a:pt x="19938" y="159834"/>
                  <a:pt x="11334" y="169516"/>
                  <a:pt x="2175" y="178811"/>
                </a:cubicBezTo>
                <a:cubicBezTo>
                  <a:pt x="519" y="180317"/>
                  <a:pt x="-268" y="182555"/>
                  <a:pt x="82" y="184767"/>
                </a:cubicBezTo>
                <a:cubicBezTo>
                  <a:pt x="574" y="188859"/>
                  <a:pt x="1013" y="192963"/>
                  <a:pt x="2688" y="196804"/>
                </a:cubicBezTo>
                <a:cubicBezTo>
                  <a:pt x="6645" y="205795"/>
                  <a:pt x="13699" y="213928"/>
                  <a:pt x="25245" y="213551"/>
                </a:cubicBezTo>
                <a:cubicBezTo>
                  <a:pt x="32195" y="213332"/>
                  <a:pt x="39177" y="213551"/>
                  <a:pt x="46106" y="213468"/>
                </a:cubicBezTo>
                <a:cubicBezTo>
                  <a:pt x="48262" y="213468"/>
                  <a:pt x="48932" y="214064"/>
                  <a:pt x="48922" y="216262"/>
                </a:cubicBezTo>
                <a:cubicBezTo>
                  <a:pt x="48796" y="258829"/>
                  <a:pt x="48737" y="301444"/>
                  <a:pt x="48744" y="344108"/>
                </a:cubicBezTo>
                <a:cubicBezTo>
                  <a:pt x="48744" y="352388"/>
                  <a:pt x="51455" y="359914"/>
                  <a:pt x="57651" y="365734"/>
                </a:cubicBezTo>
                <a:cubicBezTo>
                  <a:pt x="64067" y="371763"/>
                  <a:pt x="72127" y="373385"/>
                  <a:pt x="80564" y="373427"/>
                </a:cubicBezTo>
                <a:cubicBezTo>
                  <a:pt x="100169" y="373532"/>
                  <a:pt x="119763" y="373427"/>
                  <a:pt x="139368" y="373532"/>
                </a:cubicBezTo>
                <a:cubicBezTo>
                  <a:pt x="142352" y="373532"/>
                  <a:pt x="143283" y="373019"/>
                  <a:pt x="143283" y="369774"/>
                </a:cubicBezTo>
                <a:cubicBezTo>
                  <a:pt x="143126" y="339660"/>
                  <a:pt x="143189" y="309546"/>
                  <a:pt x="143189" y="279432"/>
                </a:cubicBezTo>
                <a:cubicBezTo>
                  <a:pt x="143189" y="267918"/>
                  <a:pt x="142959" y="256279"/>
                  <a:pt x="143283" y="244723"/>
                </a:cubicBezTo>
                <a:cubicBezTo>
                  <a:pt x="143461" y="238516"/>
                  <a:pt x="145670" y="234486"/>
                  <a:pt x="153133" y="234622"/>
                </a:cubicBezTo>
                <a:cubicBezTo>
                  <a:pt x="173429" y="235020"/>
                  <a:pt x="193735" y="234758"/>
                  <a:pt x="214051" y="234758"/>
                </a:cubicBezTo>
                <a:cubicBezTo>
                  <a:pt x="219400" y="234758"/>
                  <a:pt x="221745" y="237218"/>
                  <a:pt x="221745" y="242734"/>
                </a:cubicBezTo>
                <a:cubicBezTo>
                  <a:pt x="221745" y="285126"/>
                  <a:pt x="221728" y="327511"/>
                  <a:pt x="221692" y="369889"/>
                </a:cubicBezTo>
                <a:cubicBezTo>
                  <a:pt x="221692" y="372443"/>
                  <a:pt x="222038" y="373553"/>
                  <a:pt x="225063" y="373542"/>
                </a:cubicBezTo>
                <a:cubicBezTo>
                  <a:pt x="244312" y="373375"/>
                  <a:pt x="263541" y="373542"/>
                  <a:pt x="282800" y="373385"/>
                </a:cubicBezTo>
                <a:cubicBezTo>
                  <a:pt x="288096" y="373385"/>
                  <a:pt x="293341" y="372789"/>
                  <a:pt x="298333" y="370245"/>
                </a:cubicBezTo>
                <a:cubicBezTo>
                  <a:pt x="302806" y="367973"/>
                  <a:pt x="306734" y="364759"/>
                  <a:pt x="309847" y="360825"/>
                </a:cubicBezTo>
                <a:cubicBezTo>
                  <a:pt x="314212" y="355392"/>
                  <a:pt x="317624" y="349091"/>
                  <a:pt x="318064" y="342182"/>
                </a:cubicBezTo>
                <a:cubicBezTo>
                  <a:pt x="318776" y="331035"/>
                  <a:pt x="318273" y="319814"/>
                  <a:pt x="318284" y="308614"/>
                </a:cubicBezTo>
                <a:cubicBezTo>
                  <a:pt x="318284" y="292404"/>
                  <a:pt x="318308" y="276191"/>
                  <a:pt x="318357" y="259973"/>
                </a:cubicBezTo>
                <a:lnTo>
                  <a:pt x="318357" y="213897"/>
                </a:lnTo>
                <a:cubicBezTo>
                  <a:pt x="318357" y="213164"/>
                  <a:pt x="317938" y="212264"/>
                  <a:pt x="319655" y="212306"/>
                </a:cubicBezTo>
                <a:cubicBezTo>
                  <a:pt x="328029" y="212505"/>
                  <a:pt x="336402" y="212306"/>
                  <a:pt x="344776" y="212505"/>
                </a:cubicBezTo>
                <a:cubicBezTo>
                  <a:pt x="350871" y="212820"/>
                  <a:pt x="356712" y="210032"/>
                  <a:pt x="360299" y="205094"/>
                </a:cubicBezTo>
                <a:cubicBezTo>
                  <a:pt x="364863" y="199170"/>
                  <a:pt x="365271" y="192104"/>
                  <a:pt x="365198" y="184987"/>
                </a:cubicBezTo>
                <a:close/>
                <a:moveTo>
                  <a:pt x="348775" y="190011"/>
                </a:moveTo>
                <a:cubicBezTo>
                  <a:pt x="348597" y="195433"/>
                  <a:pt x="347864" y="196134"/>
                  <a:pt x="342494" y="196134"/>
                </a:cubicBezTo>
                <a:cubicBezTo>
                  <a:pt x="330216" y="196134"/>
                  <a:pt x="317938" y="196249"/>
                  <a:pt x="305660" y="196029"/>
                </a:cubicBezTo>
                <a:cubicBezTo>
                  <a:pt x="302677" y="196029"/>
                  <a:pt x="302248" y="197537"/>
                  <a:pt x="302237" y="199588"/>
                </a:cubicBezTo>
                <a:cubicBezTo>
                  <a:pt x="302133" y="218115"/>
                  <a:pt x="302102" y="236653"/>
                  <a:pt x="302028" y="255180"/>
                </a:cubicBezTo>
                <a:cubicBezTo>
                  <a:pt x="301923" y="279296"/>
                  <a:pt x="301812" y="303405"/>
                  <a:pt x="301693" y="327508"/>
                </a:cubicBezTo>
                <a:cubicBezTo>
                  <a:pt x="301693" y="331234"/>
                  <a:pt x="301955" y="334971"/>
                  <a:pt x="301882" y="338687"/>
                </a:cubicBezTo>
                <a:cubicBezTo>
                  <a:pt x="301714" y="346798"/>
                  <a:pt x="294147" y="357528"/>
                  <a:pt x="283428" y="356878"/>
                </a:cubicBezTo>
                <a:cubicBezTo>
                  <a:pt x="269549" y="356020"/>
                  <a:pt x="255575" y="356585"/>
                  <a:pt x="241643" y="356753"/>
                </a:cubicBezTo>
                <a:cubicBezTo>
                  <a:pt x="238838" y="356753"/>
                  <a:pt x="238304" y="355769"/>
                  <a:pt x="238314" y="353330"/>
                </a:cubicBezTo>
                <a:cubicBezTo>
                  <a:pt x="238454" y="334245"/>
                  <a:pt x="238520" y="315174"/>
                  <a:pt x="238513" y="296117"/>
                </a:cubicBezTo>
                <a:cubicBezTo>
                  <a:pt x="238513" y="278469"/>
                  <a:pt x="238587" y="260821"/>
                  <a:pt x="238398" y="243184"/>
                </a:cubicBezTo>
                <a:cubicBezTo>
                  <a:pt x="238304" y="234810"/>
                  <a:pt x="235059" y="227609"/>
                  <a:pt x="228433" y="222459"/>
                </a:cubicBezTo>
                <a:cubicBezTo>
                  <a:pt x="225734" y="220251"/>
                  <a:pt x="222364" y="219026"/>
                  <a:pt x="218877" y="218984"/>
                </a:cubicBezTo>
                <a:cubicBezTo>
                  <a:pt x="196708" y="219047"/>
                  <a:pt x="174538" y="218984"/>
                  <a:pt x="152316" y="218984"/>
                </a:cubicBezTo>
                <a:cubicBezTo>
                  <a:pt x="149176" y="218984"/>
                  <a:pt x="146036" y="218492"/>
                  <a:pt x="142959" y="219727"/>
                </a:cubicBezTo>
                <a:cubicBezTo>
                  <a:pt x="133664" y="223411"/>
                  <a:pt x="128880" y="230508"/>
                  <a:pt x="127541" y="240138"/>
                </a:cubicBezTo>
                <a:cubicBezTo>
                  <a:pt x="127311" y="242002"/>
                  <a:pt x="127216" y="243881"/>
                  <a:pt x="127258" y="245759"/>
                </a:cubicBezTo>
                <a:cubicBezTo>
                  <a:pt x="127258" y="281536"/>
                  <a:pt x="127279" y="317316"/>
                  <a:pt x="127321" y="353100"/>
                </a:cubicBezTo>
                <a:cubicBezTo>
                  <a:pt x="127321" y="356031"/>
                  <a:pt x="126661" y="356805"/>
                  <a:pt x="123667" y="356763"/>
                </a:cubicBezTo>
                <a:cubicBezTo>
                  <a:pt x="107622" y="356564"/>
                  <a:pt x="91565" y="356763"/>
                  <a:pt x="75519" y="356523"/>
                </a:cubicBezTo>
                <a:cubicBezTo>
                  <a:pt x="70320" y="356725"/>
                  <a:pt x="65941" y="352675"/>
                  <a:pt x="65738" y="347477"/>
                </a:cubicBezTo>
                <a:cubicBezTo>
                  <a:pt x="65735" y="347401"/>
                  <a:pt x="65733" y="347325"/>
                  <a:pt x="65732" y="347249"/>
                </a:cubicBezTo>
                <a:cubicBezTo>
                  <a:pt x="65407" y="341251"/>
                  <a:pt x="65449" y="335232"/>
                  <a:pt x="65439" y="329224"/>
                </a:cubicBezTo>
                <a:lnTo>
                  <a:pt x="65439" y="272544"/>
                </a:lnTo>
                <a:cubicBezTo>
                  <a:pt x="65439" y="248575"/>
                  <a:pt x="65439" y="224605"/>
                  <a:pt x="65501" y="200635"/>
                </a:cubicBezTo>
                <a:cubicBezTo>
                  <a:pt x="65501" y="197924"/>
                  <a:pt x="64915" y="197097"/>
                  <a:pt x="62068" y="197128"/>
                </a:cubicBezTo>
                <a:cubicBezTo>
                  <a:pt x="50146" y="197306"/>
                  <a:pt x="38224" y="197212"/>
                  <a:pt x="26292" y="197202"/>
                </a:cubicBezTo>
                <a:cubicBezTo>
                  <a:pt x="21567" y="197176"/>
                  <a:pt x="17676" y="193482"/>
                  <a:pt x="17405" y="188765"/>
                </a:cubicBezTo>
                <a:cubicBezTo>
                  <a:pt x="17248" y="185269"/>
                  <a:pt x="20482" y="183710"/>
                  <a:pt x="22345" y="181669"/>
                </a:cubicBezTo>
                <a:cubicBezTo>
                  <a:pt x="29672" y="173651"/>
                  <a:pt x="37554" y="166072"/>
                  <a:pt x="45174" y="158274"/>
                </a:cubicBezTo>
                <a:cubicBezTo>
                  <a:pt x="56636" y="146541"/>
                  <a:pt x="68118" y="134797"/>
                  <a:pt x="79486" y="122979"/>
                </a:cubicBezTo>
                <a:cubicBezTo>
                  <a:pt x="90099" y="111926"/>
                  <a:pt x="100514" y="100684"/>
                  <a:pt x="111117" y="89631"/>
                </a:cubicBezTo>
                <a:cubicBezTo>
                  <a:pt x="120318" y="80043"/>
                  <a:pt x="129801" y="70716"/>
                  <a:pt x="138918" y="61055"/>
                </a:cubicBezTo>
                <a:cubicBezTo>
                  <a:pt x="147397" y="52033"/>
                  <a:pt x="156430" y="43502"/>
                  <a:pt x="164678" y="34207"/>
                </a:cubicBezTo>
                <a:cubicBezTo>
                  <a:pt x="169556" y="28712"/>
                  <a:pt x="175145" y="23824"/>
                  <a:pt x="180190" y="18506"/>
                </a:cubicBezTo>
                <a:cubicBezTo>
                  <a:pt x="181321" y="17323"/>
                  <a:pt x="181405" y="17763"/>
                  <a:pt x="182284" y="18600"/>
                </a:cubicBezTo>
                <a:cubicBezTo>
                  <a:pt x="187025" y="23384"/>
                  <a:pt x="191934" y="28021"/>
                  <a:pt x="196624" y="32804"/>
                </a:cubicBezTo>
                <a:cubicBezTo>
                  <a:pt x="205050" y="41440"/>
                  <a:pt x="213078" y="50462"/>
                  <a:pt x="221745" y="58826"/>
                </a:cubicBezTo>
                <a:cubicBezTo>
                  <a:pt x="233112" y="69764"/>
                  <a:pt x="243726" y="81414"/>
                  <a:pt x="254895" y="92499"/>
                </a:cubicBezTo>
                <a:cubicBezTo>
                  <a:pt x="263028" y="100548"/>
                  <a:pt x="271307" y="108493"/>
                  <a:pt x="279147" y="116814"/>
                </a:cubicBezTo>
                <a:cubicBezTo>
                  <a:pt x="286097" y="124204"/>
                  <a:pt x="293257" y="131374"/>
                  <a:pt x="300353" y="138617"/>
                </a:cubicBezTo>
                <a:cubicBezTo>
                  <a:pt x="306634" y="145002"/>
                  <a:pt x="313395" y="150916"/>
                  <a:pt x="319268" y="157594"/>
                </a:cubicBezTo>
                <a:cubicBezTo>
                  <a:pt x="326689" y="165968"/>
                  <a:pt x="334968" y="173546"/>
                  <a:pt x="342484" y="181825"/>
                </a:cubicBezTo>
                <a:cubicBezTo>
                  <a:pt x="343931" y="183501"/>
                  <a:pt x="345540" y="185030"/>
                  <a:pt x="347288" y="186389"/>
                </a:cubicBezTo>
                <a:cubicBezTo>
                  <a:pt x="348464" y="187203"/>
                  <a:pt x="349070" y="188619"/>
                  <a:pt x="348848" y="190032"/>
                </a:cubicBezTo>
                <a:close/>
              </a:path>
            </a:pathLst>
          </a:cu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zh-CN" altLang="en-US"/>
          </a:p>
        </p:txBody>
      </p:sp>
      <p:sp>
        <p:nvSpPr>
          <p:cNvPr id="84" name="图形 7">
            <a:extLst>
              <a:ext uri="{FF2B5EF4-FFF2-40B4-BE49-F238E27FC236}">
                <a16:creationId xmlns:a16="http://schemas.microsoft.com/office/drawing/2014/main" id="{63C111B4-2978-4E99-8545-DD4E098922BE}"/>
              </a:ext>
            </a:extLst>
          </p:cNvPr>
          <p:cNvSpPr/>
          <p:nvPr/>
        </p:nvSpPr>
        <p:spPr>
          <a:xfrm>
            <a:off x="9526370" y="2826858"/>
            <a:ext cx="365822" cy="365692"/>
          </a:xfrm>
          <a:custGeom>
            <a:avLst/>
            <a:gdLst>
              <a:gd name="connsiteX0" fmla="*/ 298885 w 365822"/>
              <a:gd name="connsiteY0" fmla="*/ 239202 h 365691"/>
              <a:gd name="connsiteX1" fmla="*/ 346208 w 365822"/>
              <a:gd name="connsiteY1" fmla="*/ 257963 h 365691"/>
              <a:gd name="connsiteX2" fmla="*/ 366134 w 365822"/>
              <a:gd name="connsiteY2" fmla="*/ 302520 h 365691"/>
              <a:gd name="connsiteX3" fmla="*/ 298885 w 365822"/>
              <a:gd name="connsiteY3" fmla="*/ 365839 h 365691"/>
              <a:gd name="connsiteX4" fmla="*/ 231636 w 365822"/>
              <a:gd name="connsiteY4" fmla="*/ 302520 h 365691"/>
              <a:gd name="connsiteX5" fmla="*/ 234126 w 365822"/>
              <a:gd name="connsiteY5" fmla="*/ 281414 h 365691"/>
              <a:gd name="connsiteX6" fmla="*/ 161896 w 365822"/>
              <a:gd name="connsiteY6" fmla="*/ 241547 h 365691"/>
              <a:gd name="connsiteX7" fmla="*/ 159405 w 365822"/>
              <a:gd name="connsiteY7" fmla="*/ 243892 h 365691"/>
              <a:gd name="connsiteX8" fmla="*/ 92156 w 365822"/>
              <a:gd name="connsiteY8" fmla="*/ 269689 h 365691"/>
              <a:gd name="connsiteX9" fmla="*/ 0 w 365822"/>
              <a:gd name="connsiteY9" fmla="*/ 182919 h 365691"/>
              <a:gd name="connsiteX10" fmla="*/ 92156 w 365822"/>
              <a:gd name="connsiteY10" fmla="*/ 96150 h 365691"/>
              <a:gd name="connsiteX11" fmla="*/ 156914 w 365822"/>
              <a:gd name="connsiteY11" fmla="*/ 121946 h 365691"/>
              <a:gd name="connsiteX12" fmla="*/ 159405 w 365822"/>
              <a:gd name="connsiteY12" fmla="*/ 124291 h 365691"/>
              <a:gd name="connsiteX13" fmla="*/ 231636 w 365822"/>
              <a:gd name="connsiteY13" fmla="*/ 84424 h 365691"/>
              <a:gd name="connsiteX14" fmla="*/ 229145 w 365822"/>
              <a:gd name="connsiteY14" fmla="*/ 63318 h 365691"/>
              <a:gd name="connsiteX15" fmla="*/ 296394 w 365822"/>
              <a:gd name="connsiteY15" fmla="*/ 0 h 365691"/>
              <a:gd name="connsiteX16" fmla="*/ 363643 w 365822"/>
              <a:gd name="connsiteY16" fmla="*/ 63318 h 365691"/>
              <a:gd name="connsiteX17" fmla="*/ 296394 w 365822"/>
              <a:gd name="connsiteY17" fmla="*/ 126636 h 365691"/>
              <a:gd name="connsiteX18" fmla="*/ 249071 w 365822"/>
              <a:gd name="connsiteY18" fmla="*/ 107875 h 365691"/>
              <a:gd name="connsiteX19" fmla="*/ 176840 w 365822"/>
              <a:gd name="connsiteY19" fmla="*/ 147742 h 365691"/>
              <a:gd name="connsiteX20" fmla="*/ 184312 w 365822"/>
              <a:gd name="connsiteY20" fmla="*/ 182919 h 365691"/>
              <a:gd name="connsiteX21" fmla="*/ 176840 w 365822"/>
              <a:gd name="connsiteY21" fmla="*/ 218096 h 365691"/>
              <a:gd name="connsiteX22" fmla="*/ 249071 w 365822"/>
              <a:gd name="connsiteY22" fmla="*/ 257963 h 365691"/>
              <a:gd name="connsiteX23" fmla="*/ 298885 w 365822"/>
              <a:gd name="connsiteY23" fmla="*/ 239202 h 365691"/>
              <a:gd name="connsiteX24" fmla="*/ 323792 w 365822"/>
              <a:gd name="connsiteY24" fmla="*/ 276724 h 365691"/>
              <a:gd name="connsiteX25" fmla="*/ 296394 w 365822"/>
              <a:gd name="connsiteY25" fmla="*/ 267344 h 365691"/>
              <a:gd name="connsiteX26" fmla="*/ 268996 w 365822"/>
              <a:gd name="connsiteY26" fmla="*/ 276724 h 365691"/>
              <a:gd name="connsiteX27" fmla="*/ 259033 w 365822"/>
              <a:gd name="connsiteY27" fmla="*/ 302520 h 365691"/>
              <a:gd name="connsiteX28" fmla="*/ 296394 w 365822"/>
              <a:gd name="connsiteY28" fmla="*/ 337697 h 365691"/>
              <a:gd name="connsiteX29" fmla="*/ 333755 w 365822"/>
              <a:gd name="connsiteY29" fmla="*/ 302520 h 365691"/>
              <a:gd name="connsiteX30" fmla="*/ 323792 w 365822"/>
              <a:gd name="connsiteY30" fmla="*/ 276724 h 365691"/>
              <a:gd name="connsiteX31" fmla="*/ 136989 w 365822"/>
              <a:gd name="connsiteY31" fmla="*/ 140707 h 365691"/>
              <a:gd name="connsiteX32" fmla="*/ 92156 w 365822"/>
              <a:gd name="connsiteY32" fmla="*/ 124291 h 365691"/>
              <a:gd name="connsiteX33" fmla="*/ 29888 w 365822"/>
              <a:gd name="connsiteY33" fmla="*/ 182919 h 365691"/>
              <a:gd name="connsiteX34" fmla="*/ 92156 w 365822"/>
              <a:gd name="connsiteY34" fmla="*/ 241547 h 365691"/>
              <a:gd name="connsiteX35" fmla="*/ 134498 w 365822"/>
              <a:gd name="connsiteY35" fmla="*/ 225131 h 365691"/>
              <a:gd name="connsiteX36" fmla="*/ 154424 w 365822"/>
              <a:gd name="connsiteY36" fmla="*/ 182919 h 365691"/>
              <a:gd name="connsiteX37" fmla="*/ 136989 w 365822"/>
              <a:gd name="connsiteY37" fmla="*/ 140707 h 365691"/>
              <a:gd name="connsiteX38" fmla="*/ 298885 w 365822"/>
              <a:gd name="connsiteY38" fmla="*/ 28141 h 365691"/>
              <a:gd name="connsiteX39" fmla="*/ 261524 w 365822"/>
              <a:gd name="connsiteY39" fmla="*/ 63318 h 365691"/>
              <a:gd name="connsiteX40" fmla="*/ 266506 w 365822"/>
              <a:gd name="connsiteY40" fmla="*/ 82079 h 365691"/>
              <a:gd name="connsiteX41" fmla="*/ 271487 w 365822"/>
              <a:gd name="connsiteY41" fmla="*/ 86769 h 365691"/>
              <a:gd name="connsiteX42" fmla="*/ 298885 w 365822"/>
              <a:gd name="connsiteY42" fmla="*/ 96150 h 365691"/>
              <a:gd name="connsiteX43" fmla="*/ 336245 w 365822"/>
              <a:gd name="connsiteY43" fmla="*/ 60973 h 365691"/>
              <a:gd name="connsiteX44" fmla="*/ 298885 w 365822"/>
              <a:gd name="connsiteY44" fmla="*/ 28141 h 365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365822" h="365691">
                <a:moveTo>
                  <a:pt x="298885" y="239202"/>
                </a:moveTo>
                <a:cubicBezTo>
                  <a:pt x="318810" y="239202"/>
                  <a:pt x="333755" y="246237"/>
                  <a:pt x="346208" y="257963"/>
                </a:cubicBezTo>
                <a:cubicBezTo>
                  <a:pt x="358662" y="269689"/>
                  <a:pt x="366134" y="286104"/>
                  <a:pt x="366134" y="302520"/>
                </a:cubicBezTo>
                <a:cubicBezTo>
                  <a:pt x="366134" y="337697"/>
                  <a:pt x="336245" y="365839"/>
                  <a:pt x="298885" y="365839"/>
                </a:cubicBezTo>
                <a:cubicBezTo>
                  <a:pt x="261524" y="365839"/>
                  <a:pt x="231636" y="337697"/>
                  <a:pt x="231636" y="302520"/>
                </a:cubicBezTo>
                <a:cubicBezTo>
                  <a:pt x="231636" y="295485"/>
                  <a:pt x="234126" y="288450"/>
                  <a:pt x="234126" y="281414"/>
                </a:cubicBezTo>
                <a:lnTo>
                  <a:pt x="161896" y="241547"/>
                </a:lnTo>
                <a:lnTo>
                  <a:pt x="159405" y="243892"/>
                </a:lnTo>
                <a:cubicBezTo>
                  <a:pt x="139480" y="260308"/>
                  <a:pt x="117063" y="269689"/>
                  <a:pt x="92156" y="269689"/>
                </a:cubicBezTo>
                <a:cubicBezTo>
                  <a:pt x="42342" y="269689"/>
                  <a:pt x="0" y="229822"/>
                  <a:pt x="0" y="182919"/>
                </a:cubicBezTo>
                <a:cubicBezTo>
                  <a:pt x="0" y="136017"/>
                  <a:pt x="42342" y="96150"/>
                  <a:pt x="92156" y="96150"/>
                </a:cubicBezTo>
                <a:cubicBezTo>
                  <a:pt x="117063" y="96150"/>
                  <a:pt x="141970" y="105530"/>
                  <a:pt x="156914" y="121946"/>
                </a:cubicBezTo>
                <a:lnTo>
                  <a:pt x="159405" y="124291"/>
                </a:lnTo>
                <a:lnTo>
                  <a:pt x="231636" y="84424"/>
                </a:lnTo>
                <a:cubicBezTo>
                  <a:pt x="231636" y="77389"/>
                  <a:pt x="229145" y="70354"/>
                  <a:pt x="229145" y="63318"/>
                </a:cubicBezTo>
                <a:cubicBezTo>
                  <a:pt x="229145" y="28141"/>
                  <a:pt x="259033" y="0"/>
                  <a:pt x="296394" y="0"/>
                </a:cubicBezTo>
                <a:cubicBezTo>
                  <a:pt x="333755" y="0"/>
                  <a:pt x="363643" y="28141"/>
                  <a:pt x="363643" y="63318"/>
                </a:cubicBezTo>
                <a:cubicBezTo>
                  <a:pt x="363643" y="98495"/>
                  <a:pt x="333755" y="126636"/>
                  <a:pt x="296394" y="126636"/>
                </a:cubicBezTo>
                <a:cubicBezTo>
                  <a:pt x="276468" y="126636"/>
                  <a:pt x="261524" y="119601"/>
                  <a:pt x="249071" y="107875"/>
                </a:cubicBezTo>
                <a:lnTo>
                  <a:pt x="176840" y="147742"/>
                </a:lnTo>
                <a:cubicBezTo>
                  <a:pt x="181822" y="159468"/>
                  <a:pt x="184312" y="171194"/>
                  <a:pt x="184312" y="182919"/>
                </a:cubicBezTo>
                <a:cubicBezTo>
                  <a:pt x="184312" y="194645"/>
                  <a:pt x="181822" y="206370"/>
                  <a:pt x="176840" y="218096"/>
                </a:cubicBezTo>
                <a:lnTo>
                  <a:pt x="249071" y="257963"/>
                </a:lnTo>
                <a:cubicBezTo>
                  <a:pt x="261524" y="246237"/>
                  <a:pt x="278959" y="239202"/>
                  <a:pt x="298885" y="239202"/>
                </a:cubicBezTo>
                <a:close/>
                <a:moveTo>
                  <a:pt x="323792" y="276724"/>
                </a:moveTo>
                <a:cubicBezTo>
                  <a:pt x="316320" y="269689"/>
                  <a:pt x="306357" y="267344"/>
                  <a:pt x="296394" y="267344"/>
                </a:cubicBezTo>
                <a:cubicBezTo>
                  <a:pt x="286431" y="267344"/>
                  <a:pt x="276468" y="272034"/>
                  <a:pt x="268996" y="276724"/>
                </a:cubicBezTo>
                <a:cubicBezTo>
                  <a:pt x="261524" y="283759"/>
                  <a:pt x="259033" y="293140"/>
                  <a:pt x="259033" y="302520"/>
                </a:cubicBezTo>
                <a:cubicBezTo>
                  <a:pt x="259033" y="321281"/>
                  <a:pt x="276468" y="337697"/>
                  <a:pt x="296394" y="337697"/>
                </a:cubicBezTo>
                <a:cubicBezTo>
                  <a:pt x="316320" y="337697"/>
                  <a:pt x="333755" y="321281"/>
                  <a:pt x="333755" y="302520"/>
                </a:cubicBezTo>
                <a:cubicBezTo>
                  <a:pt x="336245" y="293140"/>
                  <a:pt x="331264" y="283759"/>
                  <a:pt x="323792" y="276724"/>
                </a:cubicBezTo>
                <a:close/>
                <a:moveTo>
                  <a:pt x="136989" y="140707"/>
                </a:moveTo>
                <a:cubicBezTo>
                  <a:pt x="124535" y="131327"/>
                  <a:pt x="109591" y="124291"/>
                  <a:pt x="92156" y="124291"/>
                </a:cubicBezTo>
                <a:cubicBezTo>
                  <a:pt x="57286" y="124291"/>
                  <a:pt x="29888" y="150088"/>
                  <a:pt x="29888" y="182919"/>
                </a:cubicBezTo>
                <a:cubicBezTo>
                  <a:pt x="29888" y="215751"/>
                  <a:pt x="57286" y="241547"/>
                  <a:pt x="92156" y="241547"/>
                </a:cubicBezTo>
                <a:cubicBezTo>
                  <a:pt x="109591" y="241547"/>
                  <a:pt x="124535" y="234512"/>
                  <a:pt x="134498" y="225131"/>
                </a:cubicBezTo>
                <a:cubicBezTo>
                  <a:pt x="149442" y="213406"/>
                  <a:pt x="154424" y="199335"/>
                  <a:pt x="154424" y="182919"/>
                </a:cubicBezTo>
                <a:cubicBezTo>
                  <a:pt x="154424" y="166503"/>
                  <a:pt x="149442" y="152433"/>
                  <a:pt x="136989" y="140707"/>
                </a:cubicBezTo>
                <a:close/>
                <a:moveTo>
                  <a:pt x="298885" y="28141"/>
                </a:moveTo>
                <a:cubicBezTo>
                  <a:pt x="278959" y="28141"/>
                  <a:pt x="261524" y="44557"/>
                  <a:pt x="261524" y="63318"/>
                </a:cubicBezTo>
                <a:cubicBezTo>
                  <a:pt x="261524" y="70354"/>
                  <a:pt x="264015" y="77389"/>
                  <a:pt x="266506" y="82079"/>
                </a:cubicBezTo>
                <a:cubicBezTo>
                  <a:pt x="268996" y="84424"/>
                  <a:pt x="268996" y="86769"/>
                  <a:pt x="271487" y="86769"/>
                </a:cubicBezTo>
                <a:cubicBezTo>
                  <a:pt x="278959" y="93805"/>
                  <a:pt x="288922" y="96150"/>
                  <a:pt x="298885" y="96150"/>
                </a:cubicBezTo>
                <a:cubicBezTo>
                  <a:pt x="318810" y="96150"/>
                  <a:pt x="336245" y="79734"/>
                  <a:pt x="336245" y="60973"/>
                </a:cubicBezTo>
                <a:cubicBezTo>
                  <a:pt x="336245" y="44557"/>
                  <a:pt x="318810" y="28141"/>
                  <a:pt x="298885" y="28141"/>
                </a:cubicBezTo>
                <a:close/>
              </a:path>
            </a:pathLst>
          </a:cu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endParaRPr lang="zh-CN" altLang="en-US"/>
          </a:p>
        </p:txBody>
      </p:sp>
      <p:sp>
        <p:nvSpPr>
          <p:cNvPr id="85" name="图形 11">
            <a:extLst>
              <a:ext uri="{FF2B5EF4-FFF2-40B4-BE49-F238E27FC236}">
                <a16:creationId xmlns:a16="http://schemas.microsoft.com/office/drawing/2014/main" id="{171DF354-5F23-4A1A-9268-18C60E59B7E5}"/>
              </a:ext>
            </a:extLst>
          </p:cNvPr>
          <p:cNvSpPr/>
          <p:nvPr/>
        </p:nvSpPr>
        <p:spPr>
          <a:xfrm>
            <a:off x="10522641" y="3847002"/>
            <a:ext cx="371741" cy="337509"/>
          </a:xfrm>
          <a:custGeom>
            <a:avLst/>
            <a:gdLst>
              <a:gd name="connsiteX0" fmla="*/ 167070 w 371740"/>
              <a:gd name="connsiteY0" fmla="*/ 133241 h 337508"/>
              <a:gd name="connsiteX1" fmla="*/ 72165 w 371740"/>
              <a:gd name="connsiteY1" fmla="*/ 133241 h 337508"/>
              <a:gd name="connsiteX2" fmla="*/ 35683 w 371740"/>
              <a:gd name="connsiteY2" fmla="*/ 165021 h 337508"/>
              <a:gd name="connsiteX3" fmla="*/ 35683 w 371740"/>
              <a:gd name="connsiteY3" fmla="*/ 242892 h 337508"/>
              <a:gd name="connsiteX4" fmla="*/ 35843 w 371740"/>
              <a:gd name="connsiteY4" fmla="*/ 245225 h 337508"/>
              <a:gd name="connsiteX5" fmla="*/ 0 w 371740"/>
              <a:gd name="connsiteY5" fmla="*/ 290589 h 337508"/>
              <a:gd name="connsiteX6" fmla="*/ 48198 w 371740"/>
              <a:gd name="connsiteY6" fmla="*/ 337509 h 337508"/>
              <a:gd name="connsiteX7" fmla="*/ 96397 w 371740"/>
              <a:gd name="connsiteY7" fmla="*/ 290589 h 337508"/>
              <a:gd name="connsiteX8" fmla="*/ 60501 w 371740"/>
              <a:gd name="connsiteY8" fmla="*/ 245225 h 337508"/>
              <a:gd name="connsiteX9" fmla="*/ 60714 w 371740"/>
              <a:gd name="connsiteY9" fmla="*/ 242892 h 337508"/>
              <a:gd name="connsiteX10" fmla="*/ 60714 w 371740"/>
              <a:gd name="connsiteY10" fmla="*/ 165021 h 337508"/>
              <a:gd name="connsiteX11" fmla="*/ 72165 w 371740"/>
              <a:gd name="connsiteY11" fmla="*/ 157608 h 337508"/>
              <a:gd name="connsiteX12" fmla="*/ 299576 w 371740"/>
              <a:gd name="connsiteY12" fmla="*/ 157608 h 337508"/>
              <a:gd name="connsiteX13" fmla="*/ 311027 w 371740"/>
              <a:gd name="connsiteY13" fmla="*/ 165021 h 337508"/>
              <a:gd name="connsiteX14" fmla="*/ 311027 w 371740"/>
              <a:gd name="connsiteY14" fmla="*/ 242892 h 337508"/>
              <a:gd name="connsiteX15" fmla="*/ 311240 w 371740"/>
              <a:gd name="connsiteY15" fmla="*/ 245225 h 337508"/>
              <a:gd name="connsiteX16" fmla="*/ 275397 w 371740"/>
              <a:gd name="connsiteY16" fmla="*/ 290589 h 337508"/>
              <a:gd name="connsiteX17" fmla="*/ 323542 w 371740"/>
              <a:gd name="connsiteY17" fmla="*/ 337509 h 337508"/>
              <a:gd name="connsiteX18" fmla="*/ 371794 w 371740"/>
              <a:gd name="connsiteY18" fmla="*/ 290589 h 337508"/>
              <a:gd name="connsiteX19" fmla="*/ 335898 w 371740"/>
              <a:gd name="connsiteY19" fmla="*/ 245225 h 337508"/>
              <a:gd name="connsiteX20" fmla="*/ 336111 w 371740"/>
              <a:gd name="connsiteY20" fmla="*/ 242892 h 337508"/>
              <a:gd name="connsiteX21" fmla="*/ 336111 w 371740"/>
              <a:gd name="connsiteY21" fmla="*/ 165021 h 337508"/>
              <a:gd name="connsiteX22" fmla="*/ 299630 w 371740"/>
              <a:gd name="connsiteY22" fmla="*/ 133241 h 337508"/>
              <a:gd name="connsiteX23" fmla="*/ 192102 w 371740"/>
              <a:gd name="connsiteY23" fmla="*/ 133241 h 337508"/>
              <a:gd name="connsiteX24" fmla="*/ 192102 w 371740"/>
              <a:gd name="connsiteY24" fmla="*/ 92232 h 337508"/>
              <a:gd name="connsiteX25" fmla="*/ 227784 w 371740"/>
              <a:gd name="connsiteY25" fmla="*/ 46919 h 337508"/>
              <a:gd name="connsiteX26" fmla="*/ 179586 w 371740"/>
              <a:gd name="connsiteY26" fmla="*/ 0 h 337508"/>
              <a:gd name="connsiteX27" fmla="*/ 131388 w 371740"/>
              <a:gd name="connsiteY27" fmla="*/ 46919 h 337508"/>
              <a:gd name="connsiteX28" fmla="*/ 167070 w 371740"/>
              <a:gd name="connsiteY28" fmla="*/ 92232 h 337508"/>
              <a:gd name="connsiteX29" fmla="*/ 167070 w 371740"/>
              <a:gd name="connsiteY29" fmla="*/ 133241 h 337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71740" h="337508">
                <a:moveTo>
                  <a:pt x="167070" y="133241"/>
                </a:moveTo>
                <a:lnTo>
                  <a:pt x="72165" y="133241"/>
                </a:lnTo>
                <a:cubicBezTo>
                  <a:pt x="52512" y="133241"/>
                  <a:pt x="35683" y="146928"/>
                  <a:pt x="35683" y="165021"/>
                </a:cubicBezTo>
                <a:lnTo>
                  <a:pt x="35683" y="242892"/>
                </a:lnTo>
                <a:cubicBezTo>
                  <a:pt x="35683" y="243670"/>
                  <a:pt x="35736" y="244447"/>
                  <a:pt x="35843" y="245225"/>
                </a:cubicBezTo>
                <a:cubicBezTo>
                  <a:pt x="15232" y="250513"/>
                  <a:pt x="0" y="268814"/>
                  <a:pt x="0" y="290589"/>
                </a:cubicBezTo>
                <a:cubicBezTo>
                  <a:pt x="0" y="316511"/>
                  <a:pt x="21569" y="337509"/>
                  <a:pt x="48198" y="337509"/>
                </a:cubicBezTo>
                <a:cubicBezTo>
                  <a:pt x="74828" y="337509"/>
                  <a:pt x="96397" y="316511"/>
                  <a:pt x="96397" y="290589"/>
                </a:cubicBezTo>
                <a:cubicBezTo>
                  <a:pt x="96397" y="268814"/>
                  <a:pt x="81165" y="250513"/>
                  <a:pt x="60501" y="245225"/>
                </a:cubicBezTo>
                <a:cubicBezTo>
                  <a:pt x="60661" y="244499"/>
                  <a:pt x="60714" y="243722"/>
                  <a:pt x="60714" y="242892"/>
                </a:cubicBezTo>
                <a:lnTo>
                  <a:pt x="60714" y="165021"/>
                </a:lnTo>
                <a:cubicBezTo>
                  <a:pt x="60714" y="161496"/>
                  <a:pt x="65454" y="157608"/>
                  <a:pt x="72165" y="157608"/>
                </a:cubicBezTo>
                <a:lnTo>
                  <a:pt x="299576" y="157608"/>
                </a:lnTo>
                <a:cubicBezTo>
                  <a:pt x="306340" y="157608"/>
                  <a:pt x="311027" y="161444"/>
                  <a:pt x="311027" y="165021"/>
                </a:cubicBezTo>
                <a:lnTo>
                  <a:pt x="311027" y="242892"/>
                </a:lnTo>
                <a:cubicBezTo>
                  <a:pt x="311027" y="243670"/>
                  <a:pt x="311133" y="244447"/>
                  <a:pt x="311240" y="245225"/>
                </a:cubicBezTo>
                <a:cubicBezTo>
                  <a:pt x="290576" y="250513"/>
                  <a:pt x="275397" y="268814"/>
                  <a:pt x="275397" y="290589"/>
                </a:cubicBezTo>
                <a:cubicBezTo>
                  <a:pt x="275397" y="316511"/>
                  <a:pt x="296967" y="337509"/>
                  <a:pt x="323542" y="337509"/>
                </a:cubicBezTo>
                <a:cubicBezTo>
                  <a:pt x="350118" y="337509"/>
                  <a:pt x="371794" y="316511"/>
                  <a:pt x="371794" y="290589"/>
                </a:cubicBezTo>
                <a:cubicBezTo>
                  <a:pt x="371794" y="268814"/>
                  <a:pt x="356562" y="250513"/>
                  <a:pt x="335898" y="245225"/>
                </a:cubicBezTo>
                <a:cubicBezTo>
                  <a:pt x="336005" y="244499"/>
                  <a:pt x="336111" y="243722"/>
                  <a:pt x="336111" y="242892"/>
                </a:cubicBezTo>
                <a:lnTo>
                  <a:pt x="336111" y="165021"/>
                </a:lnTo>
                <a:cubicBezTo>
                  <a:pt x="336111" y="146980"/>
                  <a:pt x="319282" y="133241"/>
                  <a:pt x="299630" y="133241"/>
                </a:cubicBezTo>
                <a:lnTo>
                  <a:pt x="192102" y="133241"/>
                </a:lnTo>
                <a:lnTo>
                  <a:pt x="192102" y="92232"/>
                </a:lnTo>
                <a:cubicBezTo>
                  <a:pt x="212606" y="86840"/>
                  <a:pt x="227784" y="68642"/>
                  <a:pt x="227784" y="46919"/>
                </a:cubicBezTo>
                <a:cubicBezTo>
                  <a:pt x="227784" y="20997"/>
                  <a:pt x="206215" y="0"/>
                  <a:pt x="179586" y="0"/>
                </a:cubicBezTo>
                <a:cubicBezTo>
                  <a:pt x="152957" y="0"/>
                  <a:pt x="131388" y="20997"/>
                  <a:pt x="131388" y="46919"/>
                </a:cubicBezTo>
                <a:cubicBezTo>
                  <a:pt x="131388" y="68590"/>
                  <a:pt x="146513" y="86840"/>
                  <a:pt x="167070" y="92232"/>
                </a:cubicBezTo>
                <a:lnTo>
                  <a:pt x="167070" y="133241"/>
                </a:lnTo>
                <a:close/>
              </a:path>
            </a:pathLst>
          </a:cu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27616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3FD5139-CB17-467C-AD47-CEFD5D916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apReduce</a:t>
            </a:r>
            <a:r>
              <a:rPr lang="zh-CN" altLang="en-US" dirty="0"/>
              <a:t>工作流程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135DE36-6169-4E5F-BF9E-AE213F40E7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A93647FC-0374-42D4-AC2A-38E6640C2CD8}"/>
              </a:ext>
            </a:extLst>
          </p:cNvPr>
          <p:cNvGrpSpPr/>
          <p:nvPr/>
        </p:nvGrpSpPr>
        <p:grpSpPr>
          <a:xfrm>
            <a:off x="1004291" y="1758157"/>
            <a:ext cx="7134227" cy="3752850"/>
            <a:chOff x="502443" y="1758157"/>
            <a:chExt cx="7134227" cy="3752850"/>
          </a:xfrm>
        </p:grpSpPr>
        <p:grpSp>
          <p:nvGrpSpPr>
            <p:cNvPr id="5" name="27252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C8C4F887-C13D-438E-9816-3C1F10720B4E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502443" y="1758157"/>
              <a:ext cx="7134227" cy="3752850"/>
              <a:chOff x="660399" y="1130300"/>
              <a:chExt cx="9512302" cy="5003800"/>
            </a:xfrm>
          </p:grpSpPr>
          <p:sp>
            <p:nvSpPr>
              <p:cNvPr id="6" name="îşľiḑè">
                <a:extLst>
                  <a:ext uri="{FF2B5EF4-FFF2-40B4-BE49-F238E27FC236}">
                    <a16:creationId xmlns:a16="http://schemas.microsoft.com/office/drawing/2014/main" id="{7AD2A99F-AEB6-4A76-B824-93CB0B7EE5D7}"/>
                  </a:ext>
                </a:extLst>
              </p:cNvPr>
              <p:cNvSpPr/>
              <p:nvPr/>
            </p:nvSpPr>
            <p:spPr>
              <a:xfrm>
                <a:off x="660399" y="1130300"/>
                <a:ext cx="2816225" cy="5003800"/>
              </a:xfrm>
              <a:prstGeom prst="roundRect">
                <a:avLst>
                  <a:gd name="adj" fmla="val 2174"/>
                </a:avLst>
              </a:prstGeom>
              <a:noFill/>
              <a:ln w="9525" cap="rnd">
                <a:solidFill>
                  <a:schemeClr val="bg1">
                    <a:lumMod val="75000"/>
                  </a:schemeClr>
                </a:solidFill>
                <a:prstDash val="dash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" name="iṧḷîḍè">
                <a:extLst>
                  <a:ext uri="{FF2B5EF4-FFF2-40B4-BE49-F238E27FC236}">
                    <a16:creationId xmlns:a16="http://schemas.microsoft.com/office/drawing/2014/main" id="{4374E814-16AF-406D-B77C-8E75A59480B0}"/>
                  </a:ext>
                </a:extLst>
              </p:cNvPr>
              <p:cNvSpPr/>
              <p:nvPr/>
            </p:nvSpPr>
            <p:spPr>
              <a:xfrm>
                <a:off x="898524" y="1287596"/>
                <a:ext cx="2339975" cy="644567"/>
              </a:xfrm>
              <a:prstGeom prst="rect">
                <a:avLst/>
              </a:prstGeom>
              <a:noFill/>
              <a:ln w="31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lang="zh-CN" altLang="en-US" sz="2000" b="1" dirty="0">
                    <a:solidFill>
                      <a:schemeClr val="tx1"/>
                    </a:solidFill>
                  </a:rPr>
                  <a:t>数据输入</a:t>
                </a:r>
                <a:endParaRPr lang="id-ID" altLang="zh-CN" sz="2000" b="1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8" name="ïšļîďê">
                <a:extLst>
                  <a:ext uri="{FF2B5EF4-FFF2-40B4-BE49-F238E27FC236}">
                    <a16:creationId xmlns:a16="http://schemas.microsoft.com/office/drawing/2014/main" id="{DCE6E299-46F9-4502-86EC-F52BE6F9376C}"/>
                  </a:ext>
                </a:extLst>
              </p:cNvPr>
              <p:cNvGrpSpPr/>
              <p:nvPr/>
            </p:nvGrpSpPr>
            <p:grpSpPr>
              <a:xfrm>
                <a:off x="898524" y="2144266"/>
                <a:ext cx="2339975" cy="3122984"/>
                <a:chOff x="898524" y="2144266"/>
                <a:chExt cx="2339975" cy="3122984"/>
              </a:xfrm>
            </p:grpSpPr>
            <p:sp>
              <p:nvSpPr>
                <p:cNvPr id="29" name="îs1ídè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898524" y="2144266"/>
                  <a:ext cx="2339975" cy="504000"/>
                </a:xfrm>
                <a:prstGeom prst="roundRect">
                  <a:avLst>
                    <a:gd name="adj" fmla="val 8508"/>
                  </a:avLst>
                </a:prstGeom>
                <a:ln/>
              </p:spPr>
              <p:style>
                <a:lnRef idx="0">
                  <a:schemeClr val="accent5"/>
                </a:lnRef>
                <a:fillRef idx="3">
                  <a:schemeClr val="accent5"/>
                </a:fillRef>
                <a:effectRef idx="3">
                  <a:schemeClr val="accent5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000" dirty="0"/>
                    <a:t>InputSplit1</a:t>
                  </a:r>
                </a:p>
              </p:txBody>
            </p:sp>
            <p:sp>
              <p:nvSpPr>
                <p:cNvPr id="31" name="îṧḷîḓé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898524" y="3453758"/>
                  <a:ext cx="2339975" cy="504000"/>
                </a:xfrm>
                <a:prstGeom prst="roundRect">
                  <a:avLst>
                    <a:gd name="adj" fmla="val 8508"/>
                  </a:avLst>
                </a:prstGeom>
                <a:ln/>
              </p:spPr>
              <p:style>
                <a:lnRef idx="0">
                  <a:schemeClr val="accent5"/>
                </a:lnRef>
                <a:fillRef idx="3">
                  <a:schemeClr val="accent5"/>
                </a:fillRef>
                <a:effectRef idx="3">
                  <a:schemeClr val="accent5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000" dirty="0"/>
                    <a:t>InputSplit3</a:t>
                  </a:r>
                </a:p>
              </p:txBody>
            </p:sp>
            <p:sp>
              <p:nvSpPr>
                <p:cNvPr id="33" name="îṩḷiḋè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898524" y="4763250"/>
                  <a:ext cx="2339975" cy="504000"/>
                </a:xfrm>
                <a:prstGeom prst="roundRect">
                  <a:avLst>
                    <a:gd name="adj" fmla="val 8508"/>
                  </a:avLst>
                </a:prstGeom>
                <a:ln/>
              </p:spPr>
              <p:style>
                <a:lnRef idx="0">
                  <a:schemeClr val="accent5"/>
                </a:lnRef>
                <a:fillRef idx="3">
                  <a:schemeClr val="accent5"/>
                </a:fillRef>
                <a:effectRef idx="3">
                  <a:schemeClr val="accent5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000" dirty="0"/>
                    <a:t>InputSplit5</a:t>
                  </a:r>
                </a:p>
              </p:txBody>
            </p:sp>
          </p:grpSp>
          <p:sp>
            <p:nvSpPr>
              <p:cNvPr id="9" name="íşlíde">
                <a:extLst>
                  <a:ext uri="{FF2B5EF4-FFF2-40B4-BE49-F238E27FC236}">
                    <a16:creationId xmlns:a16="http://schemas.microsoft.com/office/drawing/2014/main" id="{F6BBA080-E3F0-44B1-9080-4155B88CA72F}"/>
                  </a:ext>
                </a:extLst>
              </p:cNvPr>
              <p:cNvSpPr/>
              <p:nvPr/>
            </p:nvSpPr>
            <p:spPr>
              <a:xfrm>
                <a:off x="4008438" y="1130300"/>
                <a:ext cx="2816225" cy="5003800"/>
              </a:xfrm>
              <a:prstGeom prst="roundRect">
                <a:avLst>
                  <a:gd name="adj" fmla="val 2174"/>
                </a:avLst>
              </a:prstGeom>
              <a:noFill/>
              <a:ln w="9525" cap="rnd">
                <a:solidFill>
                  <a:schemeClr val="bg1">
                    <a:lumMod val="75000"/>
                  </a:schemeClr>
                </a:solidFill>
                <a:prstDash val="dash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" name="i$ḻïḑé">
                <a:extLst>
                  <a:ext uri="{FF2B5EF4-FFF2-40B4-BE49-F238E27FC236}">
                    <a16:creationId xmlns:a16="http://schemas.microsoft.com/office/drawing/2014/main" id="{5DF6D10A-05BC-45E8-9983-0C9A7FFE67C2}"/>
                  </a:ext>
                </a:extLst>
              </p:cNvPr>
              <p:cNvSpPr/>
              <p:nvPr/>
            </p:nvSpPr>
            <p:spPr>
              <a:xfrm>
                <a:off x="4246563" y="1287596"/>
                <a:ext cx="2339975" cy="644567"/>
              </a:xfrm>
              <a:prstGeom prst="rect">
                <a:avLst/>
              </a:prstGeom>
              <a:noFill/>
              <a:ln w="31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lang="en-US" altLang="zh-CN" sz="2000" b="1" dirty="0">
                    <a:solidFill>
                      <a:schemeClr val="tx1"/>
                    </a:solidFill>
                  </a:rPr>
                  <a:t>Map()</a:t>
                </a:r>
                <a:endParaRPr lang="id-ID" altLang="zh-CN" sz="2000" b="1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1" name="îşľíďê">
                <a:extLst>
                  <a:ext uri="{FF2B5EF4-FFF2-40B4-BE49-F238E27FC236}">
                    <a16:creationId xmlns:a16="http://schemas.microsoft.com/office/drawing/2014/main" id="{55BC0FF1-4F49-48AC-86B5-705420E9AD00}"/>
                  </a:ext>
                </a:extLst>
              </p:cNvPr>
              <p:cNvGrpSpPr/>
              <p:nvPr/>
            </p:nvGrpSpPr>
            <p:grpSpPr>
              <a:xfrm>
                <a:off x="4246563" y="2144266"/>
                <a:ext cx="2339975" cy="3777731"/>
                <a:chOff x="4246563" y="2144266"/>
                <a:chExt cx="2339975" cy="3777731"/>
              </a:xfrm>
            </p:grpSpPr>
            <p:sp>
              <p:nvSpPr>
                <p:cNvPr id="23" name="îṩ1iḋe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4246563" y="2144266"/>
                  <a:ext cx="2339975" cy="504000"/>
                </a:xfrm>
                <a:prstGeom prst="roundRect">
                  <a:avLst>
                    <a:gd name="adj" fmla="val 8508"/>
                  </a:avLst>
                </a:prstGeom>
                <a:ln/>
              </p:spPr>
              <p:style>
                <a:lnRef idx="0">
                  <a:schemeClr val="accent2"/>
                </a:lnRef>
                <a:fillRef idx="3">
                  <a:schemeClr val="accent2"/>
                </a:fillRef>
                <a:effectRef idx="3">
                  <a:schemeClr val="accent2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000" dirty="0"/>
                    <a:t>Map()</a:t>
                  </a:r>
                  <a:endParaRPr lang="id-ID" altLang="zh-CN" sz="1000" dirty="0"/>
                </a:p>
              </p:txBody>
            </p:sp>
            <p:sp>
              <p:nvSpPr>
                <p:cNvPr id="24" name="íş1îḑé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4246563" y="2799011"/>
                  <a:ext cx="2339975" cy="504000"/>
                </a:xfrm>
                <a:prstGeom prst="roundRect">
                  <a:avLst>
                    <a:gd name="adj" fmla="val 8508"/>
                  </a:avLst>
                </a:prstGeom>
                <a:ln/>
              </p:spPr>
              <p:style>
                <a:lnRef idx="0">
                  <a:schemeClr val="accent2"/>
                </a:lnRef>
                <a:fillRef idx="3">
                  <a:schemeClr val="accent2"/>
                </a:fillRef>
                <a:effectRef idx="3">
                  <a:schemeClr val="accent2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000" dirty="0"/>
                    <a:t>Map()</a:t>
                  </a:r>
                  <a:endParaRPr lang="id-ID" altLang="zh-CN" sz="1000" dirty="0"/>
                </a:p>
              </p:txBody>
            </p:sp>
            <p:sp>
              <p:nvSpPr>
                <p:cNvPr id="25" name="îSľiḓé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4246563" y="3453758"/>
                  <a:ext cx="2339975" cy="504000"/>
                </a:xfrm>
                <a:prstGeom prst="roundRect">
                  <a:avLst>
                    <a:gd name="adj" fmla="val 8508"/>
                  </a:avLst>
                </a:prstGeom>
                <a:ln/>
              </p:spPr>
              <p:style>
                <a:lnRef idx="0">
                  <a:schemeClr val="accent2"/>
                </a:lnRef>
                <a:fillRef idx="3">
                  <a:schemeClr val="accent2"/>
                </a:fillRef>
                <a:effectRef idx="3">
                  <a:schemeClr val="accent2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000" dirty="0"/>
                    <a:t>Map()</a:t>
                  </a:r>
                  <a:endParaRPr lang="id-ID" altLang="zh-CN" sz="1000" dirty="0"/>
                </a:p>
              </p:txBody>
            </p:sp>
            <p:sp>
              <p:nvSpPr>
                <p:cNvPr id="26" name="íṩľîḋé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4246563" y="4108504"/>
                  <a:ext cx="2339975" cy="504000"/>
                </a:xfrm>
                <a:prstGeom prst="roundRect">
                  <a:avLst>
                    <a:gd name="adj" fmla="val 8508"/>
                  </a:avLst>
                </a:prstGeom>
                <a:ln/>
              </p:spPr>
              <p:style>
                <a:lnRef idx="0">
                  <a:schemeClr val="accent2"/>
                </a:lnRef>
                <a:fillRef idx="3">
                  <a:schemeClr val="accent2"/>
                </a:fillRef>
                <a:effectRef idx="3">
                  <a:schemeClr val="accent2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000" dirty="0"/>
                    <a:t>Map()</a:t>
                  </a:r>
                  <a:endParaRPr lang="id-ID" altLang="zh-CN" sz="1000" dirty="0"/>
                </a:p>
              </p:txBody>
            </p:sp>
            <p:sp>
              <p:nvSpPr>
                <p:cNvPr id="27" name="íş1iḍê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4246563" y="4763250"/>
                  <a:ext cx="2339975" cy="504000"/>
                </a:xfrm>
                <a:prstGeom prst="roundRect">
                  <a:avLst>
                    <a:gd name="adj" fmla="val 8508"/>
                  </a:avLst>
                </a:prstGeom>
                <a:ln/>
              </p:spPr>
              <p:style>
                <a:lnRef idx="0">
                  <a:schemeClr val="accent2"/>
                </a:lnRef>
                <a:fillRef idx="3">
                  <a:schemeClr val="accent2"/>
                </a:fillRef>
                <a:effectRef idx="3">
                  <a:schemeClr val="accent2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000" dirty="0"/>
                    <a:t>Map()</a:t>
                  </a:r>
                  <a:endParaRPr lang="id-ID" altLang="zh-CN" sz="1000" dirty="0"/>
                </a:p>
              </p:txBody>
            </p:sp>
            <p:sp>
              <p:nvSpPr>
                <p:cNvPr id="28" name="îšḷïḑé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4246563" y="5417997"/>
                  <a:ext cx="2339975" cy="504000"/>
                </a:xfrm>
                <a:prstGeom prst="roundRect">
                  <a:avLst>
                    <a:gd name="adj" fmla="val 8508"/>
                  </a:avLst>
                </a:prstGeom>
                <a:ln/>
              </p:spPr>
              <p:style>
                <a:lnRef idx="0">
                  <a:schemeClr val="accent2"/>
                </a:lnRef>
                <a:fillRef idx="3">
                  <a:schemeClr val="accent2"/>
                </a:fillRef>
                <a:effectRef idx="3">
                  <a:schemeClr val="accent2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000" dirty="0"/>
                    <a:t>Map()</a:t>
                  </a:r>
                  <a:endParaRPr lang="id-ID" altLang="zh-CN" sz="1000" dirty="0"/>
                </a:p>
              </p:txBody>
            </p:sp>
          </p:grpSp>
          <p:sp>
            <p:nvSpPr>
              <p:cNvPr id="12" name="íŝlïḓè">
                <a:extLst>
                  <a:ext uri="{FF2B5EF4-FFF2-40B4-BE49-F238E27FC236}">
                    <a16:creationId xmlns:a16="http://schemas.microsoft.com/office/drawing/2014/main" id="{F3DA1E95-6496-4CEB-B718-FD361BCCDD84}"/>
                  </a:ext>
                </a:extLst>
              </p:cNvPr>
              <p:cNvSpPr/>
              <p:nvPr/>
            </p:nvSpPr>
            <p:spPr>
              <a:xfrm>
                <a:off x="7356476" y="1130300"/>
                <a:ext cx="2816225" cy="5003800"/>
              </a:xfrm>
              <a:prstGeom prst="roundRect">
                <a:avLst>
                  <a:gd name="adj" fmla="val 2174"/>
                </a:avLst>
              </a:prstGeom>
              <a:noFill/>
              <a:ln w="9525" cap="rnd">
                <a:solidFill>
                  <a:schemeClr val="bg1">
                    <a:lumMod val="75000"/>
                  </a:schemeClr>
                </a:solidFill>
                <a:prstDash val="dash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ïŝľîḓe">
                <a:extLst>
                  <a:ext uri="{FF2B5EF4-FFF2-40B4-BE49-F238E27FC236}">
                    <a16:creationId xmlns:a16="http://schemas.microsoft.com/office/drawing/2014/main" id="{F741783B-C60F-4E8C-A2FE-A2F4D090E1F5}"/>
                  </a:ext>
                </a:extLst>
              </p:cNvPr>
              <p:cNvSpPr/>
              <p:nvPr/>
            </p:nvSpPr>
            <p:spPr>
              <a:xfrm>
                <a:off x="7594601" y="1287596"/>
                <a:ext cx="2339975" cy="644567"/>
              </a:xfrm>
              <a:prstGeom prst="rect">
                <a:avLst/>
              </a:prstGeom>
              <a:noFill/>
              <a:ln w="31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lang="en-US" altLang="zh-CN" sz="2000" b="1" dirty="0">
                    <a:solidFill>
                      <a:schemeClr val="tx1"/>
                    </a:solidFill>
                  </a:rPr>
                  <a:t>Reduce()</a:t>
                </a:r>
                <a:endParaRPr lang="id-ID" altLang="zh-CN" sz="2000" b="1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4" name="íṡ1îdê">
                <a:extLst>
                  <a:ext uri="{FF2B5EF4-FFF2-40B4-BE49-F238E27FC236}">
                    <a16:creationId xmlns:a16="http://schemas.microsoft.com/office/drawing/2014/main" id="{289A1BA7-0252-4E75-A983-A8A883DA5AC9}"/>
                  </a:ext>
                </a:extLst>
              </p:cNvPr>
              <p:cNvGrpSpPr/>
              <p:nvPr/>
            </p:nvGrpSpPr>
            <p:grpSpPr>
              <a:xfrm>
                <a:off x="7594601" y="2799011"/>
                <a:ext cx="2339976" cy="1813493"/>
                <a:chOff x="7594601" y="2799011"/>
                <a:chExt cx="2339976" cy="1813493"/>
              </a:xfrm>
            </p:grpSpPr>
            <p:sp>
              <p:nvSpPr>
                <p:cNvPr id="18" name="íšlíḓè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7594601" y="2799011"/>
                  <a:ext cx="2339976" cy="504000"/>
                </a:xfrm>
                <a:prstGeom prst="roundRect">
                  <a:avLst>
                    <a:gd name="adj" fmla="val 8508"/>
                  </a:avLst>
                </a:prstGeom>
                <a:ln/>
              </p:spPr>
              <p:style>
                <a:lnRef idx="0">
                  <a:schemeClr val="accent1"/>
                </a:lnRef>
                <a:fillRef idx="3">
                  <a:schemeClr val="accent1"/>
                </a:fillRef>
                <a:effectRef idx="3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000" dirty="0"/>
                    <a:t>Reduce()</a:t>
                  </a:r>
                  <a:endParaRPr lang="id-ID" altLang="zh-CN" sz="1000" dirty="0"/>
                </a:p>
              </p:txBody>
            </p:sp>
            <p:sp>
              <p:nvSpPr>
                <p:cNvPr id="20" name="ïṧľîḓe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7594601" y="4108504"/>
                  <a:ext cx="2339976" cy="504000"/>
                </a:xfrm>
                <a:prstGeom prst="roundRect">
                  <a:avLst>
                    <a:gd name="adj" fmla="val 8508"/>
                  </a:avLst>
                </a:prstGeom>
                <a:ln/>
              </p:spPr>
              <p:style>
                <a:lnRef idx="0">
                  <a:schemeClr val="accent1"/>
                </a:lnRef>
                <a:fillRef idx="3">
                  <a:schemeClr val="accent1"/>
                </a:fillRef>
                <a:effectRef idx="3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000" dirty="0"/>
                    <a:t>Reduce()</a:t>
                  </a:r>
                  <a:endParaRPr lang="id-ID" altLang="zh-CN" sz="1000" dirty="0"/>
                </a:p>
              </p:txBody>
            </p:sp>
          </p:grpSp>
        </p:grpSp>
        <p:sp>
          <p:nvSpPr>
            <p:cNvPr id="35" name="îs1ídè">
              <a:extLst>
                <a:ext uri="{FF2B5EF4-FFF2-40B4-BE49-F238E27FC236}">
                  <a16:creationId xmlns:a16="http://schemas.microsoft.com/office/drawing/2014/main" id="{23C8BE72-FD93-4B59-A54B-8A79424553D5}"/>
                </a:ext>
              </a:extLst>
            </p:cNvPr>
            <p:cNvSpPr/>
            <p:nvPr/>
          </p:nvSpPr>
          <p:spPr bwMode="auto">
            <a:xfrm>
              <a:off x="673893" y="3007309"/>
              <a:ext cx="1754981" cy="378000"/>
            </a:xfrm>
            <a:prstGeom prst="roundRect">
              <a:avLst>
                <a:gd name="adj" fmla="val 8508"/>
              </a:avLst>
            </a:prstGeom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000" dirty="0"/>
                <a:t>InputSplit2</a:t>
              </a:r>
            </a:p>
          </p:txBody>
        </p:sp>
        <p:sp>
          <p:nvSpPr>
            <p:cNvPr id="36" name="îṧḷîḓé">
              <a:extLst>
                <a:ext uri="{FF2B5EF4-FFF2-40B4-BE49-F238E27FC236}">
                  <a16:creationId xmlns:a16="http://schemas.microsoft.com/office/drawing/2014/main" id="{B1D35E8F-F235-4545-9291-512F65CC42FD}"/>
                </a:ext>
              </a:extLst>
            </p:cNvPr>
            <p:cNvSpPr/>
            <p:nvPr/>
          </p:nvSpPr>
          <p:spPr bwMode="auto">
            <a:xfrm>
              <a:off x="673892" y="3997922"/>
              <a:ext cx="1754981" cy="378000"/>
            </a:xfrm>
            <a:prstGeom prst="roundRect">
              <a:avLst>
                <a:gd name="adj" fmla="val 8508"/>
              </a:avLst>
            </a:prstGeom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000" dirty="0"/>
                <a:t>InputSplit4</a:t>
              </a:r>
            </a:p>
          </p:txBody>
        </p:sp>
        <p:sp>
          <p:nvSpPr>
            <p:cNvPr id="37" name="îṩḷiḋè">
              <a:extLst>
                <a:ext uri="{FF2B5EF4-FFF2-40B4-BE49-F238E27FC236}">
                  <a16:creationId xmlns:a16="http://schemas.microsoft.com/office/drawing/2014/main" id="{CAA428D7-89BB-4435-B854-04E1FFDE8CE9}"/>
                </a:ext>
              </a:extLst>
            </p:cNvPr>
            <p:cNvSpPr/>
            <p:nvPr/>
          </p:nvSpPr>
          <p:spPr bwMode="auto">
            <a:xfrm>
              <a:off x="673891" y="4967818"/>
              <a:ext cx="1754981" cy="378000"/>
            </a:xfrm>
            <a:prstGeom prst="roundRect">
              <a:avLst>
                <a:gd name="adj" fmla="val 8508"/>
              </a:avLst>
            </a:prstGeom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000" dirty="0"/>
                <a:t>InputSplit6</a:t>
              </a:r>
            </a:p>
          </p:txBody>
        </p:sp>
        <p:sp>
          <p:nvSpPr>
            <p:cNvPr id="39" name="箭头: 右 38">
              <a:extLst>
                <a:ext uri="{FF2B5EF4-FFF2-40B4-BE49-F238E27FC236}">
                  <a16:creationId xmlns:a16="http://schemas.microsoft.com/office/drawing/2014/main" id="{051D16D7-00E9-476B-8440-C29D17629FB9}"/>
                </a:ext>
              </a:extLst>
            </p:cNvPr>
            <p:cNvSpPr/>
            <p:nvPr/>
          </p:nvSpPr>
          <p:spPr>
            <a:xfrm>
              <a:off x="2428499" y="2638425"/>
              <a:ext cx="756048" cy="132869"/>
            </a:xfrm>
            <a:prstGeom prst="rightArrow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0" name="箭头: 右 29">
              <a:extLst>
                <a:ext uri="{FF2B5EF4-FFF2-40B4-BE49-F238E27FC236}">
                  <a16:creationId xmlns:a16="http://schemas.microsoft.com/office/drawing/2014/main" id="{51915D79-7970-4A8F-AF27-9426411646F7}"/>
                </a:ext>
              </a:extLst>
            </p:cNvPr>
            <p:cNvSpPr/>
            <p:nvPr/>
          </p:nvSpPr>
          <p:spPr>
            <a:xfrm>
              <a:off x="2428499" y="3630857"/>
              <a:ext cx="756048" cy="132869"/>
            </a:xfrm>
            <a:prstGeom prst="rightArrow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2" name="箭头: 右 31">
              <a:extLst>
                <a:ext uri="{FF2B5EF4-FFF2-40B4-BE49-F238E27FC236}">
                  <a16:creationId xmlns:a16="http://schemas.microsoft.com/office/drawing/2014/main" id="{DB578B2A-0CCB-4E77-ABB1-9ADAB19C02D3}"/>
                </a:ext>
              </a:extLst>
            </p:cNvPr>
            <p:cNvSpPr/>
            <p:nvPr/>
          </p:nvSpPr>
          <p:spPr>
            <a:xfrm>
              <a:off x="2428499" y="4127073"/>
              <a:ext cx="756048" cy="132869"/>
            </a:xfrm>
            <a:prstGeom prst="rightArrow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4" name="箭头: 右 33">
              <a:extLst>
                <a:ext uri="{FF2B5EF4-FFF2-40B4-BE49-F238E27FC236}">
                  <a16:creationId xmlns:a16="http://schemas.microsoft.com/office/drawing/2014/main" id="{7A69B3EE-D2F6-4773-B1AB-24F6FF620E81}"/>
                </a:ext>
              </a:extLst>
            </p:cNvPr>
            <p:cNvSpPr/>
            <p:nvPr/>
          </p:nvSpPr>
          <p:spPr>
            <a:xfrm>
              <a:off x="2428499" y="4623289"/>
              <a:ext cx="756048" cy="132869"/>
            </a:xfrm>
            <a:prstGeom prst="rightArrow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" name="箭头: 右 37">
              <a:extLst>
                <a:ext uri="{FF2B5EF4-FFF2-40B4-BE49-F238E27FC236}">
                  <a16:creationId xmlns:a16="http://schemas.microsoft.com/office/drawing/2014/main" id="{C3D3B4F0-63D9-4699-986D-EC69AFCFDC94}"/>
                </a:ext>
              </a:extLst>
            </p:cNvPr>
            <p:cNvSpPr/>
            <p:nvPr/>
          </p:nvSpPr>
          <p:spPr>
            <a:xfrm>
              <a:off x="2428499" y="5119504"/>
              <a:ext cx="756048" cy="132869"/>
            </a:xfrm>
            <a:prstGeom prst="rightArrow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箭头: 右 39">
              <a:extLst>
                <a:ext uri="{FF2B5EF4-FFF2-40B4-BE49-F238E27FC236}">
                  <a16:creationId xmlns:a16="http://schemas.microsoft.com/office/drawing/2014/main" id="{F2E1C0CF-1F0B-4BDB-95CD-5DB0CFF06B7F}"/>
                </a:ext>
              </a:extLst>
            </p:cNvPr>
            <p:cNvSpPr/>
            <p:nvPr/>
          </p:nvSpPr>
          <p:spPr>
            <a:xfrm>
              <a:off x="2428499" y="3134641"/>
              <a:ext cx="756048" cy="132869"/>
            </a:xfrm>
            <a:prstGeom prst="rightArrow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208403F1-D61F-4BED-BE79-AB963913ABB4}"/>
                </a:ext>
              </a:extLst>
            </p:cNvPr>
            <p:cNvSpPr/>
            <p:nvPr/>
          </p:nvSpPr>
          <p:spPr>
            <a:xfrm rot="18053830">
              <a:off x="3982055" y="3128204"/>
              <a:ext cx="2166360" cy="1507204"/>
            </a:xfrm>
            <a:custGeom>
              <a:avLst/>
              <a:gdLst>
                <a:gd name="connsiteX0" fmla="*/ 1053071 w 2166360"/>
                <a:gd name="connsiteY0" fmla="*/ 1467381 h 1507204"/>
                <a:gd name="connsiteX1" fmla="*/ 992284 w 2166360"/>
                <a:gd name="connsiteY1" fmla="*/ 1507204 h 1507204"/>
                <a:gd name="connsiteX2" fmla="*/ 997525 w 2166360"/>
                <a:gd name="connsiteY2" fmla="*/ 1482052 h 1507204"/>
                <a:gd name="connsiteX3" fmla="*/ 0 w 2166360"/>
                <a:gd name="connsiteY3" fmla="*/ 1274189 h 1507204"/>
                <a:gd name="connsiteX4" fmla="*/ 10484 w 2166360"/>
                <a:gd name="connsiteY4" fmla="*/ 1223884 h 1507204"/>
                <a:gd name="connsiteX5" fmla="*/ 1008007 w 2166360"/>
                <a:gd name="connsiteY5" fmla="*/ 1431746 h 1507204"/>
                <a:gd name="connsiteX6" fmla="*/ 1013249 w 2166360"/>
                <a:gd name="connsiteY6" fmla="*/ 1406594 h 1507204"/>
                <a:gd name="connsiteX7" fmla="*/ 1112262 w 2166360"/>
                <a:gd name="connsiteY7" fmla="*/ 1284648 h 1507204"/>
                <a:gd name="connsiteX8" fmla="*/ 891394 w 2166360"/>
                <a:gd name="connsiteY8" fmla="*/ 1041978 h 1507204"/>
                <a:gd name="connsiteX9" fmla="*/ 459021 w 2166360"/>
                <a:gd name="connsiteY9" fmla="*/ 1041978 h 1507204"/>
                <a:gd name="connsiteX10" fmla="*/ 1109092 w 2166360"/>
                <a:gd name="connsiteY10" fmla="*/ 1292862 h 1507204"/>
                <a:gd name="connsiteX11" fmla="*/ 1434007 w 2166360"/>
                <a:gd name="connsiteY11" fmla="*/ 1041978 h 1507204"/>
                <a:gd name="connsiteX12" fmla="*/ 1304594 w 2166360"/>
                <a:gd name="connsiteY12" fmla="*/ 1041978 h 1507204"/>
                <a:gd name="connsiteX13" fmla="*/ 1323173 w 2166360"/>
                <a:gd name="connsiteY13" fmla="*/ 1183064 h 1507204"/>
                <a:gd name="connsiteX14" fmla="*/ 1342645 w 2166360"/>
                <a:gd name="connsiteY14" fmla="*/ 1194712 h 1507204"/>
                <a:gd name="connsiteX15" fmla="*/ 1584285 w 2166360"/>
                <a:gd name="connsiteY15" fmla="*/ 790752 h 1507204"/>
                <a:gd name="connsiteX16" fmla="*/ 1241513 w 2166360"/>
                <a:gd name="connsiteY16" fmla="*/ 562936 h 1507204"/>
                <a:gd name="connsiteX17" fmla="*/ 1295550 w 2166360"/>
                <a:gd name="connsiteY17" fmla="*/ 973297 h 1507204"/>
                <a:gd name="connsiteX18" fmla="*/ 1475090 w 2166360"/>
                <a:gd name="connsiteY18" fmla="*/ 973297 h 1507204"/>
                <a:gd name="connsiteX19" fmla="*/ 2091855 w 2166360"/>
                <a:gd name="connsiteY19" fmla="*/ 75995 h 1507204"/>
                <a:gd name="connsiteX20" fmla="*/ 1866814 w 2166360"/>
                <a:gd name="connsiteY20" fmla="*/ 452205 h 1507204"/>
                <a:gd name="connsiteX21" fmla="*/ 1997225 w 2166360"/>
                <a:gd name="connsiteY21" fmla="*/ 847209 h 1507204"/>
                <a:gd name="connsiteX22" fmla="*/ 2028767 w 2166360"/>
                <a:gd name="connsiteY22" fmla="*/ 836797 h 1507204"/>
                <a:gd name="connsiteX23" fmla="*/ 1986508 w 2166360"/>
                <a:gd name="connsiteY23" fmla="*/ 920709 h 1507204"/>
                <a:gd name="connsiteX24" fmla="*/ 1902596 w 2166360"/>
                <a:gd name="connsiteY24" fmla="*/ 878451 h 1507204"/>
                <a:gd name="connsiteX25" fmla="*/ 1934139 w 2166360"/>
                <a:gd name="connsiteY25" fmla="*/ 868037 h 1507204"/>
                <a:gd name="connsiteX26" fmla="*/ 1821734 w 2166360"/>
                <a:gd name="connsiteY26" fmla="*/ 527569 h 1507204"/>
                <a:gd name="connsiteX27" fmla="*/ 1671315 w 2166360"/>
                <a:gd name="connsiteY27" fmla="*/ 779031 h 1507204"/>
                <a:gd name="connsiteX28" fmla="*/ 1875489 w 2166360"/>
                <a:gd name="connsiteY28" fmla="*/ 914732 h 1507204"/>
                <a:gd name="connsiteX29" fmla="*/ 1891523 w 2166360"/>
                <a:gd name="connsiteY29" fmla="*/ 890606 h 1507204"/>
                <a:gd name="connsiteX30" fmla="*/ 1907705 w 2166360"/>
                <a:gd name="connsiteY30" fmla="*/ 970925 h 1507204"/>
                <a:gd name="connsiteX31" fmla="*/ 1827387 w 2166360"/>
                <a:gd name="connsiteY31" fmla="*/ 987106 h 1507204"/>
                <a:gd name="connsiteX32" fmla="*/ 1843421 w 2166360"/>
                <a:gd name="connsiteY32" fmla="*/ 962982 h 1507204"/>
                <a:gd name="connsiteX33" fmla="*/ 1641541 w 2166360"/>
                <a:gd name="connsiteY33" fmla="*/ 828807 h 1507204"/>
                <a:gd name="connsiteX34" fmla="*/ 1555109 w 2166360"/>
                <a:gd name="connsiteY34" fmla="*/ 973297 h 1507204"/>
                <a:gd name="connsiteX35" fmla="*/ 1757120 w 2166360"/>
                <a:gd name="connsiteY35" fmla="*/ 973297 h 1507204"/>
                <a:gd name="connsiteX36" fmla="*/ 1757120 w 2166360"/>
                <a:gd name="connsiteY36" fmla="*/ 938956 h 1507204"/>
                <a:gd name="connsiteX37" fmla="*/ 1825801 w 2166360"/>
                <a:gd name="connsiteY37" fmla="*/ 1007638 h 1507204"/>
                <a:gd name="connsiteX38" fmla="*/ 1757120 w 2166360"/>
                <a:gd name="connsiteY38" fmla="*/ 1076319 h 1507204"/>
                <a:gd name="connsiteX39" fmla="*/ 1757120 w 2166360"/>
                <a:gd name="connsiteY39" fmla="*/ 1041978 h 1507204"/>
                <a:gd name="connsiteX40" fmla="*/ 1514026 w 2166360"/>
                <a:gd name="connsiteY40" fmla="*/ 1041978 h 1507204"/>
                <a:gd name="connsiteX41" fmla="*/ 1401578 w 2166360"/>
                <a:gd name="connsiteY41" fmla="*/ 1229963 h 1507204"/>
                <a:gd name="connsiteX42" fmla="*/ 1431044 w 2166360"/>
                <a:gd name="connsiteY42" fmla="*/ 1247590 h 1507204"/>
                <a:gd name="connsiteX43" fmla="*/ 1336859 w 2166360"/>
                <a:gd name="connsiteY43" fmla="*/ 1271269 h 1507204"/>
                <a:gd name="connsiteX44" fmla="*/ 1332641 w 2166360"/>
                <a:gd name="connsiteY44" fmla="*/ 1254493 h 1507204"/>
                <a:gd name="connsiteX45" fmla="*/ 1303991 w 2166360"/>
                <a:gd name="connsiteY45" fmla="*/ 1291832 h 1507204"/>
                <a:gd name="connsiteX46" fmla="*/ 1229452 w 2166360"/>
                <a:gd name="connsiteY46" fmla="*/ 1234640 h 1507204"/>
                <a:gd name="connsiteX47" fmla="*/ 1262385 w 2166360"/>
                <a:gd name="connsiteY47" fmla="*/ 1230304 h 1507204"/>
                <a:gd name="connsiteX48" fmla="*/ 1237585 w 2166360"/>
                <a:gd name="connsiteY48" fmla="*/ 1041978 h 1507204"/>
                <a:gd name="connsiteX49" fmla="*/ 981227 w 2166360"/>
                <a:gd name="connsiteY49" fmla="*/ 1041978 h 1507204"/>
                <a:gd name="connsiteX50" fmla="*/ 1222636 w 2166360"/>
                <a:gd name="connsiteY50" fmla="*/ 1307216 h 1507204"/>
                <a:gd name="connsiteX51" fmla="*/ 1247201 w 2166360"/>
                <a:gd name="connsiteY51" fmla="*/ 1284857 h 1507204"/>
                <a:gd name="connsiteX52" fmla="*/ 1242786 w 2166360"/>
                <a:gd name="connsiteY52" fmla="*/ 1378706 h 1507204"/>
                <a:gd name="connsiteX53" fmla="*/ 1148938 w 2166360"/>
                <a:gd name="connsiteY53" fmla="*/ 1374292 h 1507204"/>
                <a:gd name="connsiteX54" fmla="*/ 1173504 w 2166360"/>
                <a:gd name="connsiteY54" fmla="*/ 1351934 h 1507204"/>
                <a:gd name="connsiteX55" fmla="*/ 1145395 w 2166360"/>
                <a:gd name="connsiteY55" fmla="*/ 1321051 h 1507204"/>
                <a:gd name="connsiteX56" fmla="*/ 1155458 w 2166360"/>
                <a:gd name="connsiteY56" fmla="*/ 1343764 h 1507204"/>
                <a:gd name="connsiteX57" fmla="*/ 1075831 w 2166360"/>
                <a:gd name="connsiteY57" fmla="*/ 1379044 h 1507204"/>
                <a:gd name="connsiteX58" fmla="*/ 1086918 w 2166360"/>
                <a:gd name="connsiteY58" fmla="*/ 1350317 h 1507204"/>
                <a:gd name="connsiteX59" fmla="*/ 349041 w 2166360"/>
                <a:gd name="connsiteY59" fmla="*/ 1065545 h 1507204"/>
                <a:gd name="connsiteX60" fmla="*/ 371215 w 2166360"/>
                <a:gd name="connsiteY60" fmla="*/ 1008091 h 1507204"/>
                <a:gd name="connsiteX61" fmla="*/ 424370 w 2166360"/>
                <a:gd name="connsiteY61" fmla="*/ 1028605 h 1507204"/>
                <a:gd name="connsiteX62" fmla="*/ 424370 w 2166360"/>
                <a:gd name="connsiteY62" fmla="*/ 973297 h 1507204"/>
                <a:gd name="connsiteX63" fmla="*/ 828884 w 2166360"/>
                <a:gd name="connsiteY63" fmla="*/ 973297 h 1507204"/>
                <a:gd name="connsiteX64" fmla="*/ 709320 w 2166360"/>
                <a:gd name="connsiteY64" fmla="*/ 841932 h 1507204"/>
                <a:gd name="connsiteX65" fmla="*/ 758452 w 2166360"/>
                <a:gd name="connsiteY65" fmla="*/ 797214 h 1507204"/>
                <a:gd name="connsiteX66" fmla="*/ 918716 w 2166360"/>
                <a:gd name="connsiteY66" fmla="*/ 973297 h 1507204"/>
                <a:gd name="connsiteX67" fmla="*/ 1228541 w 2166360"/>
                <a:gd name="connsiteY67" fmla="*/ 973297 h 1507204"/>
                <a:gd name="connsiteX68" fmla="*/ 1172352 w 2166360"/>
                <a:gd name="connsiteY68" fmla="*/ 546592 h 1507204"/>
                <a:gd name="connsiteX69" fmla="*/ 1234091 w 2166360"/>
                <a:gd name="connsiteY69" fmla="*/ 538462 h 1507204"/>
                <a:gd name="connsiteX70" fmla="*/ 1257152 w 2166360"/>
                <a:gd name="connsiteY70" fmla="*/ 503765 h 1507204"/>
                <a:gd name="connsiteX71" fmla="*/ 1614058 w 2166360"/>
                <a:gd name="connsiteY71" fmla="*/ 740977 h 1507204"/>
                <a:gd name="connsiteX72" fmla="*/ 1793276 w 2166360"/>
                <a:gd name="connsiteY72" fmla="*/ 441373 h 1507204"/>
                <a:gd name="connsiteX73" fmla="*/ 1717941 w 2166360"/>
                <a:gd name="connsiteY73" fmla="*/ 213189 h 1507204"/>
                <a:gd name="connsiteX74" fmla="*/ 1781027 w 2166360"/>
                <a:gd name="connsiteY74" fmla="*/ 192362 h 1507204"/>
                <a:gd name="connsiteX75" fmla="*/ 1838356 w 2166360"/>
                <a:gd name="connsiteY75" fmla="*/ 366008 h 1507204"/>
                <a:gd name="connsiteX76" fmla="*/ 2032922 w 2166360"/>
                <a:gd name="connsiteY76" fmla="*/ 40742 h 1507204"/>
                <a:gd name="connsiteX77" fmla="*/ 2161808 w 2166360"/>
                <a:gd name="connsiteY77" fmla="*/ 2341 h 1507204"/>
                <a:gd name="connsiteX78" fmla="*/ 2134184 w 2166360"/>
                <a:gd name="connsiteY78" fmla="*/ 761778 h 1507204"/>
                <a:gd name="connsiteX79" fmla="*/ 2166360 w 2166360"/>
                <a:gd name="connsiteY79" fmla="*/ 762949 h 1507204"/>
                <a:gd name="connsiteX80" fmla="*/ 2099668 w 2166360"/>
                <a:gd name="connsiteY80" fmla="*/ 824959 h 1507204"/>
                <a:gd name="connsiteX81" fmla="*/ 2037659 w 2166360"/>
                <a:gd name="connsiteY81" fmla="*/ 758268 h 1507204"/>
                <a:gd name="connsiteX82" fmla="*/ 2069835 w 2166360"/>
                <a:gd name="connsiteY82" fmla="*/ 759438 h 1507204"/>
                <a:gd name="connsiteX83" fmla="*/ 2097458 w 2166360"/>
                <a:gd name="connsiteY83" fmla="*/ 0 h 1507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2166360" h="1507204">
                  <a:moveTo>
                    <a:pt x="1053071" y="1467381"/>
                  </a:moveTo>
                  <a:lnTo>
                    <a:pt x="992284" y="1507204"/>
                  </a:lnTo>
                  <a:lnTo>
                    <a:pt x="997525" y="1482052"/>
                  </a:lnTo>
                  <a:lnTo>
                    <a:pt x="0" y="1274189"/>
                  </a:lnTo>
                  <a:lnTo>
                    <a:pt x="10484" y="1223884"/>
                  </a:lnTo>
                  <a:lnTo>
                    <a:pt x="1008007" y="1431746"/>
                  </a:lnTo>
                  <a:lnTo>
                    <a:pt x="1013249" y="1406594"/>
                  </a:lnTo>
                  <a:close/>
                  <a:moveTo>
                    <a:pt x="1112262" y="1284648"/>
                  </a:moveTo>
                  <a:lnTo>
                    <a:pt x="891394" y="1041978"/>
                  </a:lnTo>
                  <a:lnTo>
                    <a:pt x="459021" y="1041978"/>
                  </a:lnTo>
                  <a:lnTo>
                    <a:pt x="1109092" y="1292862"/>
                  </a:lnTo>
                  <a:close/>
                  <a:moveTo>
                    <a:pt x="1434007" y="1041978"/>
                  </a:moveTo>
                  <a:lnTo>
                    <a:pt x="1304594" y="1041978"/>
                  </a:lnTo>
                  <a:lnTo>
                    <a:pt x="1323173" y="1183064"/>
                  </a:lnTo>
                  <a:lnTo>
                    <a:pt x="1342645" y="1194712"/>
                  </a:lnTo>
                  <a:close/>
                  <a:moveTo>
                    <a:pt x="1584285" y="790752"/>
                  </a:moveTo>
                  <a:lnTo>
                    <a:pt x="1241513" y="562936"/>
                  </a:lnTo>
                  <a:lnTo>
                    <a:pt x="1295550" y="973297"/>
                  </a:lnTo>
                  <a:lnTo>
                    <a:pt x="1475090" y="973297"/>
                  </a:lnTo>
                  <a:close/>
                  <a:moveTo>
                    <a:pt x="2091855" y="75995"/>
                  </a:moveTo>
                  <a:lnTo>
                    <a:pt x="1866814" y="452205"/>
                  </a:lnTo>
                  <a:lnTo>
                    <a:pt x="1997225" y="847209"/>
                  </a:lnTo>
                  <a:lnTo>
                    <a:pt x="2028767" y="836797"/>
                  </a:lnTo>
                  <a:lnTo>
                    <a:pt x="1986508" y="920709"/>
                  </a:lnTo>
                  <a:lnTo>
                    <a:pt x="1902596" y="878451"/>
                  </a:lnTo>
                  <a:lnTo>
                    <a:pt x="1934139" y="868037"/>
                  </a:lnTo>
                  <a:lnTo>
                    <a:pt x="1821734" y="527569"/>
                  </a:lnTo>
                  <a:lnTo>
                    <a:pt x="1671315" y="779031"/>
                  </a:lnTo>
                  <a:lnTo>
                    <a:pt x="1875489" y="914732"/>
                  </a:lnTo>
                  <a:lnTo>
                    <a:pt x="1891523" y="890606"/>
                  </a:lnTo>
                  <a:lnTo>
                    <a:pt x="1907705" y="970925"/>
                  </a:lnTo>
                  <a:lnTo>
                    <a:pt x="1827387" y="987106"/>
                  </a:lnTo>
                  <a:lnTo>
                    <a:pt x="1843421" y="962982"/>
                  </a:lnTo>
                  <a:lnTo>
                    <a:pt x="1641541" y="828807"/>
                  </a:lnTo>
                  <a:lnTo>
                    <a:pt x="1555109" y="973297"/>
                  </a:lnTo>
                  <a:lnTo>
                    <a:pt x="1757120" y="973297"/>
                  </a:lnTo>
                  <a:lnTo>
                    <a:pt x="1757120" y="938956"/>
                  </a:lnTo>
                  <a:lnTo>
                    <a:pt x="1825801" y="1007638"/>
                  </a:lnTo>
                  <a:lnTo>
                    <a:pt x="1757120" y="1076319"/>
                  </a:lnTo>
                  <a:lnTo>
                    <a:pt x="1757120" y="1041978"/>
                  </a:lnTo>
                  <a:lnTo>
                    <a:pt x="1514026" y="1041978"/>
                  </a:lnTo>
                  <a:lnTo>
                    <a:pt x="1401578" y="1229963"/>
                  </a:lnTo>
                  <a:lnTo>
                    <a:pt x="1431044" y="1247590"/>
                  </a:lnTo>
                  <a:lnTo>
                    <a:pt x="1336859" y="1271269"/>
                  </a:lnTo>
                  <a:lnTo>
                    <a:pt x="1332641" y="1254493"/>
                  </a:lnTo>
                  <a:lnTo>
                    <a:pt x="1303991" y="1291832"/>
                  </a:lnTo>
                  <a:lnTo>
                    <a:pt x="1229452" y="1234640"/>
                  </a:lnTo>
                  <a:lnTo>
                    <a:pt x="1262385" y="1230304"/>
                  </a:lnTo>
                  <a:lnTo>
                    <a:pt x="1237585" y="1041978"/>
                  </a:lnTo>
                  <a:lnTo>
                    <a:pt x="981227" y="1041978"/>
                  </a:lnTo>
                  <a:lnTo>
                    <a:pt x="1222636" y="1307216"/>
                  </a:lnTo>
                  <a:lnTo>
                    <a:pt x="1247201" y="1284857"/>
                  </a:lnTo>
                  <a:lnTo>
                    <a:pt x="1242786" y="1378706"/>
                  </a:lnTo>
                  <a:lnTo>
                    <a:pt x="1148938" y="1374292"/>
                  </a:lnTo>
                  <a:lnTo>
                    <a:pt x="1173504" y="1351934"/>
                  </a:lnTo>
                  <a:lnTo>
                    <a:pt x="1145395" y="1321051"/>
                  </a:lnTo>
                  <a:lnTo>
                    <a:pt x="1155458" y="1343764"/>
                  </a:lnTo>
                  <a:lnTo>
                    <a:pt x="1075831" y="1379044"/>
                  </a:lnTo>
                  <a:lnTo>
                    <a:pt x="1086918" y="1350317"/>
                  </a:lnTo>
                  <a:lnTo>
                    <a:pt x="349041" y="1065545"/>
                  </a:lnTo>
                  <a:lnTo>
                    <a:pt x="371215" y="1008091"/>
                  </a:lnTo>
                  <a:lnTo>
                    <a:pt x="424370" y="1028605"/>
                  </a:lnTo>
                  <a:lnTo>
                    <a:pt x="424370" y="973297"/>
                  </a:lnTo>
                  <a:lnTo>
                    <a:pt x="828884" y="973297"/>
                  </a:lnTo>
                  <a:lnTo>
                    <a:pt x="709320" y="841932"/>
                  </a:lnTo>
                  <a:lnTo>
                    <a:pt x="758452" y="797214"/>
                  </a:lnTo>
                  <a:lnTo>
                    <a:pt x="918716" y="973297"/>
                  </a:lnTo>
                  <a:lnTo>
                    <a:pt x="1228541" y="973297"/>
                  </a:lnTo>
                  <a:lnTo>
                    <a:pt x="1172352" y="546592"/>
                  </a:lnTo>
                  <a:lnTo>
                    <a:pt x="1234091" y="538462"/>
                  </a:lnTo>
                  <a:lnTo>
                    <a:pt x="1257152" y="503765"/>
                  </a:lnTo>
                  <a:lnTo>
                    <a:pt x="1614058" y="740977"/>
                  </a:lnTo>
                  <a:lnTo>
                    <a:pt x="1793276" y="441373"/>
                  </a:lnTo>
                  <a:lnTo>
                    <a:pt x="1717941" y="213189"/>
                  </a:lnTo>
                  <a:lnTo>
                    <a:pt x="1781027" y="192362"/>
                  </a:lnTo>
                  <a:lnTo>
                    <a:pt x="1838356" y="366008"/>
                  </a:lnTo>
                  <a:lnTo>
                    <a:pt x="2032922" y="40742"/>
                  </a:lnTo>
                  <a:close/>
                  <a:moveTo>
                    <a:pt x="2161808" y="2341"/>
                  </a:moveTo>
                  <a:lnTo>
                    <a:pt x="2134184" y="761778"/>
                  </a:lnTo>
                  <a:lnTo>
                    <a:pt x="2166360" y="762949"/>
                  </a:lnTo>
                  <a:lnTo>
                    <a:pt x="2099668" y="824959"/>
                  </a:lnTo>
                  <a:lnTo>
                    <a:pt x="2037659" y="758268"/>
                  </a:lnTo>
                  <a:lnTo>
                    <a:pt x="2069835" y="759438"/>
                  </a:lnTo>
                  <a:lnTo>
                    <a:pt x="2097458" y="0"/>
                  </a:lnTo>
                  <a:close/>
                </a:path>
              </a:pathLst>
            </a:cu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 dirty="0"/>
            </a:p>
          </p:txBody>
        </p:sp>
      </p:grpSp>
      <p:sp>
        <p:nvSpPr>
          <p:cNvPr id="55" name="i$ḻïḑé">
            <a:extLst>
              <a:ext uri="{FF2B5EF4-FFF2-40B4-BE49-F238E27FC236}">
                <a16:creationId xmlns:a16="http://schemas.microsoft.com/office/drawing/2014/main" id="{CD842A0E-3AD5-4B93-BF20-33650DB09CEB}"/>
              </a:ext>
            </a:extLst>
          </p:cNvPr>
          <p:cNvSpPr/>
          <p:nvPr/>
        </p:nvSpPr>
        <p:spPr>
          <a:xfrm>
            <a:off x="4970264" y="1876128"/>
            <a:ext cx="1754981" cy="483425"/>
          </a:xfrm>
          <a:prstGeom prst="rect">
            <a:avLst/>
          </a:prstGeom>
          <a:noFill/>
          <a:ln w="31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400" b="1" dirty="0">
                <a:solidFill>
                  <a:schemeClr val="tx1"/>
                </a:solidFill>
              </a:rPr>
              <a:t>Hadoop</a:t>
            </a:r>
            <a:r>
              <a:rPr lang="zh-CN" altLang="en-US" sz="1400" b="1" dirty="0">
                <a:solidFill>
                  <a:schemeClr val="tx1"/>
                </a:solidFill>
              </a:rPr>
              <a:t>框架</a:t>
            </a:r>
            <a:endParaRPr lang="id-ID" altLang="zh-CN" sz="1400" b="1" dirty="0">
              <a:solidFill>
                <a:schemeClr val="tx1"/>
              </a:solidFill>
            </a:endParaRPr>
          </a:p>
        </p:txBody>
      </p:sp>
      <p:sp>
        <p:nvSpPr>
          <p:cNvPr id="57" name="任意多边形: 形状 56">
            <a:extLst>
              <a:ext uri="{FF2B5EF4-FFF2-40B4-BE49-F238E27FC236}">
                <a16:creationId xmlns:a16="http://schemas.microsoft.com/office/drawing/2014/main" id="{E17A7434-F6C8-40CC-BBF9-B787118A7640}"/>
              </a:ext>
            </a:extLst>
          </p:cNvPr>
          <p:cNvSpPr/>
          <p:nvPr/>
        </p:nvSpPr>
        <p:spPr>
          <a:xfrm rot="8053541">
            <a:off x="735373" y="-196790"/>
            <a:ext cx="7673254" cy="7657979"/>
          </a:xfrm>
          <a:custGeom>
            <a:avLst/>
            <a:gdLst>
              <a:gd name="connsiteX0" fmla="*/ 0 w 7673254"/>
              <a:gd name="connsiteY0" fmla="*/ 4067416 h 7657979"/>
              <a:gd name="connsiteX1" fmla="*/ 17948 w 7673254"/>
              <a:gd name="connsiteY1" fmla="*/ 3388263 h 7657979"/>
              <a:gd name="connsiteX2" fmla="*/ 3496932 w 7673254"/>
              <a:gd name="connsiteY2" fmla="*/ 3480199 h 7657979"/>
              <a:gd name="connsiteX3" fmla="*/ 3496932 w 7673254"/>
              <a:gd name="connsiteY3" fmla="*/ 0 h 7657979"/>
              <a:gd name="connsiteX4" fmla="*/ 4176322 w 7673254"/>
              <a:gd name="connsiteY4" fmla="*/ 0 h 7657979"/>
              <a:gd name="connsiteX5" fmla="*/ 4176322 w 7673254"/>
              <a:gd name="connsiteY5" fmla="*/ 3498153 h 7657979"/>
              <a:gd name="connsiteX6" fmla="*/ 7673254 w 7673254"/>
              <a:gd name="connsiteY6" fmla="*/ 3590563 h 7657979"/>
              <a:gd name="connsiteX7" fmla="*/ 7655306 w 7673254"/>
              <a:gd name="connsiteY7" fmla="*/ 4269716 h 7657979"/>
              <a:gd name="connsiteX8" fmla="*/ 4176322 w 7673254"/>
              <a:gd name="connsiteY8" fmla="*/ 4177780 h 7657979"/>
              <a:gd name="connsiteX9" fmla="*/ 4176322 w 7673254"/>
              <a:gd name="connsiteY9" fmla="*/ 7657979 h 7657979"/>
              <a:gd name="connsiteX10" fmla="*/ 3496932 w 7673254"/>
              <a:gd name="connsiteY10" fmla="*/ 7657979 h 7657979"/>
              <a:gd name="connsiteX11" fmla="*/ 3496932 w 7673254"/>
              <a:gd name="connsiteY11" fmla="*/ 4159826 h 7657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73254" h="7657979">
                <a:moveTo>
                  <a:pt x="0" y="4067416"/>
                </a:moveTo>
                <a:lnTo>
                  <a:pt x="17948" y="3388263"/>
                </a:lnTo>
                <a:lnTo>
                  <a:pt x="3496932" y="3480199"/>
                </a:lnTo>
                <a:lnTo>
                  <a:pt x="3496932" y="0"/>
                </a:lnTo>
                <a:lnTo>
                  <a:pt x="4176322" y="0"/>
                </a:lnTo>
                <a:lnTo>
                  <a:pt x="4176322" y="3498153"/>
                </a:lnTo>
                <a:lnTo>
                  <a:pt x="7673254" y="3590563"/>
                </a:lnTo>
                <a:lnTo>
                  <a:pt x="7655306" y="4269716"/>
                </a:lnTo>
                <a:lnTo>
                  <a:pt x="4176322" y="4177780"/>
                </a:lnTo>
                <a:lnTo>
                  <a:pt x="4176322" y="7657979"/>
                </a:lnTo>
                <a:lnTo>
                  <a:pt x="3496932" y="7657979"/>
                </a:lnTo>
                <a:lnTo>
                  <a:pt x="3496932" y="4159826"/>
                </a:lnTo>
                <a:close/>
              </a:path>
            </a:pathLst>
          </a:custGeom>
          <a:solidFill>
            <a:srgbClr val="FF0000"/>
          </a:soli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77" name="组合 76">
            <a:extLst>
              <a:ext uri="{FF2B5EF4-FFF2-40B4-BE49-F238E27FC236}">
                <a16:creationId xmlns:a16="http://schemas.microsoft.com/office/drawing/2014/main" id="{70B63F42-DEA5-4D61-A7E7-CA5ED2495A8B}"/>
              </a:ext>
            </a:extLst>
          </p:cNvPr>
          <p:cNvGrpSpPr/>
          <p:nvPr/>
        </p:nvGrpSpPr>
        <p:grpSpPr>
          <a:xfrm>
            <a:off x="-3514842" y="1453475"/>
            <a:ext cx="2028825" cy="897308"/>
            <a:chOff x="1112462" y="1546057"/>
            <a:chExt cx="2028825" cy="897308"/>
          </a:xfrm>
        </p:grpSpPr>
        <p:grpSp>
          <p:nvGrpSpPr>
            <p:cNvPr id="78" name="组合 77">
              <a:extLst>
                <a:ext uri="{FF2B5EF4-FFF2-40B4-BE49-F238E27FC236}">
                  <a16:creationId xmlns:a16="http://schemas.microsoft.com/office/drawing/2014/main" id="{ED22C571-D837-4558-88A0-51827E7E0BE6}"/>
                </a:ext>
              </a:extLst>
            </p:cNvPr>
            <p:cNvGrpSpPr/>
            <p:nvPr/>
          </p:nvGrpSpPr>
          <p:grpSpPr>
            <a:xfrm>
              <a:off x="1112462" y="1546057"/>
              <a:ext cx="2028825" cy="897308"/>
              <a:chOff x="1206466" y="2225304"/>
              <a:chExt cx="2028825" cy="897308"/>
            </a:xfrm>
          </p:grpSpPr>
          <p:sp>
            <p:nvSpPr>
              <p:cNvPr id="80" name="矩形: 圆角 79">
                <a:extLst>
                  <a:ext uri="{FF2B5EF4-FFF2-40B4-BE49-F238E27FC236}">
                    <a16:creationId xmlns:a16="http://schemas.microsoft.com/office/drawing/2014/main" id="{EB9F69F8-0C82-4558-9F61-5D74B69970C3}"/>
                  </a:ext>
                </a:extLst>
              </p:cNvPr>
              <p:cNvSpPr/>
              <p:nvPr/>
            </p:nvSpPr>
            <p:spPr>
              <a:xfrm>
                <a:off x="1206466" y="2225304"/>
                <a:ext cx="2028825" cy="897308"/>
              </a:xfrm>
              <a:prstGeom prst="round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81" name="文本框 80">
                <a:extLst>
                  <a:ext uri="{FF2B5EF4-FFF2-40B4-BE49-F238E27FC236}">
                    <a16:creationId xmlns:a16="http://schemas.microsoft.com/office/drawing/2014/main" id="{352B9018-FD03-4375-8C55-092A48056186}"/>
                  </a:ext>
                </a:extLst>
              </p:cNvPr>
              <p:cNvSpPr txBox="1"/>
              <p:nvPr/>
            </p:nvSpPr>
            <p:spPr>
              <a:xfrm>
                <a:off x="1989160" y="2468928"/>
                <a:ext cx="1225521" cy="3693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2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en-US" altLang="zh-CN" dirty="0">
                    <a:solidFill>
                      <a:schemeClr val="accent1"/>
                    </a:solidFill>
                  </a:rPr>
                  <a:t>1.txt</a:t>
                </a:r>
                <a:endParaRPr lang="zh-CN" altLang="en-US" dirty="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79" name="txt_180898">
              <a:extLst>
                <a:ext uri="{FF2B5EF4-FFF2-40B4-BE49-F238E27FC236}">
                  <a16:creationId xmlns:a16="http://schemas.microsoft.com/office/drawing/2014/main" id="{CDFAAFA5-8515-4EC0-A532-8DDF32F8FF9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389945" y="1689869"/>
              <a:ext cx="484602" cy="609685"/>
            </a:xfrm>
            <a:custGeom>
              <a:avLst/>
              <a:gdLst>
                <a:gd name="connsiteX0" fmla="*/ 289671 w 482808"/>
                <a:gd name="connsiteY0" fmla="*/ 445479 h 607427"/>
                <a:gd name="connsiteX1" fmla="*/ 359107 w 482808"/>
                <a:gd name="connsiteY1" fmla="*/ 445479 h 607427"/>
                <a:gd name="connsiteX2" fmla="*/ 359107 w 482808"/>
                <a:gd name="connsiteY2" fmla="*/ 465674 h 607427"/>
                <a:gd name="connsiteX3" fmla="*/ 336870 w 482808"/>
                <a:gd name="connsiteY3" fmla="*/ 465674 h 607427"/>
                <a:gd name="connsiteX4" fmla="*/ 336870 w 482808"/>
                <a:gd name="connsiteY4" fmla="*/ 537143 h 607427"/>
                <a:gd name="connsiteX5" fmla="*/ 312051 w 482808"/>
                <a:gd name="connsiteY5" fmla="*/ 537143 h 607427"/>
                <a:gd name="connsiteX6" fmla="*/ 312051 w 482808"/>
                <a:gd name="connsiteY6" fmla="*/ 465674 h 607427"/>
                <a:gd name="connsiteX7" fmla="*/ 289671 w 482808"/>
                <a:gd name="connsiteY7" fmla="*/ 465674 h 607427"/>
                <a:gd name="connsiteX8" fmla="*/ 195635 w 482808"/>
                <a:gd name="connsiteY8" fmla="*/ 445479 h 607427"/>
                <a:gd name="connsiteX9" fmla="*/ 223010 w 482808"/>
                <a:gd name="connsiteY9" fmla="*/ 445479 h 607427"/>
                <a:gd name="connsiteX10" fmla="*/ 239635 w 482808"/>
                <a:gd name="connsiteY10" fmla="*/ 473838 h 607427"/>
                <a:gd name="connsiteX11" fmla="*/ 255544 w 482808"/>
                <a:gd name="connsiteY11" fmla="*/ 445479 h 607427"/>
                <a:gd name="connsiteX12" fmla="*/ 283778 w 482808"/>
                <a:gd name="connsiteY12" fmla="*/ 445479 h 607427"/>
                <a:gd name="connsiteX13" fmla="*/ 254827 w 482808"/>
                <a:gd name="connsiteY13" fmla="*/ 492170 h 607427"/>
                <a:gd name="connsiteX14" fmla="*/ 286071 w 482808"/>
                <a:gd name="connsiteY14" fmla="*/ 537143 h 607427"/>
                <a:gd name="connsiteX15" fmla="*/ 257407 w 482808"/>
                <a:gd name="connsiteY15" fmla="*/ 537143 h 607427"/>
                <a:gd name="connsiteX16" fmla="*/ 239492 w 482808"/>
                <a:gd name="connsiteY16" fmla="*/ 508498 h 607427"/>
                <a:gd name="connsiteX17" fmla="*/ 221863 w 482808"/>
                <a:gd name="connsiteY17" fmla="*/ 537143 h 607427"/>
                <a:gd name="connsiteX18" fmla="*/ 193772 w 482808"/>
                <a:gd name="connsiteY18" fmla="*/ 537143 h 607427"/>
                <a:gd name="connsiteX19" fmla="*/ 224156 w 482808"/>
                <a:gd name="connsiteY19" fmla="*/ 490165 h 607427"/>
                <a:gd name="connsiteX20" fmla="*/ 120737 w 482808"/>
                <a:gd name="connsiteY20" fmla="*/ 445479 h 607427"/>
                <a:gd name="connsiteX21" fmla="*/ 190314 w 482808"/>
                <a:gd name="connsiteY21" fmla="*/ 445479 h 607427"/>
                <a:gd name="connsiteX22" fmla="*/ 190314 w 482808"/>
                <a:gd name="connsiteY22" fmla="*/ 465674 h 607427"/>
                <a:gd name="connsiteX23" fmla="*/ 167935 w 482808"/>
                <a:gd name="connsiteY23" fmla="*/ 465674 h 607427"/>
                <a:gd name="connsiteX24" fmla="*/ 167935 w 482808"/>
                <a:gd name="connsiteY24" fmla="*/ 537143 h 607427"/>
                <a:gd name="connsiteX25" fmla="*/ 143116 w 482808"/>
                <a:gd name="connsiteY25" fmla="*/ 537143 h 607427"/>
                <a:gd name="connsiteX26" fmla="*/ 143116 w 482808"/>
                <a:gd name="connsiteY26" fmla="*/ 465674 h 607427"/>
                <a:gd name="connsiteX27" fmla="*/ 120737 w 482808"/>
                <a:gd name="connsiteY27" fmla="*/ 465674 h 607427"/>
                <a:gd name="connsiteX28" fmla="*/ 129064 w 482808"/>
                <a:gd name="connsiteY28" fmla="*/ 329823 h 607427"/>
                <a:gd name="connsiteX29" fmla="*/ 223692 w 482808"/>
                <a:gd name="connsiteY29" fmla="*/ 329823 h 607427"/>
                <a:gd name="connsiteX30" fmla="*/ 223692 w 482808"/>
                <a:gd name="connsiteY30" fmla="*/ 358473 h 607427"/>
                <a:gd name="connsiteX31" fmla="*/ 129064 w 482808"/>
                <a:gd name="connsiteY31" fmla="*/ 358473 h 607427"/>
                <a:gd name="connsiteX32" fmla="*/ 129064 w 482808"/>
                <a:gd name="connsiteY32" fmla="*/ 282756 h 607427"/>
                <a:gd name="connsiteX33" fmla="*/ 334550 w 482808"/>
                <a:gd name="connsiteY33" fmla="*/ 282756 h 607427"/>
                <a:gd name="connsiteX34" fmla="*/ 334550 w 482808"/>
                <a:gd name="connsiteY34" fmla="*/ 311335 h 607427"/>
                <a:gd name="connsiteX35" fmla="*/ 129064 w 482808"/>
                <a:gd name="connsiteY35" fmla="*/ 311335 h 607427"/>
                <a:gd name="connsiteX36" fmla="*/ 129064 w 482808"/>
                <a:gd name="connsiteY36" fmla="*/ 235759 h 607427"/>
                <a:gd name="connsiteX37" fmla="*/ 353744 w 482808"/>
                <a:gd name="connsiteY37" fmla="*/ 235759 h 607427"/>
                <a:gd name="connsiteX38" fmla="*/ 353744 w 482808"/>
                <a:gd name="connsiteY38" fmla="*/ 264409 h 607427"/>
                <a:gd name="connsiteX39" fmla="*/ 129064 w 482808"/>
                <a:gd name="connsiteY39" fmla="*/ 264409 h 607427"/>
                <a:gd name="connsiteX40" fmla="*/ 129064 w 482808"/>
                <a:gd name="connsiteY40" fmla="*/ 188692 h 607427"/>
                <a:gd name="connsiteX41" fmla="*/ 286213 w 482808"/>
                <a:gd name="connsiteY41" fmla="*/ 188692 h 607427"/>
                <a:gd name="connsiteX42" fmla="*/ 286213 w 482808"/>
                <a:gd name="connsiteY42" fmla="*/ 217342 h 607427"/>
                <a:gd name="connsiteX43" fmla="*/ 129064 w 482808"/>
                <a:gd name="connsiteY43" fmla="*/ 217342 h 607427"/>
                <a:gd name="connsiteX44" fmla="*/ 129064 w 482808"/>
                <a:gd name="connsiteY44" fmla="*/ 141695 h 607427"/>
                <a:gd name="connsiteX45" fmla="*/ 353744 w 482808"/>
                <a:gd name="connsiteY45" fmla="*/ 141695 h 607427"/>
                <a:gd name="connsiteX46" fmla="*/ 353744 w 482808"/>
                <a:gd name="connsiteY46" fmla="*/ 170345 h 607427"/>
                <a:gd name="connsiteX47" fmla="*/ 129064 w 482808"/>
                <a:gd name="connsiteY47" fmla="*/ 170345 h 607427"/>
                <a:gd name="connsiteX48" fmla="*/ 28679 w 482808"/>
                <a:gd name="connsiteY48" fmla="*/ 76877 h 607427"/>
                <a:gd name="connsiteX49" fmla="*/ 28679 w 482808"/>
                <a:gd name="connsiteY49" fmla="*/ 578795 h 607427"/>
                <a:gd name="connsiteX50" fmla="*/ 454129 w 482808"/>
                <a:gd name="connsiteY50" fmla="*/ 578795 h 607427"/>
                <a:gd name="connsiteX51" fmla="*/ 454129 w 482808"/>
                <a:gd name="connsiteY51" fmla="*/ 125122 h 607427"/>
                <a:gd name="connsiteX52" fmla="*/ 371821 w 482808"/>
                <a:gd name="connsiteY52" fmla="*/ 125122 h 607427"/>
                <a:gd name="connsiteX53" fmla="*/ 357482 w 482808"/>
                <a:gd name="connsiteY53" fmla="*/ 110806 h 607427"/>
                <a:gd name="connsiteX54" fmla="*/ 357482 w 482808"/>
                <a:gd name="connsiteY54" fmla="*/ 76877 h 607427"/>
                <a:gd name="connsiteX55" fmla="*/ 386160 w 482808"/>
                <a:gd name="connsiteY55" fmla="*/ 48817 h 607427"/>
                <a:gd name="connsiteX56" fmla="*/ 386160 w 482808"/>
                <a:gd name="connsiteY56" fmla="*/ 96490 h 607427"/>
                <a:gd name="connsiteX57" fmla="*/ 433767 w 482808"/>
                <a:gd name="connsiteY57" fmla="*/ 96490 h 607427"/>
                <a:gd name="connsiteX58" fmla="*/ 28679 w 482808"/>
                <a:gd name="connsiteY58" fmla="*/ 28632 h 607427"/>
                <a:gd name="connsiteX59" fmla="*/ 28679 w 482808"/>
                <a:gd name="connsiteY59" fmla="*/ 48245 h 607427"/>
                <a:gd name="connsiteX60" fmla="*/ 357482 w 482808"/>
                <a:gd name="connsiteY60" fmla="*/ 48245 h 607427"/>
                <a:gd name="connsiteX61" fmla="*/ 357482 w 482808"/>
                <a:gd name="connsiteY61" fmla="*/ 28632 h 607427"/>
                <a:gd name="connsiteX62" fmla="*/ 14339 w 482808"/>
                <a:gd name="connsiteY62" fmla="*/ 0 h 607427"/>
                <a:gd name="connsiteX63" fmla="*/ 371821 w 482808"/>
                <a:gd name="connsiteY63" fmla="*/ 0 h 607427"/>
                <a:gd name="connsiteX64" fmla="*/ 382002 w 482808"/>
                <a:gd name="connsiteY64" fmla="*/ 4152 h 607427"/>
                <a:gd name="connsiteX65" fmla="*/ 478506 w 482808"/>
                <a:gd name="connsiteY65" fmla="*/ 100641 h 607427"/>
                <a:gd name="connsiteX66" fmla="*/ 482808 w 482808"/>
                <a:gd name="connsiteY66" fmla="*/ 110806 h 607427"/>
                <a:gd name="connsiteX67" fmla="*/ 482808 w 482808"/>
                <a:gd name="connsiteY67" fmla="*/ 593111 h 607427"/>
                <a:gd name="connsiteX68" fmla="*/ 468469 w 482808"/>
                <a:gd name="connsiteY68" fmla="*/ 607427 h 607427"/>
                <a:gd name="connsiteX69" fmla="*/ 14339 w 482808"/>
                <a:gd name="connsiteY69" fmla="*/ 607427 h 607427"/>
                <a:gd name="connsiteX70" fmla="*/ 0 w 482808"/>
                <a:gd name="connsiteY70" fmla="*/ 593111 h 607427"/>
                <a:gd name="connsiteX71" fmla="*/ 0 w 482808"/>
                <a:gd name="connsiteY71" fmla="*/ 14316 h 607427"/>
                <a:gd name="connsiteX72" fmla="*/ 14339 w 482808"/>
                <a:gd name="connsiteY72" fmla="*/ 0 h 607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482808" h="607427">
                  <a:moveTo>
                    <a:pt x="289671" y="445479"/>
                  </a:moveTo>
                  <a:lnTo>
                    <a:pt x="359107" y="445479"/>
                  </a:lnTo>
                  <a:lnTo>
                    <a:pt x="359107" y="465674"/>
                  </a:lnTo>
                  <a:lnTo>
                    <a:pt x="336870" y="465674"/>
                  </a:lnTo>
                  <a:lnTo>
                    <a:pt x="336870" y="537143"/>
                  </a:lnTo>
                  <a:lnTo>
                    <a:pt x="312051" y="537143"/>
                  </a:lnTo>
                  <a:lnTo>
                    <a:pt x="312051" y="465674"/>
                  </a:lnTo>
                  <a:lnTo>
                    <a:pt x="289671" y="465674"/>
                  </a:lnTo>
                  <a:close/>
                  <a:moveTo>
                    <a:pt x="195635" y="445479"/>
                  </a:moveTo>
                  <a:lnTo>
                    <a:pt x="223010" y="445479"/>
                  </a:lnTo>
                  <a:lnTo>
                    <a:pt x="239635" y="473838"/>
                  </a:lnTo>
                  <a:lnTo>
                    <a:pt x="255544" y="445479"/>
                  </a:lnTo>
                  <a:lnTo>
                    <a:pt x="283778" y="445479"/>
                  </a:lnTo>
                  <a:lnTo>
                    <a:pt x="254827" y="492170"/>
                  </a:lnTo>
                  <a:lnTo>
                    <a:pt x="286071" y="537143"/>
                  </a:lnTo>
                  <a:lnTo>
                    <a:pt x="257407" y="537143"/>
                  </a:lnTo>
                  <a:lnTo>
                    <a:pt x="239492" y="508498"/>
                  </a:lnTo>
                  <a:lnTo>
                    <a:pt x="221863" y="537143"/>
                  </a:lnTo>
                  <a:lnTo>
                    <a:pt x="193772" y="537143"/>
                  </a:lnTo>
                  <a:lnTo>
                    <a:pt x="224156" y="490165"/>
                  </a:lnTo>
                  <a:close/>
                  <a:moveTo>
                    <a:pt x="120737" y="445479"/>
                  </a:moveTo>
                  <a:lnTo>
                    <a:pt x="190314" y="445479"/>
                  </a:lnTo>
                  <a:lnTo>
                    <a:pt x="190314" y="465674"/>
                  </a:lnTo>
                  <a:lnTo>
                    <a:pt x="167935" y="465674"/>
                  </a:lnTo>
                  <a:lnTo>
                    <a:pt x="167935" y="537143"/>
                  </a:lnTo>
                  <a:lnTo>
                    <a:pt x="143116" y="537143"/>
                  </a:lnTo>
                  <a:lnTo>
                    <a:pt x="143116" y="465674"/>
                  </a:lnTo>
                  <a:lnTo>
                    <a:pt x="120737" y="465674"/>
                  </a:lnTo>
                  <a:close/>
                  <a:moveTo>
                    <a:pt x="129064" y="329823"/>
                  </a:moveTo>
                  <a:lnTo>
                    <a:pt x="223692" y="329823"/>
                  </a:lnTo>
                  <a:lnTo>
                    <a:pt x="223692" y="358473"/>
                  </a:lnTo>
                  <a:lnTo>
                    <a:pt x="129064" y="358473"/>
                  </a:lnTo>
                  <a:close/>
                  <a:moveTo>
                    <a:pt x="129064" y="282756"/>
                  </a:moveTo>
                  <a:lnTo>
                    <a:pt x="334550" y="282756"/>
                  </a:lnTo>
                  <a:lnTo>
                    <a:pt x="334550" y="311335"/>
                  </a:lnTo>
                  <a:lnTo>
                    <a:pt x="129064" y="311335"/>
                  </a:lnTo>
                  <a:close/>
                  <a:moveTo>
                    <a:pt x="129064" y="235759"/>
                  </a:moveTo>
                  <a:lnTo>
                    <a:pt x="353744" y="235759"/>
                  </a:lnTo>
                  <a:lnTo>
                    <a:pt x="353744" y="264409"/>
                  </a:lnTo>
                  <a:lnTo>
                    <a:pt x="129064" y="264409"/>
                  </a:lnTo>
                  <a:close/>
                  <a:moveTo>
                    <a:pt x="129064" y="188692"/>
                  </a:moveTo>
                  <a:lnTo>
                    <a:pt x="286213" y="188692"/>
                  </a:lnTo>
                  <a:lnTo>
                    <a:pt x="286213" y="217342"/>
                  </a:lnTo>
                  <a:lnTo>
                    <a:pt x="129064" y="217342"/>
                  </a:lnTo>
                  <a:close/>
                  <a:moveTo>
                    <a:pt x="129064" y="141695"/>
                  </a:moveTo>
                  <a:lnTo>
                    <a:pt x="353744" y="141695"/>
                  </a:lnTo>
                  <a:lnTo>
                    <a:pt x="353744" y="170345"/>
                  </a:lnTo>
                  <a:lnTo>
                    <a:pt x="129064" y="170345"/>
                  </a:lnTo>
                  <a:close/>
                  <a:moveTo>
                    <a:pt x="28679" y="76877"/>
                  </a:moveTo>
                  <a:lnTo>
                    <a:pt x="28679" y="578795"/>
                  </a:lnTo>
                  <a:lnTo>
                    <a:pt x="454129" y="578795"/>
                  </a:lnTo>
                  <a:lnTo>
                    <a:pt x="454129" y="125122"/>
                  </a:lnTo>
                  <a:lnTo>
                    <a:pt x="371821" y="125122"/>
                  </a:lnTo>
                  <a:cubicBezTo>
                    <a:pt x="363934" y="125122"/>
                    <a:pt x="357482" y="118679"/>
                    <a:pt x="357482" y="110806"/>
                  </a:cubicBezTo>
                  <a:lnTo>
                    <a:pt x="357482" y="76877"/>
                  </a:lnTo>
                  <a:close/>
                  <a:moveTo>
                    <a:pt x="386160" y="48817"/>
                  </a:moveTo>
                  <a:lnTo>
                    <a:pt x="386160" y="96490"/>
                  </a:lnTo>
                  <a:lnTo>
                    <a:pt x="433767" y="96490"/>
                  </a:lnTo>
                  <a:close/>
                  <a:moveTo>
                    <a:pt x="28679" y="28632"/>
                  </a:moveTo>
                  <a:lnTo>
                    <a:pt x="28679" y="48245"/>
                  </a:lnTo>
                  <a:lnTo>
                    <a:pt x="357482" y="48245"/>
                  </a:lnTo>
                  <a:lnTo>
                    <a:pt x="357482" y="28632"/>
                  </a:lnTo>
                  <a:close/>
                  <a:moveTo>
                    <a:pt x="14339" y="0"/>
                  </a:moveTo>
                  <a:lnTo>
                    <a:pt x="371821" y="0"/>
                  </a:lnTo>
                  <a:cubicBezTo>
                    <a:pt x="375549" y="0"/>
                    <a:pt x="379278" y="1575"/>
                    <a:pt x="382002" y="4152"/>
                  </a:cubicBezTo>
                  <a:lnTo>
                    <a:pt x="478506" y="100641"/>
                  </a:lnTo>
                  <a:cubicBezTo>
                    <a:pt x="481231" y="103361"/>
                    <a:pt x="482808" y="106940"/>
                    <a:pt x="482808" y="110806"/>
                  </a:cubicBezTo>
                  <a:lnTo>
                    <a:pt x="482808" y="593111"/>
                  </a:lnTo>
                  <a:cubicBezTo>
                    <a:pt x="482808" y="600985"/>
                    <a:pt x="476355" y="607427"/>
                    <a:pt x="468469" y="607427"/>
                  </a:cubicBezTo>
                  <a:lnTo>
                    <a:pt x="14339" y="607427"/>
                  </a:lnTo>
                  <a:cubicBezTo>
                    <a:pt x="6453" y="607427"/>
                    <a:pt x="0" y="600985"/>
                    <a:pt x="0" y="593111"/>
                  </a:cubicBezTo>
                  <a:lnTo>
                    <a:pt x="0" y="14316"/>
                  </a:lnTo>
                  <a:cubicBezTo>
                    <a:pt x="0" y="6442"/>
                    <a:pt x="6453" y="0"/>
                    <a:pt x="1433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82" name="组合 81">
            <a:extLst>
              <a:ext uri="{FF2B5EF4-FFF2-40B4-BE49-F238E27FC236}">
                <a16:creationId xmlns:a16="http://schemas.microsoft.com/office/drawing/2014/main" id="{38F7A3E3-8B5A-4463-88B4-DA8F673400FF}"/>
              </a:ext>
            </a:extLst>
          </p:cNvPr>
          <p:cNvGrpSpPr/>
          <p:nvPr/>
        </p:nvGrpSpPr>
        <p:grpSpPr>
          <a:xfrm>
            <a:off x="-3514842" y="3183546"/>
            <a:ext cx="2028825" cy="897308"/>
            <a:chOff x="1112462" y="1546057"/>
            <a:chExt cx="2028825" cy="897308"/>
          </a:xfrm>
        </p:grpSpPr>
        <p:grpSp>
          <p:nvGrpSpPr>
            <p:cNvPr id="83" name="组合 82">
              <a:extLst>
                <a:ext uri="{FF2B5EF4-FFF2-40B4-BE49-F238E27FC236}">
                  <a16:creationId xmlns:a16="http://schemas.microsoft.com/office/drawing/2014/main" id="{B42FF903-4132-4567-9909-66DCA972B961}"/>
                </a:ext>
              </a:extLst>
            </p:cNvPr>
            <p:cNvGrpSpPr/>
            <p:nvPr/>
          </p:nvGrpSpPr>
          <p:grpSpPr>
            <a:xfrm>
              <a:off x="1112462" y="1546057"/>
              <a:ext cx="2028825" cy="897308"/>
              <a:chOff x="1206466" y="2225304"/>
              <a:chExt cx="2028825" cy="897308"/>
            </a:xfrm>
          </p:grpSpPr>
          <p:sp>
            <p:nvSpPr>
              <p:cNvPr id="85" name="矩形: 圆角 84">
                <a:extLst>
                  <a:ext uri="{FF2B5EF4-FFF2-40B4-BE49-F238E27FC236}">
                    <a16:creationId xmlns:a16="http://schemas.microsoft.com/office/drawing/2014/main" id="{1DC9C445-B0F3-4C60-8DDD-95E1C68825E6}"/>
                  </a:ext>
                </a:extLst>
              </p:cNvPr>
              <p:cNvSpPr/>
              <p:nvPr/>
            </p:nvSpPr>
            <p:spPr>
              <a:xfrm>
                <a:off x="1206466" y="2225304"/>
                <a:ext cx="2028825" cy="897308"/>
              </a:xfrm>
              <a:prstGeom prst="round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86" name="文本框 85">
                <a:extLst>
                  <a:ext uri="{FF2B5EF4-FFF2-40B4-BE49-F238E27FC236}">
                    <a16:creationId xmlns:a16="http://schemas.microsoft.com/office/drawing/2014/main" id="{45315878-9C42-46F2-BAD1-D52DB8060ABF}"/>
                  </a:ext>
                </a:extLst>
              </p:cNvPr>
              <p:cNvSpPr txBox="1"/>
              <p:nvPr/>
            </p:nvSpPr>
            <p:spPr>
              <a:xfrm>
                <a:off x="1989160" y="2468928"/>
                <a:ext cx="1225521" cy="3693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2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en-US" altLang="zh-CN" dirty="0">
                    <a:solidFill>
                      <a:schemeClr val="accent1"/>
                    </a:solidFill>
                  </a:rPr>
                  <a:t>2.txt</a:t>
                </a:r>
                <a:endParaRPr lang="zh-CN" altLang="en-US" dirty="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84" name="txt_180898">
              <a:extLst>
                <a:ext uri="{FF2B5EF4-FFF2-40B4-BE49-F238E27FC236}">
                  <a16:creationId xmlns:a16="http://schemas.microsoft.com/office/drawing/2014/main" id="{53B0A8E9-ADEA-4F79-97DD-0E69F101262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389945" y="1689869"/>
              <a:ext cx="484602" cy="609685"/>
            </a:xfrm>
            <a:custGeom>
              <a:avLst/>
              <a:gdLst>
                <a:gd name="connsiteX0" fmla="*/ 289671 w 482808"/>
                <a:gd name="connsiteY0" fmla="*/ 445479 h 607427"/>
                <a:gd name="connsiteX1" fmla="*/ 359107 w 482808"/>
                <a:gd name="connsiteY1" fmla="*/ 445479 h 607427"/>
                <a:gd name="connsiteX2" fmla="*/ 359107 w 482808"/>
                <a:gd name="connsiteY2" fmla="*/ 465674 h 607427"/>
                <a:gd name="connsiteX3" fmla="*/ 336870 w 482808"/>
                <a:gd name="connsiteY3" fmla="*/ 465674 h 607427"/>
                <a:gd name="connsiteX4" fmla="*/ 336870 w 482808"/>
                <a:gd name="connsiteY4" fmla="*/ 537143 h 607427"/>
                <a:gd name="connsiteX5" fmla="*/ 312051 w 482808"/>
                <a:gd name="connsiteY5" fmla="*/ 537143 h 607427"/>
                <a:gd name="connsiteX6" fmla="*/ 312051 w 482808"/>
                <a:gd name="connsiteY6" fmla="*/ 465674 h 607427"/>
                <a:gd name="connsiteX7" fmla="*/ 289671 w 482808"/>
                <a:gd name="connsiteY7" fmla="*/ 465674 h 607427"/>
                <a:gd name="connsiteX8" fmla="*/ 195635 w 482808"/>
                <a:gd name="connsiteY8" fmla="*/ 445479 h 607427"/>
                <a:gd name="connsiteX9" fmla="*/ 223010 w 482808"/>
                <a:gd name="connsiteY9" fmla="*/ 445479 h 607427"/>
                <a:gd name="connsiteX10" fmla="*/ 239635 w 482808"/>
                <a:gd name="connsiteY10" fmla="*/ 473838 h 607427"/>
                <a:gd name="connsiteX11" fmla="*/ 255544 w 482808"/>
                <a:gd name="connsiteY11" fmla="*/ 445479 h 607427"/>
                <a:gd name="connsiteX12" fmla="*/ 283778 w 482808"/>
                <a:gd name="connsiteY12" fmla="*/ 445479 h 607427"/>
                <a:gd name="connsiteX13" fmla="*/ 254827 w 482808"/>
                <a:gd name="connsiteY13" fmla="*/ 492170 h 607427"/>
                <a:gd name="connsiteX14" fmla="*/ 286071 w 482808"/>
                <a:gd name="connsiteY14" fmla="*/ 537143 h 607427"/>
                <a:gd name="connsiteX15" fmla="*/ 257407 w 482808"/>
                <a:gd name="connsiteY15" fmla="*/ 537143 h 607427"/>
                <a:gd name="connsiteX16" fmla="*/ 239492 w 482808"/>
                <a:gd name="connsiteY16" fmla="*/ 508498 h 607427"/>
                <a:gd name="connsiteX17" fmla="*/ 221863 w 482808"/>
                <a:gd name="connsiteY17" fmla="*/ 537143 h 607427"/>
                <a:gd name="connsiteX18" fmla="*/ 193772 w 482808"/>
                <a:gd name="connsiteY18" fmla="*/ 537143 h 607427"/>
                <a:gd name="connsiteX19" fmla="*/ 224156 w 482808"/>
                <a:gd name="connsiteY19" fmla="*/ 490165 h 607427"/>
                <a:gd name="connsiteX20" fmla="*/ 120737 w 482808"/>
                <a:gd name="connsiteY20" fmla="*/ 445479 h 607427"/>
                <a:gd name="connsiteX21" fmla="*/ 190314 w 482808"/>
                <a:gd name="connsiteY21" fmla="*/ 445479 h 607427"/>
                <a:gd name="connsiteX22" fmla="*/ 190314 w 482808"/>
                <a:gd name="connsiteY22" fmla="*/ 465674 h 607427"/>
                <a:gd name="connsiteX23" fmla="*/ 167935 w 482808"/>
                <a:gd name="connsiteY23" fmla="*/ 465674 h 607427"/>
                <a:gd name="connsiteX24" fmla="*/ 167935 w 482808"/>
                <a:gd name="connsiteY24" fmla="*/ 537143 h 607427"/>
                <a:gd name="connsiteX25" fmla="*/ 143116 w 482808"/>
                <a:gd name="connsiteY25" fmla="*/ 537143 h 607427"/>
                <a:gd name="connsiteX26" fmla="*/ 143116 w 482808"/>
                <a:gd name="connsiteY26" fmla="*/ 465674 h 607427"/>
                <a:gd name="connsiteX27" fmla="*/ 120737 w 482808"/>
                <a:gd name="connsiteY27" fmla="*/ 465674 h 607427"/>
                <a:gd name="connsiteX28" fmla="*/ 129064 w 482808"/>
                <a:gd name="connsiteY28" fmla="*/ 329823 h 607427"/>
                <a:gd name="connsiteX29" fmla="*/ 223692 w 482808"/>
                <a:gd name="connsiteY29" fmla="*/ 329823 h 607427"/>
                <a:gd name="connsiteX30" fmla="*/ 223692 w 482808"/>
                <a:gd name="connsiteY30" fmla="*/ 358473 h 607427"/>
                <a:gd name="connsiteX31" fmla="*/ 129064 w 482808"/>
                <a:gd name="connsiteY31" fmla="*/ 358473 h 607427"/>
                <a:gd name="connsiteX32" fmla="*/ 129064 w 482808"/>
                <a:gd name="connsiteY32" fmla="*/ 282756 h 607427"/>
                <a:gd name="connsiteX33" fmla="*/ 334550 w 482808"/>
                <a:gd name="connsiteY33" fmla="*/ 282756 h 607427"/>
                <a:gd name="connsiteX34" fmla="*/ 334550 w 482808"/>
                <a:gd name="connsiteY34" fmla="*/ 311335 h 607427"/>
                <a:gd name="connsiteX35" fmla="*/ 129064 w 482808"/>
                <a:gd name="connsiteY35" fmla="*/ 311335 h 607427"/>
                <a:gd name="connsiteX36" fmla="*/ 129064 w 482808"/>
                <a:gd name="connsiteY36" fmla="*/ 235759 h 607427"/>
                <a:gd name="connsiteX37" fmla="*/ 353744 w 482808"/>
                <a:gd name="connsiteY37" fmla="*/ 235759 h 607427"/>
                <a:gd name="connsiteX38" fmla="*/ 353744 w 482808"/>
                <a:gd name="connsiteY38" fmla="*/ 264409 h 607427"/>
                <a:gd name="connsiteX39" fmla="*/ 129064 w 482808"/>
                <a:gd name="connsiteY39" fmla="*/ 264409 h 607427"/>
                <a:gd name="connsiteX40" fmla="*/ 129064 w 482808"/>
                <a:gd name="connsiteY40" fmla="*/ 188692 h 607427"/>
                <a:gd name="connsiteX41" fmla="*/ 286213 w 482808"/>
                <a:gd name="connsiteY41" fmla="*/ 188692 h 607427"/>
                <a:gd name="connsiteX42" fmla="*/ 286213 w 482808"/>
                <a:gd name="connsiteY42" fmla="*/ 217342 h 607427"/>
                <a:gd name="connsiteX43" fmla="*/ 129064 w 482808"/>
                <a:gd name="connsiteY43" fmla="*/ 217342 h 607427"/>
                <a:gd name="connsiteX44" fmla="*/ 129064 w 482808"/>
                <a:gd name="connsiteY44" fmla="*/ 141695 h 607427"/>
                <a:gd name="connsiteX45" fmla="*/ 353744 w 482808"/>
                <a:gd name="connsiteY45" fmla="*/ 141695 h 607427"/>
                <a:gd name="connsiteX46" fmla="*/ 353744 w 482808"/>
                <a:gd name="connsiteY46" fmla="*/ 170345 h 607427"/>
                <a:gd name="connsiteX47" fmla="*/ 129064 w 482808"/>
                <a:gd name="connsiteY47" fmla="*/ 170345 h 607427"/>
                <a:gd name="connsiteX48" fmla="*/ 28679 w 482808"/>
                <a:gd name="connsiteY48" fmla="*/ 76877 h 607427"/>
                <a:gd name="connsiteX49" fmla="*/ 28679 w 482808"/>
                <a:gd name="connsiteY49" fmla="*/ 578795 h 607427"/>
                <a:gd name="connsiteX50" fmla="*/ 454129 w 482808"/>
                <a:gd name="connsiteY50" fmla="*/ 578795 h 607427"/>
                <a:gd name="connsiteX51" fmla="*/ 454129 w 482808"/>
                <a:gd name="connsiteY51" fmla="*/ 125122 h 607427"/>
                <a:gd name="connsiteX52" fmla="*/ 371821 w 482808"/>
                <a:gd name="connsiteY52" fmla="*/ 125122 h 607427"/>
                <a:gd name="connsiteX53" fmla="*/ 357482 w 482808"/>
                <a:gd name="connsiteY53" fmla="*/ 110806 h 607427"/>
                <a:gd name="connsiteX54" fmla="*/ 357482 w 482808"/>
                <a:gd name="connsiteY54" fmla="*/ 76877 h 607427"/>
                <a:gd name="connsiteX55" fmla="*/ 386160 w 482808"/>
                <a:gd name="connsiteY55" fmla="*/ 48817 h 607427"/>
                <a:gd name="connsiteX56" fmla="*/ 386160 w 482808"/>
                <a:gd name="connsiteY56" fmla="*/ 96490 h 607427"/>
                <a:gd name="connsiteX57" fmla="*/ 433767 w 482808"/>
                <a:gd name="connsiteY57" fmla="*/ 96490 h 607427"/>
                <a:gd name="connsiteX58" fmla="*/ 28679 w 482808"/>
                <a:gd name="connsiteY58" fmla="*/ 28632 h 607427"/>
                <a:gd name="connsiteX59" fmla="*/ 28679 w 482808"/>
                <a:gd name="connsiteY59" fmla="*/ 48245 h 607427"/>
                <a:gd name="connsiteX60" fmla="*/ 357482 w 482808"/>
                <a:gd name="connsiteY60" fmla="*/ 48245 h 607427"/>
                <a:gd name="connsiteX61" fmla="*/ 357482 w 482808"/>
                <a:gd name="connsiteY61" fmla="*/ 28632 h 607427"/>
                <a:gd name="connsiteX62" fmla="*/ 14339 w 482808"/>
                <a:gd name="connsiteY62" fmla="*/ 0 h 607427"/>
                <a:gd name="connsiteX63" fmla="*/ 371821 w 482808"/>
                <a:gd name="connsiteY63" fmla="*/ 0 h 607427"/>
                <a:gd name="connsiteX64" fmla="*/ 382002 w 482808"/>
                <a:gd name="connsiteY64" fmla="*/ 4152 h 607427"/>
                <a:gd name="connsiteX65" fmla="*/ 478506 w 482808"/>
                <a:gd name="connsiteY65" fmla="*/ 100641 h 607427"/>
                <a:gd name="connsiteX66" fmla="*/ 482808 w 482808"/>
                <a:gd name="connsiteY66" fmla="*/ 110806 h 607427"/>
                <a:gd name="connsiteX67" fmla="*/ 482808 w 482808"/>
                <a:gd name="connsiteY67" fmla="*/ 593111 h 607427"/>
                <a:gd name="connsiteX68" fmla="*/ 468469 w 482808"/>
                <a:gd name="connsiteY68" fmla="*/ 607427 h 607427"/>
                <a:gd name="connsiteX69" fmla="*/ 14339 w 482808"/>
                <a:gd name="connsiteY69" fmla="*/ 607427 h 607427"/>
                <a:gd name="connsiteX70" fmla="*/ 0 w 482808"/>
                <a:gd name="connsiteY70" fmla="*/ 593111 h 607427"/>
                <a:gd name="connsiteX71" fmla="*/ 0 w 482808"/>
                <a:gd name="connsiteY71" fmla="*/ 14316 h 607427"/>
                <a:gd name="connsiteX72" fmla="*/ 14339 w 482808"/>
                <a:gd name="connsiteY72" fmla="*/ 0 h 607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482808" h="607427">
                  <a:moveTo>
                    <a:pt x="289671" y="445479"/>
                  </a:moveTo>
                  <a:lnTo>
                    <a:pt x="359107" y="445479"/>
                  </a:lnTo>
                  <a:lnTo>
                    <a:pt x="359107" y="465674"/>
                  </a:lnTo>
                  <a:lnTo>
                    <a:pt x="336870" y="465674"/>
                  </a:lnTo>
                  <a:lnTo>
                    <a:pt x="336870" y="537143"/>
                  </a:lnTo>
                  <a:lnTo>
                    <a:pt x="312051" y="537143"/>
                  </a:lnTo>
                  <a:lnTo>
                    <a:pt x="312051" y="465674"/>
                  </a:lnTo>
                  <a:lnTo>
                    <a:pt x="289671" y="465674"/>
                  </a:lnTo>
                  <a:close/>
                  <a:moveTo>
                    <a:pt x="195635" y="445479"/>
                  </a:moveTo>
                  <a:lnTo>
                    <a:pt x="223010" y="445479"/>
                  </a:lnTo>
                  <a:lnTo>
                    <a:pt x="239635" y="473838"/>
                  </a:lnTo>
                  <a:lnTo>
                    <a:pt x="255544" y="445479"/>
                  </a:lnTo>
                  <a:lnTo>
                    <a:pt x="283778" y="445479"/>
                  </a:lnTo>
                  <a:lnTo>
                    <a:pt x="254827" y="492170"/>
                  </a:lnTo>
                  <a:lnTo>
                    <a:pt x="286071" y="537143"/>
                  </a:lnTo>
                  <a:lnTo>
                    <a:pt x="257407" y="537143"/>
                  </a:lnTo>
                  <a:lnTo>
                    <a:pt x="239492" y="508498"/>
                  </a:lnTo>
                  <a:lnTo>
                    <a:pt x="221863" y="537143"/>
                  </a:lnTo>
                  <a:lnTo>
                    <a:pt x="193772" y="537143"/>
                  </a:lnTo>
                  <a:lnTo>
                    <a:pt x="224156" y="490165"/>
                  </a:lnTo>
                  <a:close/>
                  <a:moveTo>
                    <a:pt x="120737" y="445479"/>
                  </a:moveTo>
                  <a:lnTo>
                    <a:pt x="190314" y="445479"/>
                  </a:lnTo>
                  <a:lnTo>
                    <a:pt x="190314" y="465674"/>
                  </a:lnTo>
                  <a:lnTo>
                    <a:pt x="167935" y="465674"/>
                  </a:lnTo>
                  <a:lnTo>
                    <a:pt x="167935" y="537143"/>
                  </a:lnTo>
                  <a:lnTo>
                    <a:pt x="143116" y="537143"/>
                  </a:lnTo>
                  <a:lnTo>
                    <a:pt x="143116" y="465674"/>
                  </a:lnTo>
                  <a:lnTo>
                    <a:pt x="120737" y="465674"/>
                  </a:lnTo>
                  <a:close/>
                  <a:moveTo>
                    <a:pt x="129064" y="329823"/>
                  </a:moveTo>
                  <a:lnTo>
                    <a:pt x="223692" y="329823"/>
                  </a:lnTo>
                  <a:lnTo>
                    <a:pt x="223692" y="358473"/>
                  </a:lnTo>
                  <a:lnTo>
                    <a:pt x="129064" y="358473"/>
                  </a:lnTo>
                  <a:close/>
                  <a:moveTo>
                    <a:pt x="129064" y="282756"/>
                  </a:moveTo>
                  <a:lnTo>
                    <a:pt x="334550" y="282756"/>
                  </a:lnTo>
                  <a:lnTo>
                    <a:pt x="334550" y="311335"/>
                  </a:lnTo>
                  <a:lnTo>
                    <a:pt x="129064" y="311335"/>
                  </a:lnTo>
                  <a:close/>
                  <a:moveTo>
                    <a:pt x="129064" y="235759"/>
                  </a:moveTo>
                  <a:lnTo>
                    <a:pt x="353744" y="235759"/>
                  </a:lnTo>
                  <a:lnTo>
                    <a:pt x="353744" y="264409"/>
                  </a:lnTo>
                  <a:lnTo>
                    <a:pt x="129064" y="264409"/>
                  </a:lnTo>
                  <a:close/>
                  <a:moveTo>
                    <a:pt x="129064" y="188692"/>
                  </a:moveTo>
                  <a:lnTo>
                    <a:pt x="286213" y="188692"/>
                  </a:lnTo>
                  <a:lnTo>
                    <a:pt x="286213" y="217342"/>
                  </a:lnTo>
                  <a:lnTo>
                    <a:pt x="129064" y="217342"/>
                  </a:lnTo>
                  <a:close/>
                  <a:moveTo>
                    <a:pt x="129064" y="141695"/>
                  </a:moveTo>
                  <a:lnTo>
                    <a:pt x="353744" y="141695"/>
                  </a:lnTo>
                  <a:lnTo>
                    <a:pt x="353744" y="170345"/>
                  </a:lnTo>
                  <a:lnTo>
                    <a:pt x="129064" y="170345"/>
                  </a:lnTo>
                  <a:close/>
                  <a:moveTo>
                    <a:pt x="28679" y="76877"/>
                  </a:moveTo>
                  <a:lnTo>
                    <a:pt x="28679" y="578795"/>
                  </a:lnTo>
                  <a:lnTo>
                    <a:pt x="454129" y="578795"/>
                  </a:lnTo>
                  <a:lnTo>
                    <a:pt x="454129" y="125122"/>
                  </a:lnTo>
                  <a:lnTo>
                    <a:pt x="371821" y="125122"/>
                  </a:lnTo>
                  <a:cubicBezTo>
                    <a:pt x="363934" y="125122"/>
                    <a:pt x="357482" y="118679"/>
                    <a:pt x="357482" y="110806"/>
                  </a:cubicBezTo>
                  <a:lnTo>
                    <a:pt x="357482" y="76877"/>
                  </a:lnTo>
                  <a:close/>
                  <a:moveTo>
                    <a:pt x="386160" y="48817"/>
                  </a:moveTo>
                  <a:lnTo>
                    <a:pt x="386160" y="96490"/>
                  </a:lnTo>
                  <a:lnTo>
                    <a:pt x="433767" y="96490"/>
                  </a:lnTo>
                  <a:close/>
                  <a:moveTo>
                    <a:pt x="28679" y="28632"/>
                  </a:moveTo>
                  <a:lnTo>
                    <a:pt x="28679" y="48245"/>
                  </a:lnTo>
                  <a:lnTo>
                    <a:pt x="357482" y="48245"/>
                  </a:lnTo>
                  <a:lnTo>
                    <a:pt x="357482" y="28632"/>
                  </a:lnTo>
                  <a:close/>
                  <a:moveTo>
                    <a:pt x="14339" y="0"/>
                  </a:moveTo>
                  <a:lnTo>
                    <a:pt x="371821" y="0"/>
                  </a:lnTo>
                  <a:cubicBezTo>
                    <a:pt x="375549" y="0"/>
                    <a:pt x="379278" y="1575"/>
                    <a:pt x="382002" y="4152"/>
                  </a:cubicBezTo>
                  <a:lnTo>
                    <a:pt x="478506" y="100641"/>
                  </a:lnTo>
                  <a:cubicBezTo>
                    <a:pt x="481231" y="103361"/>
                    <a:pt x="482808" y="106940"/>
                    <a:pt x="482808" y="110806"/>
                  </a:cubicBezTo>
                  <a:lnTo>
                    <a:pt x="482808" y="593111"/>
                  </a:lnTo>
                  <a:cubicBezTo>
                    <a:pt x="482808" y="600985"/>
                    <a:pt x="476355" y="607427"/>
                    <a:pt x="468469" y="607427"/>
                  </a:cubicBezTo>
                  <a:lnTo>
                    <a:pt x="14339" y="607427"/>
                  </a:lnTo>
                  <a:cubicBezTo>
                    <a:pt x="6453" y="607427"/>
                    <a:pt x="0" y="600985"/>
                    <a:pt x="0" y="593111"/>
                  </a:cubicBezTo>
                  <a:lnTo>
                    <a:pt x="0" y="14316"/>
                  </a:lnTo>
                  <a:cubicBezTo>
                    <a:pt x="0" y="6442"/>
                    <a:pt x="6453" y="0"/>
                    <a:pt x="1433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87" name="组合 86">
            <a:extLst>
              <a:ext uri="{FF2B5EF4-FFF2-40B4-BE49-F238E27FC236}">
                <a16:creationId xmlns:a16="http://schemas.microsoft.com/office/drawing/2014/main" id="{ACA2236D-CB56-4E33-90FD-EE1DF1FA8F31}"/>
              </a:ext>
            </a:extLst>
          </p:cNvPr>
          <p:cNvGrpSpPr/>
          <p:nvPr/>
        </p:nvGrpSpPr>
        <p:grpSpPr>
          <a:xfrm>
            <a:off x="-3514842" y="4913617"/>
            <a:ext cx="2028825" cy="897308"/>
            <a:chOff x="1112462" y="1546057"/>
            <a:chExt cx="2028825" cy="897308"/>
          </a:xfrm>
        </p:grpSpPr>
        <p:grpSp>
          <p:nvGrpSpPr>
            <p:cNvPr id="88" name="组合 87">
              <a:extLst>
                <a:ext uri="{FF2B5EF4-FFF2-40B4-BE49-F238E27FC236}">
                  <a16:creationId xmlns:a16="http://schemas.microsoft.com/office/drawing/2014/main" id="{1124658B-66D9-45A9-BA87-4DD4B11EA725}"/>
                </a:ext>
              </a:extLst>
            </p:cNvPr>
            <p:cNvGrpSpPr/>
            <p:nvPr/>
          </p:nvGrpSpPr>
          <p:grpSpPr>
            <a:xfrm>
              <a:off x="1112462" y="1546057"/>
              <a:ext cx="2028825" cy="897308"/>
              <a:chOff x="1206466" y="2225304"/>
              <a:chExt cx="2028825" cy="897308"/>
            </a:xfrm>
          </p:grpSpPr>
          <p:sp>
            <p:nvSpPr>
              <p:cNvPr id="90" name="矩形: 圆角 89">
                <a:extLst>
                  <a:ext uri="{FF2B5EF4-FFF2-40B4-BE49-F238E27FC236}">
                    <a16:creationId xmlns:a16="http://schemas.microsoft.com/office/drawing/2014/main" id="{2E08781C-7E35-41CD-8DD0-917F74EBFE67}"/>
                  </a:ext>
                </a:extLst>
              </p:cNvPr>
              <p:cNvSpPr/>
              <p:nvPr/>
            </p:nvSpPr>
            <p:spPr>
              <a:xfrm>
                <a:off x="1206466" y="2225304"/>
                <a:ext cx="2028825" cy="897308"/>
              </a:xfrm>
              <a:prstGeom prst="round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91" name="文本框 90">
                <a:extLst>
                  <a:ext uri="{FF2B5EF4-FFF2-40B4-BE49-F238E27FC236}">
                    <a16:creationId xmlns:a16="http://schemas.microsoft.com/office/drawing/2014/main" id="{BCB458B6-6A55-46AE-95EB-CE542B9E1EB9}"/>
                  </a:ext>
                </a:extLst>
              </p:cNvPr>
              <p:cNvSpPr txBox="1"/>
              <p:nvPr/>
            </p:nvSpPr>
            <p:spPr>
              <a:xfrm>
                <a:off x="1989160" y="2468928"/>
                <a:ext cx="1225521" cy="3693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2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en-US" altLang="zh-CN" dirty="0">
                    <a:solidFill>
                      <a:schemeClr val="accent1"/>
                    </a:solidFill>
                  </a:rPr>
                  <a:t>3.txt</a:t>
                </a:r>
                <a:endParaRPr lang="zh-CN" altLang="en-US" dirty="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89" name="txt_180898">
              <a:extLst>
                <a:ext uri="{FF2B5EF4-FFF2-40B4-BE49-F238E27FC236}">
                  <a16:creationId xmlns:a16="http://schemas.microsoft.com/office/drawing/2014/main" id="{1E12304B-7C8A-4CD8-9932-1435124075A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389945" y="1689869"/>
              <a:ext cx="484602" cy="609685"/>
            </a:xfrm>
            <a:custGeom>
              <a:avLst/>
              <a:gdLst>
                <a:gd name="connsiteX0" fmla="*/ 289671 w 482808"/>
                <a:gd name="connsiteY0" fmla="*/ 445479 h 607427"/>
                <a:gd name="connsiteX1" fmla="*/ 359107 w 482808"/>
                <a:gd name="connsiteY1" fmla="*/ 445479 h 607427"/>
                <a:gd name="connsiteX2" fmla="*/ 359107 w 482808"/>
                <a:gd name="connsiteY2" fmla="*/ 465674 h 607427"/>
                <a:gd name="connsiteX3" fmla="*/ 336870 w 482808"/>
                <a:gd name="connsiteY3" fmla="*/ 465674 h 607427"/>
                <a:gd name="connsiteX4" fmla="*/ 336870 w 482808"/>
                <a:gd name="connsiteY4" fmla="*/ 537143 h 607427"/>
                <a:gd name="connsiteX5" fmla="*/ 312051 w 482808"/>
                <a:gd name="connsiteY5" fmla="*/ 537143 h 607427"/>
                <a:gd name="connsiteX6" fmla="*/ 312051 w 482808"/>
                <a:gd name="connsiteY6" fmla="*/ 465674 h 607427"/>
                <a:gd name="connsiteX7" fmla="*/ 289671 w 482808"/>
                <a:gd name="connsiteY7" fmla="*/ 465674 h 607427"/>
                <a:gd name="connsiteX8" fmla="*/ 195635 w 482808"/>
                <a:gd name="connsiteY8" fmla="*/ 445479 h 607427"/>
                <a:gd name="connsiteX9" fmla="*/ 223010 w 482808"/>
                <a:gd name="connsiteY9" fmla="*/ 445479 h 607427"/>
                <a:gd name="connsiteX10" fmla="*/ 239635 w 482808"/>
                <a:gd name="connsiteY10" fmla="*/ 473838 h 607427"/>
                <a:gd name="connsiteX11" fmla="*/ 255544 w 482808"/>
                <a:gd name="connsiteY11" fmla="*/ 445479 h 607427"/>
                <a:gd name="connsiteX12" fmla="*/ 283778 w 482808"/>
                <a:gd name="connsiteY12" fmla="*/ 445479 h 607427"/>
                <a:gd name="connsiteX13" fmla="*/ 254827 w 482808"/>
                <a:gd name="connsiteY13" fmla="*/ 492170 h 607427"/>
                <a:gd name="connsiteX14" fmla="*/ 286071 w 482808"/>
                <a:gd name="connsiteY14" fmla="*/ 537143 h 607427"/>
                <a:gd name="connsiteX15" fmla="*/ 257407 w 482808"/>
                <a:gd name="connsiteY15" fmla="*/ 537143 h 607427"/>
                <a:gd name="connsiteX16" fmla="*/ 239492 w 482808"/>
                <a:gd name="connsiteY16" fmla="*/ 508498 h 607427"/>
                <a:gd name="connsiteX17" fmla="*/ 221863 w 482808"/>
                <a:gd name="connsiteY17" fmla="*/ 537143 h 607427"/>
                <a:gd name="connsiteX18" fmla="*/ 193772 w 482808"/>
                <a:gd name="connsiteY18" fmla="*/ 537143 h 607427"/>
                <a:gd name="connsiteX19" fmla="*/ 224156 w 482808"/>
                <a:gd name="connsiteY19" fmla="*/ 490165 h 607427"/>
                <a:gd name="connsiteX20" fmla="*/ 120737 w 482808"/>
                <a:gd name="connsiteY20" fmla="*/ 445479 h 607427"/>
                <a:gd name="connsiteX21" fmla="*/ 190314 w 482808"/>
                <a:gd name="connsiteY21" fmla="*/ 445479 h 607427"/>
                <a:gd name="connsiteX22" fmla="*/ 190314 w 482808"/>
                <a:gd name="connsiteY22" fmla="*/ 465674 h 607427"/>
                <a:gd name="connsiteX23" fmla="*/ 167935 w 482808"/>
                <a:gd name="connsiteY23" fmla="*/ 465674 h 607427"/>
                <a:gd name="connsiteX24" fmla="*/ 167935 w 482808"/>
                <a:gd name="connsiteY24" fmla="*/ 537143 h 607427"/>
                <a:gd name="connsiteX25" fmla="*/ 143116 w 482808"/>
                <a:gd name="connsiteY25" fmla="*/ 537143 h 607427"/>
                <a:gd name="connsiteX26" fmla="*/ 143116 w 482808"/>
                <a:gd name="connsiteY26" fmla="*/ 465674 h 607427"/>
                <a:gd name="connsiteX27" fmla="*/ 120737 w 482808"/>
                <a:gd name="connsiteY27" fmla="*/ 465674 h 607427"/>
                <a:gd name="connsiteX28" fmla="*/ 129064 w 482808"/>
                <a:gd name="connsiteY28" fmla="*/ 329823 h 607427"/>
                <a:gd name="connsiteX29" fmla="*/ 223692 w 482808"/>
                <a:gd name="connsiteY29" fmla="*/ 329823 h 607427"/>
                <a:gd name="connsiteX30" fmla="*/ 223692 w 482808"/>
                <a:gd name="connsiteY30" fmla="*/ 358473 h 607427"/>
                <a:gd name="connsiteX31" fmla="*/ 129064 w 482808"/>
                <a:gd name="connsiteY31" fmla="*/ 358473 h 607427"/>
                <a:gd name="connsiteX32" fmla="*/ 129064 w 482808"/>
                <a:gd name="connsiteY32" fmla="*/ 282756 h 607427"/>
                <a:gd name="connsiteX33" fmla="*/ 334550 w 482808"/>
                <a:gd name="connsiteY33" fmla="*/ 282756 h 607427"/>
                <a:gd name="connsiteX34" fmla="*/ 334550 w 482808"/>
                <a:gd name="connsiteY34" fmla="*/ 311335 h 607427"/>
                <a:gd name="connsiteX35" fmla="*/ 129064 w 482808"/>
                <a:gd name="connsiteY35" fmla="*/ 311335 h 607427"/>
                <a:gd name="connsiteX36" fmla="*/ 129064 w 482808"/>
                <a:gd name="connsiteY36" fmla="*/ 235759 h 607427"/>
                <a:gd name="connsiteX37" fmla="*/ 353744 w 482808"/>
                <a:gd name="connsiteY37" fmla="*/ 235759 h 607427"/>
                <a:gd name="connsiteX38" fmla="*/ 353744 w 482808"/>
                <a:gd name="connsiteY38" fmla="*/ 264409 h 607427"/>
                <a:gd name="connsiteX39" fmla="*/ 129064 w 482808"/>
                <a:gd name="connsiteY39" fmla="*/ 264409 h 607427"/>
                <a:gd name="connsiteX40" fmla="*/ 129064 w 482808"/>
                <a:gd name="connsiteY40" fmla="*/ 188692 h 607427"/>
                <a:gd name="connsiteX41" fmla="*/ 286213 w 482808"/>
                <a:gd name="connsiteY41" fmla="*/ 188692 h 607427"/>
                <a:gd name="connsiteX42" fmla="*/ 286213 w 482808"/>
                <a:gd name="connsiteY42" fmla="*/ 217342 h 607427"/>
                <a:gd name="connsiteX43" fmla="*/ 129064 w 482808"/>
                <a:gd name="connsiteY43" fmla="*/ 217342 h 607427"/>
                <a:gd name="connsiteX44" fmla="*/ 129064 w 482808"/>
                <a:gd name="connsiteY44" fmla="*/ 141695 h 607427"/>
                <a:gd name="connsiteX45" fmla="*/ 353744 w 482808"/>
                <a:gd name="connsiteY45" fmla="*/ 141695 h 607427"/>
                <a:gd name="connsiteX46" fmla="*/ 353744 w 482808"/>
                <a:gd name="connsiteY46" fmla="*/ 170345 h 607427"/>
                <a:gd name="connsiteX47" fmla="*/ 129064 w 482808"/>
                <a:gd name="connsiteY47" fmla="*/ 170345 h 607427"/>
                <a:gd name="connsiteX48" fmla="*/ 28679 w 482808"/>
                <a:gd name="connsiteY48" fmla="*/ 76877 h 607427"/>
                <a:gd name="connsiteX49" fmla="*/ 28679 w 482808"/>
                <a:gd name="connsiteY49" fmla="*/ 578795 h 607427"/>
                <a:gd name="connsiteX50" fmla="*/ 454129 w 482808"/>
                <a:gd name="connsiteY50" fmla="*/ 578795 h 607427"/>
                <a:gd name="connsiteX51" fmla="*/ 454129 w 482808"/>
                <a:gd name="connsiteY51" fmla="*/ 125122 h 607427"/>
                <a:gd name="connsiteX52" fmla="*/ 371821 w 482808"/>
                <a:gd name="connsiteY52" fmla="*/ 125122 h 607427"/>
                <a:gd name="connsiteX53" fmla="*/ 357482 w 482808"/>
                <a:gd name="connsiteY53" fmla="*/ 110806 h 607427"/>
                <a:gd name="connsiteX54" fmla="*/ 357482 w 482808"/>
                <a:gd name="connsiteY54" fmla="*/ 76877 h 607427"/>
                <a:gd name="connsiteX55" fmla="*/ 386160 w 482808"/>
                <a:gd name="connsiteY55" fmla="*/ 48817 h 607427"/>
                <a:gd name="connsiteX56" fmla="*/ 386160 w 482808"/>
                <a:gd name="connsiteY56" fmla="*/ 96490 h 607427"/>
                <a:gd name="connsiteX57" fmla="*/ 433767 w 482808"/>
                <a:gd name="connsiteY57" fmla="*/ 96490 h 607427"/>
                <a:gd name="connsiteX58" fmla="*/ 28679 w 482808"/>
                <a:gd name="connsiteY58" fmla="*/ 28632 h 607427"/>
                <a:gd name="connsiteX59" fmla="*/ 28679 w 482808"/>
                <a:gd name="connsiteY59" fmla="*/ 48245 h 607427"/>
                <a:gd name="connsiteX60" fmla="*/ 357482 w 482808"/>
                <a:gd name="connsiteY60" fmla="*/ 48245 h 607427"/>
                <a:gd name="connsiteX61" fmla="*/ 357482 w 482808"/>
                <a:gd name="connsiteY61" fmla="*/ 28632 h 607427"/>
                <a:gd name="connsiteX62" fmla="*/ 14339 w 482808"/>
                <a:gd name="connsiteY62" fmla="*/ 0 h 607427"/>
                <a:gd name="connsiteX63" fmla="*/ 371821 w 482808"/>
                <a:gd name="connsiteY63" fmla="*/ 0 h 607427"/>
                <a:gd name="connsiteX64" fmla="*/ 382002 w 482808"/>
                <a:gd name="connsiteY64" fmla="*/ 4152 h 607427"/>
                <a:gd name="connsiteX65" fmla="*/ 478506 w 482808"/>
                <a:gd name="connsiteY65" fmla="*/ 100641 h 607427"/>
                <a:gd name="connsiteX66" fmla="*/ 482808 w 482808"/>
                <a:gd name="connsiteY66" fmla="*/ 110806 h 607427"/>
                <a:gd name="connsiteX67" fmla="*/ 482808 w 482808"/>
                <a:gd name="connsiteY67" fmla="*/ 593111 h 607427"/>
                <a:gd name="connsiteX68" fmla="*/ 468469 w 482808"/>
                <a:gd name="connsiteY68" fmla="*/ 607427 h 607427"/>
                <a:gd name="connsiteX69" fmla="*/ 14339 w 482808"/>
                <a:gd name="connsiteY69" fmla="*/ 607427 h 607427"/>
                <a:gd name="connsiteX70" fmla="*/ 0 w 482808"/>
                <a:gd name="connsiteY70" fmla="*/ 593111 h 607427"/>
                <a:gd name="connsiteX71" fmla="*/ 0 w 482808"/>
                <a:gd name="connsiteY71" fmla="*/ 14316 h 607427"/>
                <a:gd name="connsiteX72" fmla="*/ 14339 w 482808"/>
                <a:gd name="connsiteY72" fmla="*/ 0 h 607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482808" h="607427">
                  <a:moveTo>
                    <a:pt x="289671" y="445479"/>
                  </a:moveTo>
                  <a:lnTo>
                    <a:pt x="359107" y="445479"/>
                  </a:lnTo>
                  <a:lnTo>
                    <a:pt x="359107" y="465674"/>
                  </a:lnTo>
                  <a:lnTo>
                    <a:pt x="336870" y="465674"/>
                  </a:lnTo>
                  <a:lnTo>
                    <a:pt x="336870" y="537143"/>
                  </a:lnTo>
                  <a:lnTo>
                    <a:pt x="312051" y="537143"/>
                  </a:lnTo>
                  <a:lnTo>
                    <a:pt x="312051" y="465674"/>
                  </a:lnTo>
                  <a:lnTo>
                    <a:pt x="289671" y="465674"/>
                  </a:lnTo>
                  <a:close/>
                  <a:moveTo>
                    <a:pt x="195635" y="445479"/>
                  </a:moveTo>
                  <a:lnTo>
                    <a:pt x="223010" y="445479"/>
                  </a:lnTo>
                  <a:lnTo>
                    <a:pt x="239635" y="473838"/>
                  </a:lnTo>
                  <a:lnTo>
                    <a:pt x="255544" y="445479"/>
                  </a:lnTo>
                  <a:lnTo>
                    <a:pt x="283778" y="445479"/>
                  </a:lnTo>
                  <a:lnTo>
                    <a:pt x="254827" y="492170"/>
                  </a:lnTo>
                  <a:lnTo>
                    <a:pt x="286071" y="537143"/>
                  </a:lnTo>
                  <a:lnTo>
                    <a:pt x="257407" y="537143"/>
                  </a:lnTo>
                  <a:lnTo>
                    <a:pt x="239492" y="508498"/>
                  </a:lnTo>
                  <a:lnTo>
                    <a:pt x="221863" y="537143"/>
                  </a:lnTo>
                  <a:lnTo>
                    <a:pt x="193772" y="537143"/>
                  </a:lnTo>
                  <a:lnTo>
                    <a:pt x="224156" y="490165"/>
                  </a:lnTo>
                  <a:close/>
                  <a:moveTo>
                    <a:pt x="120737" y="445479"/>
                  </a:moveTo>
                  <a:lnTo>
                    <a:pt x="190314" y="445479"/>
                  </a:lnTo>
                  <a:lnTo>
                    <a:pt x="190314" y="465674"/>
                  </a:lnTo>
                  <a:lnTo>
                    <a:pt x="167935" y="465674"/>
                  </a:lnTo>
                  <a:lnTo>
                    <a:pt x="167935" y="537143"/>
                  </a:lnTo>
                  <a:lnTo>
                    <a:pt x="143116" y="537143"/>
                  </a:lnTo>
                  <a:lnTo>
                    <a:pt x="143116" y="465674"/>
                  </a:lnTo>
                  <a:lnTo>
                    <a:pt x="120737" y="465674"/>
                  </a:lnTo>
                  <a:close/>
                  <a:moveTo>
                    <a:pt x="129064" y="329823"/>
                  </a:moveTo>
                  <a:lnTo>
                    <a:pt x="223692" y="329823"/>
                  </a:lnTo>
                  <a:lnTo>
                    <a:pt x="223692" y="358473"/>
                  </a:lnTo>
                  <a:lnTo>
                    <a:pt x="129064" y="358473"/>
                  </a:lnTo>
                  <a:close/>
                  <a:moveTo>
                    <a:pt x="129064" y="282756"/>
                  </a:moveTo>
                  <a:lnTo>
                    <a:pt x="334550" y="282756"/>
                  </a:lnTo>
                  <a:lnTo>
                    <a:pt x="334550" y="311335"/>
                  </a:lnTo>
                  <a:lnTo>
                    <a:pt x="129064" y="311335"/>
                  </a:lnTo>
                  <a:close/>
                  <a:moveTo>
                    <a:pt x="129064" y="235759"/>
                  </a:moveTo>
                  <a:lnTo>
                    <a:pt x="353744" y="235759"/>
                  </a:lnTo>
                  <a:lnTo>
                    <a:pt x="353744" y="264409"/>
                  </a:lnTo>
                  <a:lnTo>
                    <a:pt x="129064" y="264409"/>
                  </a:lnTo>
                  <a:close/>
                  <a:moveTo>
                    <a:pt x="129064" y="188692"/>
                  </a:moveTo>
                  <a:lnTo>
                    <a:pt x="286213" y="188692"/>
                  </a:lnTo>
                  <a:lnTo>
                    <a:pt x="286213" y="217342"/>
                  </a:lnTo>
                  <a:lnTo>
                    <a:pt x="129064" y="217342"/>
                  </a:lnTo>
                  <a:close/>
                  <a:moveTo>
                    <a:pt x="129064" y="141695"/>
                  </a:moveTo>
                  <a:lnTo>
                    <a:pt x="353744" y="141695"/>
                  </a:lnTo>
                  <a:lnTo>
                    <a:pt x="353744" y="170345"/>
                  </a:lnTo>
                  <a:lnTo>
                    <a:pt x="129064" y="170345"/>
                  </a:lnTo>
                  <a:close/>
                  <a:moveTo>
                    <a:pt x="28679" y="76877"/>
                  </a:moveTo>
                  <a:lnTo>
                    <a:pt x="28679" y="578795"/>
                  </a:lnTo>
                  <a:lnTo>
                    <a:pt x="454129" y="578795"/>
                  </a:lnTo>
                  <a:lnTo>
                    <a:pt x="454129" y="125122"/>
                  </a:lnTo>
                  <a:lnTo>
                    <a:pt x="371821" y="125122"/>
                  </a:lnTo>
                  <a:cubicBezTo>
                    <a:pt x="363934" y="125122"/>
                    <a:pt x="357482" y="118679"/>
                    <a:pt x="357482" y="110806"/>
                  </a:cubicBezTo>
                  <a:lnTo>
                    <a:pt x="357482" y="76877"/>
                  </a:lnTo>
                  <a:close/>
                  <a:moveTo>
                    <a:pt x="386160" y="48817"/>
                  </a:moveTo>
                  <a:lnTo>
                    <a:pt x="386160" y="96490"/>
                  </a:lnTo>
                  <a:lnTo>
                    <a:pt x="433767" y="96490"/>
                  </a:lnTo>
                  <a:close/>
                  <a:moveTo>
                    <a:pt x="28679" y="28632"/>
                  </a:moveTo>
                  <a:lnTo>
                    <a:pt x="28679" y="48245"/>
                  </a:lnTo>
                  <a:lnTo>
                    <a:pt x="357482" y="48245"/>
                  </a:lnTo>
                  <a:lnTo>
                    <a:pt x="357482" y="28632"/>
                  </a:lnTo>
                  <a:close/>
                  <a:moveTo>
                    <a:pt x="14339" y="0"/>
                  </a:moveTo>
                  <a:lnTo>
                    <a:pt x="371821" y="0"/>
                  </a:lnTo>
                  <a:cubicBezTo>
                    <a:pt x="375549" y="0"/>
                    <a:pt x="379278" y="1575"/>
                    <a:pt x="382002" y="4152"/>
                  </a:cubicBezTo>
                  <a:lnTo>
                    <a:pt x="478506" y="100641"/>
                  </a:lnTo>
                  <a:cubicBezTo>
                    <a:pt x="481231" y="103361"/>
                    <a:pt x="482808" y="106940"/>
                    <a:pt x="482808" y="110806"/>
                  </a:cubicBezTo>
                  <a:lnTo>
                    <a:pt x="482808" y="593111"/>
                  </a:lnTo>
                  <a:cubicBezTo>
                    <a:pt x="482808" y="600985"/>
                    <a:pt x="476355" y="607427"/>
                    <a:pt x="468469" y="607427"/>
                  </a:cubicBezTo>
                  <a:lnTo>
                    <a:pt x="14339" y="607427"/>
                  </a:lnTo>
                  <a:cubicBezTo>
                    <a:pt x="6453" y="607427"/>
                    <a:pt x="0" y="600985"/>
                    <a:pt x="0" y="593111"/>
                  </a:cubicBezTo>
                  <a:lnTo>
                    <a:pt x="0" y="14316"/>
                  </a:lnTo>
                  <a:cubicBezTo>
                    <a:pt x="0" y="6442"/>
                    <a:pt x="6453" y="0"/>
                    <a:pt x="1433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2158886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3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000" dirty="0"/>
              <a:t>Hadoop</a:t>
            </a:r>
            <a:r>
              <a:rPr lang="zh-CN" altLang="en-US" sz="2000" dirty="0"/>
              <a:t>的部署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0</a:t>
            </a:fld>
            <a:endParaRPr lang="zh-CN" altLang="en-US"/>
          </a:p>
        </p:txBody>
      </p:sp>
      <p:sp>
        <p:nvSpPr>
          <p:cNvPr id="195" name="iṧḻîďè">
            <a:extLst>
              <a:ext uri="{FF2B5EF4-FFF2-40B4-BE49-F238E27FC236}">
                <a16:creationId xmlns:a16="http://schemas.microsoft.com/office/drawing/2014/main" id="{6FC8272D-4563-47EB-B741-E738A21C2623}"/>
              </a:ext>
            </a:extLst>
          </p:cNvPr>
          <p:cNvSpPr/>
          <p:nvPr/>
        </p:nvSpPr>
        <p:spPr bwMode="auto">
          <a:xfrm>
            <a:off x="4320066" y="-668983"/>
            <a:ext cx="1386092" cy="289889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搞定！</a:t>
            </a:r>
            <a:endParaRPr lang="en-US" altLang="zh-CN" b="1" dirty="0"/>
          </a:p>
        </p:txBody>
      </p:sp>
      <p:sp>
        <p:nvSpPr>
          <p:cNvPr id="196" name="îŝḻiḋé">
            <a:extLst>
              <a:ext uri="{FF2B5EF4-FFF2-40B4-BE49-F238E27FC236}">
                <a16:creationId xmlns:a16="http://schemas.microsoft.com/office/drawing/2014/main" id="{C05C75D7-4258-49B9-958F-F2EEF0B840E0}"/>
              </a:ext>
            </a:extLst>
          </p:cNvPr>
          <p:cNvSpPr/>
          <p:nvPr/>
        </p:nvSpPr>
        <p:spPr bwMode="auto">
          <a:xfrm>
            <a:off x="4549639" y="-945932"/>
            <a:ext cx="1386092" cy="289889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测试</a:t>
            </a:r>
            <a:endParaRPr lang="en-US" altLang="zh-CN" b="1" dirty="0"/>
          </a:p>
        </p:txBody>
      </p:sp>
      <p:sp>
        <p:nvSpPr>
          <p:cNvPr id="197" name="íṥḷíďê">
            <a:extLst>
              <a:ext uri="{FF2B5EF4-FFF2-40B4-BE49-F238E27FC236}">
                <a16:creationId xmlns:a16="http://schemas.microsoft.com/office/drawing/2014/main" id="{D4FCC7AE-5767-4EC4-BB68-B94457D3AE6D}"/>
              </a:ext>
            </a:extLst>
          </p:cNvPr>
          <p:cNvSpPr/>
          <p:nvPr/>
        </p:nvSpPr>
        <p:spPr bwMode="auto">
          <a:xfrm>
            <a:off x="4774327" y="-1222881"/>
            <a:ext cx="1386092" cy="289889"/>
          </a:xfrm>
          <a:prstGeom prst="parallelogram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 dirty="0">
                <a:solidFill>
                  <a:schemeClr val="bg1"/>
                </a:solidFill>
              </a:rPr>
              <a:t>配置</a:t>
            </a:r>
            <a:r>
              <a:rPr lang="en-US" altLang="zh-CN" sz="1750" b="1" dirty="0">
                <a:solidFill>
                  <a:schemeClr val="bg1"/>
                </a:solidFill>
              </a:rPr>
              <a:t>Hadoop</a:t>
            </a:r>
          </a:p>
        </p:txBody>
      </p:sp>
      <p:sp>
        <p:nvSpPr>
          <p:cNvPr id="198" name="ïś1ïḓè">
            <a:extLst>
              <a:ext uri="{FF2B5EF4-FFF2-40B4-BE49-F238E27FC236}">
                <a16:creationId xmlns:a16="http://schemas.microsoft.com/office/drawing/2014/main" id="{F32E844B-E27C-4A92-9B60-95E4AD88D81F}"/>
              </a:ext>
            </a:extLst>
          </p:cNvPr>
          <p:cNvSpPr/>
          <p:nvPr/>
        </p:nvSpPr>
        <p:spPr bwMode="auto">
          <a:xfrm>
            <a:off x="5003411" y="-1499830"/>
            <a:ext cx="1386092" cy="289889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 dirty="0"/>
              <a:t>安装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9" name="îśļïḍè">
            <a:extLst>
              <a:ext uri="{FF2B5EF4-FFF2-40B4-BE49-F238E27FC236}">
                <a16:creationId xmlns:a16="http://schemas.microsoft.com/office/drawing/2014/main" id="{F812BB55-77DE-4E23-95E6-156A22FAD363}"/>
              </a:ext>
            </a:extLst>
          </p:cNvPr>
          <p:cNvSpPr/>
          <p:nvPr/>
        </p:nvSpPr>
        <p:spPr bwMode="auto">
          <a:xfrm>
            <a:off x="5217063" y="-1776779"/>
            <a:ext cx="1386092" cy="289889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配置</a:t>
            </a:r>
            <a:r>
              <a:rPr lang="en-US" altLang="zh-CN" b="1" dirty="0"/>
              <a:t>JAVA</a:t>
            </a:r>
          </a:p>
        </p:txBody>
      </p:sp>
      <p:sp>
        <p:nvSpPr>
          <p:cNvPr id="200" name="ï$1íḍé">
            <a:extLst>
              <a:ext uri="{FF2B5EF4-FFF2-40B4-BE49-F238E27FC236}">
                <a16:creationId xmlns:a16="http://schemas.microsoft.com/office/drawing/2014/main" id="{48245F16-84E7-4201-9485-85B5E5B15ECD}"/>
              </a:ext>
            </a:extLst>
          </p:cNvPr>
          <p:cNvSpPr/>
          <p:nvPr/>
        </p:nvSpPr>
        <p:spPr bwMode="auto">
          <a:xfrm>
            <a:off x="5438623" y="-2053728"/>
            <a:ext cx="1386092" cy="289889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安装</a:t>
            </a:r>
            <a:r>
              <a:rPr lang="en-US" altLang="zh-CN" b="1" dirty="0"/>
              <a:t>JAVA</a:t>
            </a:r>
          </a:p>
        </p:txBody>
      </p:sp>
      <p:sp>
        <p:nvSpPr>
          <p:cNvPr id="201" name="îṥľïďê">
            <a:extLst>
              <a:ext uri="{FF2B5EF4-FFF2-40B4-BE49-F238E27FC236}">
                <a16:creationId xmlns:a16="http://schemas.microsoft.com/office/drawing/2014/main" id="{920DFBAA-02E5-4206-86B0-FE10F93A7509}"/>
              </a:ext>
            </a:extLst>
          </p:cNvPr>
          <p:cNvSpPr/>
          <p:nvPr/>
        </p:nvSpPr>
        <p:spPr bwMode="auto">
          <a:xfrm>
            <a:off x="4142672" y="-1430529"/>
            <a:ext cx="1593417" cy="527841"/>
          </a:xfrm>
          <a:custGeom>
            <a:avLst/>
            <a:gdLst>
              <a:gd name="T0" fmla="*/ 179 w 203"/>
              <a:gd name="T1" fmla="*/ 82 h 82"/>
              <a:gd name="T2" fmla="*/ 203 w 203"/>
              <a:gd name="T3" fmla="*/ 29 h 82"/>
              <a:gd name="T4" fmla="*/ 65 w 203"/>
              <a:gd name="T5" fmla="*/ 27 h 82"/>
              <a:gd name="T6" fmla="*/ 59 w 203"/>
              <a:gd name="T7" fmla="*/ 0 h 82"/>
              <a:gd name="T8" fmla="*/ 59 w 203"/>
              <a:gd name="T9" fmla="*/ 0 h 82"/>
              <a:gd name="T10" fmla="*/ 0 w 203"/>
              <a:gd name="T11" fmla="*/ 80 h 82"/>
              <a:gd name="T12" fmla="*/ 61 w 203"/>
              <a:gd name="T13" fmla="*/ 82 h 82"/>
              <a:gd name="T14" fmla="*/ 179 w 203"/>
              <a:gd name="T15" fmla="*/ 8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3" h="82">
                <a:moveTo>
                  <a:pt x="179" y="82"/>
                </a:moveTo>
                <a:lnTo>
                  <a:pt x="203" y="29"/>
                </a:lnTo>
                <a:lnTo>
                  <a:pt x="65" y="27"/>
                </a:lnTo>
                <a:lnTo>
                  <a:pt x="59" y="0"/>
                </a:lnTo>
                <a:lnTo>
                  <a:pt x="59" y="0"/>
                </a:lnTo>
                <a:lnTo>
                  <a:pt x="0" y="80"/>
                </a:lnTo>
                <a:lnTo>
                  <a:pt x="61" y="82"/>
                </a:lnTo>
                <a:lnTo>
                  <a:pt x="179" y="8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2" name="i$ḻíḋè">
            <a:extLst>
              <a:ext uri="{FF2B5EF4-FFF2-40B4-BE49-F238E27FC236}">
                <a16:creationId xmlns:a16="http://schemas.microsoft.com/office/drawing/2014/main" id="{430BE7EB-B6F0-4F05-80EA-1F517165029F}"/>
              </a:ext>
            </a:extLst>
          </p:cNvPr>
          <p:cNvSpPr/>
          <p:nvPr/>
        </p:nvSpPr>
        <p:spPr bwMode="auto">
          <a:xfrm>
            <a:off x="5340291" y="-2053728"/>
            <a:ext cx="595440" cy="105463"/>
          </a:xfrm>
          <a:prstGeom prst="triangle">
            <a:avLst>
              <a:gd name="adj" fmla="val 14726"/>
            </a:avLst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3" name="işľiḋe">
            <a:extLst>
              <a:ext uri="{FF2B5EF4-FFF2-40B4-BE49-F238E27FC236}">
                <a16:creationId xmlns:a16="http://schemas.microsoft.com/office/drawing/2014/main" id="{E4DECB97-43D1-4D26-8C48-41447675AE79}"/>
              </a:ext>
            </a:extLst>
          </p:cNvPr>
          <p:cNvSpPr/>
          <p:nvPr/>
        </p:nvSpPr>
        <p:spPr bwMode="auto">
          <a:xfrm>
            <a:off x="3484734" y="-2125735"/>
            <a:ext cx="2450997" cy="463940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4" name="iś1íďé">
            <a:extLst>
              <a:ext uri="{FF2B5EF4-FFF2-40B4-BE49-F238E27FC236}">
                <a16:creationId xmlns:a16="http://schemas.microsoft.com/office/drawing/2014/main" id="{6E7EA96A-F20A-4912-AC31-63A0F19E66DE}"/>
              </a:ext>
            </a:extLst>
          </p:cNvPr>
          <p:cNvSpPr/>
          <p:nvPr/>
        </p:nvSpPr>
        <p:spPr bwMode="auto">
          <a:xfrm>
            <a:off x="3252244" y="-1848786"/>
            <a:ext cx="2450997" cy="463940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5" name="ïŝlíḋe">
            <a:extLst>
              <a:ext uri="{FF2B5EF4-FFF2-40B4-BE49-F238E27FC236}">
                <a16:creationId xmlns:a16="http://schemas.microsoft.com/office/drawing/2014/main" id="{66D30D6F-26C9-4C2C-BC01-900AC07DC57E}"/>
              </a:ext>
            </a:extLst>
          </p:cNvPr>
          <p:cNvSpPr/>
          <p:nvPr/>
        </p:nvSpPr>
        <p:spPr bwMode="auto">
          <a:xfrm>
            <a:off x="3016838" y="-1571837"/>
            <a:ext cx="2450997" cy="463940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6" name="îSliďè">
            <a:extLst>
              <a:ext uri="{FF2B5EF4-FFF2-40B4-BE49-F238E27FC236}">
                <a16:creationId xmlns:a16="http://schemas.microsoft.com/office/drawing/2014/main" id="{2F6D5554-EACD-4DDD-892F-2E5F97A9C421}"/>
              </a:ext>
            </a:extLst>
          </p:cNvPr>
          <p:cNvSpPr/>
          <p:nvPr/>
        </p:nvSpPr>
        <p:spPr bwMode="auto">
          <a:xfrm>
            <a:off x="2784362" y="-1294888"/>
            <a:ext cx="2450997" cy="463940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7" name="îSliďé">
            <a:extLst>
              <a:ext uri="{FF2B5EF4-FFF2-40B4-BE49-F238E27FC236}">
                <a16:creationId xmlns:a16="http://schemas.microsoft.com/office/drawing/2014/main" id="{2E278F3F-C8D8-4E2A-A3EA-29ADCF1A02AA}"/>
              </a:ext>
            </a:extLst>
          </p:cNvPr>
          <p:cNvSpPr/>
          <p:nvPr/>
        </p:nvSpPr>
        <p:spPr bwMode="auto">
          <a:xfrm>
            <a:off x="2551790" y="-1017939"/>
            <a:ext cx="2450997" cy="463940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8" name="îs1iďé">
            <a:extLst>
              <a:ext uri="{FF2B5EF4-FFF2-40B4-BE49-F238E27FC236}">
                <a16:creationId xmlns:a16="http://schemas.microsoft.com/office/drawing/2014/main" id="{EB74D0C2-5677-4F3F-A043-44D01A3F3D48}"/>
              </a:ext>
            </a:extLst>
          </p:cNvPr>
          <p:cNvSpPr/>
          <p:nvPr/>
        </p:nvSpPr>
        <p:spPr bwMode="auto">
          <a:xfrm>
            <a:off x="2319286" y="-740990"/>
            <a:ext cx="2450997" cy="463940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9" name="ïṣḻïḋe">
            <a:extLst>
              <a:ext uri="{FF2B5EF4-FFF2-40B4-BE49-F238E27FC236}">
                <a16:creationId xmlns:a16="http://schemas.microsoft.com/office/drawing/2014/main" id="{7709F84E-C33F-462F-B538-51CB71C9284E}"/>
              </a:ext>
            </a:extLst>
          </p:cNvPr>
          <p:cNvSpPr/>
          <p:nvPr/>
        </p:nvSpPr>
        <p:spPr bwMode="auto">
          <a:xfrm>
            <a:off x="3872462" y="-1884581"/>
            <a:ext cx="160881" cy="160657"/>
          </a:xfrm>
          <a:custGeom>
            <a:avLst/>
            <a:gdLst>
              <a:gd name="T0" fmla="*/ 400 w 11264"/>
              <a:gd name="T1" fmla="*/ 7099 h 11264"/>
              <a:gd name="T2" fmla="*/ 4165 w 11264"/>
              <a:gd name="T3" fmla="*/ 7099 h 11264"/>
              <a:gd name="T4" fmla="*/ 4165 w 11264"/>
              <a:gd name="T5" fmla="*/ 10864 h 11264"/>
              <a:gd name="T6" fmla="*/ 4565 w 11264"/>
              <a:gd name="T7" fmla="*/ 11264 h 11264"/>
              <a:gd name="T8" fmla="*/ 6699 w 11264"/>
              <a:gd name="T9" fmla="*/ 11264 h 11264"/>
              <a:gd name="T10" fmla="*/ 7099 w 11264"/>
              <a:gd name="T11" fmla="*/ 10864 h 11264"/>
              <a:gd name="T12" fmla="*/ 7099 w 11264"/>
              <a:gd name="T13" fmla="*/ 7099 h 11264"/>
              <a:gd name="T14" fmla="*/ 10864 w 11264"/>
              <a:gd name="T15" fmla="*/ 7099 h 11264"/>
              <a:gd name="T16" fmla="*/ 11264 w 11264"/>
              <a:gd name="T17" fmla="*/ 6699 h 11264"/>
              <a:gd name="T18" fmla="*/ 11264 w 11264"/>
              <a:gd name="T19" fmla="*/ 4565 h 11264"/>
              <a:gd name="T20" fmla="*/ 10864 w 11264"/>
              <a:gd name="T21" fmla="*/ 4165 h 11264"/>
              <a:gd name="T22" fmla="*/ 7099 w 11264"/>
              <a:gd name="T23" fmla="*/ 4165 h 11264"/>
              <a:gd name="T24" fmla="*/ 7099 w 11264"/>
              <a:gd name="T25" fmla="*/ 400 h 11264"/>
              <a:gd name="T26" fmla="*/ 6699 w 11264"/>
              <a:gd name="T27" fmla="*/ 0 h 11264"/>
              <a:gd name="T28" fmla="*/ 4565 w 11264"/>
              <a:gd name="T29" fmla="*/ 0 h 11264"/>
              <a:gd name="T30" fmla="*/ 4165 w 11264"/>
              <a:gd name="T31" fmla="*/ 400 h 11264"/>
              <a:gd name="T32" fmla="*/ 4165 w 11264"/>
              <a:gd name="T33" fmla="*/ 4165 h 11264"/>
              <a:gd name="T34" fmla="*/ 400 w 11264"/>
              <a:gd name="T35" fmla="*/ 4165 h 11264"/>
              <a:gd name="T36" fmla="*/ 0 w 11264"/>
              <a:gd name="T37" fmla="*/ 4565 h 11264"/>
              <a:gd name="T38" fmla="*/ 0 w 11264"/>
              <a:gd name="T39" fmla="*/ 6699 h 11264"/>
              <a:gd name="T40" fmla="*/ 400 w 11264"/>
              <a:gd name="T41" fmla="*/ 7099 h 11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264" h="11264">
                <a:moveTo>
                  <a:pt x="400" y="7099"/>
                </a:moveTo>
                <a:lnTo>
                  <a:pt x="4165" y="7099"/>
                </a:lnTo>
                <a:lnTo>
                  <a:pt x="4165" y="10864"/>
                </a:lnTo>
                <a:cubicBezTo>
                  <a:pt x="4165" y="11085"/>
                  <a:pt x="4344" y="11264"/>
                  <a:pt x="4565" y="11264"/>
                </a:cubicBezTo>
                <a:lnTo>
                  <a:pt x="6699" y="11264"/>
                </a:lnTo>
                <a:cubicBezTo>
                  <a:pt x="6920" y="11264"/>
                  <a:pt x="7099" y="11085"/>
                  <a:pt x="7099" y="10864"/>
                </a:cubicBezTo>
                <a:lnTo>
                  <a:pt x="7099" y="7099"/>
                </a:lnTo>
                <a:lnTo>
                  <a:pt x="10864" y="7099"/>
                </a:lnTo>
                <a:cubicBezTo>
                  <a:pt x="11085" y="7099"/>
                  <a:pt x="11264" y="6920"/>
                  <a:pt x="11264" y="6699"/>
                </a:cubicBezTo>
                <a:lnTo>
                  <a:pt x="11264" y="4565"/>
                </a:lnTo>
                <a:cubicBezTo>
                  <a:pt x="11264" y="4344"/>
                  <a:pt x="11085" y="4165"/>
                  <a:pt x="10864" y="4165"/>
                </a:cubicBezTo>
                <a:lnTo>
                  <a:pt x="7099" y="4165"/>
                </a:lnTo>
                <a:lnTo>
                  <a:pt x="7099" y="400"/>
                </a:lnTo>
                <a:cubicBezTo>
                  <a:pt x="7099" y="179"/>
                  <a:pt x="6920" y="0"/>
                  <a:pt x="6699" y="0"/>
                </a:cubicBezTo>
                <a:lnTo>
                  <a:pt x="4565" y="0"/>
                </a:lnTo>
                <a:cubicBezTo>
                  <a:pt x="4344" y="0"/>
                  <a:pt x="4165" y="179"/>
                  <a:pt x="4165" y="400"/>
                </a:cubicBezTo>
                <a:lnTo>
                  <a:pt x="4165" y="4165"/>
                </a:lnTo>
                <a:lnTo>
                  <a:pt x="400" y="4165"/>
                </a:lnTo>
                <a:cubicBezTo>
                  <a:pt x="179" y="4165"/>
                  <a:pt x="0" y="4344"/>
                  <a:pt x="0" y="4565"/>
                </a:cubicBezTo>
                <a:lnTo>
                  <a:pt x="0" y="6699"/>
                </a:lnTo>
                <a:cubicBezTo>
                  <a:pt x="0" y="6920"/>
                  <a:pt x="179" y="7099"/>
                  <a:pt x="400" y="7099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0" name="îsḷïde">
            <a:extLst>
              <a:ext uri="{FF2B5EF4-FFF2-40B4-BE49-F238E27FC236}">
                <a16:creationId xmlns:a16="http://schemas.microsoft.com/office/drawing/2014/main" id="{F7027C89-1BCC-4A00-9535-016DE4C49FD7}"/>
              </a:ext>
            </a:extLst>
          </p:cNvPr>
          <p:cNvSpPr/>
          <p:nvPr/>
        </p:nvSpPr>
        <p:spPr bwMode="auto">
          <a:xfrm>
            <a:off x="3652572" y="-1610841"/>
            <a:ext cx="157544" cy="160881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  <a:gd name="connsiteX107" fmla="*/ 373273 h 605239"/>
              <a:gd name="connsiteY107" fmla="*/ 373273 h 605239"/>
              <a:gd name="connsiteX108" fmla="*/ 373273 h 605239"/>
              <a:gd name="connsiteY108" fmla="*/ 373273 h 605239"/>
              <a:gd name="connsiteX109" fmla="*/ 373273 h 605239"/>
              <a:gd name="connsiteY109" fmla="*/ 373273 h 605239"/>
              <a:gd name="connsiteX110" fmla="*/ 373273 h 605239"/>
              <a:gd name="connsiteY110" fmla="*/ 373273 h 605239"/>
              <a:gd name="connsiteX111" fmla="*/ 373273 h 605239"/>
              <a:gd name="connsiteY111" fmla="*/ 373273 h 605239"/>
              <a:gd name="connsiteX112" fmla="*/ 373273 h 605239"/>
              <a:gd name="connsiteY112" fmla="*/ 373273 h 605239"/>
              <a:gd name="connsiteX113" fmla="*/ 373273 h 605239"/>
              <a:gd name="connsiteY113" fmla="*/ 373273 h 605239"/>
              <a:gd name="connsiteX114" fmla="*/ 373273 h 605239"/>
              <a:gd name="connsiteY114" fmla="*/ 373273 h 605239"/>
              <a:gd name="connsiteX115" fmla="*/ 373273 h 605239"/>
              <a:gd name="connsiteY115" fmla="*/ 373273 h 605239"/>
              <a:gd name="connsiteX116" fmla="*/ 373273 h 605239"/>
              <a:gd name="connsiteY116" fmla="*/ 373273 h 605239"/>
              <a:gd name="connsiteX117" fmla="*/ 373273 h 605239"/>
              <a:gd name="connsiteY117" fmla="*/ 373273 h 605239"/>
              <a:gd name="connsiteX118" fmla="*/ 373273 h 605239"/>
              <a:gd name="connsiteY118" fmla="*/ 373273 h 605239"/>
              <a:gd name="connsiteX119" fmla="*/ 373273 h 605239"/>
              <a:gd name="connsiteY119" fmla="*/ 373273 h 605239"/>
              <a:gd name="connsiteX120" fmla="*/ 373273 h 605239"/>
              <a:gd name="connsiteY120" fmla="*/ 373273 h 605239"/>
              <a:gd name="connsiteX121" fmla="*/ 373273 h 605239"/>
              <a:gd name="connsiteY121" fmla="*/ 373273 h 605239"/>
              <a:gd name="connsiteX122" fmla="*/ 373273 h 605239"/>
              <a:gd name="connsiteY122" fmla="*/ 373273 h 605239"/>
              <a:gd name="connsiteX123" fmla="*/ 373273 h 605239"/>
              <a:gd name="connsiteY123" fmla="*/ 373273 h 605239"/>
              <a:gd name="connsiteX124" fmla="*/ 373273 h 605239"/>
              <a:gd name="connsiteY124" fmla="*/ 373273 h 605239"/>
              <a:gd name="connsiteX125" fmla="*/ 373273 h 605239"/>
              <a:gd name="connsiteY125" fmla="*/ 373273 h 605239"/>
              <a:gd name="connsiteX126" fmla="*/ 373273 h 605239"/>
              <a:gd name="connsiteY126" fmla="*/ 373273 h 605239"/>
              <a:gd name="connsiteX127" fmla="*/ 373273 h 605239"/>
              <a:gd name="connsiteY127" fmla="*/ 373273 h 605239"/>
              <a:gd name="connsiteX128" fmla="*/ 373273 h 605239"/>
              <a:gd name="connsiteY128" fmla="*/ 373273 h 605239"/>
              <a:gd name="connsiteX129" fmla="*/ 373273 h 605239"/>
              <a:gd name="connsiteY12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593733" h="606309">
                <a:moveTo>
                  <a:pt x="353250" y="302855"/>
                </a:moveTo>
                <a:cubicBezTo>
                  <a:pt x="318468" y="302855"/>
                  <a:pt x="290232" y="331146"/>
                  <a:pt x="290232" y="365879"/>
                </a:cubicBezTo>
                <a:cubicBezTo>
                  <a:pt x="290232" y="374189"/>
                  <a:pt x="296964" y="380912"/>
                  <a:pt x="305285" y="380912"/>
                </a:cubicBezTo>
                <a:cubicBezTo>
                  <a:pt x="313607" y="380912"/>
                  <a:pt x="320338" y="374189"/>
                  <a:pt x="320338" y="365879"/>
                </a:cubicBezTo>
                <a:cubicBezTo>
                  <a:pt x="320338" y="347672"/>
                  <a:pt x="335111" y="333014"/>
                  <a:pt x="353250" y="333014"/>
                </a:cubicBezTo>
                <a:cubicBezTo>
                  <a:pt x="361665" y="333014"/>
                  <a:pt x="368397" y="326291"/>
                  <a:pt x="368397" y="317888"/>
                </a:cubicBezTo>
                <a:cubicBezTo>
                  <a:pt x="368397" y="309578"/>
                  <a:pt x="361665" y="302855"/>
                  <a:pt x="353250" y="302855"/>
                </a:cubicBezTo>
                <a:close/>
                <a:moveTo>
                  <a:pt x="353250" y="265041"/>
                </a:moveTo>
                <a:cubicBezTo>
                  <a:pt x="409163" y="265041"/>
                  <a:pt x="454229" y="310232"/>
                  <a:pt x="454229" y="365879"/>
                </a:cubicBezTo>
                <a:cubicBezTo>
                  <a:pt x="454229" y="421527"/>
                  <a:pt x="408976" y="466717"/>
                  <a:pt x="353250" y="466717"/>
                </a:cubicBezTo>
                <a:cubicBezTo>
                  <a:pt x="297525" y="466717"/>
                  <a:pt x="252271" y="421527"/>
                  <a:pt x="252271" y="365879"/>
                </a:cubicBezTo>
                <a:cubicBezTo>
                  <a:pt x="252271" y="310232"/>
                  <a:pt x="297431" y="265041"/>
                  <a:pt x="353250" y="265041"/>
                </a:cubicBezTo>
                <a:close/>
                <a:moveTo>
                  <a:pt x="427779" y="133781"/>
                </a:moveTo>
                <a:cubicBezTo>
                  <a:pt x="432818" y="131960"/>
                  <a:pt x="438547" y="132054"/>
                  <a:pt x="443784" y="134482"/>
                </a:cubicBezTo>
                <a:lnTo>
                  <a:pt x="473245" y="148209"/>
                </a:lnTo>
                <a:cubicBezTo>
                  <a:pt x="483720" y="153158"/>
                  <a:pt x="488209" y="165671"/>
                  <a:pt x="483346" y="176130"/>
                </a:cubicBezTo>
                <a:lnTo>
                  <a:pt x="470252" y="203957"/>
                </a:lnTo>
                <a:cubicBezTo>
                  <a:pt x="492231" y="219646"/>
                  <a:pt x="511123" y="240003"/>
                  <a:pt x="525526" y="264095"/>
                </a:cubicBezTo>
                <a:lnTo>
                  <a:pt x="554426" y="253636"/>
                </a:lnTo>
                <a:cubicBezTo>
                  <a:pt x="565368" y="249714"/>
                  <a:pt x="577340" y="255411"/>
                  <a:pt x="581361" y="266243"/>
                </a:cubicBezTo>
                <a:lnTo>
                  <a:pt x="592491" y="296592"/>
                </a:lnTo>
                <a:cubicBezTo>
                  <a:pt x="596419" y="307612"/>
                  <a:pt x="590714" y="319564"/>
                  <a:pt x="579865" y="323486"/>
                </a:cubicBezTo>
                <a:lnTo>
                  <a:pt x="550965" y="333945"/>
                </a:lnTo>
                <a:cubicBezTo>
                  <a:pt x="555455" y="361586"/>
                  <a:pt x="553958" y="389414"/>
                  <a:pt x="547224" y="415561"/>
                </a:cubicBezTo>
                <a:lnTo>
                  <a:pt x="575095" y="428634"/>
                </a:lnTo>
                <a:cubicBezTo>
                  <a:pt x="585570" y="433490"/>
                  <a:pt x="590059" y="445910"/>
                  <a:pt x="585102" y="456649"/>
                </a:cubicBezTo>
                <a:lnTo>
                  <a:pt x="571354" y="485970"/>
                </a:lnTo>
                <a:cubicBezTo>
                  <a:pt x="566397" y="496429"/>
                  <a:pt x="553958" y="500911"/>
                  <a:pt x="543483" y="496056"/>
                </a:cubicBezTo>
                <a:lnTo>
                  <a:pt x="515238" y="482982"/>
                </a:lnTo>
                <a:cubicBezTo>
                  <a:pt x="499526" y="504833"/>
                  <a:pt x="479137" y="523510"/>
                  <a:pt x="455007" y="537704"/>
                </a:cubicBezTo>
                <a:lnTo>
                  <a:pt x="465763" y="567026"/>
                </a:lnTo>
                <a:cubicBezTo>
                  <a:pt x="469784" y="578045"/>
                  <a:pt x="463986" y="589997"/>
                  <a:pt x="453137" y="593919"/>
                </a:cubicBezTo>
                <a:lnTo>
                  <a:pt x="422741" y="605032"/>
                </a:lnTo>
                <a:cubicBezTo>
                  <a:pt x="411798" y="609047"/>
                  <a:pt x="399827" y="603258"/>
                  <a:pt x="395805" y="592425"/>
                </a:cubicBezTo>
                <a:lnTo>
                  <a:pt x="385050" y="562823"/>
                </a:lnTo>
                <a:cubicBezTo>
                  <a:pt x="357646" y="567212"/>
                  <a:pt x="330056" y="565718"/>
                  <a:pt x="304149" y="558995"/>
                </a:cubicBezTo>
                <a:lnTo>
                  <a:pt x="290682" y="587756"/>
                </a:lnTo>
                <a:cubicBezTo>
                  <a:pt x="285725" y="598215"/>
                  <a:pt x="273192" y="602697"/>
                  <a:pt x="262717" y="597841"/>
                </a:cubicBezTo>
                <a:lnTo>
                  <a:pt x="233350" y="584114"/>
                </a:lnTo>
                <a:cubicBezTo>
                  <a:pt x="222875" y="579165"/>
                  <a:pt x="218385" y="566652"/>
                  <a:pt x="223249" y="556193"/>
                </a:cubicBezTo>
                <a:lnTo>
                  <a:pt x="236810" y="527338"/>
                </a:lnTo>
                <a:cubicBezTo>
                  <a:pt x="215112" y="511650"/>
                  <a:pt x="196407" y="491480"/>
                  <a:pt x="182284" y="467668"/>
                </a:cubicBezTo>
                <a:lnTo>
                  <a:pt x="152169" y="478687"/>
                </a:lnTo>
                <a:cubicBezTo>
                  <a:pt x="141133" y="482609"/>
                  <a:pt x="129161" y="476912"/>
                  <a:pt x="125233" y="466080"/>
                </a:cubicBezTo>
                <a:lnTo>
                  <a:pt x="114104" y="435731"/>
                </a:lnTo>
                <a:cubicBezTo>
                  <a:pt x="110082" y="424712"/>
                  <a:pt x="115881" y="412759"/>
                  <a:pt x="126730" y="408837"/>
                </a:cubicBezTo>
                <a:lnTo>
                  <a:pt x="156845" y="397818"/>
                </a:lnTo>
                <a:cubicBezTo>
                  <a:pt x="153852" y="379422"/>
                  <a:pt x="153478" y="361026"/>
                  <a:pt x="155629" y="342910"/>
                </a:cubicBezTo>
                <a:lnTo>
                  <a:pt x="158622" y="343097"/>
                </a:lnTo>
                <a:cubicBezTo>
                  <a:pt x="181162" y="344030"/>
                  <a:pt x="200522" y="327408"/>
                  <a:pt x="203141" y="305370"/>
                </a:cubicBezTo>
                <a:cubicBezTo>
                  <a:pt x="207723" y="303876"/>
                  <a:pt x="212119" y="302195"/>
                  <a:pt x="216515" y="300515"/>
                </a:cubicBezTo>
                <a:cubicBezTo>
                  <a:pt x="220349" y="304063"/>
                  <a:pt x="224745" y="306958"/>
                  <a:pt x="229609" y="308919"/>
                </a:cubicBezTo>
                <a:cubicBezTo>
                  <a:pt x="219227" y="330957"/>
                  <a:pt x="214831" y="355983"/>
                  <a:pt x="217824" y="381943"/>
                </a:cubicBezTo>
                <a:cubicBezTo>
                  <a:pt x="226709" y="456462"/>
                  <a:pt x="294329" y="509876"/>
                  <a:pt x="368963" y="501192"/>
                </a:cubicBezTo>
                <a:cubicBezTo>
                  <a:pt x="443691" y="492320"/>
                  <a:pt x="497188" y="424899"/>
                  <a:pt x="488490" y="350287"/>
                </a:cubicBezTo>
                <a:cubicBezTo>
                  <a:pt x="479605" y="275675"/>
                  <a:pt x="411985" y="222260"/>
                  <a:pt x="337351" y="231038"/>
                </a:cubicBezTo>
                <a:cubicBezTo>
                  <a:pt x="324632" y="232532"/>
                  <a:pt x="312473" y="235707"/>
                  <a:pt x="301156" y="240376"/>
                </a:cubicBezTo>
                <a:cubicBezTo>
                  <a:pt x="299660" y="236268"/>
                  <a:pt x="297509" y="232345"/>
                  <a:pt x="294797" y="228890"/>
                </a:cubicBezTo>
                <a:cubicBezTo>
                  <a:pt x="297041" y="224688"/>
                  <a:pt x="299005" y="220393"/>
                  <a:pt x="300782" y="216097"/>
                </a:cubicBezTo>
                <a:cubicBezTo>
                  <a:pt x="311164" y="215817"/>
                  <a:pt x="320891" y="211802"/>
                  <a:pt x="328466" y="204891"/>
                </a:cubicBezTo>
                <a:cubicBezTo>
                  <a:pt x="336977" y="197141"/>
                  <a:pt x="341934" y="186589"/>
                  <a:pt x="342402" y="175103"/>
                </a:cubicBezTo>
                <a:lnTo>
                  <a:pt x="342776" y="166978"/>
                </a:lnTo>
                <a:cubicBezTo>
                  <a:pt x="363164" y="165764"/>
                  <a:pt x="383460" y="167912"/>
                  <a:pt x="402820" y="172768"/>
                </a:cubicBezTo>
                <a:lnTo>
                  <a:pt x="415913" y="144567"/>
                </a:lnTo>
                <a:cubicBezTo>
                  <a:pt x="418392" y="139338"/>
                  <a:pt x="422741" y="135602"/>
                  <a:pt x="427779" y="133781"/>
                </a:cubicBezTo>
                <a:close/>
                <a:moveTo>
                  <a:pt x="159906" y="88589"/>
                </a:moveTo>
                <a:cubicBezTo>
                  <a:pt x="142487" y="87818"/>
                  <a:pt x="124764" y="93678"/>
                  <a:pt x="110828" y="106378"/>
                </a:cubicBezTo>
                <a:cubicBezTo>
                  <a:pt x="96145" y="119731"/>
                  <a:pt x="88663" y="138127"/>
                  <a:pt x="88663" y="156523"/>
                </a:cubicBezTo>
                <a:cubicBezTo>
                  <a:pt x="88663" y="172958"/>
                  <a:pt x="94555" y="189393"/>
                  <a:pt x="106526" y="202467"/>
                </a:cubicBezTo>
                <a:cubicBezTo>
                  <a:pt x="131965" y="230294"/>
                  <a:pt x="175081" y="232162"/>
                  <a:pt x="202764" y="206762"/>
                </a:cubicBezTo>
                <a:cubicBezTo>
                  <a:pt x="217448" y="193409"/>
                  <a:pt x="224930" y="175013"/>
                  <a:pt x="224930" y="156523"/>
                </a:cubicBezTo>
                <a:cubicBezTo>
                  <a:pt x="224930" y="140088"/>
                  <a:pt x="219132" y="123653"/>
                  <a:pt x="207160" y="110580"/>
                </a:cubicBezTo>
                <a:cubicBezTo>
                  <a:pt x="194441" y="96760"/>
                  <a:pt x="177325" y="89359"/>
                  <a:pt x="159906" y="88589"/>
                </a:cubicBezTo>
                <a:close/>
                <a:moveTo>
                  <a:pt x="153289" y="17"/>
                </a:moveTo>
                <a:lnTo>
                  <a:pt x="173678" y="951"/>
                </a:lnTo>
                <a:cubicBezTo>
                  <a:pt x="180786" y="1325"/>
                  <a:pt x="186304" y="7114"/>
                  <a:pt x="186304" y="14118"/>
                </a:cubicBezTo>
                <a:lnTo>
                  <a:pt x="186304" y="14771"/>
                </a:lnTo>
                <a:lnTo>
                  <a:pt x="185462" y="34755"/>
                </a:lnTo>
                <a:cubicBezTo>
                  <a:pt x="201923" y="38677"/>
                  <a:pt x="217729" y="45774"/>
                  <a:pt x="231851" y="56232"/>
                </a:cubicBezTo>
                <a:lnTo>
                  <a:pt x="246535" y="42786"/>
                </a:lnTo>
                <a:cubicBezTo>
                  <a:pt x="251866" y="37930"/>
                  <a:pt x="260283" y="38303"/>
                  <a:pt x="265240" y="43626"/>
                </a:cubicBezTo>
                <a:lnTo>
                  <a:pt x="279082" y="58660"/>
                </a:lnTo>
                <a:cubicBezTo>
                  <a:pt x="281420" y="61275"/>
                  <a:pt x="282542" y="64450"/>
                  <a:pt x="282542" y="67625"/>
                </a:cubicBezTo>
                <a:cubicBezTo>
                  <a:pt x="282542" y="71173"/>
                  <a:pt x="281233" y="74722"/>
                  <a:pt x="278334" y="77337"/>
                </a:cubicBezTo>
                <a:lnTo>
                  <a:pt x="263744" y="90690"/>
                </a:lnTo>
                <a:cubicBezTo>
                  <a:pt x="273096" y="105537"/>
                  <a:pt x="278988" y="121973"/>
                  <a:pt x="281420" y="138781"/>
                </a:cubicBezTo>
                <a:lnTo>
                  <a:pt x="301061" y="139621"/>
                </a:lnTo>
                <a:cubicBezTo>
                  <a:pt x="308169" y="139995"/>
                  <a:pt x="313593" y="145878"/>
                  <a:pt x="313593" y="152788"/>
                </a:cubicBezTo>
                <a:lnTo>
                  <a:pt x="313593" y="153442"/>
                </a:lnTo>
                <a:lnTo>
                  <a:pt x="312751" y="173892"/>
                </a:lnTo>
                <a:cubicBezTo>
                  <a:pt x="312377" y="181083"/>
                  <a:pt x="306298" y="186779"/>
                  <a:pt x="298910" y="186405"/>
                </a:cubicBezTo>
                <a:lnTo>
                  <a:pt x="279456" y="185565"/>
                </a:lnTo>
                <a:cubicBezTo>
                  <a:pt x="275622" y="202093"/>
                  <a:pt x="268327" y="218061"/>
                  <a:pt x="257758" y="232162"/>
                </a:cubicBezTo>
                <a:lnTo>
                  <a:pt x="270852" y="246449"/>
                </a:lnTo>
                <a:cubicBezTo>
                  <a:pt x="273190" y="249064"/>
                  <a:pt x="274312" y="252145"/>
                  <a:pt x="274312" y="255414"/>
                </a:cubicBezTo>
                <a:cubicBezTo>
                  <a:pt x="274312" y="258869"/>
                  <a:pt x="273003" y="262511"/>
                  <a:pt x="270104" y="265126"/>
                </a:cubicBezTo>
                <a:lnTo>
                  <a:pt x="255046" y="278946"/>
                </a:lnTo>
                <a:cubicBezTo>
                  <a:pt x="249621" y="283802"/>
                  <a:pt x="241297" y="283428"/>
                  <a:pt x="236340" y="278106"/>
                </a:cubicBezTo>
                <a:lnTo>
                  <a:pt x="223247" y="263724"/>
                </a:lnTo>
                <a:cubicBezTo>
                  <a:pt x="208282" y="272970"/>
                  <a:pt x="191635" y="278853"/>
                  <a:pt x="174800" y="281187"/>
                </a:cubicBezTo>
                <a:lnTo>
                  <a:pt x="173958" y="300610"/>
                </a:lnTo>
                <a:cubicBezTo>
                  <a:pt x="173584" y="307801"/>
                  <a:pt x="167505" y="313590"/>
                  <a:pt x="160117" y="313217"/>
                </a:cubicBezTo>
                <a:lnTo>
                  <a:pt x="139634" y="312283"/>
                </a:lnTo>
                <a:cubicBezTo>
                  <a:pt x="132526" y="311909"/>
                  <a:pt x="127102" y="306120"/>
                  <a:pt x="127102" y="299116"/>
                </a:cubicBezTo>
                <a:lnTo>
                  <a:pt x="127102" y="298463"/>
                </a:lnTo>
                <a:lnTo>
                  <a:pt x="128037" y="279039"/>
                </a:lnTo>
                <a:cubicBezTo>
                  <a:pt x="111577" y="275211"/>
                  <a:pt x="95771" y="267834"/>
                  <a:pt x="81648" y="257281"/>
                </a:cubicBezTo>
                <a:lnTo>
                  <a:pt x="67058" y="270635"/>
                </a:lnTo>
                <a:cubicBezTo>
                  <a:pt x="61727" y="275491"/>
                  <a:pt x="53403" y="275117"/>
                  <a:pt x="48353" y="269701"/>
                </a:cubicBezTo>
                <a:lnTo>
                  <a:pt x="34511" y="254667"/>
                </a:lnTo>
                <a:cubicBezTo>
                  <a:pt x="32173" y="252052"/>
                  <a:pt x="31051" y="248970"/>
                  <a:pt x="31051" y="245702"/>
                </a:cubicBezTo>
                <a:cubicBezTo>
                  <a:pt x="31051" y="242247"/>
                  <a:pt x="32453" y="238605"/>
                  <a:pt x="35259" y="235990"/>
                </a:cubicBezTo>
                <a:lnTo>
                  <a:pt x="50036" y="222544"/>
                </a:lnTo>
                <a:cubicBezTo>
                  <a:pt x="40777" y="207696"/>
                  <a:pt x="35072" y="191261"/>
                  <a:pt x="32640" y="174639"/>
                </a:cubicBezTo>
                <a:lnTo>
                  <a:pt x="12626" y="173705"/>
                </a:lnTo>
                <a:cubicBezTo>
                  <a:pt x="5518" y="173332"/>
                  <a:pt x="0" y="167542"/>
                  <a:pt x="0" y="160539"/>
                </a:cubicBezTo>
                <a:lnTo>
                  <a:pt x="0" y="159885"/>
                </a:lnTo>
                <a:lnTo>
                  <a:pt x="842" y="139621"/>
                </a:lnTo>
                <a:cubicBezTo>
                  <a:pt x="1216" y="132431"/>
                  <a:pt x="7388" y="126642"/>
                  <a:pt x="14683" y="127015"/>
                </a:cubicBezTo>
                <a:lnTo>
                  <a:pt x="34885" y="127949"/>
                </a:lnTo>
                <a:cubicBezTo>
                  <a:pt x="38813" y="111514"/>
                  <a:pt x="46015" y="95826"/>
                  <a:pt x="56490" y="81819"/>
                </a:cubicBezTo>
                <a:lnTo>
                  <a:pt x="42741" y="66878"/>
                </a:lnTo>
                <a:cubicBezTo>
                  <a:pt x="40403" y="64263"/>
                  <a:pt x="39281" y="61182"/>
                  <a:pt x="39281" y="57913"/>
                </a:cubicBezTo>
                <a:cubicBezTo>
                  <a:pt x="39281" y="54458"/>
                  <a:pt x="40684" y="50816"/>
                  <a:pt x="43490" y="48202"/>
                </a:cubicBezTo>
                <a:lnTo>
                  <a:pt x="58641" y="34381"/>
                </a:lnTo>
                <a:cubicBezTo>
                  <a:pt x="63972" y="29526"/>
                  <a:pt x="72296" y="29899"/>
                  <a:pt x="77346" y="35315"/>
                </a:cubicBezTo>
                <a:lnTo>
                  <a:pt x="90627" y="50256"/>
                </a:lnTo>
                <a:cubicBezTo>
                  <a:pt x="105591" y="41011"/>
                  <a:pt x="121864" y="35128"/>
                  <a:pt x="138512" y="32794"/>
                </a:cubicBezTo>
                <a:lnTo>
                  <a:pt x="139447" y="12624"/>
                </a:lnTo>
                <a:cubicBezTo>
                  <a:pt x="139821" y="5433"/>
                  <a:pt x="145901" y="-356"/>
                  <a:pt x="153289" y="1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1" name="îṣḻïḓè">
            <a:extLst>
              <a:ext uri="{FF2B5EF4-FFF2-40B4-BE49-F238E27FC236}">
                <a16:creationId xmlns:a16="http://schemas.microsoft.com/office/drawing/2014/main" id="{30C8A656-A69C-4844-9B4C-38593487F7D6}"/>
              </a:ext>
            </a:extLst>
          </p:cNvPr>
          <p:cNvSpPr/>
          <p:nvPr/>
        </p:nvSpPr>
        <p:spPr bwMode="auto">
          <a:xfrm>
            <a:off x="3437252" y="-1336831"/>
            <a:ext cx="160881" cy="160568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81741" h="580612">
                <a:moveTo>
                  <a:pt x="291612" y="187916"/>
                </a:moveTo>
                <a:cubicBezTo>
                  <a:pt x="304876" y="187916"/>
                  <a:pt x="315648" y="198758"/>
                  <a:pt x="315648" y="212088"/>
                </a:cubicBezTo>
                <a:lnTo>
                  <a:pt x="315648" y="491836"/>
                </a:lnTo>
                <a:lnTo>
                  <a:pt x="331227" y="473974"/>
                </a:lnTo>
                <a:cubicBezTo>
                  <a:pt x="339863" y="463932"/>
                  <a:pt x="355086" y="462866"/>
                  <a:pt x="365145" y="471574"/>
                </a:cubicBezTo>
                <a:cubicBezTo>
                  <a:pt x="375116" y="480372"/>
                  <a:pt x="376184" y="495657"/>
                  <a:pt x="367460" y="505699"/>
                </a:cubicBezTo>
                <a:lnTo>
                  <a:pt x="309773" y="572348"/>
                </a:lnTo>
                <a:cubicBezTo>
                  <a:pt x="305143" y="577502"/>
                  <a:pt x="298556" y="580612"/>
                  <a:pt x="291612" y="580612"/>
                </a:cubicBezTo>
                <a:cubicBezTo>
                  <a:pt x="284579" y="580612"/>
                  <a:pt x="278080" y="577680"/>
                  <a:pt x="273451" y="572348"/>
                </a:cubicBezTo>
                <a:lnTo>
                  <a:pt x="215764" y="505699"/>
                </a:lnTo>
                <a:cubicBezTo>
                  <a:pt x="207039" y="495657"/>
                  <a:pt x="208108" y="480372"/>
                  <a:pt x="218078" y="471574"/>
                </a:cubicBezTo>
                <a:cubicBezTo>
                  <a:pt x="228049" y="462866"/>
                  <a:pt x="243272" y="463932"/>
                  <a:pt x="252085" y="473974"/>
                </a:cubicBezTo>
                <a:lnTo>
                  <a:pt x="267486" y="491747"/>
                </a:lnTo>
                <a:lnTo>
                  <a:pt x="267486" y="212088"/>
                </a:lnTo>
                <a:cubicBezTo>
                  <a:pt x="267486" y="198758"/>
                  <a:pt x="278258" y="187916"/>
                  <a:pt x="291612" y="187916"/>
                </a:cubicBezTo>
                <a:close/>
                <a:moveTo>
                  <a:pt x="329499" y="0"/>
                </a:moveTo>
                <a:cubicBezTo>
                  <a:pt x="426248" y="0"/>
                  <a:pt x="465322" y="80426"/>
                  <a:pt x="473332" y="108153"/>
                </a:cubicBezTo>
                <a:cubicBezTo>
                  <a:pt x="535280" y="120684"/>
                  <a:pt x="581474" y="175693"/>
                  <a:pt x="581741" y="241190"/>
                </a:cubicBezTo>
                <a:cubicBezTo>
                  <a:pt x="581741" y="315840"/>
                  <a:pt x="521306" y="376537"/>
                  <a:pt x="446987" y="376537"/>
                </a:cubicBezTo>
                <a:lnTo>
                  <a:pt x="372756" y="376537"/>
                </a:lnTo>
                <a:cubicBezTo>
                  <a:pt x="359316" y="376537"/>
                  <a:pt x="348546" y="365606"/>
                  <a:pt x="348546" y="352276"/>
                </a:cubicBezTo>
                <a:cubicBezTo>
                  <a:pt x="348546" y="338857"/>
                  <a:pt x="359316" y="327926"/>
                  <a:pt x="372756" y="327926"/>
                </a:cubicBezTo>
                <a:lnTo>
                  <a:pt x="446987" y="327926"/>
                </a:lnTo>
                <a:cubicBezTo>
                  <a:pt x="494605" y="327926"/>
                  <a:pt x="533322" y="289090"/>
                  <a:pt x="533322" y="241190"/>
                </a:cubicBezTo>
                <a:cubicBezTo>
                  <a:pt x="533322" y="195334"/>
                  <a:pt x="497720" y="157298"/>
                  <a:pt x="452238" y="154632"/>
                </a:cubicBezTo>
                <a:cubicBezTo>
                  <a:pt x="440934" y="153921"/>
                  <a:pt x="431589" y="145478"/>
                  <a:pt x="429809" y="134192"/>
                </a:cubicBezTo>
                <a:cubicBezTo>
                  <a:pt x="421709" y="84692"/>
                  <a:pt x="379609" y="48789"/>
                  <a:pt x="329677" y="48789"/>
                </a:cubicBezTo>
                <a:cubicBezTo>
                  <a:pt x="279567" y="48789"/>
                  <a:pt x="238001" y="84781"/>
                  <a:pt x="229457" y="134192"/>
                </a:cubicBezTo>
                <a:cubicBezTo>
                  <a:pt x="226520" y="151521"/>
                  <a:pt x="212190" y="162807"/>
                  <a:pt x="192964" y="151077"/>
                </a:cubicBezTo>
                <a:cubicBezTo>
                  <a:pt x="178011" y="141834"/>
                  <a:pt x="160922" y="136947"/>
                  <a:pt x="143299" y="136947"/>
                </a:cubicBezTo>
                <a:cubicBezTo>
                  <a:pt x="90964" y="136947"/>
                  <a:pt x="48419" y="179693"/>
                  <a:pt x="48419" y="232303"/>
                </a:cubicBezTo>
                <a:cubicBezTo>
                  <a:pt x="48419" y="284913"/>
                  <a:pt x="90964" y="327748"/>
                  <a:pt x="143299" y="327748"/>
                </a:cubicBezTo>
                <a:lnTo>
                  <a:pt x="218776" y="327748"/>
                </a:lnTo>
                <a:cubicBezTo>
                  <a:pt x="232216" y="327748"/>
                  <a:pt x="242986" y="338590"/>
                  <a:pt x="242986" y="352009"/>
                </a:cubicBezTo>
                <a:cubicBezTo>
                  <a:pt x="242986" y="365429"/>
                  <a:pt x="232216" y="376271"/>
                  <a:pt x="218776" y="376271"/>
                </a:cubicBezTo>
                <a:lnTo>
                  <a:pt x="143299" y="376271"/>
                </a:lnTo>
                <a:cubicBezTo>
                  <a:pt x="64262" y="376271"/>
                  <a:pt x="0" y="311574"/>
                  <a:pt x="0" y="232214"/>
                </a:cubicBezTo>
                <a:cubicBezTo>
                  <a:pt x="0" y="152854"/>
                  <a:pt x="64262" y="88158"/>
                  <a:pt x="143210" y="88158"/>
                </a:cubicBezTo>
                <a:cubicBezTo>
                  <a:pt x="159231" y="88158"/>
                  <a:pt x="174896" y="90735"/>
                  <a:pt x="189849" y="95978"/>
                </a:cubicBezTo>
                <a:cubicBezTo>
                  <a:pt x="198749" y="73050"/>
                  <a:pt x="238891" y="0"/>
                  <a:pt x="329499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2" name="iş1iḑe">
            <a:extLst>
              <a:ext uri="{FF2B5EF4-FFF2-40B4-BE49-F238E27FC236}">
                <a16:creationId xmlns:a16="http://schemas.microsoft.com/office/drawing/2014/main" id="{79D5FAF9-096B-4C61-A299-6A26A276E128}"/>
              </a:ext>
            </a:extLst>
          </p:cNvPr>
          <p:cNvSpPr/>
          <p:nvPr/>
        </p:nvSpPr>
        <p:spPr bwMode="auto">
          <a:xfrm>
            <a:off x="3207781" y="-1063014"/>
            <a:ext cx="160881" cy="160638"/>
          </a:xfrm>
          <a:custGeom>
            <a:avLst/>
            <a:gdLst>
              <a:gd name="connsiteX0" fmla="*/ 303820 w 607639"/>
              <a:gd name="connsiteY0" fmla="*/ 278099 h 606722"/>
              <a:gd name="connsiteX1" fmla="*/ 329118 w 607639"/>
              <a:gd name="connsiteY1" fmla="*/ 303362 h 606722"/>
              <a:gd name="connsiteX2" fmla="*/ 303820 w 607639"/>
              <a:gd name="connsiteY2" fmla="*/ 328625 h 606722"/>
              <a:gd name="connsiteX3" fmla="*/ 278522 w 607639"/>
              <a:gd name="connsiteY3" fmla="*/ 303362 h 606722"/>
              <a:gd name="connsiteX4" fmla="*/ 303820 w 607639"/>
              <a:gd name="connsiteY4" fmla="*/ 278099 h 606722"/>
              <a:gd name="connsiteX5" fmla="*/ 303775 w 607639"/>
              <a:gd name="connsiteY5" fmla="*/ 252735 h 606722"/>
              <a:gd name="connsiteX6" fmla="*/ 253140 w 607639"/>
              <a:gd name="connsiteY6" fmla="*/ 303317 h 606722"/>
              <a:gd name="connsiteX7" fmla="*/ 303775 w 607639"/>
              <a:gd name="connsiteY7" fmla="*/ 353900 h 606722"/>
              <a:gd name="connsiteX8" fmla="*/ 354410 w 607639"/>
              <a:gd name="connsiteY8" fmla="*/ 303317 h 606722"/>
              <a:gd name="connsiteX9" fmla="*/ 303775 w 607639"/>
              <a:gd name="connsiteY9" fmla="*/ 252735 h 606722"/>
              <a:gd name="connsiteX10" fmla="*/ 303775 w 607639"/>
              <a:gd name="connsiteY10" fmla="*/ 202241 h 606722"/>
              <a:gd name="connsiteX11" fmla="*/ 405045 w 607639"/>
              <a:gd name="connsiteY11" fmla="*/ 303317 h 606722"/>
              <a:gd name="connsiteX12" fmla="*/ 303775 w 607639"/>
              <a:gd name="connsiteY12" fmla="*/ 404482 h 606722"/>
              <a:gd name="connsiteX13" fmla="*/ 202593 w 607639"/>
              <a:gd name="connsiteY13" fmla="*/ 303317 h 606722"/>
              <a:gd name="connsiteX14" fmla="*/ 303775 w 607639"/>
              <a:gd name="connsiteY14" fmla="*/ 202241 h 606722"/>
              <a:gd name="connsiteX15" fmla="*/ 303775 w 607639"/>
              <a:gd name="connsiteY15" fmla="*/ 151703 h 606722"/>
              <a:gd name="connsiteX16" fmla="*/ 151932 w 607639"/>
              <a:gd name="connsiteY16" fmla="*/ 303317 h 606722"/>
              <a:gd name="connsiteX17" fmla="*/ 303775 w 607639"/>
              <a:gd name="connsiteY17" fmla="*/ 455019 h 606722"/>
              <a:gd name="connsiteX18" fmla="*/ 455707 w 607639"/>
              <a:gd name="connsiteY18" fmla="*/ 303317 h 606722"/>
              <a:gd name="connsiteX19" fmla="*/ 303775 w 607639"/>
              <a:gd name="connsiteY19" fmla="*/ 151703 h 606722"/>
              <a:gd name="connsiteX20" fmla="*/ 253131 w 607639"/>
              <a:gd name="connsiteY20" fmla="*/ 0 h 606722"/>
              <a:gd name="connsiteX21" fmla="*/ 354419 w 607639"/>
              <a:gd name="connsiteY21" fmla="*/ 0 h 606722"/>
              <a:gd name="connsiteX22" fmla="*/ 379786 w 607639"/>
              <a:gd name="connsiteY22" fmla="*/ 25239 h 606722"/>
              <a:gd name="connsiteX23" fmla="*/ 379786 w 607639"/>
              <a:gd name="connsiteY23" fmla="*/ 62387 h 606722"/>
              <a:gd name="connsiteX24" fmla="*/ 420639 w 607639"/>
              <a:gd name="connsiteY24" fmla="*/ 79451 h 606722"/>
              <a:gd name="connsiteX25" fmla="*/ 446985 w 607639"/>
              <a:gd name="connsiteY25" fmla="*/ 53145 h 606722"/>
              <a:gd name="connsiteX26" fmla="*/ 482854 w 607639"/>
              <a:gd name="connsiteY26" fmla="*/ 53145 h 606722"/>
              <a:gd name="connsiteX27" fmla="*/ 554414 w 607639"/>
              <a:gd name="connsiteY27" fmla="*/ 124597 h 606722"/>
              <a:gd name="connsiteX28" fmla="*/ 554414 w 607639"/>
              <a:gd name="connsiteY28" fmla="*/ 160323 h 606722"/>
              <a:gd name="connsiteX29" fmla="*/ 528069 w 607639"/>
              <a:gd name="connsiteY29" fmla="*/ 186629 h 606722"/>
              <a:gd name="connsiteX30" fmla="*/ 545158 w 607639"/>
              <a:gd name="connsiteY30" fmla="*/ 227510 h 606722"/>
              <a:gd name="connsiteX31" fmla="*/ 582273 w 607639"/>
              <a:gd name="connsiteY31" fmla="*/ 227510 h 606722"/>
              <a:gd name="connsiteX32" fmla="*/ 607639 w 607639"/>
              <a:gd name="connsiteY32" fmla="*/ 252749 h 606722"/>
              <a:gd name="connsiteX33" fmla="*/ 607639 w 607639"/>
              <a:gd name="connsiteY33" fmla="*/ 353884 h 606722"/>
              <a:gd name="connsiteX34" fmla="*/ 582273 w 607639"/>
              <a:gd name="connsiteY34" fmla="*/ 379212 h 606722"/>
              <a:gd name="connsiteX35" fmla="*/ 545158 w 607639"/>
              <a:gd name="connsiteY35" fmla="*/ 379212 h 606722"/>
              <a:gd name="connsiteX36" fmla="*/ 528069 w 607639"/>
              <a:gd name="connsiteY36" fmla="*/ 420004 h 606722"/>
              <a:gd name="connsiteX37" fmla="*/ 554414 w 607639"/>
              <a:gd name="connsiteY37" fmla="*/ 446310 h 606722"/>
              <a:gd name="connsiteX38" fmla="*/ 554414 w 607639"/>
              <a:gd name="connsiteY38" fmla="*/ 482125 h 606722"/>
              <a:gd name="connsiteX39" fmla="*/ 482854 w 607639"/>
              <a:gd name="connsiteY39" fmla="*/ 553577 h 606722"/>
              <a:gd name="connsiteX40" fmla="*/ 446985 w 607639"/>
              <a:gd name="connsiteY40" fmla="*/ 553577 h 606722"/>
              <a:gd name="connsiteX41" fmla="*/ 420639 w 607639"/>
              <a:gd name="connsiteY41" fmla="*/ 527271 h 606722"/>
              <a:gd name="connsiteX42" fmla="*/ 379786 w 607639"/>
              <a:gd name="connsiteY42" fmla="*/ 544246 h 606722"/>
              <a:gd name="connsiteX43" fmla="*/ 379786 w 607639"/>
              <a:gd name="connsiteY43" fmla="*/ 581394 h 606722"/>
              <a:gd name="connsiteX44" fmla="*/ 354419 w 607639"/>
              <a:gd name="connsiteY44" fmla="*/ 606722 h 606722"/>
              <a:gd name="connsiteX45" fmla="*/ 253131 w 607639"/>
              <a:gd name="connsiteY45" fmla="*/ 606722 h 606722"/>
              <a:gd name="connsiteX46" fmla="*/ 227854 w 607639"/>
              <a:gd name="connsiteY46" fmla="*/ 581394 h 606722"/>
              <a:gd name="connsiteX47" fmla="*/ 227854 w 607639"/>
              <a:gd name="connsiteY47" fmla="*/ 544246 h 606722"/>
              <a:gd name="connsiteX48" fmla="*/ 186911 w 607639"/>
              <a:gd name="connsiteY48" fmla="*/ 527271 h 606722"/>
              <a:gd name="connsiteX49" fmla="*/ 160566 w 607639"/>
              <a:gd name="connsiteY49" fmla="*/ 553577 h 606722"/>
              <a:gd name="connsiteX50" fmla="*/ 124786 w 607639"/>
              <a:gd name="connsiteY50" fmla="*/ 553577 h 606722"/>
              <a:gd name="connsiteX51" fmla="*/ 53225 w 607639"/>
              <a:gd name="connsiteY51" fmla="*/ 482125 h 606722"/>
              <a:gd name="connsiteX52" fmla="*/ 53225 w 607639"/>
              <a:gd name="connsiteY52" fmla="*/ 446310 h 606722"/>
              <a:gd name="connsiteX53" fmla="*/ 79482 w 607639"/>
              <a:gd name="connsiteY53" fmla="*/ 420004 h 606722"/>
              <a:gd name="connsiteX54" fmla="*/ 62482 w 607639"/>
              <a:gd name="connsiteY54" fmla="*/ 379212 h 606722"/>
              <a:gd name="connsiteX55" fmla="*/ 25278 w 607639"/>
              <a:gd name="connsiteY55" fmla="*/ 379212 h 606722"/>
              <a:gd name="connsiteX56" fmla="*/ 0 w 607639"/>
              <a:gd name="connsiteY56" fmla="*/ 353884 h 606722"/>
              <a:gd name="connsiteX57" fmla="*/ 0 w 607639"/>
              <a:gd name="connsiteY57" fmla="*/ 252749 h 606722"/>
              <a:gd name="connsiteX58" fmla="*/ 25278 w 607639"/>
              <a:gd name="connsiteY58" fmla="*/ 227510 h 606722"/>
              <a:gd name="connsiteX59" fmla="*/ 62482 w 607639"/>
              <a:gd name="connsiteY59" fmla="*/ 227510 h 606722"/>
              <a:gd name="connsiteX60" fmla="*/ 79482 w 607639"/>
              <a:gd name="connsiteY60" fmla="*/ 186629 h 606722"/>
              <a:gd name="connsiteX61" fmla="*/ 53225 w 607639"/>
              <a:gd name="connsiteY61" fmla="*/ 160323 h 606722"/>
              <a:gd name="connsiteX62" fmla="*/ 53225 w 607639"/>
              <a:gd name="connsiteY62" fmla="*/ 124597 h 606722"/>
              <a:gd name="connsiteX63" fmla="*/ 124786 w 607639"/>
              <a:gd name="connsiteY63" fmla="*/ 53145 h 606722"/>
              <a:gd name="connsiteX64" fmla="*/ 160566 w 607639"/>
              <a:gd name="connsiteY64" fmla="*/ 53145 h 606722"/>
              <a:gd name="connsiteX65" fmla="*/ 186911 w 607639"/>
              <a:gd name="connsiteY65" fmla="*/ 79451 h 606722"/>
              <a:gd name="connsiteX66" fmla="*/ 227854 w 607639"/>
              <a:gd name="connsiteY66" fmla="*/ 62387 h 606722"/>
              <a:gd name="connsiteX67" fmla="*/ 227854 w 607639"/>
              <a:gd name="connsiteY67" fmla="*/ 25239 h 606722"/>
              <a:gd name="connsiteX68" fmla="*/ 253131 w 607639"/>
              <a:gd name="connsiteY68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07639" h="606722">
                <a:moveTo>
                  <a:pt x="303820" y="278099"/>
                </a:moveTo>
                <a:cubicBezTo>
                  <a:pt x="317792" y="278099"/>
                  <a:pt x="329118" y="289410"/>
                  <a:pt x="329118" y="303362"/>
                </a:cubicBezTo>
                <a:cubicBezTo>
                  <a:pt x="329118" y="317314"/>
                  <a:pt x="317792" y="328625"/>
                  <a:pt x="303820" y="328625"/>
                </a:cubicBezTo>
                <a:cubicBezTo>
                  <a:pt x="289848" y="328625"/>
                  <a:pt x="278522" y="317314"/>
                  <a:pt x="278522" y="303362"/>
                </a:cubicBezTo>
                <a:cubicBezTo>
                  <a:pt x="278522" y="289410"/>
                  <a:pt x="289848" y="278099"/>
                  <a:pt x="303820" y="278099"/>
                </a:cubicBezTo>
                <a:close/>
                <a:moveTo>
                  <a:pt x="303775" y="252735"/>
                </a:moveTo>
                <a:cubicBezTo>
                  <a:pt x="275921" y="252735"/>
                  <a:pt x="253140" y="275492"/>
                  <a:pt x="253140" y="303317"/>
                </a:cubicBezTo>
                <a:cubicBezTo>
                  <a:pt x="253140" y="331231"/>
                  <a:pt x="275921" y="353900"/>
                  <a:pt x="303775" y="353900"/>
                </a:cubicBezTo>
                <a:cubicBezTo>
                  <a:pt x="331718" y="353900"/>
                  <a:pt x="354410" y="331231"/>
                  <a:pt x="354410" y="303317"/>
                </a:cubicBezTo>
                <a:cubicBezTo>
                  <a:pt x="354410" y="275492"/>
                  <a:pt x="331718" y="252735"/>
                  <a:pt x="303775" y="252735"/>
                </a:cubicBezTo>
                <a:close/>
                <a:moveTo>
                  <a:pt x="303775" y="202241"/>
                </a:moveTo>
                <a:cubicBezTo>
                  <a:pt x="359660" y="202241"/>
                  <a:pt x="405045" y="247579"/>
                  <a:pt x="405045" y="303317"/>
                </a:cubicBezTo>
                <a:cubicBezTo>
                  <a:pt x="405045" y="359144"/>
                  <a:pt x="359660" y="404482"/>
                  <a:pt x="303775" y="404482"/>
                </a:cubicBezTo>
                <a:cubicBezTo>
                  <a:pt x="247978" y="404482"/>
                  <a:pt x="202593" y="359144"/>
                  <a:pt x="202593" y="303317"/>
                </a:cubicBezTo>
                <a:cubicBezTo>
                  <a:pt x="202593" y="247579"/>
                  <a:pt x="247978" y="202241"/>
                  <a:pt x="303775" y="202241"/>
                </a:cubicBezTo>
                <a:close/>
                <a:moveTo>
                  <a:pt x="303775" y="151703"/>
                </a:moveTo>
                <a:cubicBezTo>
                  <a:pt x="220021" y="151703"/>
                  <a:pt x="151932" y="219689"/>
                  <a:pt x="151932" y="303317"/>
                </a:cubicBezTo>
                <a:cubicBezTo>
                  <a:pt x="151932" y="387033"/>
                  <a:pt x="220021" y="455019"/>
                  <a:pt x="303775" y="455019"/>
                </a:cubicBezTo>
                <a:cubicBezTo>
                  <a:pt x="387618" y="455019"/>
                  <a:pt x="455707" y="387033"/>
                  <a:pt x="455707" y="303317"/>
                </a:cubicBezTo>
                <a:cubicBezTo>
                  <a:pt x="455707" y="219689"/>
                  <a:pt x="387618" y="151703"/>
                  <a:pt x="303775" y="151703"/>
                </a:cubicBezTo>
                <a:close/>
                <a:moveTo>
                  <a:pt x="253131" y="0"/>
                </a:moveTo>
                <a:lnTo>
                  <a:pt x="354419" y="0"/>
                </a:lnTo>
                <a:cubicBezTo>
                  <a:pt x="368482" y="0"/>
                  <a:pt x="379786" y="11287"/>
                  <a:pt x="379786" y="25239"/>
                </a:cubicBezTo>
                <a:lnTo>
                  <a:pt x="379786" y="62387"/>
                </a:lnTo>
                <a:cubicBezTo>
                  <a:pt x="393849" y="66831"/>
                  <a:pt x="407555" y="72519"/>
                  <a:pt x="420639" y="79451"/>
                </a:cubicBezTo>
                <a:lnTo>
                  <a:pt x="446985" y="53145"/>
                </a:lnTo>
                <a:cubicBezTo>
                  <a:pt x="456953" y="43191"/>
                  <a:pt x="472974" y="43191"/>
                  <a:pt x="482854" y="53145"/>
                </a:cubicBezTo>
                <a:lnTo>
                  <a:pt x="554414" y="124597"/>
                </a:lnTo>
                <a:cubicBezTo>
                  <a:pt x="564294" y="134462"/>
                  <a:pt x="564294" y="150459"/>
                  <a:pt x="554414" y="160323"/>
                </a:cubicBezTo>
                <a:lnTo>
                  <a:pt x="528069" y="186629"/>
                </a:lnTo>
                <a:cubicBezTo>
                  <a:pt x="535011" y="199782"/>
                  <a:pt x="540707" y="213468"/>
                  <a:pt x="545158" y="227510"/>
                </a:cubicBezTo>
                <a:lnTo>
                  <a:pt x="582273" y="227510"/>
                </a:lnTo>
                <a:cubicBezTo>
                  <a:pt x="596336" y="227510"/>
                  <a:pt x="607639" y="238796"/>
                  <a:pt x="607639" y="252749"/>
                </a:cubicBezTo>
                <a:lnTo>
                  <a:pt x="607639" y="353884"/>
                </a:lnTo>
                <a:cubicBezTo>
                  <a:pt x="607639" y="367926"/>
                  <a:pt x="596247" y="379212"/>
                  <a:pt x="582273" y="379212"/>
                </a:cubicBezTo>
                <a:lnTo>
                  <a:pt x="545158" y="379212"/>
                </a:lnTo>
                <a:cubicBezTo>
                  <a:pt x="540707" y="393254"/>
                  <a:pt x="535011" y="406940"/>
                  <a:pt x="528069" y="420004"/>
                </a:cubicBezTo>
                <a:lnTo>
                  <a:pt x="554414" y="446310"/>
                </a:lnTo>
                <a:cubicBezTo>
                  <a:pt x="564294" y="456263"/>
                  <a:pt x="564294" y="472260"/>
                  <a:pt x="554414" y="482125"/>
                </a:cubicBezTo>
                <a:lnTo>
                  <a:pt x="482854" y="553577"/>
                </a:lnTo>
                <a:cubicBezTo>
                  <a:pt x="472974" y="563442"/>
                  <a:pt x="456953" y="563442"/>
                  <a:pt x="446985" y="553577"/>
                </a:cubicBezTo>
                <a:lnTo>
                  <a:pt x="420639" y="527271"/>
                </a:lnTo>
                <a:cubicBezTo>
                  <a:pt x="407555" y="534203"/>
                  <a:pt x="393849" y="539802"/>
                  <a:pt x="379786" y="544246"/>
                </a:cubicBezTo>
                <a:lnTo>
                  <a:pt x="379786" y="581394"/>
                </a:lnTo>
                <a:cubicBezTo>
                  <a:pt x="379786" y="595435"/>
                  <a:pt x="368393" y="606722"/>
                  <a:pt x="354419" y="606722"/>
                </a:cubicBezTo>
                <a:lnTo>
                  <a:pt x="253131" y="606722"/>
                </a:lnTo>
                <a:cubicBezTo>
                  <a:pt x="239157" y="606722"/>
                  <a:pt x="227854" y="595435"/>
                  <a:pt x="227854" y="581394"/>
                </a:cubicBezTo>
                <a:lnTo>
                  <a:pt x="227854" y="544246"/>
                </a:lnTo>
                <a:cubicBezTo>
                  <a:pt x="213791" y="539802"/>
                  <a:pt x="200084" y="534203"/>
                  <a:pt x="186911" y="527271"/>
                </a:cubicBezTo>
                <a:lnTo>
                  <a:pt x="160566" y="553577"/>
                </a:lnTo>
                <a:cubicBezTo>
                  <a:pt x="150686" y="563442"/>
                  <a:pt x="134665" y="563442"/>
                  <a:pt x="124786" y="553577"/>
                </a:cubicBezTo>
                <a:lnTo>
                  <a:pt x="53225" y="482125"/>
                </a:lnTo>
                <a:cubicBezTo>
                  <a:pt x="43257" y="472260"/>
                  <a:pt x="43257" y="456263"/>
                  <a:pt x="53225" y="446310"/>
                </a:cubicBezTo>
                <a:lnTo>
                  <a:pt x="79482" y="420004"/>
                </a:lnTo>
                <a:cubicBezTo>
                  <a:pt x="72629" y="406940"/>
                  <a:pt x="66932" y="393254"/>
                  <a:pt x="62482" y="379212"/>
                </a:cubicBezTo>
                <a:lnTo>
                  <a:pt x="25278" y="379212"/>
                </a:lnTo>
                <a:cubicBezTo>
                  <a:pt x="11304" y="379212"/>
                  <a:pt x="0" y="367926"/>
                  <a:pt x="0" y="353884"/>
                </a:cubicBezTo>
                <a:lnTo>
                  <a:pt x="0" y="252749"/>
                </a:lnTo>
                <a:cubicBezTo>
                  <a:pt x="0" y="238796"/>
                  <a:pt x="11304" y="227510"/>
                  <a:pt x="25278" y="227510"/>
                </a:cubicBezTo>
                <a:lnTo>
                  <a:pt x="62482" y="227510"/>
                </a:lnTo>
                <a:cubicBezTo>
                  <a:pt x="66932" y="213468"/>
                  <a:pt x="72629" y="199782"/>
                  <a:pt x="79482" y="186629"/>
                </a:cubicBezTo>
                <a:lnTo>
                  <a:pt x="53225" y="160323"/>
                </a:lnTo>
                <a:cubicBezTo>
                  <a:pt x="43257" y="150459"/>
                  <a:pt x="43257" y="134462"/>
                  <a:pt x="53225" y="124597"/>
                </a:cubicBezTo>
                <a:lnTo>
                  <a:pt x="124786" y="53145"/>
                </a:lnTo>
                <a:cubicBezTo>
                  <a:pt x="134665" y="43191"/>
                  <a:pt x="150686" y="43191"/>
                  <a:pt x="160566" y="53145"/>
                </a:cubicBezTo>
                <a:lnTo>
                  <a:pt x="186911" y="79451"/>
                </a:lnTo>
                <a:cubicBezTo>
                  <a:pt x="200084" y="72519"/>
                  <a:pt x="213791" y="66831"/>
                  <a:pt x="227854" y="62387"/>
                </a:cubicBezTo>
                <a:lnTo>
                  <a:pt x="227854" y="25239"/>
                </a:lnTo>
                <a:cubicBezTo>
                  <a:pt x="227854" y="11287"/>
                  <a:pt x="239157" y="0"/>
                  <a:pt x="253131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3" name="ïṧľíďê">
            <a:extLst>
              <a:ext uri="{FF2B5EF4-FFF2-40B4-BE49-F238E27FC236}">
                <a16:creationId xmlns:a16="http://schemas.microsoft.com/office/drawing/2014/main" id="{83AC56C8-BB22-4DB6-8372-AA84DFFA3A81}"/>
              </a:ext>
            </a:extLst>
          </p:cNvPr>
          <p:cNvSpPr/>
          <p:nvPr/>
        </p:nvSpPr>
        <p:spPr bwMode="auto">
          <a:xfrm>
            <a:off x="2983478" y="-789151"/>
            <a:ext cx="160881" cy="160618"/>
          </a:xfrm>
          <a:custGeom>
            <a:avLst/>
            <a:gdLst>
              <a:gd name="connsiteX0" fmla="*/ 380418 w 604181"/>
              <a:gd name="connsiteY0" fmla="*/ 268007 h 603193"/>
              <a:gd name="connsiteX1" fmla="*/ 519220 w 604181"/>
              <a:gd name="connsiteY1" fmla="*/ 339187 h 603193"/>
              <a:gd name="connsiteX2" fmla="*/ 519220 w 604181"/>
              <a:gd name="connsiteY2" fmla="*/ 355820 h 603193"/>
              <a:gd name="connsiteX3" fmla="*/ 380418 w 604181"/>
              <a:gd name="connsiteY3" fmla="*/ 426850 h 603193"/>
              <a:gd name="connsiteX4" fmla="*/ 380418 w 604181"/>
              <a:gd name="connsiteY4" fmla="*/ 406320 h 603193"/>
              <a:gd name="connsiteX5" fmla="*/ 498212 w 604181"/>
              <a:gd name="connsiteY5" fmla="*/ 347728 h 603193"/>
              <a:gd name="connsiteX6" fmla="*/ 498212 w 604181"/>
              <a:gd name="connsiteY6" fmla="*/ 347129 h 603193"/>
              <a:gd name="connsiteX7" fmla="*/ 380418 w 604181"/>
              <a:gd name="connsiteY7" fmla="*/ 288687 h 603193"/>
              <a:gd name="connsiteX8" fmla="*/ 216565 w 604181"/>
              <a:gd name="connsiteY8" fmla="*/ 268007 h 603193"/>
              <a:gd name="connsiteX9" fmla="*/ 216565 w 604181"/>
              <a:gd name="connsiteY9" fmla="*/ 288687 h 603193"/>
              <a:gd name="connsiteX10" fmla="*/ 99664 w 604181"/>
              <a:gd name="connsiteY10" fmla="*/ 347129 h 603193"/>
              <a:gd name="connsiteX11" fmla="*/ 99664 w 604181"/>
              <a:gd name="connsiteY11" fmla="*/ 347728 h 603193"/>
              <a:gd name="connsiteX12" fmla="*/ 216565 w 604181"/>
              <a:gd name="connsiteY12" fmla="*/ 406320 h 603193"/>
              <a:gd name="connsiteX13" fmla="*/ 216565 w 604181"/>
              <a:gd name="connsiteY13" fmla="*/ 426850 h 603193"/>
              <a:gd name="connsiteX14" fmla="*/ 77904 w 604181"/>
              <a:gd name="connsiteY14" fmla="*/ 355521 h 603193"/>
              <a:gd name="connsiteX15" fmla="*/ 77904 w 604181"/>
              <a:gd name="connsiteY15" fmla="*/ 339486 h 603193"/>
              <a:gd name="connsiteX16" fmla="*/ 338273 w 604181"/>
              <a:gd name="connsiteY16" fmla="*/ 222493 h 603193"/>
              <a:gd name="connsiteX17" fmla="*/ 358684 w 604181"/>
              <a:gd name="connsiteY17" fmla="*/ 222493 h 603193"/>
              <a:gd name="connsiteX18" fmla="*/ 253179 w 604181"/>
              <a:gd name="connsiteY18" fmla="*/ 482103 h 603193"/>
              <a:gd name="connsiteX19" fmla="*/ 233219 w 604181"/>
              <a:gd name="connsiteY19" fmla="*/ 482103 h 603193"/>
              <a:gd name="connsiteX20" fmla="*/ 28813 w 604181"/>
              <a:gd name="connsiteY20" fmla="*/ 128849 h 603193"/>
              <a:gd name="connsiteX21" fmla="*/ 28813 w 604181"/>
              <a:gd name="connsiteY21" fmla="*/ 557497 h 603193"/>
              <a:gd name="connsiteX22" fmla="*/ 45921 w 604181"/>
              <a:gd name="connsiteY22" fmla="*/ 574427 h 603193"/>
              <a:gd name="connsiteX23" fmla="*/ 558410 w 604181"/>
              <a:gd name="connsiteY23" fmla="*/ 574427 h 603193"/>
              <a:gd name="connsiteX24" fmla="*/ 575368 w 604181"/>
              <a:gd name="connsiteY24" fmla="*/ 557497 h 603193"/>
              <a:gd name="connsiteX25" fmla="*/ 575368 w 604181"/>
              <a:gd name="connsiteY25" fmla="*/ 128849 h 603193"/>
              <a:gd name="connsiteX26" fmla="*/ 502734 w 604181"/>
              <a:gd name="connsiteY26" fmla="*/ 43149 h 603193"/>
              <a:gd name="connsiteX27" fmla="*/ 502734 w 604181"/>
              <a:gd name="connsiteY27" fmla="*/ 77309 h 603193"/>
              <a:gd name="connsiteX28" fmla="*/ 537100 w 604181"/>
              <a:gd name="connsiteY28" fmla="*/ 77309 h 603193"/>
              <a:gd name="connsiteX29" fmla="*/ 537100 w 604181"/>
              <a:gd name="connsiteY29" fmla="*/ 43149 h 603193"/>
              <a:gd name="connsiteX30" fmla="*/ 423197 w 604181"/>
              <a:gd name="connsiteY30" fmla="*/ 43149 h 603193"/>
              <a:gd name="connsiteX31" fmla="*/ 423197 w 604181"/>
              <a:gd name="connsiteY31" fmla="*/ 77309 h 603193"/>
              <a:gd name="connsiteX32" fmla="*/ 457563 w 604181"/>
              <a:gd name="connsiteY32" fmla="*/ 77309 h 603193"/>
              <a:gd name="connsiteX33" fmla="*/ 457563 w 604181"/>
              <a:gd name="connsiteY33" fmla="*/ 43149 h 603193"/>
              <a:gd name="connsiteX34" fmla="*/ 45921 w 604181"/>
              <a:gd name="connsiteY34" fmla="*/ 0 h 603193"/>
              <a:gd name="connsiteX35" fmla="*/ 558410 w 604181"/>
              <a:gd name="connsiteY35" fmla="*/ 0 h 603193"/>
              <a:gd name="connsiteX36" fmla="*/ 604181 w 604181"/>
              <a:gd name="connsiteY36" fmla="*/ 45846 h 603193"/>
              <a:gd name="connsiteX37" fmla="*/ 604181 w 604181"/>
              <a:gd name="connsiteY37" fmla="*/ 557497 h 603193"/>
              <a:gd name="connsiteX38" fmla="*/ 558410 w 604181"/>
              <a:gd name="connsiteY38" fmla="*/ 603193 h 603193"/>
              <a:gd name="connsiteX39" fmla="*/ 45921 w 604181"/>
              <a:gd name="connsiteY39" fmla="*/ 603193 h 603193"/>
              <a:gd name="connsiteX40" fmla="*/ 0 w 604181"/>
              <a:gd name="connsiteY40" fmla="*/ 557497 h 603193"/>
              <a:gd name="connsiteX41" fmla="*/ 0 w 604181"/>
              <a:gd name="connsiteY41" fmla="*/ 45846 h 603193"/>
              <a:gd name="connsiteX42" fmla="*/ 45921 w 604181"/>
              <a:gd name="connsiteY42" fmla="*/ 0 h 603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04181" h="603193">
                <a:moveTo>
                  <a:pt x="380418" y="268007"/>
                </a:moveTo>
                <a:lnTo>
                  <a:pt x="519220" y="339187"/>
                </a:lnTo>
                <a:lnTo>
                  <a:pt x="519220" y="355820"/>
                </a:lnTo>
                <a:lnTo>
                  <a:pt x="380418" y="426850"/>
                </a:lnTo>
                <a:lnTo>
                  <a:pt x="380418" y="406320"/>
                </a:lnTo>
                <a:lnTo>
                  <a:pt x="498212" y="347728"/>
                </a:lnTo>
                <a:lnTo>
                  <a:pt x="498212" y="347129"/>
                </a:lnTo>
                <a:lnTo>
                  <a:pt x="380418" y="288687"/>
                </a:lnTo>
                <a:close/>
                <a:moveTo>
                  <a:pt x="216565" y="268007"/>
                </a:moveTo>
                <a:lnTo>
                  <a:pt x="216565" y="288687"/>
                </a:lnTo>
                <a:lnTo>
                  <a:pt x="99664" y="347129"/>
                </a:lnTo>
                <a:lnTo>
                  <a:pt x="99664" y="347728"/>
                </a:lnTo>
                <a:lnTo>
                  <a:pt x="216565" y="406320"/>
                </a:lnTo>
                <a:lnTo>
                  <a:pt x="216565" y="426850"/>
                </a:lnTo>
                <a:lnTo>
                  <a:pt x="77904" y="355521"/>
                </a:lnTo>
                <a:lnTo>
                  <a:pt x="77904" y="339486"/>
                </a:lnTo>
                <a:close/>
                <a:moveTo>
                  <a:pt x="338273" y="222493"/>
                </a:moveTo>
                <a:lnTo>
                  <a:pt x="358684" y="222493"/>
                </a:lnTo>
                <a:lnTo>
                  <a:pt x="253179" y="482103"/>
                </a:lnTo>
                <a:lnTo>
                  <a:pt x="233219" y="482103"/>
                </a:lnTo>
                <a:close/>
                <a:moveTo>
                  <a:pt x="28813" y="128849"/>
                </a:moveTo>
                <a:lnTo>
                  <a:pt x="28813" y="557497"/>
                </a:lnTo>
                <a:cubicBezTo>
                  <a:pt x="28813" y="566786"/>
                  <a:pt x="36467" y="574427"/>
                  <a:pt x="45921" y="574427"/>
                </a:cubicBezTo>
                <a:lnTo>
                  <a:pt x="558410" y="574427"/>
                </a:lnTo>
                <a:cubicBezTo>
                  <a:pt x="567714" y="574427"/>
                  <a:pt x="575368" y="566786"/>
                  <a:pt x="575368" y="557497"/>
                </a:cubicBezTo>
                <a:lnTo>
                  <a:pt x="575368" y="128849"/>
                </a:lnTo>
                <a:close/>
                <a:moveTo>
                  <a:pt x="502734" y="43149"/>
                </a:moveTo>
                <a:lnTo>
                  <a:pt x="502734" y="77309"/>
                </a:lnTo>
                <a:lnTo>
                  <a:pt x="537100" y="77309"/>
                </a:lnTo>
                <a:lnTo>
                  <a:pt x="537100" y="43149"/>
                </a:lnTo>
                <a:close/>
                <a:moveTo>
                  <a:pt x="423197" y="43149"/>
                </a:moveTo>
                <a:lnTo>
                  <a:pt x="423197" y="77309"/>
                </a:lnTo>
                <a:lnTo>
                  <a:pt x="457563" y="77309"/>
                </a:lnTo>
                <a:lnTo>
                  <a:pt x="457563" y="43149"/>
                </a:lnTo>
                <a:close/>
                <a:moveTo>
                  <a:pt x="45921" y="0"/>
                </a:moveTo>
                <a:lnTo>
                  <a:pt x="558410" y="0"/>
                </a:lnTo>
                <a:cubicBezTo>
                  <a:pt x="583621" y="0"/>
                  <a:pt x="604181" y="20526"/>
                  <a:pt x="604181" y="45846"/>
                </a:cubicBezTo>
                <a:lnTo>
                  <a:pt x="604181" y="557497"/>
                </a:lnTo>
                <a:cubicBezTo>
                  <a:pt x="604181" y="582667"/>
                  <a:pt x="583621" y="603193"/>
                  <a:pt x="558410" y="603193"/>
                </a:cubicBezTo>
                <a:lnTo>
                  <a:pt x="45921" y="603193"/>
                </a:lnTo>
                <a:cubicBezTo>
                  <a:pt x="20560" y="603193"/>
                  <a:pt x="0" y="582667"/>
                  <a:pt x="0" y="557497"/>
                </a:cubicBezTo>
                <a:lnTo>
                  <a:pt x="0" y="45846"/>
                </a:lnTo>
                <a:cubicBezTo>
                  <a:pt x="0" y="20526"/>
                  <a:pt x="20560" y="0"/>
                  <a:pt x="4592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4" name="îṣḻîḍé">
            <a:extLst>
              <a:ext uri="{FF2B5EF4-FFF2-40B4-BE49-F238E27FC236}">
                <a16:creationId xmlns:a16="http://schemas.microsoft.com/office/drawing/2014/main" id="{716A4AAF-66FE-4462-901E-658C29D84AD8}"/>
              </a:ext>
            </a:extLst>
          </p:cNvPr>
          <p:cNvSpPr/>
          <p:nvPr/>
        </p:nvSpPr>
        <p:spPr bwMode="auto">
          <a:xfrm>
            <a:off x="2753906" y="-515309"/>
            <a:ext cx="160881" cy="160638"/>
          </a:xfrm>
          <a:custGeom>
            <a:avLst/>
            <a:gdLst>
              <a:gd name="T0" fmla="*/ 6624 w 7154"/>
              <a:gd name="T1" fmla="*/ 2037 h 7154"/>
              <a:gd name="T2" fmla="*/ 6106 w 7154"/>
              <a:gd name="T3" fmla="*/ 1048 h 7154"/>
              <a:gd name="T4" fmla="*/ 5117 w 7154"/>
              <a:gd name="T5" fmla="*/ 530 h 7154"/>
              <a:gd name="T6" fmla="*/ 4643 w 7154"/>
              <a:gd name="T7" fmla="*/ 334 h 7154"/>
              <a:gd name="T8" fmla="*/ 3577 w 7154"/>
              <a:gd name="T9" fmla="*/ 0 h 7154"/>
              <a:gd name="T10" fmla="*/ 2511 w 7154"/>
              <a:gd name="T11" fmla="*/ 334 h 7154"/>
              <a:gd name="T12" fmla="*/ 2037 w 7154"/>
              <a:gd name="T13" fmla="*/ 530 h 7154"/>
              <a:gd name="T14" fmla="*/ 1048 w 7154"/>
              <a:gd name="T15" fmla="*/ 1048 h 7154"/>
              <a:gd name="T16" fmla="*/ 530 w 7154"/>
              <a:gd name="T17" fmla="*/ 2037 h 7154"/>
              <a:gd name="T18" fmla="*/ 334 w 7154"/>
              <a:gd name="T19" fmla="*/ 2511 h 7154"/>
              <a:gd name="T20" fmla="*/ 0 w 7154"/>
              <a:gd name="T21" fmla="*/ 3577 h 7154"/>
              <a:gd name="T22" fmla="*/ 334 w 7154"/>
              <a:gd name="T23" fmla="*/ 4643 h 7154"/>
              <a:gd name="T24" fmla="*/ 530 w 7154"/>
              <a:gd name="T25" fmla="*/ 5117 h 7154"/>
              <a:gd name="T26" fmla="*/ 1048 w 7154"/>
              <a:gd name="T27" fmla="*/ 6106 h 7154"/>
              <a:gd name="T28" fmla="*/ 2037 w 7154"/>
              <a:gd name="T29" fmla="*/ 6624 h 7154"/>
              <a:gd name="T30" fmla="*/ 2511 w 7154"/>
              <a:gd name="T31" fmla="*/ 6820 h 7154"/>
              <a:gd name="T32" fmla="*/ 3577 w 7154"/>
              <a:gd name="T33" fmla="*/ 7154 h 7154"/>
              <a:gd name="T34" fmla="*/ 4643 w 7154"/>
              <a:gd name="T35" fmla="*/ 6820 h 7154"/>
              <a:gd name="T36" fmla="*/ 5117 w 7154"/>
              <a:gd name="T37" fmla="*/ 6624 h 7154"/>
              <a:gd name="T38" fmla="*/ 6106 w 7154"/>
              <a:gd name="T39" fmla="*/ 6106 h 7154"/>
              <a:gd name="T40" fmla="*/ 6624 w 7154"/>
              <a:gd name="T41" fmla="*/ 5117 h 7154"/>
              <a:gd name="T42" fmla="*/ 6820 w 7154"/>
              <a:gd name="T43" fmla="*/ 4643 h 7154"/>
              <a:gd name="T44" fmla="*/ 7154 w 7154"/>
              <a:gd name="T45" fmla="*/ 3577 h 7154"/>
              <a:gd name="T46" fmla="*/ 6820 w 7154"/>
              <a:gd name="T47" fmla="*/ 2511 h 7154"/>
              <a:gd name="T48" fmla="*/ 6624 w 7154"/>
              <a:gd name="T49" fmla="*/ 2037 h 7154"/>
              <a:gd name="T50" fmla="*/ 5857 w 7154"/>
              <a:gd name="T51" fmla="*/ 2406 h 7154"/>
              <a:gd name="T52" fmla="*/ 3286 w 7154"/>
              <a:gd name="T53" fmla="*/ 4976 h 7154"/>
              <a:gd name="T54" fmla="*/ 2875 w 7154"/>
              <a:gd name="T55" fmla="*/ 5387 h 7154"/>
              <a:gd name="T56" fmla="*/ 2464 w 7154"/>
              <a:gd name="T57" fmla="*/ 5387 h 7154"/>
              <a:gd name="T58" fmla="*/ 2053 w 7154"/>
              <a:gd name="T59" fmla="*/ 4976 h 7154"/>
              <a:gd name="T60" fmla="*/ 1297 w 7154"/>
              <a:gd name="T61" fmla="*/ 4221 h 7154"/>
              <a:gd name="T62" fmla="*/ 1297 w 7154"/>
              <a:gd name="T63" fmla="*/ 3809 h 7154"/>
              <a:gd name="T64" fmla="*/ 1708 w 7154"/>
              <a:gd name="T65" fmla="*/ 3398 h 7154"/>
              <a:gd name="T66" fmla="*/ 2120 w 7154"/>
              <a:gd name="T67" fmla="*/ 3398 h 7154"/>
              <a:gd name="T68" fmla="*/ 2669 w 7154"/>
              <a:gd name="T69" fmla="*/ 3948 h 7154"/>
              <a:gd name="T70" fmla="*/ 5034 w 7154"/>
              <a:gd name="T71" fmla="*/ 1583 h 7154"/>
              <a:gd name="T72" fmla="*/ 5445 w 7154"/>
              <a:gd name="T73" fmla="*/ 1583 h 7154"/>
              <a:gd name="T74" fmla="*/ 5857 w 7154"/>
              <a:gd name="T75" fmla="*/ 1994 h 7154"/>
              <a:gd name="T76" fmla="*/ 5857 w 7154"/>
              <a:gd name="T77" fmla="*/ 2406 h 7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154" h="7154">
                <a:moveTo>
                  <a:pt x="6624" y="2037"/>
                </a:moveTo>
                <a:cubicBezTo>
                  <a:pt x="6580" y="1703"/>
                  <a:pt x="6403" y="1345"/>
                  <a:pt x="6106" y="1048"/>
                </a:cubicBezTo>
                <a:cubicBezTo>
                  <a:pt x="5809" y="751"/>
                  <a:pt x="5451" y="574"/>
                  <a:pt x="5117" y="530"/>
                </a:cubicBezTo>
                <a:cubicBezTo>
                  <a:pt x="4966" y="510"/>
                  <a:pt x="4764" y="427"/>
                  <a:pt x="4643" y="334"/>
                </a:cubicBezTo>
                <a:cubicBezTo>
                  <a:pt x="4375" y="128"/>
                  <a:pt x="3997" y="0"/>
                  <a:pt x="3577" y="0"/>
                </a:cubicBezTo>
                <a:cubicBezTo>
                  <a:pt x="3157" y="0"/>
                  <a:pt x="2779" y="128"/>
                  <a:pt x="2511" y="334"/>
                </a:cubicBezTo>
                <a:cubicBezTo>
                  <a:pt x="2390" y="427"/>
                  <a:pt x="2188" y="510"/>
                  <a:pt x="2037" y="530"/>
                </a:cubicBezTo>
                <a:cubicBezTo>
                  <a:pt x="1702" y="574"/>
                  <a:pt x="1345" y="751"/>
                  <a:pt x="1048" y="1048"/>
                </a:cubicBezTo>
                <a:cubicBezTo>
                  <a:pt x="751" y="1345"/>
                  <a:pt x="574" y="1703"/>
                  <a:pt x="530" y="2037"/>
                </a:cubicBezTo>
                <a:cubicBezTo>
                  <a:pt x="510" y="2188"/>
                  <a:pt x="427" y="2390"/>
                  <a:pt x="334" y="2511"/>
                </a:cubicBezTo>
                <a:cubicBezTo>
                  <a:pt x="128" y="2779"/>
                  <a:pt x="0" y="3157"/>
                  <a:pt x="0" y="3577"/>
                </a:cubicBezTo>
                <a:cubicBezTo>
                  <a:pt x="0" y="3997"/>
                  <a:pt x="128" y="4375"/>
                  <a:pt x="334" y="4643"/>
                </a:cubicBezTo>
                <a:cubicBezTo>
                  <a:pt x="427" y="4764"/>
                  <a:pt x="510" y="4966"/>
                  <a:pt x="530" y="5117"/>
                </a:cubicBezTo>
                <a:cubicBezTo>
                  <a:pt x="574" y="5451"/>
                  <a:pt x="751" y="5809"/>
                  <a:pt x="1048" y="6106"/>
                </a:cubicBezTo>
                <a:cubicBezTo>
                  <a:pt x="1345" y="6403"/>
                  <a:pt x="1702" y="6580"/>
                  <a:pt x="2037" y="6624"/>
                </a:cubicBezTo>
                <a:cubicBezTo>
                  <a:pt x="2188" y="6644"/>
                  <a:pt x="2390" y="6727"/>
                  <a:pt x="2511" y="6820"/>
                </a:cubicBezTo>
                <a:cubicBezTo>
                  <a:pt x="2779" y="7025"/>
                  <a:pt x="3157" y="7154"/>
                  <a:pt x="3577" y="7154"/>
                </a:cubicBezTo>
                <a:cubicBezTo>
                  <a:pt x="3997" y="7154"/>
                  <a:pt x="4375" y="7025"/>
                  <a:pt x="4643" y="6820"/>
                </a:cubicBezTo>
                <a:cubicBezTo>
                  <a:pt x="4764" y="6727"/>
                  <a:pt x="4966" y="6644"/>
                  <a:pt x="5117" y="6624"/>
                </a:cubicBezTo>
                <a:cubicBezTo>
                  <a:pt x="5451" y="6580"/>
                  <a:pt x="5809" y="6403"/>
                  <a:pt x="6106" y="6106"/>
                </a:cubicBezTo>
                <a:cubicBezTo>
                  <a:pt x="6403" y="5809"/>
                  <a:pt x="6580" y="5451"/>
                  <a:pt x="6624" y="5117"/>
                </a:cubicBezTo>
                <a:cubicBezTo>
                  <a:pt x="6644" y="4966"/>
                  <a:pt x="6727" y="4764"/>
                  <a:pt x="6820" y="4643"/>
                </a:cubicBezTo>
                <a:cubicBezTo>
                  <a:pt x="7026" y="4375"/>
                  <a:pt x="7154" y="3997"/>
                  <a:pt x="7154" y="3577"/>
                </a:cubicBezTo>
                <a:cubicBezTo>
                  <a:pt x="7154" y="3157"/>
                  <a:pt x="7026" y="2779"/>
                  <a:pt x="6820" y="2511"/>
                </a:cubicBezTo>
                <a:cubicBezTo>
                  <a:pt x="6727" y="2390"/>
                  <a:pt x="6644" y="2188"/>
                  <a:pt x="6624" y="2037"/>
                </a:cubicBezTo>
                <a:close/>
                <a:moveTo>
                  <a:pt x="5857" y="2406"/>
                </a:moveTo>
                <a:lnTo>
                  <a:pt x="3286" y="4976"/>
                </a:lnTo>
                <a:lnTo>
                  <a:pt x="2875" y="5387"/>
                </a:lnTo>
                <a:cubicBezTo>
                  <a:pt x="2762" y="5501"/>
                  <a:pt x="2577" y="5501"/>
                  <a:pt x="2464" y="5387"/>
                </a:cubicBezTo>
                <a:lnTo>
                  <a:pt x="2053" y="4976"/>
                </a:lnTo>
                <a:lnTo>
                  <a:pt x="1297" y="4221"/>
                </a:lnTo>
                <a:cubicBezTo>
                  <a:pt x="1183" y="4107"/>
                  <a:pt x="1183" y="3923"/>
                  <a:pt x="1297" y="3809"/>
                </a:cubicBezTo>
                <a:lnTo>
                  <a:pt x="1708" y="3398"/>
                </a:lnTo>
                <a:cubicBezTo>
                  <a:pt x="1822" y="3285"/>
                  <a:pt x="2006" y="3285"/>
                  <a:pt x="2120" y="3398"/>
                </a:cubicBezTo>
                <a:lnTo>
                  <a:pt x="2669" y="3948"/>
                </a:lnTo>
                <a:lnTo>
                  <a:pt x="5034" y="1583"/>
                </a:lnTo>
                <a:cubicBezTo>
                  <a:pt x="5148" y="1470"/>
                  <a:pt x="5332" y="1470"/>
                  <a:pt x="5445" y="1583"/>
                </a:cubicBezTo>
                <a:lnTo>
                  <a:pt x="5857" y="1994"/>
                </a:lnTo>
                <a:cubicBezTo>
                  <a:pt x="5970" y="2108"/>
                  <a:pt x="5970" y="2292"/>
                  <a:pt x="5857" y="2406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5" name="iṧḷiḑé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513623" y="-1073633"/>
            <a:ext cx="1330682" cy="200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>
                <a:solidFill>
                  <a:schemeClr val="bg1"/>
                </a:solidFill>
              </a:rPr>
              <a:t>按分布模式进行配置</a:t>
            </a: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16" name="îṧḻiḑe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281051" y="-796684"/>
            <a:ext cx="1330682" cy="200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运行第一个实例</a:t>
            </a:r>
            <a:endParaRPr lang="en-US" altLang="zh-CN" sz="1100" dirty="0"/>
          </a:p>
        </p:txBody>
      </p:sp>
      <p:sp>
        <p:nvSpPr>
          <p:cNvPr id="217" name="îṣľïd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048547" y="-519735"/>
            <a:ext cx="1330682" cy="200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开心</a:t>
            </a:r>
            <a:r>
              <a:rPr lang="en-US" altLang="zh-CN" sz="1100" dirty="0" err="1"/>
              <a:t>ing</a:t>
            </a:r>
            <a:r>
              <a:rPr lang="en-US" altLang="zh-CN" sz="1100" dirty="0"/>
              <a:t>~</a:t>
            </a:r>
          </a:p>
        </p:txBody>
      </p:sp>
      <p:sp>
        <p:nvSpPr>
          <p:cNvPr id="218" name="íṧ1îd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746099" y="-1350582"/>
            <a:ext cx="1330682" cy="200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 解压</a:t>
            </a:r>
            <a:endParaRPr lang="en-US" altLang="zh-CN" sz="1100" dirty="0"/>
          </a:p>
        </p:txBody>
      </p:sp>
      <p:sp>
        <p:nvSpPr>
          <p:cNvPr id="219" name="îs1ïḋ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981505" y="-1627532"/>
            <a:ext cx="1330682" cy="200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配置环境变量 使之生效</a:t>
            </a:r>
            <a:endParaRPr lang="en-US" altLang="zh-CN" sz="1100" dirty="0"/>
          </a:p>
        </p:txBody>
      </p:sp>
      <p:sp>
        <p:nvSpPr>
          <p:cNvPr id="220" name="íšliḓ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4213995" y="-1904481"/>
            <a:ext cx="1330682" cy="200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</a:t>
            </a:r>
            <a:r>
              <a:rPr lang="en-US" altLang="zh-CN" sz="1100" dirty="0"/>
              <a:t> </a:t>
            </a:r>
            <a:r>
              <a:rPr lang="zh-CN" altLang="en-US" sz="1100" dirty="0"/>
              <a:t>解压</a:t>
            </a:r>
            <a:endParaRPr lang="en-US" altLang="zh-CN" sz="1100" dirty="0"/>
          </a:p>
        </p:txBody>
      </p:sp>
      <p:sp>
        <p:nvSpPr>
          <p:cNvPr id="32" name="išļíde">
            <a:extLst>
              <a:ext uri="{FF2B5EF4-FFF2-40B4-BE49-F238E27FC236}">
                <a16:creationId xmlns:a16="http://schemas.microsoft.com/office/drawing/2014/main" id="{036FFCF7-C7CF-4EE8-8714-BBA60503041B}"/>
              </a:ext>
            </a:extLst>
          </p:cNvPr>
          <p:cNvSpPr/>
          <p:nvPr/>
        </p:nvSpPr>
        <p:spPr bwMode="auto">
          <a:xfrm>
            <a:off x="-235254" y="2969968"/>
            <a:ext cx="6462137" cy="1765300"/>
          </a:xfrm>
          <a:custGeom>
            <a:avLst/>
            <a:gdLst/>
            <a:ahLst/>
            <a:cxnLst>
              <a:cxn ang="0">
                <a:pos x="1972" y="620"/>
              </a:cxn>
              <a:cxn ang="0">
                <a:pos x="1765" y="500"/>
              </a:cxn>
              <a:cxn ang="0">
                <a:pos x="1765" y="580"/>
              </a:cxn>
              <a:cxn ang="0">
                <a:pos x="860" y="580"/>
              </a:cxn>
              <a:cxn ang="0">
                <a:pos x="820" y="540"/>
              </a:cxn>
              <a:cxn ang="0">
                <a:pos x="820" y="120"/>
              </a:cxn>
              <a:cxn ang="0">
                <a:pos x="700" y="0"/>
              </a:cxn>
              <a:cxn ang="0">
                <a:pos x="0" y="0"/>
              </a:cxn>
              <a:cxn ang="0">
                <a:pos x="0" y="80"/>
              </a:cxn>
              <a:cxn ang="0">
                <a:pos x="700" y="80"/>
              </a:cxn>
              <a:cxn ang="0">
                <a:pos x="740" y="120"/>
              </a:cxn>
              <a:cxn ang="0">
                <a:pos x="740" y="540"/>
              </a:cxn>
              <a:cxn ang="0">
                <a:pos x="860" y="660"/>
              </a:cxn>
              <a:cxn ang="0">
                <a:pos x="1765" y="660"/>
              </a:cxn>
              <a:cxn ang="0">
                <a:pos x="1765" y="740"/>
              </a:cxn>
              <a:cxn ang="0">
                <a:pos x="1972" y="620"/>
              </a:cxn>
            </a:cxnLst>
            <a:rect l="0" t="0" r="r" b="b"/>
            <a:pathLst>
              <a:path w="1972" h="740">
                <a:moveTo>
                  <a:pt x="1972" y="620"/>
                </a:moveTo>
                <a:cubicBezTo>
                  <a:pt x="1765" y="500"/>
                  <a:pt x="1765" y="500"/>
                  <a:pt x="1765" y="500"/>
                </a:cubicBezTo>
                <a:cubicBezTo>
                  <a:pt x="1765" y="580"/>
                  <a:pt x="1765" y="580"/>
                  <a:pt x="1765" y="580"/>
                </a:cubicBezTo>
                <a:cubicBezTo>
                  <a:pt x="860" y="580"/>
                  <a:pt x="860" y="580"/>
                  <a:pt x="860" y="580"/>
                </a:cubicBezTo>
                <a:cubicBezTo>
                  <a:pt x="838" y="580"/>
                  <a:pt x="820" y="562"/>
                  <a:pt x="820" y="540"/>
                </a:cubicBezTo>
                <a:cubicBezTo>
                  <a:pt x="820" y="120"/>
                  <a:pt x="820" y="120"/>
                  <a:pt x="820" y="120"/>
                </a:cubicBezTo>
                <a:cubicBezTo>
                  <a:pt x="820" y="54"/>
                  <a:pt x="766" y="0"/>
                  <a:pt x="70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0"/>
                  <a:pt x="0" y="80"/>
                  <a:pt x="0" y="80"/>
                </a:cubicBezTo>
                <a:cubicBezTo>
                  <a:pt x="700" y="80"/>
                  <a:pt x="700" y="80"/>
                  <a:pt x="700" y="80"/>
                </a:cubicBezTo>
                <a:cubicBezTo>
                  <a:pt x="722" y="80"/>
                  <a:pt x="740" y="98"/>
                  <a:pt x="740" y="120"/>
                </a:cubicBezTo>
                <a:cubicBezTo>
                  <a:pt x="740" y="540"/>
                  <a:pt x="740" y="540"/>
                  <a:pt x="740" y="540"/>
                </a:cubicBezTo>
                <a:cubicBezTo>
                  <a:pt x="740" y="606"/>
                  <a:pt x="794" y="660"/>
                  <a:pt x="860" y="660"/>
                </a:cubicBezTo>
                <a:cubicBezTo>
                  <a:pt x="1765" y="660"/>
                  <a:pt x="1765" y="660"/>
                  <a:pt x="1765" y="660"/>
                </a:cubicBezTo>
                <a:cubicBezTo>
                  <a:pt x="1765" y="740"/>
                  <a:pt x="1765" y="740"/>
                  <a:pt x="1765" y="740"/>
                </a:cubicBezTo>
                <a:lnTo>
                  <a:pt x="1972" y="62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33" name="ïṣlïďê">
            <a:extLst>
              <a:ext uri="{FF2B5EF4-FFF2-40B4-BE49-F238E27FC236}">
                <a16:creationId xmlns:a16="http://schemas.microsoft.com/office/drawing/2014/main" id="{9B4EF286-F3C7-4072-9BC1-65E6C4E48539}"/>
              </a:ext>
            </a:extLst>
          </p:cNvPr>
          <p:cNvSpPr/>
          <p:nvPr/>
        </p:nvSpPr>
        <p:spPr bwMode="auto">
          <a:xfrm>
            <a:off x="235022" y="2063507"/>
            <a:ext cx="5779378" cy="2538414"/>
          </a:xfrm>
          <a:custGeom>
            <a:avLst/>
            <a:gdLst/>
            <a:ahLst/>
            <a:cxnLst>
              <a:cxn ang="0">
                <a:pos x="1764" y="120"/>
              </a:cxn>
              <a:cxn ang="0">
                <a:pos x="1557" y="0"/>
              </a:cxn>
              <a:cxn ang="0">
                <a:pos x="1557" y="80"/>
              </a:cxn>
              <a:cxn ang="0">
                <a:pos x="392" y="80"/>
              </a:cxn>
              <a:cxn ang="0">
                <a:pos x="272" y="200"/>
              </a:cxn>
              <a:cxn ang="0">
                <a:pos x="272" y="944"/>
              </a:cxn>
              <a:cxn ang="0">
                <a:pos x="232" y="984"/>
              </a:cxn>
              <a:cxn ang="0">
                <a:pos x="0" y="984"/>
              </a:cxn>
              <a:cxn ang="0">
                <a:pos x="0" y="1064"/>
              </a:cxn>
              <a:cxn ang="0">
                <a:pos x="232" y="1064"/>
              </a:cxn>
              <a:cxn ang="0">
                <a:pos x="352" y="944"/>
              </a:cxn>
              <a:cxn ang="0">
                <a:pos x="352" y="200"/>
              </a:cxn>
              <a:cxn ang="0">
                <a:pos x="392" y="160"/>
              </a:cxn>
              <a:cxn ang="0">
                <a:pos x="1557" y="160"/>
              </a:cxn>
              <a:cxn ang="0">
                <a:pos x="1557" y="240"/>
              </a:cxn>
              <a:cxn ang="0">
                <a:pos x="1764" y="120"/>
              </a:cxn>
            </a:cxnLst>
            <a:rect l="0" t="0" r="r" b="b"/>
            <a:pathLst>
              <a:path w="1764" h="1064">
                <a:moveTo>
                  <a:pt x="1764" y="120"/>
                </a:moveTo>
                <a:cubicBezTo>
                  <a:pt x="1557" y="0"/>
                  <a:pt x="1557" y="0"/>
                  <a:pt x="1557" y="0"/>
                </a:cubicBezTo>
                <a:cubicBezTo>
                  <a:pt x="1557" y="80"/>
                  <a:pt x="1557" y="80"/>
                  <a:pt x="1557" y="80"/>
                </a:cubicBezTo>
                <a:cubicBezTo>
                  <a:pt x="392" y="80"/>
                  <a:pt x="392" y="80"/>
                  <a:pt x="392" y="80"/>
                </a:cubicBezTo>
                <a:cubicBezTo>
                  <a:pt x="326" y="80"/>
                  <a:pt x="272" y="134"/>
                  <a:pt x="272" y="200"/>
                </a:cubicBezTo>
                <a:cubicBezTo>
                  <a:pt x="272" y="944"/>
                  <a:pt x="272" y="944"/>
                  <a:pt x="272" y="944"/>
                </a:cubicBezTo>
                <a:cubicBezTo>
                  <a:pt x="272" y="966"/>
                  <a:pt x="254" y="984"/>
                  <a:pt x="232" y="984"/>
                </a:cubicBezTo>
                <a:cubicBezTo>
                  <a:pt x="0" y="984"/>
                  <a:pt x="0" y="984"/>
                  <a:pt x="0" y="984"/>
                </a:cubicBezTo>
                <a:cubicBezTo>
                  <a:pt x="0" y="1064"/>
                  <a:pt x="0" y="1064"/>
                  <a:pt x="0" y="1064"/>
                </a:cubicBezTo>
                <a:cubicBezTo>
                  <a:pt x="232" y="1064"/>
                  <a:pt x="232" y="1064"/>
                  <a:pt x="232" y="1064"/>
                </a:cubicBezTo>
                <a:cubicBezTo>
                  <a:pt x="298" y="1064"/>
                  <a:pt x="352" y="1010"/>
                  <a:pt x="352" y="944"/>
                </a:cubicBezTo>
                <a:cubicBezTo>
                  <a:pt x="352" y="200"/>
                  <a:pt x="352" y="200"/>
                  <a:pt x="352" y="200"/>
                </a:cubicBezTo>
                <a:cubicBezTo>
                  <a:pt x="352" y="178"/>
                  <a:pt x="370" y="160"/>
                  <a:pt x="392" y="160"/>
                </a:cubicBezTo>
                <a:cubicBezTo>
                  <a:pt x="1557" y="160"/>
                  <a:pt x="1557" y="160"/>
                  <a:pt x="1557" y="160"/>
                </a:cubicBezTo>
                <a:cubicBezTo>
                  <a:pt x="1557" y="240"/>
                  <a:pt x="1557" y="240"/>
                  <a:pt x="1557" y="240"/>
                </a:cubicBezTo>
                <a:lnTo>
                  <a:pt x="1764" y="12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35" name="îŝliḑê">
            <a:extLst>
              <a:ext uri="{FF2B5EF4-FFF2-40B4-BE49-F238E27FC236}">
                <a16:creationId xmlns:a16="http://schemas.microsoft.com/office/drawing/2014/main" id="{A9230264-FE68-48E1-88C8-096BF6C72CAC}"/>
              </a:ext>
            </a:extLst>
          </p:cNvPr>
          <p:cNvSpPr/>
          <p:nvPr/>
        </p:nvSpPr>
        <p:spPr bwMode="auto">
          <a:xfrm>
            <a:off x="235021" y="3170484"/>
            <a:ext cx="4626128" cy="2119314"/>
          </a:xfrm>
          <a:custGeom>
            <a:avLst/>
            <a:gdLst/>
            <a:ahLst/>
            <a:cxnLst>
              <a:cxn ang="0">
                <a:pos x="1412" y="120"/>
              </a:cxn>
              <a:cxn ang="0">
                <a:pos x="1205" y="0"/>
              </a:cxn>
              <a:cxn ang="0">
                <a:pos x="1205" y="80"/>
              </a:cxn>
              <a:cxn ang="0">
                <a:pos x="564" y="80"/>
              </a:cxn>
              <a:cxn ang="0">
                <a:pos x="444" y="200"/>
              </a:cxn>
              <a:cxn ang="0">
                <a:pos x="444" y="768"/>
              </a:cxn>
              <a:cxn ang="0">
                <a:pos x="404" y="808"/>
              </a:cxn>
              <a:cxn ang="0">
                <a:pos x="0" y="808"/>
              </a:cxn>
              <a:cxn ang="0">
                <a:pos x="0" y="888"/>
              </a:cxn>
              <a:cxn ang="0">
                <a:pos x="404" y="888"/>
              </a:cxn>
              <a:cxn ang="0">
                <a:pos x="524" y="768"/>
              </a:cxn>
              <a:cxn ang="0">
                <a:pos x="524" y="200"/>
              </a:cxn>
              <a:cxn ang="0">
                <a:pos x="564" y="160"/>
              </a:cxn>
              <a:cxn ang="0">
                <a:pos x="1205" y="160"/>
              </a:cxn>
              <a:cxn ang="0">
                <a:pos x="1205" y="240"/>
              </a:cxn>
              <a:cxn ang="0">
                <a:pos x="1412" y="120"/>
              </a:cxn>
            </a:cxnLst>
            <a:rect l="0" t="0" r="r" b="b"/>
            <a:pathLst>
              <a:path w="1412" h="888">
                <a:moveTo>
                  <a:pt x="1412" y="120"/>
                </a:moveTo>
                <a:cubicBezTo>
                  <a:pt x="1205" y="0"/>
                  <a:pt x="1205" y="0"/>
                  <a:pt x="1205" y="0"/>
                </a:cubicBezTo>
                <a:cubicBezTo>
                  <a:pt x="1205" y="80"/>
                  <a:pt x="1205" y="80"/>
                  <a:pt x="1205" y="80"/>
                </a:cubicBezTo>
                <a:cubicBezTo>
                  <a:pt x="564" y="80"/>
                  <a:pt x="564" y="80"/>
                  <a:pt x="564" y="80"/>
                </a:cubicBezTo>
                <a:cubicBezTo>
                  <a:pt x="498" y="80"/>
                  <a:pt x="444" y="134"/>
                  <a:pt x="444" y="200"/>
                </a:cubicBezTo>
                <a:cubicBezTo>
                  <a:pt x="444" y="768"/>
                  <a:pt x="444" y="768"/>
                  <a:pt x="444" y="768"/>
                </a:cubicBezTo>
                <a:cubicBezTo>
                  <a:pt x="444" y="790"/>
                  <a:pt x="426" y="808"/>
                  <a:pt x="404" y="808"/>
                </a:cubicBezTo>
                <a:cubicBezTo>
                  <a:pt x="0" y="808"/>
                  <a:pt x="0" y="808"/>
                  <a:pt x="0" y="808"/>
                </a:cubicBezTo>
                <a:cubicBezTo>
                  <a:pt x="0" y="888"/>
                  <a:pt x="0" y="888"/>
                  <a:pt x="0" y="888"/>
                </a:cubicBezTo>
                <a:cubicBezTo>
                  <a:pt x="404" y="888"/>
                  <a:pt x="404" y="888"/>
                  <a:pt x="404" y="888"/>
                </a:cubicBezTo>
                <a:cubicBezTo>
                  <a:pt x="470" y="888"/>
                  <a:pt x="524" y="834"/>
                  <a:pt x="524" y="768"/>
                </a:cubicBezTo>
                <a:cubicBezTo>
                  <a:pt x="524" y="200"/>
                  <a:pt x="524" y="200"/>
                  <a:pt x="524" y="200"/>
                </a:cubicBezTo>
                <a:cubicBezTo>
                  <a:pt x="524" y="178"/>
                  <a:pt x="542" y="160"/>
                  <a:pt x="564" y="160"/>
                </a:cubicBezTo>
                <a:cubicBezTo>
                  <a:pt x="1205" y="160"/>
                  <a:pt x="1205" y="160"/>
                  <a:pt x="1205" y="160"/>
                </a:cubicBezTo>
                <a:cubicBezTo>
                  <a:pt x="1205" y="240"/>
                  <a:pt x="1205" y="240"/>
                  <a:pt x="1205" y="240"/>
                </a:cubicBezTo>
                <a:lnTo>
                  <a:pt x="1412" y="120"/>
                </a:lnTo>
                <a:close/>
              </a:path>
            </a:pathLst>
          </a:custGeom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grpSp>
        <p:nvGrpSpPr>
          <p:cNvPr id="40" name="íśḷiďe">
            <a:extLst>
              <a:ext uri="{FF2B5EF4-FFF2-40B4-BE49-F238E27FC236}">
                <a16:creationId xmlns:a16="http://schemas.microsoft.com/office/drawing/2014/main" id="{D14D74C2-BEF0-4158-B838-E4B59131AD59}"/>
              </a:ext>
            </a:extLst>
          </p:cNvPr>
          <p:cNvGrpSpPr/>
          <p:nvPr/>
        </p:nvGrpSpPr>
        <p:grpSpPr>
          <a:xfrm>
            <a:off x="6834919" y="1974602"/>
            <a:ext cx="1802902" cy="1109719"/>
            <a:chOff x="1197898" y="2503545"/>
            <a:chExt cx="2198693" cy="1006991"/>
          </a:xfrm>
        </p:grpSpPr>
        <p:sp>
          <p:nvSpPr>
            <p:cNvPr id="50" name="ïsľíḓê">
              <a:extLst>
                <a:ext uri="{FF2B5EF4-FFF2-40B4-BE49-F238E27FC236}">
                  <a16:creationId xmlns:a16="http://schemas.microsoft.com/office/drawing/2014/main" id="{5D5C09A4-206E-47A4-B385-D9FDB7B4FFBD}"/>
                </a:ext>
              </a:extLst>
            </p:cNvPr>
            <p:cNvSpPr txBox="1"/>
            <p:nvPr/>
          </p:nvSpPr>
          <p:spPr>
            <a:xfrm>
              <a:off x="1197898" y="2503545"/>
              <a:ext cx="2198693" cy="264215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 fontScale="92500" lnSpcReduction="20000"/>
            </a:bodyPr>
            <a:lstStyle/>
            <a:p>
              <a:r>
                <a:rPr lang="zh-CN" altLang="en-US" sz="1600" b="1" dirty="0"/>
                <a:t>单机模式</a:t>
              </a:r>
            </a:p>
          </p:txBody>
        </p:sp>
        <p:sp>
          <p:nvSpPr>
            <p:cNvPr id="51" name="ïs1íḓé">
              <a:extLst>
                <a:ext uri="{FF2B5EF4-FFF2-40B4-BE49-F238E27FC236}">
                  <a16:creationId xmlns:a16="http://schemas.microsoft.com/office/drawing/2014/main" id="{9FF9B7E6-1F4E-408B-9005-8A60782E18B3}"/>
                </a:ext>
              </a:extLst>
            </p:cNvPr>
            <p:cNvSpPr txBox="1"/>
            <p:nvPr/>
          </p:nvSpPr>
          <p:spPr>
            <a:xfrm>
              <a:off x="1197898" y="2743144"/>
              <a:ext cx="2198693" cy="767392"/>
            </a:xfrm>
            <a:prstGeom prst="rect">
              <a:avLst/>
            </a:prstGeom>
          </p:spPr>
          <p:txBody>
            <a:bodyPr vert="horz" wrap="square" lIns="91440" tIns="45720" rIns="91440" bIns="45720" anchor="ctr" anchorCtr="0">
              <a:normAutofit fontScale="70000" lnSpcReduction="20000"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100" dirty="0"/>
                <a:t>易于配置，使用，以及代码的调试，已经可以开始了！</a:t>
              </a:r>
              <a:endParaRPr lang="en-US" altLang="zh-CN" sz="1100" dirty="0"/>
            </a:p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单机模式下</a:t>
              </a:r>
              <a:r>
                <a:rPr lang="en-US" altLang="zh-CN" sz="1100" dirty="0"/>
                <a:t>Hadoop</a:t>
              </a:r>
              <a:r>
                <a:rPr lang="zh-CN" altLang="en-US" sz="1100" dirty="0"/>
                <a:t>不会使用</a:t>
              </a:r>
              <a:r>
                <a:rPr lang="en-US" altLang="zh-CN" sz="1100" dirty="0"/>
                <a:t>HDFS,</a:t>
              </a:r>
              <a:r>
                <a:rPr lang="zh-CN" altLang="en-US" sz="1100" dirty="0"/>
                <a:t>也不会开启任何</a:t>
              </a:r>
              <a:r>
                <a:rPr lang="en-US" altLang="zh-CN" sz="1100" dirty="0"/>
                <a:t>Hadoop</a:t>
              </a:r>
              <a:r>
                <a:rPr lang="zh-CN" altLang="en-US" sz="1100" dirty="0"/>
                <a:t>守护进程</a:t>
              </a:r>
              <a:r>
                <a:rPr lang="en-US" altLang="zh-CN" sz="1100" dirty="0"/>
                <a:t>,</a:t>
              </a:r>
              <a:r>
                <a:rPr lang="zh-CN" altLang="en-US" sz="1100" dirty="0"/>
                <a:t>所有程序将在一个</a:t>
              </a:r>
              <a:r>
                <a:rPr lang="en-US" altLang="zh-CN" sz="1100" dirty="0"/>
                <a:t>JVM</a:t>
              </a:r>
              <a:r>
                <a:rPr lang="zh-CN" altLang="en-US" sz="1100" dirty="0"/>
                <a:t>上运行并且最多只允许拥有一个</a:t>
              </a:r>
              <a:r>
                <a:rPr lang="en-US" altLang="zh-CN" sz="1100" dirty="0"/>
                <a:t>reducer</a:t>
              </a:r>
            </a:p>
          </p:txBody>
        </p:sp>
      </p:grpSp>
      <p:grpSp>
        <p:nvGrpSpPr>
          <p:cNvPr id="41" name="ïśļïḓé">
            <a:extLst>
              <a:ext uri="{FF2B5EF4-FFF2-40B4-BE49-F238E27FC236}">
                <a16:creationId xmlns:a16="http://schemas.microsoft.com/office/drawing/2014/main" id="{C77F0BAE-7850-4AD7-8923-8CC50CAF4588}"/>
              </a:ext>
            </a:extLst>
          </p:cNvPr>
          <p:cNvGrpSpPr/>
          <p:nvPr/>
        </p:nvGrpSpPr>
        <p:grpSpPr>
          <a:xfrm>
            <a:off x="7072484" y="4084556"/>
            <a:ext cx="1802902" cy="2052719"/>
            <a:chOff x="1197898" y="2503545"/>
            <a:chExt cx="2198693" cy="1006991"/>
          </a:xfrm>
        </p:grpSpPr>
        <p:sp>
          <p:nvSpPr>
            <p:cNvPr id="48" name="íṩ1iďè">
              <a:extLst>
                <a:ext uri="{FF2B5EF4-FFF2-40B4-BE49-F238E27FC236}">
                  <a16:creationId xmlns:a16="http://schemas.microsoft.com/office/drawing/2014/main" id="{AD56F0CD-81FC-4A5A-AA29-6EAEBF683855}"/>
                </a:ext>
              </a:extLst>
            </p:cNvPr>
            <p:cNvSpPr txBox="1"/>
            <p:nvPr/>
          </p:nvSpPr>
          <p:spPr>
            <a:xfrm>
              <a:off x="1197898" y="2503545"/>
              <a:ext cx="2198693" cy="142837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 fontScale="92500" lnSpcReduction="20000"/>
            </a:bodyPr>
            <a:lstStyle/>
            <a:p>
              <a:r>
                <a:rPr lang="zh-CN" altLang="en-US" sz="1600" b="1" dirty="0"/>
                <a:t>完全分布模式</a:t>
              </a:r>
            </a:p>
          </p:txBody>
        </p:sp>
        <p:sp>
          <p:nvSpPr>
            <p:cNvPr id="49" name="ïṩḷíḑê">
              <a:extLst>
                <a:ext uri="{FF2B5EF4-FFF2-40B4-BE49-F238E27FC236}">
                  <a16:creationId xmlns:a16="http://schemas.microsoft.com/office/drawing/2014/main" id="{66F3BE66-37BF-4AAB-BA51-CBF77FFFA666}"/>
                </a:ext>
              </a:extLst>
            </p:cNvPr>
            <p:cNvSpPr txBox="1"/>
            <p:nvPr/>
          </p:nvSpPr>
          <p:spPr>
            <a:xfrm>
              <a:off x="1197898" y="2615217"/>
              <a:ext cx="2198693" cy="895319"/>
            </a:xfrm>
            <a:prstGeom prst="rect">
              <a:avLst/>
            </a:prstGeom>
          </p:spPr>
          <p:txBody>
            <a:bodyPr vert="horz" wrap="square" lIns="91440" tIns="45720" rIns="91440" bIns="45720" anchor="ctr" anchorCtr="0">
              <a:normAutofit fontScale="70000" lnSpcReduction="20000"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100" dirty="0"/>
                <a:t>1</a:t>
              </a:r>
              <a:r>
                <a:rPr lang="zh-CN" altLang="en-US" sz="1100" dirty="0"/>
                <a:t>、配置好几台虚拟机</a:t>
              </a:r>
              <a:r>
                <a:rPr lang="en-US" altLang="zh-CN" sz="1100" dirty="0"/>
                <a:t>,</a:t>
              </a:r>
              <a:r>
                <a:rPr lang="zh-CN" altLang="en-US" sz="1100" dirty="0"/>
                <a:t>安装好</a:t>
              </a:r>
              <a:r>
                <a:rPr lang="en-US" altLang="zh-CN" sz="1100" dirty="0" err="1"/>
                <a:t>jdk</a:t>
              </a:r>
              <a:r>
                <a:rPr lang="zh-CN" altLang="en-US" sz="1100" dirty="0"/>
                <a:t>和</a:t>
              </a:r>
              <a:r>
                <a:rPr lang="en-US" altLang="zh-CN" sz="1100" dirty="0" err="1"/>
                <a:t>hadoop</a:t>
              </a:r>
              <a:r>
                <a:rPr lang="zh-CN" altLang="en-US" sz="1100" dirty="0"/>
                <a:t>；</a:t>
              </a:r>
              <a:endParaRPr lang="en-US" altLang="zh-CN" sz="1100" dirty="0"/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2</a:t>
              </a:r>
              <a:r>
                <a:rPr lang="zh-CN" altLang="en-US" sz="1100" dirty="0"/>
                <a:t>、安装配置</a:t>
              </a:r>
              <a:r>
                <a:rPr lang="en-US" altLang="zh-CN" sz="1100" dirty="0"/>
                <a:t>SSH</a:t>
              </a:r>
              <a:r>
                <a:rPr lang="zh-CN" altLang="en-US" sz="1100" dirty="0"/>
                <a:t>；</a:t>
              </a:r>
              <a:endParaRPr lang="en-US" altLang="zh-CN" sz="1100" dirty="0"/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3</a:t>
              </a:r>
              <a:r>
                <a:rPr lang="zh-CN" altLang="en-US" sz="1100" dirty="0"/>
                <a:t>、</a:t>
              </a:r>
              <a:r>
                <a:rPr lang="en-US" altLang="zh-CN" sz="1100" dirty="0" err="1"/>
                <a:t>hadoop</a:t>
              </a:r>
              <a:r>
                <a:rPr lang="zh-CN" altLang="en-US" sz="1100" dirty="0"/>
                <a:t>配置；</a:t>
              </a:r>
              <a:endParaRPr lang="en-US" altLang="zh-CN" sz="1100" dirty="0"/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4</a:t>
              </a:r>
              <a:r>
                <a:rPr lang="zh-CN" altLang="en-US" sz="1100" dirty="0"/>
                <a:t>、</a:t>
              </a:r>
              <a:r>
                <a:rPr lang="en-US" altLang="zh-CN" sz="1100" dirty="0"/>
                <a:t>hadoop-env.sh</a:t>
              </a:r>
              <a:r>
                <a:rPr lang="zh-CN" altLang="en-US" sz="1100" dirty="0"/>
                <a:t>，</a:t>
              </a:r>
              <a:r>
                <a:rPr lang="en-US" altLang="zh-CN" sz="1100" dirty="0" err="1"/>
                <a:t>hadoop</a:t>
              </a:r>
              <a:r>
                <a:rPr lang="en-US" altLang="zh-CN" sz="1100" dirty="0"/>
                <a:t>-core-</a:t>
              </a:r>
              <a:r>
                <a:rPr lang="en-US" altLang="zh-CN" sz="1100" dirty="0" err="1"/>
                <a:t>site.xm</a:t>
              </a:r>
              <a:r>
                <a:rPr lang="zh-CN" altLang="en-US" sz="1100" dirty="0"/>
                <a:t>，</a:t>
              </a:r>
              <a:r>
                <a:rPr lang="en-US" altLang="zh-CN" sz="1100" dirty="0" err="1"/>
                <a:t>hadoop-hdfs-site.xm</a:t>
              </a:r>
              <a:r>
                <a:rPr lang="zh-CN" altLang="en-US" sz="1100" dirty="0"/>
                <a:t>，</a:t>
              </a:r>
              <a:r>
                <a:rPr lang="en-US" altLang="zh-CN" sz="1100" dirty="0"/>
                <a:t>hadoop-mapred-site.xml</a:t>
              </a:r>
              <a:r>
                <a:rPr lang="zh-CN" altLang="en-US" sz="1100" dirty="0"/>
                <a:t>，</a:t>
              </a:r>
              <a:r>
                <a:rPr lang="en-US" altLang="zh-CN" sz="1100" dirty="0"/>
                <a:t>hadoop-yarn-site.xml</a:t>
              </a:r>
              <a:r>
                <a:rPr lang="zh-CN" altLang="en-US" sz="1100" dirty="0"/>
                <a:t>；</a:t>
              </a:r>
              <a:r>
                <a:rPr lang="en-US" altLang="zh-CN" sz="1100" dirty="0"/>
                <a:t>5</a:t>
              </a:r>
              <a:r>
                <a:rPr lang="zh-CN" altLang="en-US" sz="1100" dirty="0"/>
                <a:t>、配置</a:t>
              </a:r>
              <a:r>
                <a:rPr lang="en-US" altLang="zh-CN" sz="1100" dirty="0"/>
                <a:t>slave</a:t>
              </a:r>
              <a:r>
                <a:rPr lang="zh-CN" altLang="en-US" sz="1100" dirty="0"/>
                <a:t>；</a:t>
              </a:r>
              <a:endParaRPr lang="en-US" altLang="zh-CN" sz="1100" dirty="0"/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6</a:t>
              </a:r>
              <a:r>
                <a:rPr lang="zh-CN" altLang="en-US" sz="1100" dirty="0"/>
                <a:t>、分发到所有虚拟机上；</a:t>
              </a:r>
              <a:endParaRPr lang="en-US" altLang="zh-CN" sz="1100" dirty="0"/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7</a:t>
              </a:r>
              <a:r>
                <a:rPr lang="zh-CN" altLang="en-US" sz="1100" dirty="0"/>
                <a:t>、</a:t>
              </a:r>
              <a:r>
                <a:rPr lang="en-US" altLang="zh-CN" sz="1100" dirty="0" err="1"/>
                <a:t>namenode</a:t>
              </a:r>
              <a:r>
                <a:rPr lang="zh-CN" altLang="en-US" sz="1100" dirty="0"/>
                <a:t>格式化；</a:t>
              </a:r>
              <a:endParaRPr lang="en-US" altLang="zh-CN" sz="1100" dirty="0"/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8</a:t>
              </a:r>
              <a:r>
                <a:rPr lang="zh-CN" altLang="en-US" sz="1100" dirty="0"/>
                <a:t>、启动进程；</a:t>
              </a:r>
              <a:endParaRPr lang="en-US" altLang="zh-CN" sz="1100" dirty="0"/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9</a:t>
              </a:r>
              <a:r>
                <a:rPr lang="zh-CN" altLang="en-US" sz="1100" dirty="0"/>
                <a:t>、查看（</a:t>
              </a:r>
              <a:r>
                <a:rPr lang="en-US" altLang="zh-CN" sz="1100" dirty="0" err="1"/>
                <a:t>jps</a:t>
              </a:r>
              <a:r>
                <a:rPr lang="zh-CN" altLang="en-US" sz="1100" dirty="0"/>
                <a:t>，</a:t>
              </a:r>
              <a:r>
                <a:rPr lang="en-US" altLang="zh-CN" sz="1100" dirty="0"/>
                <a:t>web</a:t>
              </a:r>
              <a:r>
                <a:rPr lang="zh-CN" altLang="en-US" sz="1100" dirty="0"/>
                <a:t>）；</a:t>
              </a:r>
            </a:p>
          </p:txBody>
        </p:sp>
      </p:grpSp>
      <p:grpSp>
        <p:nvGrpSpPr>
          <p:cNvPr id="42" name="îṧḻïḍé">
            <a:extLst>
              <a:ext uri="{FF2B5EF4-FFF2-40B4-BE49-F238E27FC236}">
                <a16:creationId xmlns:a16="http://schemas.microsoft.com/office/drawing/2014/main" id="{A517228F-64D9-4804-A9C8-DC5255459070}"/>
              </a:ext>
            </a:extLst>
          </p:cNvPr>
          <p:cNvGrpSpPr/>
          <p:nvPr/>
        </p:nvGrpSpPr>
        <p:grpSpPr>
          <a:xfrm>
            <a:off x="6045248" y="3084321"/>
            <a:ext cx="1911887" cy="1109719"/>
            <a:chOff x="1304696" y="2503545"/>
            <a:chExt cx="2198694" cy="1086301"/>
          </a:xfrm>
        </p:grpSpPr>
        <p:sp>
          <p:nvSpPr>
            <p:cNvPr id="46" name="î$ļîḍè">
              <a:extLst>
                <a:ext uri="{FF2B5EF4-FFF2-40B4-BE49-F238E27FC236}">
                  <a16:creationId xmlns:a16="http://schemas.microsoft.com/office/drawing/2014/main" id="{CA184EE0-1617-4535-BA33-B094D54277CA}"/>
                </a:ext>
              </a:extLst>
            </p:cNvPr>
            <p:cNvSpPr txBox="1"/>
            <p:nvPr/>
          </p:nvSpPr>
          <p:spPr>
            <a:xfrm>
              <a:off x="1304697" y="2503545"/>
              <a:ext cx="2198693" cy="285025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 fontScale="92500" lnSpcReduction="20000"/>
            </a:bodyPr>
            <a:lstStyle/>
            <a:p>
              <a:r>
                <a:rPr lang="zh-CN" altLang="en-US" sz="1600" b="1" dirty="0"/>
                <a:t>伪分布模式</a:t>
              </a:r>
            </a:p>
          </p:txBody>
        </p:sp>
        <p:sp>
          <p:nvSpPr>
            <p:cNvPr id="47" name="ïṡ1iḓê">
              <a:extLst>
                <a:ext uri="{FF2B5EF4-FFF2-40B4-BE49-F238E27FC236}">
                  <a16:creationId xmlns:a16="http://schemas.microsoft.com/office/drawing/2014/main" id="{97E0D361-4374-4EF9-B648-AD94700A1C4E}"/>
                </a:ext>
              </a:extLst>
            </p:cNvPr>
            <p:cNvSpPr txBox="1"/>
            <p:nvPr/>
          </p:nvSpPr>
          <p:spPr>
            <a:xfrm>
              <a:off x="1304696" y="2666312"/>
              <a:ext cx="2198693" cy="923534"/>
            </a:xfrm>
            <a:prstGeom prst="rect">
              <a:avLst/>
            </a:prstGeom>
          </p:spPr>
          <p:txBody>
            <a:bodyPr vert="horz" wrap="square" lIns="91440" tIns="45720" rIns="91440" bIns="45720" anchor="ctr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800" b="1" dirty="0"/>
                <a:t>HADOOP_HOME/</a:t>
              </a:r>
              <a:r>
                <a:rPr lang="en-US" altLang="zh-CN" sz="800" b="1" dirty="0" err="1"/>
                <a:t>etc</a:t>
              </a:r>
              <a:r>
                <a:rPr lang="en-US" altLang="zh-CN" sz="800" b="1" dirty="0"/>
                <a:t>/Hadoop</a:t>
              </a:r>
              <a:r>
                <a:rPr lang="zh-CN" altLang="en-US" sz="800" b="1" dirty="0"/>
                <a:t>下</a:t>
              </a:r>
              <a:endParaRPr lang="en-US" altLang="zh-CN" sz="800" b="1" dirty="0"/>
            </a:p>
            <a:p>
              <a:pPr>
                <a:lnSpc>
                  <a:spcPct val="120000"/>
                </a:lnSpc>
              </a:pPr>
              <a:r>
                <a:rPr lang="en-US" altLang="zh-CN" sz="800" b="1" dirty="0"/>
                <a:t>core-site.xml  hdfs-site.xml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800" b="1" dirty="0" err="1"/>
                <a:t>hdfs</a:t>
              </a:r>
              <a:r>
                <a:rPr lang="en-US" altLang="zh-CN" sz="800" b="1" dirty="0"/>
                <a:t> </a:t>
              </a:r>
              <a:r>
                <a:rPr lang="en-US" altLang="zh-CN" sz="800" b="1" dirty="0" err="1"/>
                <a:t>namenode</a:t>
              </a:r>
              <a:r>
                <a:rPr lang="en-US" altLang="zh-CN" sz="800" b="1" dirty="0"/>
                <a:t> -format 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800" b="1" dirty="0"/>
                <a:t>start-dfs.sh 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800" b="1" dirty="0" err="1"/>
                <a:t>jps</a:t>
              </a:r>
              <a:endParaRPr lang="en-US" altLang="zh-CN" sz="800" b="1" dirty="0"/>
            </a:p>
          </p:txBody>
        </p:sp>
      </p:grpSp>
      <p:sp>
        <p:nvSpPr>
          <p:cNvPr id="9" name="图形 5">
            <a:extLst>
              <a:ext uri="{FF2B5EF4-FFF2-40B4-BE49-F238E27FC236}">
                <a16:creationId xmlns:a16="http://schemas.microsoft.com/office/drawing/2014/main" id="{FFA06E4D-CE15-468D-AE99-D8997EB27D59}"/>
              </a:ext>
            </a:extLst>
          </p:cNvPr>
          <p:cNvSpPr/>
          <p:nvPr/>
        </p:nvSpPr>
        <p:spPr>
          <a:xfrm>
            <a:off x="6377257" y="2125668"/>
            <a:ext cx="365043" cy="373216"/>
          </a:xfrm>
          <a:custGeom>
            <a:avLst/>
            <a:gdLst>
              <a:gd name="connsiteX0" fmla="*/ 365354 w 365043"/>
              <a:gd name="connsiteY0" fmla="*/ 184987 h 373215"/>
              <a:gd name="connsiteX1" fmla="*/ 363962 w 365043"/>
              <a:gd name="connsiteY1" fmla="*/ 180287 h 373215"/>
              <a:gd name="connsiteX2" fmla="*/ 354542 w 365043"/>
              <a:gd name="connsiteY2" fmla="*/ 170511 h 373215"/>
              <a:gd name="connsiteX3" fmla="*/ 318954 w 365043"/>
              <a:gd name="connsiteY3" fmla="*/ 134587 h 373215"/>
              <a:gd name="connsiteX4" fmla="*/ 292974 w 365043"/>
              <a:gd name="connsiteY4" fmla="*/ 108283 h 373215"/>
              <a:gd name="connsiteX5" fmla="*/ 270334 w 365043"/>
              <a:gd name="connsiteY5" fmla="*/ 84952 h 373215"/>
              <a:gd name="connsiteX6" fmla="*/ 243119 w 365043"/>
              <a:gd name="connsiteY6" fmla="*/ 57046 h 373215"/>
              <a:gd name="connsiteX7" fmla="*/ 240398 w 365043"/>
              <a:gd name="connsiteY7" fmla="*/ 54817 h 373215"/>
              <a:gd name="connsiteX8" fmla="*/ 230726 w 365043"/>
              <a:gd name="connsiteY8" fmla="*/ 44664 h 373215"/>
              <a:gd name="connsiteX9" fmla="*/ 203396 w 365043"/>
              <a:gd name="connsiteY9" fmla="*/ 16664 h 373215"/>
              <a:gd name="connsiteX10" fmla="*/ 200643 w 365043"/>
              <a:gd name="connsiteY10" fmla="*/ 14434 h 373215"/>
              <a:gd name="connsiteX11" fmla="*/ 191296 w 365043"/>
              <a:gd name="connsiteY11" fmla="*/ 4417 h 373215"/>
              <a:gd name="connsiteX12" fmla="*/ 170906 w 365043"/>
              <a:gd name="connsiteY12" fmla="*/ 4574 h 373215"/>
              <a:gd name="connsiteX13" fmla="*/ 158555 w 365043"/>
              <a:gd name="connsiteY13" fmla="*/ 17459 h 373215"/>
              <a:gd name="connsiteX14" fmla="*/ 127153 w 365043"/>
              <a:gd name="connsiteY14" fmla="*/ 49908 h 373215"/>
              <a:gd name="connsiteX15" fmla="*/ 97594 w 365043"/>
              <a:gd name="connsiteY15" fmla="*/ 80796 h 373215"/>
              <a:gd name="connsiteX16" fmla="*/ 77256 w 365043"/>
              <a:gd name="connsiteY16" fmla="*/ 101731 h 373215"/>
              <a:gd name="connsiteX17" fmla="*/ 57033 w 365043"/>
              <a:gd name="connsiteY17" fmla="*/ 122466 h 373215"/>
              <a:gd name="connsiteX18" fmla="*/ 29452 w 365043"/>
              <a:gd name="connsiteY18" fmla="*/ 150727 h 373215"/>
              <a:gd name="connsiteX19" fmla="*/ 2175 w 365043"/>
              <a:gd name="connsiteY19" fmla="*/ 178811 h 373215"/>
              <a:gd name="connsiteX20" fmla="*/ 82 w 365043"/>
              <a:gd name="connsiteY20" fmla="*/ 184767 h 373215"/>
              <a:gd name="connsiteX21" fmla="*/ 2688 w 365043"/>
              <a:gd name="connsiteY21" fmla="*/ 196804 h 373215"/>
              <a:gd name="connsiteX22" fmla="*/ 25245 w 365043"/>
              <a:gd name="connsiteY22" fmla="*/ 213551 h 373215"/>
              <a:gd name="connsiteX23" fmla="*/ 46106 w 365043"/>
              <a:gd name="connsiteY23" fmla="*/ 213468 h 373215"/>
              <a:gd name="connsiteX24" fmla="*/ 48922 w 365043"/>
              <a:gd name="connsiteY24" fmla="*/ 216262 h 373215"/>
              <a:gd name="connsiteX25" fmla="*/ 48744 w 365043"/>
              <a:gd name="connsiteY25" fmla="*/ 344108 h 373215"/>
              <a:gd name="connsiteX26" fmla="*/ 57651 w 365043"/>
              <a:gd name="connsiteY26" fmla="*/ 365734 h 373215"/>
              <a:gd name="connsiteX27" fmla="*/ 80564 w 365043"/>
              <a:gd name="connsiteY27" fmla="*/ 373427 h 373215"/>
              <a:gd name="connsiteX28" fmla="*/ 139368 w 365043"/>
              <a:gd name="connsiteY28" fmla="*/ 373532 h 373215"/>
              <a:gd name="connsiteX29" fmla="*/ 143283 w 365043"/>
              <a:gd name="connsiteY29" fmla="*/ 369774 h 373215"/>
              <a:gd name="connsiteX30" fmla="*/ 143189 w 365043"/>
              <a:gd name="connsiteY30" fmla="*/ 279432 h 373215"/>
              <a:gd name="connsiteX31" fmla="*/ 143283 w 365043"/>
              <a:gd name="connsiteY31" fmla="*/ 244723 h 373215"/>
              <a:gd name="connsiteX32" fmla="*/ 153133 w 365043"/>
              <a:gd name="connsiteY32" fmla="*/ 234622 h 373215"/>
              <a:gd name="connsiteX33" fmla="*/ 214051 w 365043"/>
              <a:gd name="connsiteY33" fmla="*/ 234758 h 373215"/>
              <a:gd name="connsiteX34" fmla="*/ 221745 w 365043"/>
              <a:gd name="connsiteY34" fmla="*/ 242734 h 373215"/>
              <a:gd name="connsiteX35" fmla="*/ 221692 w 365043"/>
              <a:gd name="connsiteY35" fmla="*/ 369889 h 373215"/>
              <a:gd name="connsiteX36" fmla="*/ 225063 w 365043"/>
              <a:gd name="connsiteY36" fmla="*/ 373542 h 373215"/>
              <a:gd name="connsiteX37" fmla="*/ 282800 w 365043"/>
              <a:gd name="connsiteY37" fmla="*/ 373385 h 373215"/>
              <a:gd name="connsiteX38" fmla="*/ 298333 w 365043"/>
              <a:gd name="connsiteY38" fmla="*/ 370245 h 373215"/>
              <a:gd name="connsiteX39" fmla="*/ 309847 w 365043"/>
              <a:gd name="connsiteY39" fmla="*/ 360825 h 373215"/>
              <a:gd name="connsiteX40" fmla="*/ 318064 w 365043"/>
              <a:gd name="connsiteY40" fmla="*/ 342182 h 373215"/>
              <a:gd name="connsiteX41" fmla="*/ 318284 w 365043"/>
              <a:gd name="connsiteY41" fmla="*/ 308614 h 373215"/>
              <a:gd name="connsiteX42" fmla="*/ 318357 w 365043"/>
              <a:gd name="connsiteY42" fmla="*/ 259973 h 373215"/>
              <a:gd name="connsiteX43" fmla="*/ 318357 w 365043"/>
              <a:gd name="connsiteY43" fmla="*/ 213897 h 373215"/>
              <a:gd name="connsiteX44" fmla="*/ 319655 w 365043"/>
              <a:gd name="connsiteY44" fmla="*/ 212306 h 373215"/>
              <a:gd name="connsiteX45" fmla="*/ 344776 w 365043"/>
              <a:gd name="connsiteY45" fmla="*/ 212505 h 373215"/>
              <a:gd name="connsiteX46" fmla="*/ 360299 w 365043"/>
              <a:gd name="connsiteY46" fmla="*/ 205094 h 373215"/>
              <a:gd name="connsiteX47" fmla="*/ 365198 w 365043"/>
              <a:gd name="connsiteY47" fmla="*/ 184987 h 373215"/>
              <a:gd name="connsiteX48" fmla="*/ 348775 w 365043"/>
              <a:gd name="connsiteY48" fmla="*/ 190011 h 373215"/>
              <a:gd name="connsiteX49" fmla="*/ 342494 w 365043"/>
              <a:gd name="connsiteY49" fmla="*/ 196134 h 373215"/>
              <a:gd name="connsiteX50" fmla="*/ 305660 w 365043"/>
              <a:gd name="connsiteY50" fmla="*/ 196029 h 373215"/>
              <a:gd name="connsiteX51" fmla="*/ 302237 w 365043"/>
              <a:gd name="connsiteY51" fmla="*/ 199588 h 373215"/>
              <a:gd name="connsiteX52" fmla="*/ 302028 w 365043"/>
              <a:gd name="connsiteY52" fmla="*/ 255180 h 373215"/>
              <a:gd name="connsiteX53" fmla="*/ 301693 w 365043"/>
              <a:gd name="connsiteY53" fmla="*/ 327508 h 373215"/>
              <a:gd name="connsiteX54" fmla="*/ 301882 w 365043"/>
              <a:gd name="connsiteY54" fmla="*/ 338687 h 373215"/>
              <a:gd name="connsiteX55" fmla="*/ 283428 w 365043"/>
              <a:gd name="connsiteY55" fmla="*/ 356878 h 373215"/>
              <a:gd name="connsiteX56" fmla="*/ 241643 w 365043"/>
              <a:gd name="connsiteY56" fmla="*/ 356753 h 373215"/>
              <a:gd name="connsiteX57" fmla="*/ 238314 w 365043"/>
              <a:gd name="connsiteY57" fmla="*/ 353330 h 373215"/>
              <a:gd name="connsiteX58" fmla="*/ 238513 w 365043"/>
              <a:gd name="connsiteY58" fmla="*/ 296117 h 373215"/>
              <a:gd name="connsiteX59" fmla="*/ 238398 w 365043"/>
              <a:gd name="connsiteY59" fmla="*/ 243184 h 373215"/>
              <a:gd name="connsiteX60" fmla="*/ 228433 w 365043"/>
              <a:gd name="connsiteY60" fmla="*/ 222459 h 373215"/>
              <a:gd name="connsiteX61" fmla="*/ 218877 w 365043"/>
              <a:gd name="connsiteY61" fmla="*/ 218984 h 373215"/>
              <a:gd name="connsiteX62" fmla="*/ 152316 w 365043"/>
              <a:gd name="connsiteY62" fmla="*/ 218984 h 373215"/>
              <a:gd name="connsiteX63" fmla="*/ 142959 w 365043"/>
              <a:gd name="connsiteY63" fmla="*/ 219727 h 373215"/>
              <a:gd name="connsiteX64" fmla="*/ 127541 w 365043"/>
              <a:gd name="connsiteY64" fmla="*/ 240138 h 373215"/>
              <a:gd name="connsiteX65" fmla="*/ 127258 w 365043"/>
              <a:gd name="connsiteY65" fmla="*/ 245759 h 373215"/>
              <a:gd name="connsiteX66" fmla="*/ 127321 w 365043"/>
              <a:gd name="connsiteY66" fmla="*/ 353100 h 373215"/>
              <a:gd name="connsiteX67" fmla="*/ 123667 w 365043"/>
              <a:gd name="connsiteY67" fmla="*/ 356763 h 373215"/>
              <a:gd name="connsiteX68" fmla="*/ 75519 w 365043"/>
              <a:gd name="connsiteY68" fmla="*/ 356523 h 373215"/>
              <a:gd name="connsiteX69" fmla="*/ 65738 w 365043"/>
              <a:gd name="connsiteY69" fmla="*/ 347477 h 373215"/>
              <a:gd name="connsiteX70" fmla="*/ 65732 w 365043"/>
              <a:gd name="connsiteY70" fmla="*/ 347249 h 373215"/>
              <a:gd name="connsiteX71" fmla="*/ 65439 w 365043"/>
              <a:gd name="connsiteY71" fmla="*/ 329224 h 373215"/>
              <a:gd name="connsiteX72" fmla="*/ 65439 w 365043"/>
              <a:gd name="connsiteY72" fmla="*/ 272544 h 373215"/>
              <a:gd name="connsiteX73" fmla="*/ 65501 w 365043"/>
              <a:gd name="connsiteY73" fmla="*/ 200635 h 373215"/>
              <a:gd name="connsiteX74" fmla="*/ 62068 w 365043"/>
              <a:gd name="connsiteY74" fmla="*/ 197128 h 373215"/>
              <a:gd name="connsiteX75" fmla="*/ 26292 w 365043"/>
              <a:gd name="connsiteY75" fmla="*/ 197202 h 373215"/>
              <a:gd name="connsiteX76" fmla="*/ 17405 w 365043"/>
              <a:gd name="connsiteY76" fmla="*/ 188765 h 373215"/>
              <a:gd name="connsiteX77" fmla="*/ 22345 w 365043"/>
              <a:gd name="connsiteY77" fmla="*/ 181669 h 373215"/>
              <a:gd name="connsiteX78" fmla="*/ 45174 w 365043"/>
              <a:gd name="connsiteY78" fmla="*/ 158274 h 373215"/>
              <a:gd name="connsiteX79" fmla="*/ 79486 w 365043"/>
              <a:gd name="connsiteY79" fmla="*/ 122979 h 373215"/>
              <a:gd name="connsiteX80" fmla="*/ 111117 w 365043"/>
              <a:gd name="connsiteY80" fmla="*/ 89631 h 373215"/>
              <a:gd name="connsiteX81" fmla="*/ 138918 w 365043"/>
              <a:gd name="connsiteY81" fmla="*/ 61055 h 373215"/>
              <a:gd name="connsiteX82" fmla="*/ 164678 w 365043"/>
              <a:gd name="connsiteY82" fmla="*/ 34207 h 373215"/>
              <a:gd name="connsiteX83" fmla="*/ 180190 w 365043"/>
              <a:gd name="connsiteY83" fmla="*/ 18506 h 373215"/>
              <a:gd name="connsiteX84" fmla="*/ 182284 w 365043"/>
              <a:gd name="connsiteY84" fmla="*/ 18600 h 373215"/>
              <a:gd name="connsiteX85" fmla="*/ 196624 w 365043"/>
              <a:gd name="connsiteY85" fmla="*/ 32804 h 373215"/>
              <a:gd name="connsiteX86" fmla="*/ 221745 w 365043"/>
              <a:gd name="connsiteY86" fmla="*/ 58826 h 373215"/>
              <a:gd name="connsiteX87" fmla="*/ 254895 w 365043"/>
              <a:gd name="connsiteY87" fmla="*/ 92499 h 373215"/>
              <a:gd name="connsiteX88" fmla="*/ 279147 w 365043"/>
              <a:gd name="connsiteY88" fmla="*/ 116814 h 373215"/>
              <a:gd name="connsiteX89" fmla="*/ 300353 w 365043"/>
              <a:gd name="connsiteY89" fmla="*/ 138617 h 373215"/>
              <a:gd name="connsiteX90" fmla="*/ 319268 w 365043"/>
              <a:gd name="connsiteY90" fmla="*/ 157594 h 373215"/>
              <a:gd name="connsiteX91" fmla="*/ 342484 w 365043"/>
              <a:gd name="connsiteY91" fmla="*/ 181825 h 373215"/>
              <a:gd name="connsiteX92" fmla="*/ 347288 w 365043"/>
              <a:gd name="connsiteY92" fmla="*/ 186389 h 373215"/>
              <a:gd name="connsiteX93" fmla="*/ 348848 w 365043"/>
              <a:gd name="connsiteY93" fmla="*/ 190032 h 373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365043" h="373215">
                <a:moveTo>
                  <a:pt x="365354" y="184987"/>
                </a:moveTo>
                <a:cubicBezTo>
                  <a:pt x="365354" y="183312"/>
                  <a:pt x="365585" y="181553"/>
                  <a:pt x="363962" y="180287"/>
                </a:cubicBezTo>
                <a:cubicBezTo>
                  <a:pt x="360362" y="177471"/>
                  <a:pt x="357682" y="173692"/>
                  <a:pt x="354542" y="170511"/>
                </a:cubicBezTo>
                <a:cubicBezTo>
                  <a:pt x="342679" y="158557"/>
                  <a:pt x="330816" y="146582"/>
                  <a:pt x="318954" y="134587"/>
                </a:cubicBezTo>
                <a:cubicBezTo>
                  <a:pt x="310297" y="125826"/>
                  <a:pt x="301599" y="117086"/>
                  <a:pt x="292974" y="108283"/>
                </a:cubicBezTo>
                <a:cubicBezTo>
                  <a:pt x="285396" y="100537"/>
                  <a:pt x="277891" y="92719"/>
                  <a:pt x="270334" y="84952"/>
                </a:cubicBezTo>
                <a:cubicBezTo>
                  <a:pt x="261269" y="75646"/>
                  <a:pt x="251807" y="66739"/>
                  <a:pt x="243119" y="57046"/>
                </a:cubicBezTo>
                <a:cubicBezTo>
                  <a:pt x="242229" y="56272"/>
                  <a:pt x="241266" y="55612"/>
                  <a:pt x="240398" y="54817"/>
                </a:cubicBezTo>
                <a:cubicBezTo>
                  <a:pt x="237174" y="51426"/>
                  <a:pt x="233981" y="48003"/>
                  <a:pt x="230726" y="44664"/>
                </a:cubicBezTo>
                <a:cubicBezTo>
                  <a:pt x="221654" y="35292"/>
                  <a:pt x="212544" y="25959"/>
                  <a:pt x="203396" y="16664"/>
                </a:cubicBezTo>
                <a:cubicBezTo>
                  <a:pt x="202531" y="15858"/>
                  <a:pt x="201611" y="15113"/>
                  <a:pt x="200643" y="14434"/>
                </a:cubicBezTo>
                <a:cubicBezTo>
                  <a:pt x="198037" y="10604"/>
                  <a:pt x="194196" y="7955"/>
                  <a:pt x="191296" y="4417"/>
                </a:cubicBezTo>
                <a:cubicBezTo>
                  <a:pt x="186732" y="-1193"/>
                  <a:pt x="175983" y="-1800"/>
                  <a:pt x="170906" y="4574"/>
                </a:cubicBezTo>
                <a:cubicBezTo>
                  <a:pt x="167222" y="9211"/>
                  <a:pt x="162784" y="13304"/>
                  <a:pt x="158555" y="17459"/>
                </a:cubicBezTo>
                <a:cubicBezTo>
                  <a:pt x="147826" y="28010"/>
                  <a:pt x="137694" y="39169"/>
                  <a:pt x="127153" y="49908"/>
                </a:cubicBezTo>
                <a:cubicBezTo>
                  <a:pt x="117178" y="60061"/>
                  <a:pt x="107077" y="70120"/>
                  <a:pt x="97594" y="80796"/>
                </a:cubicBezTo>
                <a:cubicBezTo>
                  <a:pt x="91136" y="88071"/>
                  <a:pt x="83704" y="94404"/>
                  <a:pt x="77256" y="101731"/>
                </a:cubicBezTo>
                <a:cubicBezTo>
                  <a:pt x="70808" y="109058"/>
                  <a:pt x="63921" y="115725"/>
                  <a:pt x="57033" y="122466"/>
                </a:cubicBezTo>
                <a:cubicBezTo>
                  <a:pt x="47613" y="131698"/>
                  <a:pt x="38967" y="141621"/>
                  <a:pt x="29452" y="150727"/>
                </a:cubicBezTo>
                <a:cubicBezTo>
                  <a:pt x="19938" y="159834"/>
                  <a:pt x="11334" y="169516"/>
                  <a:pt x="2175" y="178811"/>
                </a:cubicBezTo>
                <a:cubicBezTo>
                  <a:pt x="519" y="180317"/>
                  <a:pt x="-268" y="182555"/>
                  <a:pt x="82" y="184767"/>
                </a:cubicBezTo>
                <a:cubicBezTo>
                  <a:pt x="574" y="188859"/>
                  <a:pt x="1013" y="192963"/>
                  <a:pt x="2688" y="196804"/>
                </a:cubicBezTo>
                <a:cubicBezTo>
                  <a:pt x="6645" y="205795"/>
                  <a:pt x="13699" y="213928"/>
                  <a:pt x="25245" y="213551"/>
                </a:cubicBezTo>
                <a:cubicBezTo>
                  <a:pt x="32195" y="213332"/>
                  <a:pt x="39177" y="213551"/>
                  <a:pt x="46106" y="213468"/>
                </a:cubicBezTo>
                <a:cubicBezTo>
                  <a:pt x="48262" y="213468"/>
                  <a:pt x="48932" y="214064"/>
                  <a:pt x="48922" y="216262"/>
                </a:cubicBezTo>
                <a:cubicBezTo>
                  <a:pt x="48796" y="258829"/>
                  <a:pt x="48737" y="301444"/>
                  <a:pt x="48744" y="344108"/>
                </a:cubicBezTo>
                <a:cubicBezTo>
                  <a:pt x="48744" y="352388"/>
                  <a:pt x="51455" y="359914"/>
                  <a:pt x="57651" y="365734"/>
                </a:cubicBezTo>
                <a:cubicBezTo>
                  <a:pt x="64067" y="371763"/>
                  <a:pt x="72127" y="373385"/>
                  <a:pt x="80564" y="373427"/>
                </a:cubicBezTo>
                <a:cubicBezTo>
                  <a:pt x="100169" y="373532"/>
                  <a:pt x="119763" y="373427"/>
                  <a:pt x="139368" y="373532"/>
                </a:cubicBezTo>
                <a:cubicBezTo>
                  <a:pt x="142352" y="373532"/>
                  <a:pt x="143283" y="373019"/>
                  <a:pt x="143283" y="369774"/>
                </a:cubicBezTo>
                <a:cubicBezTo>
                  <a:pt x="143126" y="339660"/>
                  <a:pt x="143189" y="309546"/>
                  <a:pt x="143189" y="279432"/>
                </a:cubicBezTo>
                <a:cubicBezTo>
                  <a:pt x="143189" y="267918"/>
                  <a:pt x="142959" y="256279"/>
                  <a:pt x="143283" y="244723"/>
                </a:cubicBezTo>
                <a:cubicBezTo>
                  <a:pt x="143461" y="238516"/>
                  <a:pt x="145670" y="234486"/>
                  <a:pt x="153133" y="234622"/>
                </a:cubicBezTo>
                <a:cubicBezTo>
                  <a:pt x="173429" y="235020"/>
                  <a:pt x="193735" y="234758"/>
                  <a:pt x="214051" y="234758"/>
                </a:cubicBezTo>
                <a:cubicBezTo>
                  <a:pt x="219400" y="234758"/>
                  <a:pt x="221745" y="237218"/>
                  <a:pt x="221745" y="242734"/>
                </a:cubicBezTo>
                <a:cubicBezTo>
                  <a:pt x="221745" y="285126"/>
                  <a:pt x="221728" y="327511"/>
                  <a:pt x="221692" y="369889"/>
                </a:cubicBezTo>
                <a:cubicBezTo>
                  <a:pt x="221692" y="372443"/>
                  <a:pt x="222038" y="373553"/>
                  <a:pt x="225063" y="373542"/>
                </a:cubicBezTo>
                <a:cubicBezTo>
                  <a:pt x="244312" y="373375"/>
                  <a:pt x="263541" y="373542"/>
                  <a:pt x="282800" y="373385"/>
                </a:cubicBezTo>
                <a:cubicBezTo>
                  <a:pt x="288096" y="373385"/>
                  <a:pt x="293341" y="372789"/>
                  <a:pt x="298333" y="370245"/>
                </a:cubicBezTo>
                <a:cubicBezTo>
                  <a:pt x="302806" y="367973"/>
                  <a:pt x="306734" y="364759"/>
                  <a:pt x="309847" y="360825"/>
                </a:cubicBezTo>
                <a:cubicBezTo>
                  <a:pt x="314212" y="355392"/>
                  <a:pt x="317624" y="349091"/>
                  <a:pt x="318064" y="342182"/>
                </a:cubicBezTo>
                <a:cubicBezTo>
                  <a:pt x="318776" y="331035"/>
                  <a:pt x="318273" y="319814"/>
                  <a:pt x="318284" y="308614"/>
                </a:cubicBezTo>
                <a:cubicBezTo>
                  <a:pt x="318284" y="292404"/>
                  <a:pt x="318308" y="276191"/>
                  <a:pt x="318357" y="259973"/>
                </a:cubicBezTo>
                <a:lnTo>
                  <a:pt x="318357" y="213897"/>
                </a:lnTo>
                <a:cubicBezTo>
                  <a:pt x="318357" y="213164"/>
                  <a:pt x="317938" y="212264"/>
                  <a:pt x="319655" y="212306"/>
                </a:cubicBezTo>
                <a:cubicBezTo>
                  <a:pt x="328029" y="212505"/>
                  <a:pt x="336402" y="212306"/>
                  <a:pt x="344776" y="212505"/>
                </a:cubicBezTo>
                <a:cubicBezTo>
                  <a:pt x="350871" y="212820"/>
                  <a:pt x="356712" y="210032"/>
                  <a:pt x="360299" y="205094"/>
                </a:cubicBezTo>
                <a:cubicBezTo>
                  <a:pt x="364863" y="199170"/>
                  <a:pt x="365271" y="192104"/>
                  <a:pt x="365198" y="184987"/>
                </a:cubicBezTo>
                <a:close/>
                <a:moveTo>
                  <a:pt x="348775" y="190011"/>
                </a:moveTo>
                <a:cubicBezTo>
                  <a:pt x="348597" y="195433"/>
                  <a:pt x="347864" y="196134"/>
                  <a:pt x="342494" y="196134"/>
                </a:cubicBezTo>
                <a:cubicBezTo>
                  <a:pt x="330216" y="196134"/>
                  <a:pt x="317938" y="196249"/>
                  <a:pt x="305660" y="196029"/>
                </a:cubicBezTo>
                <a:cubicBezTo>
                  <a:pt x="302677" y="196029"/>
                  <a:pt x="302248" y="197537"/>
                  <a:pt x="302237" y="199588"/>
                </a:cubicBezTo>
                <a:cubicBezTo>
                  <a:pt x="302133" y="218115"/>
                  <a:pt x="302102" y="236653"/>
                  <a:pt x="302028" y="255180"/>
                </a:cubicBezTo>
                <a:cubicBezTo>
                  <a:pt x="301923" y="279296"/>
                  <a:pt x="301812" y="303405"/>
                  <a:pt x="301693" y="327508"/>
                </a:cubicBezTo>
                <a:cubicBezTo>
                  <a:pt x="301693" y="331234"/>
                  <a:pt x="301955" y="334971"/>
                  <a:pt x="301882" y="338687"/>
                </a:cubicBezTo>
                <a:cubicBezTo>
                  <a:pt x="301714" y="346798"/>
                  <a:pt x="294147" y="357528"/>
                  <a:pt x="283428" y="356878"/>
                </a:cubicBezTo>
                <a:cubicBezTo>
                  <a:pt x="269549" y="356020"/>
                  <a:pt x="255575" y="356585"/>
                  <a:pt x="241643" y="356753"/>
                </a:cubicBezTo>
                <a:cubicBezTo>
                  <a:pt x="238838" y="356753"/>
                  <a:pt x="238304" y="355769"/>
                  <a:pt x="238314" y="353330"/>
                </a:cubicBezTo>
                <a:cubicBezTo>
                  <a:pt x="238454" y="334245"/>
                  <a:pt x="238520" y="315174"/>
                  <a:pt x="238513" y="296117"/>
                </a:cubicBezTo>
                <a:cubicBezTo>
                  <a:pt x="238513" y="278469"/>
                  <a:pt x="238587" y="260821"/>
                  <a:pt x="238398" y="243184"/>
                </a:cubicBezTo>
                <a:cubicBezTo>
                  <a:pt x="238304" y="234810"/>
                  <a:pt x="235059" y="227609"/>
                  <a:pt x="228433" y="222459"/>
                </a:cubicBezTo>
                <a:cubicBezTo>
                  <a:pt x="225734" y="220251"/>
                  <a:pt x="222364" y="219026"/>
                  <a:pt x="218877" y="218984"/>
                </a:cubicBezTo>
                <a:cubicBezTo>
                  <a:pt x="196708" y="219047"/>
                  <a:pt x="174538" y="218984"/>
                  <a:pt x="152316" y="218984"/>
                </a:cubicBezTo>
                <a:cubicBezTo>
                  <a:pt x="149176" y="218984"/>
                  <a:pt x="146036" y="218492"/>
                  <a:pt x="142959" y="219727"/>
                </a:cubicBezTo>
                <a:cubicBezTo>
                  <a:pt x="133664" y="223411"/>
                  <a:pt x="128880" y="230508"/>
                  <a:pt x="127541" y="240138"/>
                </a:cubicBezTo>
                <a:cubicBezTo>
                  <a:pt x="127311" y="242002"/>
                  <a:pt x="127216" y="243881"/>
                  <a:pt x="127258" y="245759"/>
                </a:cubicBezTo>
                <a:cubicBezTo>
                  <a:pt x="127258" y="281536"/>
                  <a:pt x="127279" y="317316"/>
                  <a:pt x="127321" y="353100"/>
                </a:cubicBezTo>
                <a:cubicBezTo>
                  <a:pt x="127321" y="356031"/>
                  <a:pt x="126661" y="356805"/>
                  <a:pt x="123667" y="356763"/>
                </a:cubicBezTo>
                <a:cubicBezTo>
                  <a:pt x="107622" y="356564"/>
                  <a:pt x="91565" y="356763"/>
                  <a:pt x="75519" y="356523"/>
                </a:cubicBezTo>
                <a:cubicBezTo>
                  <a:pt x="70320" y="356725"/>
                  <a:pt x="65941" y="352675"/>
                  <a:pt x="65738" y="347477"/>
                </a:cubicBezTo>
                <a:cubicBezTo>
                  <a:pt x="65735" y="347401"/>
                  <a:pt x="65733" y="347325"/>
                  <a:pt x="65732" y="347249"/>
                </a:cubicBezTo>
                <a:cubicBezTo>
                  <a:pt x="65407" y="341251"/>
                  <a:pt x="65449" y="335232"/>
                  <a:pt x="65439" y="329224"/>
                </a:cubicBezTo>
                <a:lnTo>
                  <a:pt x="65439" y="272544"/>
                </a:lnTo>
                <a:cubicBezTo>
                  <a:pt x="65439" y="248575"/>
                  <a:pt x="65439" y="224605"/>
                  <a:pt x="65501" y="200635"/>
                </a:cubicBezTo>
                <a:cubicBezTo>
                  <a:pt x="65501" y="197924"/>
                  <a:pt x="64915" y="197097"/>
                  <a:pt x="62068" y="197128"/>
                </a:cubicBezTo>
                <a:cubicBezTo>
                  <a:pt x="50146" y="197306"/>
                  <a:pt x="38224" y="197212"/>
                  <a:pt x="26292" y="197202"/>
                </a:cubicBezTo>
                <a:cubicBezTo>
                  <a:pt x="21567" y="197176"/>
                  <a:pt x="17676" y="193482"/>
                  <a:pt x="17405" y="188765"/>
                </a:cubicBezTo>
                <a:cubicBezTo>
                  <a:pt x="17248" y="185269"/>
                  <a:pt x="20482" y="183710"/>
                  <a:pt x="22345" y="181669"/>
                </a:cubicBezTo>
                <a:cubicBezTo>
                  <a:pt x="29672" y="173651"/>
                  <a:pt x="37554" y="166072"/>
                  <a:pt x="45174" y="158274"/>
                </a:cubicBezTo>
                <a:cubicBezTo>
                  <a:pt x="56636" y="146541"/>
                  <a:pt x="68118" y="134797"/>
                  <a:pt x="79486" y="122979"/>
                </a:cubicBezTo>
                <a:cubicBezTo>
                  <a:pt x="90099" y="111926"/>
                  <a:pt x="100514" y="100684"/>
                  <a:pt x="111117" y="89631"/>
                </a:cubicBezTo>
                <a:cubicBezTo>
                  <a:pt x="120318" y="80043"/>
                  <a:pt x="129801" y="70716"/>
                  <a:pt x="138918" y="61055"/>
                </a:cubicBezTo>
                <a:cubicBezTo>
                  <a:pt x="147397" y="52033"/>
                  <a:pt x="156430" y="43502"/>
                  <a:pt x="164678" y="34207"/>
                </a:cubicBezTo>
                <a:cubicBezTo>
                  <a:pt x="169556" y="28712"/>
                  <a:pt x="175145" y="23824"/>
                  <a:pt x="180190" y="18506"/>
                </a:cubicBezTo>
                <a:cubicBezTo>
                  <a:pt x="181321" y="17323"/>
                  <a:pt x="181405" y="17763"/>
                  <a:pt x="182284" y="18600"/>
                </a:cubicBezTo>
                <a:cubicBezTo>
                  <a:pt x="187025" y="23384"/>
                  <a:pt x="191934" y="28021"/>
                  <a:pt x="196624" y="32804"/>
                </a:cubicBezTo>
                <a:cubicBezTo>
                  <a:pt x="205050" y="41440"/>
                  <a:pt x="213078" y="50462"/>
                  <a:pt x="221745" y="58826"/>
                </a:cubicBezTo>
                <a:cubicBezTo>
                  <a:pt x="233112" y="69764"/>
                  <a:pt x="243726" y="81414"/>
                  <a:pt x="254895" y="92499"/>
                </a:cubicBezTo>
                <a:cubicBezTo>
                  <a:pt x="263028" y="100548"/>
                  <a:pt x="271307" y="108493"/>
                  <a:pt x="279147" y="116814"/>
                </a:cubicBezTo>
                <a:cubicBezTo>
                  <a:pt x="286097" y="124204"/>
                  <a:pt x="293257" y="131374"/>
                  <a:pt x="300353" y="138617"/>
                </a:cubicBezTo>
                <a:cubicBezTo>
                  <a:pt x="306634" y="145002"/>
                  <a:pt x="313395" y="150916"/>
                  <a:pt x="319268" y="157594"/>
                </a:cubicBezTo>
                <a:cubicBezTo>
                  <a:pt x="326689" y="165968"/>
                  <a:pt x="334968" y="173546"/>
                  <a:pt x="342484" y="181825"/>
                </a:cubicBezTo>
                <a:cubicBezTo>
                  <a:pt x="343931" y="183501"/>
                  <a:pt x="345540" y="185030"/>
                  <a:pt x="347288" y="186389"/>
                </a:cubicBezTo>
                <a:cubicBezTo>
                  <a:pt x="348464" y="187203"/>
                  <a:pt x="349070" y="188619"/>
                  <a:pt x="348848" y="190032"/>
                </a:cubicBezTo>
                <a:close/>
              </a:path>
            </a:pathLst>
          </a:cu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zh-CN" altLang="en-US"/>
          </a:p>
        </p:txBody>
      </p:sp>
      <p:sp>
        <p:nvSpPr>
          <p:cNvPr id="10" name="图形 7">
            <a:extLst>
              <a:ext uri="{FF2B5EF4-FFF2-40B4-BE49-F238E27FC236}">
                <a16:creationId xmlns:a16="http://schemas.microsoft.com/office/drawing/2014/main" id="{1C9ADDE1-B117-4F4D-B754-87CA2DD600F8}"/>
              </a:ext>
            </a:extLst>
          </p:cNvPr>
          <p:cNvSpPr/>
          <p:nvPr/>
        </p:nvSpPr>
        <p:spPr>
          <a:xfrm>
            <a:off x="5597909" y="3250597"/>
            <a:ext cx="365822" cy="365692"/>
          </a:xfrm>
          <a:custGeom>
            <a:avLst/>
            <a:gdLst>
              <a:gd name="connsiteX0" fmla="*/ 298885 w 365822"/>
              <a:gd name="connsiteY0" fmla="*/ 239202 h 365691"/>
              <a:gd name="connsiteX1" fmla="*/ 346208 w 365822"/>
              <a:gd name="connsiteY1" fmla="*/ 257963 h 365691"/>
              <a:gd name="connsiteX2" fmla="*/ 366134 w 365822"/>
              <a:gd name="connsiteY2" fmla="*/ 302520 h 365691"/>
              <a:gd name="connsiteX3" fmla="*/ 298885 w 365822"/>
              <a:gd name="connsiteY3" fmla="*/ 365839 h 365691"/>
              <a:gd name="connsiteX4" fmla="*/ 231636 w 365822"/>
              <a:gd name="connsiteY4" fmla="*/ 302520 h 365691"/>
              <a:gd name="connsiteX5" fmla="*/ 234126 w 365822"/>
              <a:gd name="connsiteY5" fmla="*/ 281414 h 365691"/>
              <a:gd name="connsiteX6" fmla="*/ 161896 w 365822"/>
              <a:gd name="connsiteY6" fmla="*/ 241547 h 365691"/>
              <a:gd name="connsiteX7" fmla="*/ 159405 w 365822"/>
              <a:gd name="connsiteY7" fmla="*/ 243892 h 365691"/>
              <a:gd name="connsiteX8" fmla="*/ 92156 w 365822"/>
              <a:gd name="connsiteY8" fmla="*/ 269689 h 365691"/>
              <a:gd name="connsiteX9" fmla="*/ 0 w 365822"/>
              <a:gd name="connsiteY9" fmla="*/ 182919 h 365691"/>
              <a:gd name="connsiteX10" fmla="*/ 92156 w 365822"/>
              <a:gd name="connsiteY10" fmla="*/ 96150 h 365691"/>
              <a:gd name="connsiteX11" fmla="*/ 156914 w 365822"/>
              <a:gd name="connsiteY11" fmla="*/ 121946 h 365691"/>
              <a:gd name="connsiteX12" fmla="*/ 159405 w 365822"/>
              <a:gd name="connsiteY12" fmla="*/ 124291 h 365691"/>
              <a:gd name="connsiteX13" fmla="*/ 231636 w 365822"/>
              <a:gd name="connsiteY13" fmla="*/ 84424 h 365691"/>
              <a:gd name="connsiteX14" fmla="*/ 229145 w 365822"/>
              <a:gd name="connsiteY14" fmla="*/ 63318 h 365691"/>
              <a:gd name="connsiteX15" fmla="*/ 296394 w 365822"/>
              <a:gd name="connsiteY15" fmla="*/ 0 h 365691"/>
              <a:gd name="connsiteX16" fmla="*/ 363643 w 365822"/>
              <a:gd name="connsiteY16" fmla="*/ 63318 h 365691"/>
              <a:gd name="connsiteX17" fmla="*/ 296394 w 365822"/>
              <a:gd name="connsiteY17" fmla="*/ 126636 h 365691"/>
              <a:gd name="connsiteX18" fmla="*/ 249071 w 365822"/>
              <a:gd name="connsiteY18" fmla="*/ 107875 h 365691"/>
              <a:gd name="connsiteX19" fmla="*/ 176840 w 365822"/>
              <a:gd name="connsiteY19" fmla="*/ 147742 h 365691"/>
              <a:gd name="connsiteX20" fmla="*/ 184312 w 365822"/>
              <a:gd name="connsiteY20" fmla="*/ 182919 h 365691"/>
              <a:gd name="connsiteX21" fmla="*/ 176840 w 365822"/>
              <a:gd name="connsiteY21" fmla="*/ 218096 h 365691"/>
              <a:gd name="connsiteX22" fmla="*/ 249071 w 365822"/>
              <a:gd name="connsiteY22" fmla="*/ 257963 h 365691"/>
              <a:gd name="connsiteX23" fmla="*/ 298885 w 365822"/>
              <a:gd name="connsiteY23" fmla="*/ 239202 h 365691"/>
              <a:gd name="connsiteX24" fmla="*/ 323792 w 365822"/>
              <a:gd name="connsiteY24" fmla="*/ 276724 h 365691"/>
              <a:gd name="connsiteX25" fmla="*/ 296394 w 365822"/>
              <a:gd name="connsiteY25" fmla="*/ 267344 h 365691"/>
              <a:gd name="connsiteX26" fmla="*/ 268996 w 365822"/>
              <a:gd name="connsiteY26" fmla="*/ 276724 h 365691"/>
              <a:gd name="connsiteX27" fmla="*/ 259033 w 365822"/>
              <a:gd name="connsiteY27" fmla="*/ 302520 h 365691"/>
              <a:gd name="connsiteX28" fmla="*/ 296394 w 365822"/>
              <a:gd name="connsiteY28" fmla="*/ 337697 h 365691"/>
              <a:gd name="connsiteX29" fmla="*/ 333755 w 365822"/>
              <a:gd name="connsiteY29" fmla="*/ 302520 h 365691"/>
              <a:gd name="connsiteX30" fmla="*/ 323792 w 365822"/>
              <a:gd name="connsiteY30" fmla="*/ 276724 h 365691"/>
              <a:gd name="connsiteX31" fmla="*/ 136989 w 365822"/>
              <a:gd name="connsiteY31" fmla="*/ 140707 h 365691"/>
              <a:gd name="connsiteX32" fmla="*/ 92156 w 365822"/>
              <a:gd name="connsiteY32" fmla="*/ 124291 h 365691"/>
              <a:gd name="connsiteX33" fmla="*/ 29888 w 365822"/>
              <a:gd name="connsiteY33" fmla="*/ 182919 h 365691"/>
              <a:gd name="connsiteX34" fmla="*/ 92156 w 365822"/>
              <a:gd name="connsiteY34" fmla="*/ 241547 h 365691"/>
              <a:gd name="connsiteX35" fmla="*/ 134498 w 365822"/>
              <a:gd name="connsiteY35" fmla="*/ 225131 h 365691"/>
              <a:gd name="connsiteX36" fmla="*/ 154424 w 365822"/>
              <a:gd name="connsiteY36" fmla="*/ 182919 h 365691"/>
              <a:gd name="connsiteX37" fmla="*/ 136989 w 365822"/>
              <a:gd name="connsiteY37" fmla="*/ 140707 h 365691"/>
              <a:gd name="connsiteX38" fmla="*/ 298885 w 365822"/>
              <a:gd name="connsiteY38" fmla="*/ 28141 h 365691"/>
              <a:gd name="connsiteX39" fmla="*/ 261524 w 365822"/>
              <a:gd name="connsiteY39" fmla="*/ 63318 h 365691"/>
              <a:gd name="connsiteX40" fmla="*/ 266506 w 365822"/>
              <a:gd name="connsiteY40" fmla="*/ 82079 h 365691"/>
              <a:gd name="connsiteX41" fmla="*/ 271487 w 365822"/>
              <a:gd name="connsiteY41" fmla="*/ 86769 h 365691"/>
              <a:gd name="connsiteX42" fmla="*/ 298885 w 365822"/>
              <a:gd name="connsiteY42" fmla="*/ 96150 h 365691"/>
              <a:gd name="connsiteX43" fmla="*/ 336245 w 365822"/>
              <a:gd name="connsiteY43" fmla="*/ 60973 h 365691"/>
              <a:gd name="connsiteX44" fmla="*/ 298885 w 365822"/>
              <a:gd name="connsiteY44" fmla="*/ 28141 h 365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365822" h="365691">
                <a:moveTo>
                  <a:pt x="298885" y="239202"/>
                </a:moveTo>
                <a:cubicBezTo>
                  <a:pt x="318810" y="239202"/>
                  <a:pt x="333755" y="246237"/>
                  <a:pt x="346208" y="257963"/>
                </a:cubicBezTo>
                <a:cubicBezTo>
                  <a:pt x="358662" y="269689"/>
                  <a:pt x="366134" y="286104"/>
                  <a:pt x="366134" y="302520"/>
                </a:cubicBezTo>
                <a:cubicBezTo>
                  <a:pt x="366134" y="337697"/>
                  <a:pt x="336245" y="365839"/>
                  <a:pt x="298885" y="365839"/>
                </a:cubicBezTo>
                <a:cubicBezTo>
                  <a:pt x="261524" y="365839"/>
                  <a:pt x="231636" y="337697"/>
                  <a:pt x="231636" y="302520"/>
                </a:cubicBezTo>
                <a:cubicBezTo>
                  <a:pt x="231636" y="295485"/>
                  <a:pt x="234126" y="288450"/>
                  <a:pt x="234126" y="281414"/>
                </a:cubicBezTo>
                <a:lnTo>
                  <a:pt x="161896" y="241547"/>
                </a:lnTo>
                <a:lnTo>
                  <a:pt x="159405" y="243892"/>
                </a:lnTo>
                <a:cubicBezTo>
                  <a:pt x="139480" y="260308"/>
                  <a:pt x="117063" y="269689"/>
                  <a:pt x="92156" y="269689"/>
                </a:cubicBezTo>
                <a:cubicBezTo>
                  <a:pt x="42342" y="269689"/>
                  <a:pt x="0" y="229822"/>
                  <a:pt x="0" y="182919"/>
                </a:cubicBezTo>
                <a:cubicBezTo>
                  <a:pt x="0" y="136017"/>
                  <a:pt x="42342" y="96150"/>
                  <a:pt x="92156" y="96150"/>
                </a:cubicBezTo>
                <a:cubicBezTo>
                  <a:pt x="117063" y="96150"/>
                  <a:pt x="141970" y="105530"/>
                  <a:pt x="156914" y="121946"/>
                </a:cubicBezTo>
                <a:lnTo>
                  <a:pt x="159405" y="124291"/>
                </a:lnTo>
                <a:lnTo>
                  <a:pt x="231636" y="84424"/>
                </a:lnTo>
                <a:cubicBezTo>
                  <a:pt x="231636" y="77389"/>
                  <a:pt x="229145" y="70354"/>
                  <a:pt x="229145" y="63318"/>
                </a:cubicBezTo>
                <a:cubicBezTo>
                  <a:pt x="229145" y="28141"/>
                  <a:pt x="259033" y="0"/>
                  <a:pt x="296394" y="0"/>
                </a:cubicBezTo>
                <a:cubicBezTo>
                  <a:pt x="333755" y="0"/>
                  <a:pt x="363643" y="28141"/>
                  <a:pt x="363643" y="63318"/>
                </a:cubicBezTo>
                <a:cubicBezTo>
                  <a:pt x="363643" y="98495"/>
                  <a:pt x="333755" y="126636"/>
                  <a:pt x="296394" y="126636"/>
                </a:cubicBezTo>
                <a:cubicBezTo>
                  <a:pt x="276468" y="126636"/>
                  <a:pt x="261524" y="119601"/>
                  <a:pt x="249071" y="107875"/>
                </a:cubicBezTo>
                <a:lnTo>
                  <a:pt x="176840" y="147742"/>
                </a:lnTo>
                <a:cubicBezTo>
                  <a:pt x="181822" y="159468"/>
                  <a:pt x="184312" y="171194"/>
                  <a:pt x="184312" y="182919"/>
                </a:cubicBezTo>
                <a:cubicBezTo>
                  <a:pt x="184312" y="194645"/>
                  <a:pt x="181822" y="206370"/>
                  <a:pt x="176840" y="218096"/>
                </a:cubicBezTo>
                <a:lnTo>
                  <a:pt x="249071" y="257963"/>
                </a:lnTo>
                <a:cubicBezTo>
                  <a:pt x="261524" y="246237"/>
                  <a:pt x="278959" y="239202"/>
                  <a:pt x="298885" y="239202"/>
                </a:cubicBezTo>
                <a:close/>
                <a:moveTo>
                  <a:pt x="323792" y="276724"/>
                </a:moveTo>
                <a:cubicBezTo>
                  <a:pt x="316320" y="269689"/>
                  <a:pt x="306357" y="267344"/>
                  <a:pt x="296394" y="267344"/>
                </a:cubicBezTo>
                <a:cubicBezTo>
                  <a:pt x="286431" y="267344"/>
                  <a:pt x="276468" y="272034"/>
                  <a:pt x="268996" y="276724"/>
                </a:cubicBezTo>
                <a:cubicBezTo>
                  <a:pt x="261524" y="283759"/>
                  <a:pt x="259033" y="293140"/>
                  <a:pt x="259033" y="302520"/>
                </a:cubicBezTo>
                <a:cubicBezTo>
                  <a:pt x="259033" y="321281"/>
                  <a:pt x="276468" y="337697"/>
                  <a:pt x="296394" y="337697"/>
                </a:cubicBezTo>
                <a:cubicBezTo>
                  <a:pt x="316320" y="337697"/>
                  <a:pt x="333755" y="321281"/>
                  <a:pt x="333755" y="302520"/>
                </a:cubicBezTo>
                <a:cubicBezTo>
                  <a:pt x="336245" y="293140"/>
                  <a:pt x="331264" y="283759"/>
                  <a:pt x="323792" y="276724"/>
                </a:cubicBezTo>
                <a:close/>
                <a:moveTo>
                  <a:pt x="136989" y="140707"/>
                </a:moveTo>
                <a:cubicBezTo>
                  <a:pt x="124535" y="131327"/>
                  <a:pt x="109591" y="124291"/>
                  <a:pt x="92156" y="124291"/>
                </a:cubicBezTo>
                <a:cubicBezTo>
                  <a:pt x="57286" y="124291"/>
                  <a:pt x="29888" y="150088"/>
                  <a:pt x="29888" y="182919"/>
                </a:cubicBezTo>
                <a:cubicBezTo>
                  <a:pt x="29888" y="215751"/>
                  <a:pt x="57286" y="241547"/>
                  <a:pt x="92156" y="241547"/>
                </a:cubicBezTo>
                <a:cubicBezTo>
                  <a:pt x="109591" y="241547"/>
                  <a:pt x="124535" y="234512"/>
                  <a:pt x="134498" y="225131"/>
                </a:cubicBezTo>
                <a:cubicBezTo>
                  <a:pt x="149442" y="213406"/>
                  <a:pt x="154424" y="199335"/>
                  <a:pt x="154424" y="182919"/>
                </a:cubicBezTo>
                <a:cubicBezTo>
                  <a:pt x="154424" y="166503"/>
                  <a:pt x="149442" y="152433"/>
                  <a:pt x="136989" y="140707"/>
                </a:cubicBezTo>
                <a:close/>
                <a:moveTo>
                  <a:pt x="298885" y="28141"/>
                </a:moveTo>
                <a:cubicBezTo>
                  <a:pt x="278959" y="28141"/>
                  <a:pt x="261524" y="44557"/>
                  <a:pt x="261524" y="63318"/>
                </a:cubicBezTo>
                <a:cubicBezTo>
                  <a:pt x="261524" y="70354"/>
                  <a:pt x="264015" y="77389"/>
                  <a:pt x="266506" y="82079"/>
                </a:cubicBezTo>
                <a:cubicBezTo>
                  <a:pt x="268996" y="84424"/>
                  <a:pt x="268996" y="86769"/>
                  <a:pt x="271487" y="86769"/>
                </a:cubicBezTo>
                <a:cubicBezTo>
                  <a:pt x="278959" y="93805"/>
                  <a:pt x="288922" y="96150"/>
                  <a:pt x="298885" y="96150"/>
                </a:cubicBezTo>
                <a:cubicBezTo>
                  <a:pt x="318810" y="96150"/>
                  <a:pt x="336245" y="79734"/>
                  <a:pt x="336245" y="60973"/>
                </a:cubicBezTo>
                <a:cubicBezTo>
                  <a:pt x="336245" y="44557"/>
                  <a:pt x="318810" y="28141"/>
                  <a:pt x="298885" y="28141"/>
                </a:cubicBezTo>
                <a:close/>
              </a:path>
            </a:pathLst>
          </a:cu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图形 11">
            <a:extLst>
              <a:ext uri="{FF2B5EF4-FFF2-40B4-BE49-F238E27FC236}">
                <a16:creationId xmlns:a16="http://schemas.microsoft.com/office/drawing/2014/main" id="{440DDDB9-F78C-4DEC-8949-2C93213F81C0}"/>
              </a:ext>
            </a:extLst>
          </p:cNvPr>
          <p:cNvSpPr/>
          <p:nvPr/>
        </p:nvSpPr>
        <p:spPr>
          <a:xfrm>
            <a:off x="6594180" y="4270740"/>
            <a:ext cx="371741" cy="337509"/>
          </a:xfrm>
          <a:custGeom>
            <a:avLst/>
            <a:gdLst>
              <a:gd name="connsiteX0" fmla="*/ 167070 w 371740"/>
              <a:gd name="connsiteY0" fmla="*/ 133241 h 337508"/>
              <a:gd name="connsiteX1" fmla="*/ 72165 w 371740"/>
              <a:gd name="connsiteY1" fmla="*/ 133241 h 337508"/>
              <a:gd name="connsiteX2" fmla="*/ 35683 w 371740"/>
              <a:gd name="connsiteY2" fmla="*/ 165021 h 337508"/>
              <a:gd name="connsiteX3" fmla="*/ 35683 w 371740"/>
              <a:gd name="connsiteY3" fmla="*/ 242892 h 337508"/>
              <a:gd name="connsiteX4" fmla="*/ 35843 w 371740"/>
              <a:gd name="connsiteY4" fmla="*/ 245225 h 337508"/>
              <a:gd name="connsiteX5" fmla="*/ 0 w 371740"/>
              <a:gd name="connsiteY5" fmla="*/ 290589 h 337508"/>
              <a:gd name="connsiteX6" fmla="*/ 48198 w 371740"/>
              <a:gd name="connsiteY6" fmla="*/ 337509 h 337508"/>
              <a:gd name="connsiteX7" fmla="*/ 96397 w 371740"/>
              <a:gd name="connsiteY7" fmla="*/ 290589 h 337508"/>
              <a:gd name="connsiteX8" fmla="*/ 60501 w 371740"/>
              <a:gd name="connsiteY8" fmla="*/ 245225 h 337508"/>
              <a:gd name="connsiteX9" fmla="*/ 60714 w 371740"/>
              <a:gd name="connsiteY9" fmla="*/ 242892 h 337508"/>
              <a:gd name="connsiteX10" fmla="*/ 60714 w 371740"/>
              <a:gd name="connsiteY10" fmla="*/ 165021 h 337508"/>
              <a:gd name="connsiteX11" fmla="*/ 72165 w 371740"/>
              <a:gd name="connsiteY11" fmla="*/ 157608 h 337508"/>
              <a:gd name="connsiteX12" fmla="*/ 299576 w 371740"/>
              <a:gd name="connsiteY12" fmla="*/ 157608 h 337508"/>
              <a:gd name="connsiteX13" fmla="*/ 311027 w 371740"/>
              <a:gd name="connsiteY13" fmla="*/ 165021 h 337508"/>
              <a:gd name="connsiteX14" fmla="*/ 311027 w 371740"/>
              <a:gd name="connsiteY14" fmla="*/ 242892 h 337508"/>
              <a:gd name="connsiteX15" fmla="*/ 311240 w 371740"/>
              <a:gd name="connsiteY15" fmla="*/ 245225 h 337508"/>
              <a:gd name="connsiteX16" fmla="*/ 275397 w 371740"/>
              <a:gd name="connsiteY16" fmla="*/ 290589 h 337508"/>
              <a:gd name="connsiteX17" fmla="*/ 323542 w 371740"/>
              <a:gd name="connsiteY17" fmla="*/ 337509 h 337508"/>
              <a:gd name="connsiteX18" fmla="*/ 371794 w 371740"/>
              <a:gd name="connsiteY18" fmla="*/ 290589 h 337508"/>
              <a:gd name="connsiteX19" fmla="*/ 335898 w 371740"/>
              <a:gd name="connsiteY19" fmla="*/ 245225 h 337508"/>
              <a:gd name="connsiteX20" fmla="*/ 336111 w 371740"/>
              <a:gd name="connsiteY20" fmla="*/ 242892 h 337508"/>
              <a:gd name="connsiteX21" fmla="*/ 336111 w 371740"/>
              <a:gd name="connsiteY21" fmla="*/ 165021 h 337508"/>
              <a:gd name="connsiteX22" fmla="*/ 299630 w 371740"/>
              <a:gd name="connsiteY22" fmla="*/ 133241 h 337508"/>
              <a:gd name="connsiteX23" fmla="*/ 192102 w 371740"/>
              <a:gd name="connsiteY23" fmla="*/ 133241 h 337508"/>
              <a:gd name="connsiteX24" fmla="*/ 192102 w 371740"/>
              <a:gd name="connsiteY24" fmla="*/ 92232 h 337508"/>
              <a:gd name="connsiteX25" fmla="*/ 227784 w 371740"/>
              <a:gd name="connsiteY25" fmla="*/ 46919 h 337508"/>
              <a:gd name="connsiteX26" fmla="*/ 179586 w 371740"/>
              <a:gd name="connsiteY26" fmla="*/ 0 h 337508"/>
              <a:gd name="connsiteX27" fmla="*/ 131388 w 371740"/>
              <a:gd name="connsiteY27" fmla="*/ 46919 h 337508"/>
              <a:gd name="connsiteX28" fmla="*/ 167070 w 371740"/>
              <a:gd name="connsiteY28" fmla="*/ 92232 h 337508"/>
              <a:gd name="connsiteX29" fmla="*/ 167070 w 371740"/>
              <a:gd name="connsiteY29" fmla="*/ 133241 h 337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71740" h="337508">
                <a:moveTo>
                  <a:pt x="167070" y="133241"/>
                </a:moveTo>
                <a:lnTo>
                  <a:pt x="72165" y="133241"/>
                </a:lnTo>
                <a:cubicBezTo>
                  <a:pt x="52512" y="133241"/>
                  <a:pt x="35683" y="146928"/>
                  <a:pt x="35683" y="165021"/>
                </a:cubicBezTo>
                <a:lnTo>
                  <a:pt x="35683" y="242892"/>
                </a:lnTo>
                <a:cubicBezTo>
                  <a:pt x="35683" y="243670"/>
                  <a:pt x="35736" y="244447"/>
                  <a:pt x="35843" y="245225"/>
                </a:cubicBezTo>
                <a:cubicBezTo>
                  <a:pt x="15232" y="250513"/>
                  <a:pt x="0" y="268814"/>
                  <a:pt x="0" y="290589"/>
                </a:cubicBezTo>
                <a:cubicBezTo>
                  <a:pt x="0" y="316511"/>
                  <a:pt x="21569" y="337509"/>
                  <a:pt x="48198" y="337509"/>
                </a:cubicBezTo>
                <a:cubicBezTo>
                  <a:pt x="74828" y="337509"/>
                  <a:pt x="96397" y="316511"/>
                  <a:pt x="96397" y="290589"/>
                </a:cubicBezTo>
                <a:cubicBezTo>
                  <a:pt x="96397" y="268814"/>
                  <a:pt x="81165" y="250513"/>
                  <a:pt x="60501" y="245225"/>
                </a:cubicBezTo>
                <a:cubicBezTo>
                  <a:pt x="60661" y="244499"/>
                  <a:pt x="60714" y="243722"/>
                  <a:pt x="60714" y="242892"/>
                </a:cubicBezTo>
                <a:lnTo>
                  <a:pt x="60714" y="165021"/>
                </a:lnTo>
                <a:cubicBezTo>
                  <a:pt x="60714" y="161496"/>
                  <a:pt x="65454" y="157608"/>
                  <a:pt x="72165" y="157608"/>
                </a:cubicBezTo>
                <a:lnTo>
                  <a:pt x="299576" y="157608"/>
                </a:lnTo>
                <a:cubicBezTo>
                  <a:pt x="306340" y="157608"/>
                  <a:pt x="311027" y="161444"/>
                  <a:pt x="311027" y="165021"/>
                </a:cubicBezTo>
                <a:lnTo>
                  <a:pt x="311027" y="242892"/>
                </a:lnTo>
                <a:cubicBezTo>
                  <a:pt x="311027" y="243670"/>
                  <a:pt x="311133" y="244447"/>
                  <a:pt x="311240" y="245225"/>
                </a:cubicBezTo>
                <a:cubicBezTo>
                  <a:pt x="290576" y="250513"/>
                  <a:pt x="275397" y="268814"/>
                  <a:pt x="275397" y="290589"/>
                </a:cubicBezTo>
                <a:cubicBezTo>
                  <a:pt x="275397" y="316511"/>
                  <a:pt x="296967" y="337509"/>
                  <a:pt x="323542" y="337509"/>
                </a:cubicBezTo>
                <a:cubicBezTo>
                  <a:pt x="350118" y="337509"/>
                  <a:pt x="371794" y="316511"/>
                  <a:pt x="371794" y="290589"/>
                </a:cubicBezTo>
                <a:cubicBezTo>
                  <a:pt x="371794" y="268814"/>
                  <a:pt x="356562" y="250513"/>
                  <a:pt x="335898" y="245225"/>
                </a:cubicBezTo>
                <a:cubicBezTo>
                  <a:pt x="336005" y="244499"/>
                  <a:pt x="336111" y="243722"/>
                  <a:pt x="336111" y="242892"/>
                </a:cubicBezTo>
                <a:lnTo>
                  <a:pt x="336111" y="165021"/>
                </a:lnTo>
                <a:cubicBezTo>
                  <a:pt x="336111" y="146980"/>
                  <a:pt x="319282" y="133241"/>
                  <a:pt x="299630" y="133241"/>
                </a:cubicBezTo>
                <a:lnTo>
                  <a:pt x="192102" y="133241"/>
                </a:lnTo>
                <a:lnTo>
                  <a:pt x="192102" y="92232"/>
                </a:lnTo>
                <a:cubicBezTo>
                  <a:pt x="212606" y="86840"/>
                  <a:pt x="227784" y="68642"/>
                  <a:pt x="227784" y="46919"/>
                </a:cubicBezTo>
                <a:cubicBezTo>
                  <a:pt x="227784" y="20997"/>
                  <a:pt x="206215" y="0"/>
                  <a:pt x="179586" y="0"/>
                </a:cubicBezTo>
                <a:cubicBezTo>
                  <a:pt x="152957" y="0"/>
                  <a:pt x="131388" y="20997"/>
                  <a:pt x="131388" y="46919"/>
                </a:cubicBezTo>
                <a:cubicBezTo>
                  <a:pt x="131388" y="68590"/>
                  <a:pt x="146513" y="86840"/>
                  <a:pt x="167070" y="92232"/>
                </a:cubicBezTo>
                <a:lnTo>
                  <a:pt x="167070" y="133241"/>
                </a:lnTo>
                <a:close/>
              </a:path>
            </a:pathLst>
          </a:cu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87815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000" dirty="0"/>
              <a:t>Hadoop</a:t>
            </a:r>
            <a:r>
              <a:rPr lang="zh-CN" altLang="en-US" sz="2000" dirty="0"/>
              <a:t>的部署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1</a:t>
            </a:fld>
            <a:endParaRPr lang="zh-CN" altLang="en-US"/>
          </a:p>
        </p:txBody>
      </p:sp>
      <p:sp>
        <p:nvSpPr>
          <p:cNvPr id="195" name="iṧḻîďè">
            <a:extLst>
              <a:ext uri="{FF2B5EF4-FFF2-40B4-BE49-F238E27FC236}">
                <a16:creationId xmlns:a16="http://schemas.microsoft.com/office/drawing/2014/main" id="{6FC8272D-4563-47EB-B741-E738A21C2623}"/>
              </a:ext>
            </a:extLst>
          </p:cNvPr>
          <p:cNvSpPr/>
          <p:nvPr/>
        </p:nvSpPr>
        <p:spPr bwMode="auto">
          <a:xfrm>
            <a:off x="4320066" y="-668983"/>
            <a:ext cx="1386092" cy="289889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搞定！</a:t>
            </a:r>
            <a:endParaRPr lang="en-US" altLang="zh-CN" b="1" dirty="0"/>
          </a:p>
        </p:txBody>
      </p:sp>
      <p:sp>
        <p:nvSpPr>
          <p:cNvPr id="196" name="îŝḻiḋé">
            <a:extLst>
              <a:ext uri="{FF2B5EF4-FFF2-40B4-BE49-F238E27FC236}">
                <a16:creationId xmlns:a16="http://schemas.microsoft.com/office/drawing/2014/main" id="{C05C75D7-4258-49B9-958F-F2EEF0B840E0}"/>
              </a:ext>
            </a:extLst>
          </p:cNvPr>
          <p:cNvSpPr/>
          <p:nvPr/>
        </p:nvSpPr>
        <p:spPr bwMode="auto">
          <a:xfrm>
            <a:off x="4549639" y="-945932"/>
            <a:ext cx="1386092" cy="289889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测试</a:t>
            </a:r>
            <a:endParaRPr lang="en-US" altLang="zh-CN" b="1" dirty="0"/>
          </a:p>
        </p:txBody>
      </p:sp>
      <p:sp>
        <p:nvSpPr>
          <p:cNvPr id="197" name="íṥḷíďê">
            <a:extLst>
              <a:ext uri="{FF2B5EF4-FFF2-40B4-BE49-F238E27FC236}">
                <a16:creationId xmlns:a16="http://schemas.microsoft.com/office/drawing/2014/main" id="{D4FCC7AE-5767-4EC4-BB68-B94457D3AE6D}"/>
              </a:ext>
            </a:extLst>
          </p:cNvPr>
          <p:cNvSpPr/>
          <p:nvPr/>
        </p:nvSpPr>
        <p:spPr bwMode="auto">
          <a:xfrm>
            <a:off x="4774327" y="-1222881"/>
            <a:ext cx="1386092" cy="289889"/>
          </a:xfrm>
          <a:prstGeom prst="parallelogram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 dirty="0">
                <a:solidFill>
                  <a:schemeClr val="bg1"/>
                </a:solidFill>
              </a:rPr>
              <a:t>配置</a:t>
            </a:r>
            <a:r>
              <a:rPr lang="en-US" altLang="zh-CN" sz="1750" b="1" dirty="0">
                <a:solidFill>
                  <a:schemeClr val="bg1"/>
                </a:solidFill>
              </a:rPr>
              <a:t>Hadoop</a:t>
            </a:r>
          </a:p>
        </p:txBody>
      </p:sp>
      <p:sp>
        <p:nvSpPr>
          <p:cNvPr id="198" name="ïś1ïḓè">
            <a:extLst>
              <a:ext uri="{FF2B5EF4-FFF2-40B4-BE49-F238E27FC236}">
                <a16:creationId xmlns:a16="http://schemas.microsoft.com/office/drawing/2014/main" id="{F32E844B-E27C-4A92-9B60-95E4AD88D81F}"/>
              </a:ext>
            </a:extLst>
          </p:cNvPr>
          <p:cNvSpPr/>
          <p:nvPr/>
        </p:nvSpPr>
        <p:spPr bwMode="auto">
          <a:xfrm>
            <a:off x="5003411" y="-1499830"/>
            <a:ext cx="1386092" cy="289889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 dirty="0"/>
              <a:t>安装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9" name="îśļïḍè">
            <a:extLst>
              <a:ext uri="{FF2B5EF4-FFF2-40B4-BE49-F238E27FC236}">
                <a16:creationId xmlns:a16="http://schemas.microsoft.com/office/drawing/2014/main" id="{F812BB55-77DE-4E23-95E6-156A22FAD363}"/>
              </a:ext>
            </a:extLst>
          </p:cNvPr>
          <p:cNvSpPr/>
          <p:nvPr/>
        </p:nvSpPr>
        <p:spPr bwMode="auto">
          <a:xfrm>
            <a:off x="5217063" y="-1776779"/>
            <a:ext cx="1386092" cy="289889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配置</a:t>
            </a:r>
            <a:r>
              <a:rPr lang="en-US" altLang="zh-CN" b="1" dirty="0"/>
              <a:t>JAVA</a:t>
            </a:r>
          </a:p>
        </p:txBody>
      </p:sp>
      <p:sp>
        <p:nvSpPr>
          <p:cNvPr id="200" name="ï$1íḍé">
            <a:extLst>
              <a:ext uri="{FF2B5EF4-FFF2-40B4-BE49-F238E27FC236}">
                <a16:creationId xmlns:a16="http://schemas.microsoft.com/office/drawing/2014/main" id="{48245F16-84E7-4201-9485-85B5E5B15ECD}"/>
              </a:ext>
            </a:extLst>
          </p:cNvPr>
          <p:cNvSpPr/>
          <p:nvPr/>
        </p:nvSpPr>
        <p:spPr bwMode="auto">
          <a:xfrm>
            <a:off x="5438623" y="-2053728"/>
            <a:ext cx="1386092" cy="289889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安装</a:t>
            </a:r>
            <a:r>
              <a:rPr lang="en-US" altLang="zh-CN" b="1" dirty="0"/>
              <a:t>JAVA</a:t>
            </a:r>
          </a:p>
        </p:txBody>
      </p:sp>
      <p:sp>
        <p:nvSpPr>
          <p:cNvPr id="201" name="îṥľïďê">
            <a:extLst>
              <a:ext uri="{FF2B5EF4-FFF2-40B4-BE49-F238E27FC236}">
                <a16:creationId xmlns:a16="http://schemas.microsoft.com/office/drawing/2014/main" id="{920DFBAA-02E5-4206-86B0-FE10F93A7509}"/>
              </a:ext>
            </a:extLst>
          </p:cNvPr>
          <p:cNvSpPr/>
          <p:nvPr/>
        </p:nvSpPr>
        <p:spPr bwMode="auto">
          <a:xfrm>
            <a:off x="4142672" y="-1430529"/>
            <a:ext cx="1593417" cy="527841"/>
          </a:xfrm>
          <a:custGeom>
            <a:avLst/>
            <a:gdLst>
              <a:gd name="T0" fmla="*/ 179 w 203"/>
              <a:gd name="T1" fmla="*/ 82 h 82"/>
              <a:gd name="T2" fmla="*/ 203 w 203"/>
              <a:gd name="T3" fmla="*/ 29 h 82"/>
              <a:gd name="T4" fmla="*/ 65 w 203"/>
              <a:gd name="T5" fmla="*/ 27 h 82"/>
              <a:gd name="T6" fmla="*/ 59 w 203"/>
              <a:gd name="T7" fmla="*/ 0 h 82"/>
              <a:gd name="T8" fmla="*/ 59 w 203"/>
              <a:gd name="T9" fmla="*/ 0 h 82"/>
              <a:gd name="T10" fmla="*/ 0 w 203"/>
              <a:gd name="T11" fmla="*/ 80 h 82"/>
              <a:gd name="T12" fmla="*/ 61 w 203"/>
              <a:gd name="T13" fmla="*/ 82 h 82"/>
              <a:gd name="T14" fmla="*/ 179 w 203"/>
              <a:gd name="T15" fmla="*/ 8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3" h="82">
                <a:moveTo>
                  <a:pt x="179" y="82"/>
                </a:moveTo>
                <a:lnTo>
                  <a:pt x="203" y="29"/>
                </a:lnTo>
                <a:lnTo>
                  <a:pt x="65" y="27"/>
                </a:lnTo>
                <a:lnTo>
                  <a:pt x="59" y="0"/>
                </a:lnTo>
                <a:lnTo>
                  <a:pt x="59" y="0"/>
                </a:lnTo>
                <a:lnTo>
                  <a:pt x="0" y="80"/>
                </a:lnTo>
                <a:lnTo>
                  <a:pt x="61" y="82"/>
                </a:lnTo>
                <a:lnTo>
                  <a:pt x="179" y="8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2" name="i$ḻíḋè">
            <a:extLst>
              <a:ext uri="{FF2B5EF4-FFF2-40B4-BE49-F238E27FC236}">
                <a16:creationId xmlns:a16="http://schemas.microsoft.com/office/drawing/2014/main" id="{430BE7EB-B6F0-4F05-80EA-1F517165029F}"/>
              </a:ext>
            </a:extLst>
          </p:cNvPr>
          <p:cNvSpPr/>
          <p:nvPr/>
        </p:nvSpPr>
        <p:spPr bwMode="auto">
          <a:xfrm>
            <a:off x="5340291" y="-2053728"/>
            <a:ext cx="595440" cy="105463"/>
          </a:xfrm>
          <a:prstGeom prst="triangle">
            <a:avLst>
              <a:gd name="adj" fmla="val 14726"/>
            </a:avLst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3" name="işľiḋe">
            <a:extLst>
              <a:ext uri="{FF2B5EF4-FFF2-40B4-BE49-F238E27FC236}">
                <a16:creationId xmlns:a16="http://schemas.microsoft.com/office/drawing/2014/main" id="{E4DECB97-43D1-4D26-8C48-41447675AE79}"/>
              </a:ext>
            </a:extLst>
          </p:cNvPr>
          <p:cNvSpPr/>
          <p:nvPr/>
        </p:nvSpPr>
        <p:spPr bwMode="auto">
          <a:xfrm>
            <a:off x="3484734" y="-2125735"/>
            <a:ext cx="2450997" cy="463940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4" name="iś1íďé">
            <a:extLst>
              <a:ext uri="{FF2B5EF4-FFF2-40B4-BE49-F238E27FC236}">
                <a16:creationId xmlns:a16="http://schemas.microsoft.com/office/drawing/2014/main" id="{6E7EA96A-F20A-4912-AC31-63A0F19E66DE}"/>
              </a:ext>
            </a:extLst>
          </p:cNvPr>
          <p:cNvSpPr/>
          <p:nvPr/>
        </p:nvSpPr>
        <p:spPr bwMode="auto">
          <a:xfrm>
            <a:off x="3252244" y="-1848786"/>
            <a:ext cx="2450997" cy="463940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5" name="ïŝlíḋe">
            <a:extLst>
              <a:ext uri="{FF2B5EF4-FFF2-40B4-BE49-F238E27FC236}">
                <a16:creationId xmlns:a16="http://schemas.microsoft.com/office/drawing/2014/main" id="{66D30D6F-26C9-4C2C-BC01-900AC07DC57E}"/>
              </a:ext>
            </a:extLst>
          </p:cNvPr>
          <p:cNvSpPr/>
          <p:nvPr/>
        </p:nvSpPr>
        <p:spPr bwMode="auto">
          <a:xfrm>
            <a:off x="3016838" y="-1571837"/>
            <a:ext cx="2450997" cy="463940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6" name="îSliďè">
            <a:extLst>
              <a:ext uri="{FF2B5EF4-FFF2-40B4-BE49-F238E27FC236}">
                <a16:creationId xmlns:a16="http://schemas.microsoft.com/office/drawing/2014/main" id="{2F6D5554-EACD-4DDD-892F-2E5F97A9C421}"/>
              </a:ext>
            </a:extLst>
          </p:cNvPr>
          <p:cNvSpPr/>
          <p:nvPr/>
        </p:nvSpPr>
        <p:spPr bwMode="auto">
          <a:xfrm>
            <a:off x="2784362" y="-1294888"/>
            <a:ext cx="2450997" cy="463940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7" name="îSliďé">
            <a:extLst>
              <a:ext uri="{FF2B5EF4-FFF2-40B4-BE49-F238E27FC236}">
                <a16:creationId xmlns:a16="http://schemas.microsoft.com/office/drawing/2014/main" id="{2E278F3F-C8D8-4E2A-A3EA-29ADCF1A02AA}"/>
              </a:ext>
            </a:extLst>
          </p:cNvPr>
          <p:cNvSpPr/>
          <p:nvPr/>
        </p:nvSpPr>
        <p:spPr bwMode="auto">
          <a:xfrm>
            <a:off x="2551790" y="-1017939"/>
            <a:ext cx="2450997" cy="463940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8" name="îs1iďé">
            <a:extLst>
              <a:ext uri="{FF2B5EF4-FFF2-40B4-BE49-F238E27FC236}">
                <a16:creationId xmlns:a16="http://schemas.microsoft.com/office/drawing/2014/main" id="{EB74D0C2-5677-4F3F-A043-44D01A3F3D48}"/>
              </a:ext>
            </a:extLst>
          </p:cNvPr>
          <p:cNvSpPr/>
          <p:nvPr/>
        </p:nvSpPr>
        <p:spPr bwMode="auto">
          <a:xfrm>
            <a:off x="2319286" y="-740990"/>
            <a:ext cx="2450997" cy="463940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9" name="ïṣḻïḋe">
            <a:extLst>
              <a:ext uri="{FF2B5EF4-FFF2-40B4-BE49-F238E27FC236}">
                <a16:creationId xmlns:a16="http://schemas.microsoft.com/office/drawing/2014/main" id="{7709F84E-C33F-462F-B538-51CB71C9284E}"/>
              </a:ext>
            </a:extLst>
          </p:cNvPr>
          <p:cNvSpPr/>
          <p:nvPr/>
        </p:nvSpPr>
        <p:spPr bwMode="auto">
          <a:xfrm>
            <a:off x="3872462" y="-1884581"/>
            <a:ext cx="160881" cy="160657"/>
          </a:xfrm>
          <a:custGeom>
            <a:avLst/>
            <a:gdLst>
              <a:gd name="T0" fmla="*/ 400 w 11264"/>
              <a:gd name="T1" fmla="*/ 7099 h 11264"/>
              <a:gd name="T2" fmla="*/ 4165 w 11264"/>
              <a:gd name="T3" fmla="*/ 7099 h 11264"/>
              <a:gd name="T4" fmla="*/ 4165 w 11264"/>
              <a:gd name="T5" fmla="*/ 10864 h 11264"/>
              <a:gd name="T6" fmla="*/ 4565 w 11264"/>
              <a:gd name="T7" fmla="*/ 11264 h 11264"/>
              <a:gd name="T8" fmla="*/ 6699 w 11264"/>
              <a:gd name="T9" fmla="*/ 11264 h 11264"/>
              <a:gd name="T10" fmla="*/ 7099 w 11264"/>
              <a:gd name="T11" fmla="*/ 10864 h 11264"/>
              <a:gd name="T12" fmla="*/ 7099 w 11264"/>
              <a:gd name="T13" fmla="*/ 7099 h 11264"/>
              <a:gd name="T14" fmla="*/ 10864 w 11264"/>
              <a:gd name="T15" fmla="*/ 7099 h 11264"/>
              <a:gd name="T16" fmla="*/ 11264 w 11264"/>
              <a:gd name="T17" fmla="*/ 6699 h 11264"/>
              <a:gd name="T18" fmla="*/ 11264 w 11264"/>
              <a:gd name="T19" fmla="*/ 4565 h 11264"/>
              <a:gd name="T20" fmla="*/ 10864 w 11264"/>
              <a:gd name="T21" fmla="*/ 4165 h 11264"/>
              <a:gd name="T22" fmla="*/ 7099 w 11264"/>
              <a:gd name="T23" fmla="*/ 4165 h 11264"/>
              <a:gd name="T24" fmla="*/ 7099 w 11264"/>
              <a:gd name="T25" fmla="*/ 400 h 11264"/>
              <a:gd name="T26" fmla="*/ 6699 w 11264"/>
              <a:gd name="T27" fmla="*/ 0 h 11264"/>
              <a:gd name="T28" fmla="*/ 4565 w 11264"/>
              <a:gd name="T29" fmla="*/ 0 h 11264"/>
              <a:gd name="T30" fmla="*/ 4165 w 11264"/>
              <a:gd name="T31" fmla="*/ 400 h 11264"/>
              <a:gd name="T32" fmla="*/ 4165 w 11264"/>
              <a:gd name="T33" fmla="*/ 4165 h 11264"/>
              <a:gd name="T34" fmla="*/ 400 w 11264"/>
              <a:gd name="T35" fmla="*/ 4165 h 11264"/>
              <a:gd name="T36" fmla="*/ 0 w 11264"/>
              <a:gd name="T37" fmla="*/ 4565 h 11264"/>
              <a:gd name="T38" fmla="*/ 0 w 11264"/>
              <a:gd name="T39" fmla="*/ 6699 h 11264"/>
              <a:gd name="T40" fmla="*/ 400 w 11264"/>
              <a:gd name="T41" fmla="*/ 7099 h 11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264" h="11264">
                <a:moveTo>
                  <a:pt x="400" y="7099"/>
                </a:moveTo>
                <a:lnTo>
                  <a:pt x="4165" y="7099"/>
                </a:lnTo>
                <a:lnTo>
                  <a:pt x="4165" y="10864"/>
                </a:lnTo>
                <a:cubicBezTo>
                  <a:pt x="4165" y="11085"/>
                  <a:pt x="4344" y="11264"/>
                  <a:pt x="4565" y="11264"/>
                </a:cubicBezTo>
                <a:lnTo>
                  <a:pt x="6699" y="11264"/>
                </a:lnTo>
                <a:cubicBezTo>
                  <a:pt x="6920" y="11264"/>
                  <a:pt x="7099" y="11085"/>
                  <a:pt x="7099" y="10864"/>
                </a:cubicBezTo>
                <a:lnTo>
                  <a:pt x="7099" y="7099"/>
                </a:lnTo>
                <a:lnTo>
                  <a:pt x="10864" y="7099"/>
                </a:lnTo>
                <a:cubicBezTo>
                  <a:pt x="11085" y="7099"/>
                  <a:pt x="11264" y="6920"/>
                  <a:pt x="11264" y="6699"/>
                </a:cubicBezTo>
                <a:lnTo>
                  <a:pt x="11264" y="4565"/>
                </a:lnTo>
                <a:cubicBezTo>
                  <a:pt x="11264" y="4344"/>
                  <a:pt x="11085" y="4165"/>
                  <a:pt x="10864" y="4165"/>
                </a:cubicBezTo>
                <a:lnTo>
                  <a:pt x="7099" y="4165"/>
                </a:lnTo>
                <a:lnTo>
                  <a:pt x="7099" y="400"/>
                </a:lnTo>
                <a:cubicBezTo>
                  <a:pt x="7099" y="179"/>
                  <a:pt x="6920" y="0"/>
                  <a:pt x="6699" y="0"/>
                </a:cubicBezTo>
                <a:lnTo>
                  <a:pt x="4565" y="0"/>
                </a:lnTo>
                <a:cubicBezTo>
                  <a:pt x="4344" y="0"/>
                  <a:pt x="4165" y="179"/>
                  <a:pt x="4165" y="400"/>
                </a:cubicBezTo>
                <a:lnTo>
                  <a:pt x="4165" y="4165"/>
                </a:lnTo>
                <a:lnTo>
                  <a:pt x="400" y="4165"/>
                </a:lnTo>
                <a:cubicBezTo>
                  <a:pt x="179" y="4165"/>
                  <a:pt x="0" y="4344"/>
                  <a:pt x="0" y="4565"/>
                </a:cubicBezTo>
                <a:lnTo>
                  <a:pt x="0" y="6699"/>
                </a:lnTo>
                <a:cubicBezTo>
                  <a:pt x="0" y="6920"/>
                  <a:pt x="179" y="7099"/>
                  <a:pt x="400" y="7099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0" name="îsḷïde">
            <a:extLst>
              <a:ext uri="{FF2B5EF4-FFF2-40B4-BE49-F238E27FC236}">
                <a16:creationId xmlns:a16="http://schemas.microsoft.com/office/drawing/2014/main" id="{F7027C89-1BCC-4A00-9535-016DE4C49FD7}"/>
              </a:ext>
            </a:extLst>
          </p:cNvPr>
          <p:cNvSpPr/>
          <p:nvPr/>
        </p:nvSpPr>
        <p:spPr bwMode="auto">
          <a:xfrm>
            <a:off x="3652572" y="-1610841"/>
            <a:ext cx="157544" cy="160881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  <a:gd name="connsiteX107" fmla="*/ 373273 h 605239"/>
              <a:gd name="connsiteY107" fmla="*/ 373273 h 605239"/>
              <a:gd name="connsiteX108" fmla="*/ 373273 h 605239"/>
              <a:gd name="connsiteY108" fmla="*/ 373273 h 605239"/>
              <a:gd name="connsiteX109" fmla="*/ 373273 h 605239"/>
              <a:gd name="connsiteY109" fmla="*/ 373273 h 605239"/>
              <a:gd name="connsiteX110" fmla="*/ 373273 h 605239"/>
              <a:gd name="connsiteY110" fmla="*/ 373273 h 605239"/>
              <a:gd name="connsiteX111" fmla="*/ 373273 h 605239"/>
              <a:gd name="connsiteY111" fmla="*/ 373273 h 605239"/>
              <a:gd name="connsiteX112" fmla="*/ 373273 h 605239"/>
              <a:gd name="connsiteY112" fmla="*/ 373273 h 605239"/>
              <a:gd name="connsiteX113" fmla="*/ 373273 h 605239"/>
              <a:gd name="connsiteY113" fmla="*/ 373273 h 605239"/>
              <a:gd name="connsiteX114" fmla="*/ 373273 h 605239"/>
              <a:gd name="connsiteY114" fmla="*/ 373273 h 605239"/>
              <a:gd name="connsiteX115" fmla="*/ 373273 h 605239"/>
              <a:gd name="connsiteY115" fmla="*/ 373273 h 605239"/>
              <a:gd name="connsiteX116" fmla="*/ 373273 h 605239"/>
              <a:gd name="connsiteY116" fmla="*/ 373273 h 605239"/>
              <a:gd name="connsiteX117" fmla="*/ 373273 h 605239"/>
              <a:gd name="connsiteY117" fmla="*/ 373273 h 605239"/>
              <a:gd name="connsiteX118" fmla="*/ 373273 h 605239"/>
              <a:gd name="connsiteY118" fmla="*/ 373273 h 605239"/>
              <a:gd name="connsiteX119" fmla="*/ 373273 h 605239"/>
              <a:gd name="connsiteY119" fmla="*/ 373273 h 605239"/>
              <a:gd name="connsiteX120" fmla="*/ 373273 h 605239"/>
              <a:gd name="connsiteY120" fmla="*/ 373273 h 605239"/>
              <a:gd name="connsiteX121" fmla="*/ 373273 h 605239"/>
              <a:gd name="connsiteY121" fmla="*/ 373273 h 605239"/>
              <a:gd name="connsiteX122" fmla="*/ 373273 h 605239"/>
              <a:gd name="connsiteY122" fmla="*/ 373273 h 605239"/>
              <a:gd name="connsiteX123" fmla="*/ 373273 h 605239"/>
              <a:gd name="connsiteY123" fmla="*/ 373273 h 605239"/>
              <a:gd name="connsiteX124" fmla="*/ 373273 h 605239"/>
              <a:gd name="connsiteY124" fmla="*/ 373273 h 605239"/>
              <a:gd name="connsiteX125" fmla="*/ 373273 h 605239"/>
              <a:gd name="connsiteY125" fmla="*/ 373273 h 605239"/>
              <a:gd name="connsiteX126" fmla="*/ 373273 h 605239"/>
              <a:gd name="connsiteY126" fmla="*/ 373273 h 605239"/>
              <a:gd name="connsiteX127" fmla="*/ 373273 h 605239"/>
              <a:gd name="connsiteY127" fmla="*/ 373273 h 605239"/>
              <a:gd name="connsiteX128" fmla="*/ 373273 h 605239"/>
              <a:gd name="connsiteY128" fmla="*/ 373273 h 605239"/>
              <a:gd name="connsiteX129" fmla="*/ 373273 h 605239"/>
              <a:gd name="connsiteY12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593733" h="606309">
                <a:moveTo>
                  <a:pt x="353250" y="302855"/>
                </a:moveTo>
                <a:cubicBezTo>
                  <a:pt x="318468" y="302855"/>
                  <a:pt x="290232" y="331146"/>
                  <a:pt x="290232" y="365879"/>
                </a:cubicBezTo>
                <a:cubicBezTo>
                  <a:pt x="290232" y="374189"/>
                  <a:pt x="296964" y="380912"/>
                  <a:pt x="305285" y="380912"/>
                </a:cubicBezTo>
                <a:cubicBezTo>
                  <a:pt x="313607" y="380912"/>
                  <a:pt x="320338" y="374189"/>
                  <a:pt x="320338" y="365879"/>
                </a:cubicBezTo>
                <a:cubicBezTo>
                  <a:pt x="320338" y="347672"/>
                  <a:pt x="335111" y="333014"/>
                  <a:pt x="353250" y="333014"/>
                </a:cubicBezTo>
                <a:cubicBezTo>
                  <a:pt x="361665" y="333014"/>
                  <a:pt x="368397" y="326291"/>
                  <a:pt x="368397" y="317888"/>
                </a:cubicBezTo>
                <a:cubicBezTo>
                  <a:pt x="368397" y="309578"/>
                  <a:pt x="361665" y="302855"/>
                  <a:pt x="353250" y="302855"/>
                </a:cubicBezTo>
                <a:close/>
                <a:moveTo>
                  <a:pt x="353250" y="265041"/>
                </a:moveTo>
                <a:cubicBezTo>
                  <a:pt x="409163" y="265041"/>
                  <a:pt x="454229" y="310232"/>
                  <a:pt x="454229" y="365879"/>
                </a:cubicBezTo>
                <a:cubicBezTo>
                  <a:pt x="454229" y="421527"/>
                  <a:pt x="408976" y="466717"/>
                  <a:pt x="353250" y="466717"/>
                </a:cubicBezTo>
                <a:cubicBezTo>
                  <a:pt x="297525" y="466717"/>
                  <a:pt x="252271" y="421527"/>
                  <a:pt x="252271" y="365879"/>
                </a:cubicBezTo>
                <a:cubicBezTo>
                  <a:pt x="252271" y="310232"/>
                  <a:pt x="297431" y="265041"/>
                  <a:pt x="353250" y="265041"/>
                </a:cubicBezTo>
                <a:close/>
                <a:moveTo>
                  <a:pt x="427779" y="133781"/>
                </a:moveTo>
                <a:cubicBezTo>
                  <a:pt x="432818" y="131960"/>
                  <a:pt x="438547" y="132054"/>
                  <a:pt x="443784" y="134482"/>
                </a:cubicBezTo>
                <a:lnTo>
                  <a:pt x="473245" y="148209"/>
                </a:lnTo>
                <a:cubicBezTo>
                  <a:pt x="483720" y="153158"/>
                  <a:pt x="488209" y="165671"/>
                  <a:pt x="483346" y="176130"/>
                </a:cubicBezTo>
                <a:lnTo>
                  <a:pt x="470252" y="203957"/>
                </a:lnTo>
                <a:cubicBezTo>
                  <a:pt x="492231" y="219646"/>
                  <a:pt x="511123" y="240003"/>
                  <a:pt x="525526" y="264095"/>
                </a:cubicBezTo>
                <a:lnTo>
                  <a:pt x="554426" y="253636"/>
                </a:lnTo>
                <a:cubicBezTo>
                  <a:pt x="565368" y="249714"/>
                  <a:pt x="577340" y="255411"/>
                  <a:pt x="581361" y="266243"/>
                </a:cubicBezTo>
                <a:lnTo>
                  <a:pt x="592491" y="296592"/>
                </a:lnTo>
                <a:cubicBezTo>
                  <a:pt x="596419" y="307612"/>
                  <a:pt x="590714" y="319564"/>
                  <a:pt x="579865" y="323486"/>
                </a:cubicBezTo>
                <a:lnTo>
                  <a:pt x="550965" y="333945"/>
                </a:lnTo>
                <a:cubicBezTo>
                  <a:pt x="555455" y="361586"/>
                  <a:pt x="553958" y="389414"/>
                  <a:pt x="547224" y="415561"/>
                </a:cubicBezTo>
                <a:lnTo>
                  <a:pt x="575095" y="428634"/>
                </a:lnTo>
                <a:cubicBezTo>
                  <a:pt x="585570" y="433490"/>
                  <a:pt x="590059" y="445910"/>
                  <a:pt x="585102" y="456649"/>
                </a:cubicBezTo>
                <a:lnTo>
                  <a:pt x="571354" y="485970"/>
                </a:lnTo>
                <a:cubicBezTo>
                  <a:pt x="566397" y="496429"/>
                  <a:pt x="553958" y="500911"/>
                  <a:pt x="543483" y="496056"/>
                </a:cubicBezTo>
                <a:lnTo>
                  <a:pt x="515238" y="482982"/>
                </a:lnTo>
                <a:cubicBezTo>
                  <a:pt x="499526" y="504833"/>
                  <a:pt x="479137" y="523510"/>
                  <a:pt x="455007" y="537704"/>
                </a:cubicBezTo>
                <a:lnTo>
                  <a:pt x="465763" y="567026"/>
                </a:lnTo>
                <a:cubicBezTo>
                  <a:pt x="469784" y="578045"/>
                  <a:pt x="463986" y="589997"/>
                  <a:pt x="453137" y="593919"/>
                </a:cubicBezTo>
                <a:lnTo>
                  <a:pt x="422741" y="605032"/>
                </a:lnTo>
                <a:cubicBezTo>
                  <a:pt x="411798" y="609047"/>
                  <a:pt x="399827" y="603258"/>
                  <a:pt x="395805" y="592425"/>
                </a:cubicBezTo>
                <a:lnTo>
                  <a:pt x="385050" y="562823"/>
                </a:lnTo>
                <a:cubicBezTo>
                  <a:pt x="357646" y="567212"/>
                  <a:pt x="330056" y="565718"/>
                  <a:pt x="304149" y="558995"/>
                </a:cubicBezTo>
                <a:lnTo>
                  <a:pt x="290682" y="587756"/>
                </a:lnTo>
                <a:cubicBezTo>
                  <a:pt x="285725" y="598215"/>
                  <a:pt x="273192" y="602697"/>
                  <a:pt x="262717" y="597841"/>
                </a:cubicBezTo>
                <a:lnTo>
                  <a:pt x="233350" y="584114"/>
                </a:lnTo>
                <a:cubicBezTo>
                  <a:pt x="222875" y="579165"/>
                  <a:pt x="218385" y="566652"/>
                  <a:pt x="223249" y="556193"/>
                </a:cubicBezTo>
                <a:lnTo>
                  <a:pt x="236810" y="527338"/>
                </a:lnTo>
                <a:cubicBezTo>
                  <a:pt x="215112" y="511650"/>
                  <a:pt x="196407" y="491480"/>
                  <a:pt x="182284" y="467668"/>
                </a:cubicBezTo>
                <a:lnTo>
                  <a:pt x="152169" y="478687"/>
                </a:lnTo>
                <a:cubicBezTo>
                  <a:pt x="141133" y="482609"/>
                  <a:pt x="129161" y="476912"/>
                  <a:pt x="125233" y="466080"/>
                </a:cubicBezTo>
                <a:lnTo>
                  <a:pt x="114104" y="435731"/>
                </a:lnTo>
                <a:cubicBezTo>
                  <a:pt x="110082" y="424712"/>
                  <a:pt x="115881" y="412759"/>
                  <a:pt x="126730" y="408837"/>
                </a:cubicBezTo>
                <a:lnTo>
                  <a:pt x="156845" y="397818"/>
                </a:lnTo>
                <a:cubicBezTo>
                  <a:pt x="153852" y="379422"/>
                  <a:pt x="153478" y="361026"/>
                  <a:pt x="155629" y="342910"/>
                </a:cubicBezTo>
                <a:lnTo>
                  <a:pt x="158622" y="343097"/>
                </a:lnTo>
                <a:cubicBezTo>
                  <a:pt x="181162" y="344030"/>
                  <a:pt x="200522" y="327408"/>
                  <a:pt x="203141" y="305370"/>
                </a:cubicBezTo>
                <a:cubicBezTo>
                  <a:pt x="207723" y="303876"/>
                  <a:pt x="212119" y="302195"/>
                  <a:pt x="216515" y="300515"/>
                </a:cubicBezTo>
                <a:cubicBezTo>
                  <a:pt x="220349" y="304063"/>
                  <a:pt x="224745" y="306958"/>
                  <a:pt x="229609" y="308919"/>
                </a:cubicBezTo>
                <a:cubicBezTo>
                  <a:pt x="219227" y="330957"/>
                  <a:pt x="214831" y="355983"/>
                  <a:pt x="217824" y="381943"/>
                </a:cubicBezTo>
                <a:cubicBezTo>
                  <a:pt x="226709" y="456462"/>
                  <a:pt x="294329" y="509876"/>
                  <a:pt x="368963" y="501192"/>
                </a:cubicBezTo>
                <a:cubicBezTo>
                  <a:pt x="443691" y="492320"/>
                  <a:pt x="497188" y="424899"/>
                  <a:pt x="488490" y="350287"/>
                </a:cubicBezTo>
                <a:cubicBezTo>
                  <a:pt x="479605" y="275675"/>
                  <a:pt x="411985" y="222260"/>
                  <a:pt x="337351" y="231038"/>
                </a:cubicBezTo>
                <a:cubicBezTo>
                  <a:pt x="324632" y="232532"/>
                  <a:pt x="312473" y="235707"/>
                  <a:pt x="301156" y="240376"/>
                </a:cubicBezTo>
                <a:cubicBezTo>
                  <a:pt x="299660" y="236268"/>
                  <a:pt x="297509" y="232345"/>
                  <a:pt x="294797" y="228890"/>
                </a:cubicBezTo>
                <a:cubicBezTo>
                  <a:pt x="297041" y="224688"/>
                  <a:pt x="299005" y="220393"/>
                  <a:pt x="300782" y="216097"/>
                </a:cubicBezTo>
                <a:cubicBezTo>
                  <a:pt x="311164" y="215817"/>
                  <a:pt x="320891" y="211802"/>
                  <a:pt x="328466" y="204891"/>
                </a:cubicBezTo>
                <a:cubicBezTo>
                  <a:pt x="336977" y="197141"/>
                  <a:pt x="341934" y="186589"/>
                  <a:pt x="342402" y="175103"/>
                </a:cubicBezTo>
                <a:lnTo>
                  <a:pt x="342776" y="166978"/>
                </a:lnTo>
                <a:cubicBezTo>
                  <a:pt x="363164" y="165764"/>
                  <a:pt x="383460" y="167912"/>
                  <a:pt x="402820" y="172768"/>
                </a:cubicBezTo>
                <a:lnTo>
                  <a:pt x="415913" y="144567"/>
                </a:lnTo>
                <a:cubicBezTo>
                  <a:pt x="418392" y="139338"/>
                  <a:pt x="422741" y="135602"/>
                  <a:pt x="427779" y="133781"/>
                </a:cubicBezTo>
                <a:close/>
                <a:moveTo>
                  <a:pt x="159906" y="88589"/>
                </a:moveTo>
                <a:cubicBezTo>
                  <a:pt x="142487" y="87818"/>
                  <a:pt x="124764" y="93678"/>
                  <a:pt x="110828" y="106378"/>
                </a:cubicBezTo>
                <a:cubicBezTo>
                  <a:pt x="96145" y="119731"/>
                  <a:pt x="88663" y="138127"/>
                  <a:pt x="88663" y="156523"/>
                </a:cubicBezTo>
                <a:cubicBezTo>
                  <a:pt x="88663" y="172958"/>
                  <a:pt x="94555" y="189393"/>
                  <a:pt x="106526" y="202467"/>
                </a:cubicBezTo>
                <a:cubicBezTo>
                  <a:pt x="131965" y="230294"/>
                  <a:pt x="175081" y="232162"/>
                  <a:pt x="202764" y="206762"/>
                </a:cubicBezTo>
                <a:cubicBezTo>
                  <a:pt x="217448" y="193409"/>
                  <a:pt x="224930" y="175013"/>
                  <a:pt x="224930" y="156523"/>
                </a:cubicBezTo>
                <a:cubicBezTo>
                  <a:pt x="224930" y="140088"/>
                  <a:pt x="219132" y="123653"/>
                  <a:pt x="207160" y="110580"/>
                </a:cubicBezTo>
                <a:cubicBezTo>
                  <a:pt x="194441" y="96760"/>
                  <a:pt x="177325" y="89359"/>
                  <a:pt x="159906" y="88589"/>
                </a:cubicBezTo>
                <a:close/>
                <a:moveTo>
                  <a:pt x="153289" y="17"/>
                </a:moveTo>
                <a:lnTo>
                  <a:pt x="173678" y="951"/>
                </a:lnTo>
                <a:cubicBezTo>
                  <a:pt x="180786" y="1325"/>
                  <a:pt x="186304" y="7114"/>
                  <a:pt x="186304" y="14118"/>
                </a:cubicBezTo>
                <a:lnTo>
                  <a:pt x="186304" y="14771"/>
                </a:lnTo>
                <a:lnTo>
                  <a:pt x="185462" y="34755"/>
                </a:lnTo>
                <a:cubicBezTo>
                  <a:pt x="201923" y="38677"/>
                  <a:pt x="217729" y="45774"/>
                  <a:pt x="231851" y="56232"/>
                </a:cubicBezTo>
                <a:lnTo>
                  <a:pt x="246535" y="42786"/>
                </a:lnTo>
                <a:cubicBezTo>
                  <a:pt x="251866" y="37930"/>
                  <a:pt x="260283" y="38303"/>
                  <a:pt x="265240" y="43626"/>
                </a:cubicBezTo>
                <a:lnTo>
                  <a:pt x="279082" y="58660"/>
                </a:lnTo>
                <a:cubicBezTo>
                  <a:pt x="281420" y="61275"/>
                  <a:pt x="282542" y="64450"/>
                  <a:pt x="282542" y="67625"/>
                </a:cubicBezTo>
                <a:cubicBezTo>
                  <a:pt x="282542" y="71173"/>
                  <a:pt x="281233" y="74722"/>
                  <a:pt x="278334" y="77337"/>
                </a:cubicBezTo>
                <a:lnTo>
                  <a:pt x="263744" y="90690"/>
                </a:lnTo>
                <a:cubicBezTo>
                  <a:pt x="273096" y="105537"/>
                  <a:pt x="278988" y="121973"/>
                  <a:pt x="281420" y="138781"/>
                </a:cubicBezTo>
                <a:lnTo>
                  <a:pt x="301061" y="139621"/>
                </a:lnTo>
                <a:cubicBezTo>
                  <a:pt x="308169" y="139995"/>
                  <a:pt x="313593" y="145878"/>
                  <a:pt x="313593" y="152788"/>
                </a:cubicBezTo>
                <a:lnTo>
                  <a:pt x="313593" y="153442"/>
                </a:lnTo>
                <a:lnTo>
                  <a:pt x="312751" y="173892"/>
                </a:lnTo>
                <a:cubicBezTo>
                  <a:pt x="312377" y="181083"/>
                  <a:pt x="306298" y="186779"/>
                  <a:pt x="298910" y="186405"/>
                </a:cubicBezTo>
                <a:lnTo>
                  <a:pt x="279456" y="185565"/>
                </a:lnTo>
                <a:cubicBezTo>
                  <a:pt x="275622" y="202093"/>
                  <a:pt x="268327" y="218061"/>
                  <a:pt x="257758" y="232162"/>
                </a:cubicBezTo>
                <a:lnTo>
                  <a:pt x="270852" y="246449"/>
                </a:lnTo>
                <a:cubicBezTo>
                  <a:pt x="273190" y="249064"/>
                  <a:pt x="274312" y="252145"/>
                  <a:pt x="274312" y="255414"/>
                </a:cubicBezTo>
                <a:cubicBezTo>
                  <a:pt x="274312" y="258869"/>
                  <a:pt x="273003" y="262511"/>
                  <a:pt x="270104" y="265126"/>
                </a:cubicBezTo>
                <a:lnTo>
                  <a:pt x="255046" y="278946"/>
                </a:lnTo>
                <a:cubicBezTo>
                  <a:pt x="249621" y="283802"/>
                  <a:pt x="241297" y="283428"/>
                  <a:pt x="236340" y="278106"/>
                </a:cubicBezTo>
                <a:lnTo>
                  <a:pt x="223247" y="263724"/>
                </a:lnTo>
                <a:cubicBezTo>
                  <a:pt x="208282" y="272970"/>
                  <a:pt x="191635" y="278853"/>
                  <a:pt x="174800" y="281187"/>
                </a:cubicBezTo>
                <a:lnTo>
                  <a:pt x="173958" y="300610"/>
                </a:lnTo>
                <a:cubicBezTo>
                  <a:pt x="173584" y="307801"/>
                  <a:pt x="167505" y="313590"/>
                  <a:pt x="160117" y="313217"/>
                </a:cubicBezTo>
                <a:lnTo>
                  <a:pt x="139634" y="312283"/>
                </a:lnTo>
                <a:cubicBezTo>
                  <a:pt x="132526" y="311909"/>
                  <a:pt x="127102" y="306120"/>
                  <a:pt x="127102" y="299116"/>
                </a:cubicBezTo>
                <a:lnTo>
                  <a:pt x="127102" y="298463"/>
                </a:lnTo>
                <a:lnTo>
                  <a:pt x="128037" y="279039"/>
                </a:lnTo>
                <a:cubicBezTo>
                  <a:pt x="111577" y="275211"/>
                  <a:pt x="95771" y="267834"/>
                  <a:pt x="81648" y="257281"/>
                </a:cubicBezTo>
                <a:lnTo>
                  <a:pt x="67058" y="270635"/>
                </a:lnTo>
                <a:cubicBezTo>
                  <a:pt x="61727" y="275491"/>
                  <a:pt x="53403" y="275117"/>
                  <a:pt x="48353" y="269701"/>
                </a:cubicBezTo>
                <a:lnTo>
                  <a:pt x="34511" y="254667"/>
                </a:lnTo>
                <a:cubicBezTo>
                  <a:pt x="32173" y="252052"/>
                  <a:pt x="31051" y="248970"/>
                  <a:pt x="31051" y="245702"/>
                </a:cubicBezTo>
                <a:cubicBezTo>
                  <a:pt x="31051" y="242247"/>
                  <a:pt x="32453" y="238605"/>
                  <a:pt x="35259" y="235990"/>
                </a:cubicBezTo>
                <a:lnTo>
                  <a:pt x="50036" y="222544"/>
                </a:lnTo>
                <a:cubicBezTo>
                  <a:pt x="40777" y="207696"/>
                  <a:pt x="35072" y="191261"/>
                  <a:pt x="32640" y="174639"/>
                </a:cubicBezTo>
                <a:lnTo>
                  <a:pt x="12626" y="173705"/>
                </a:lnTo>
                <a:cubicBezTo>
                  <a:pt x="5518" y="173332"/>
                  <a:pt x="0" y="167542"/>
                  <a:pt x="0" y="160539"/>
                </a:cubicBezTo>
                <a:lnTo>
                  <a:pt x="0" y="159885"/>
                </a:lnTo>
                <a:lnTo>
                  <a:pt x="842" y="139621"/>
                </a:lnTo>
                <a:cubicBezTo>
                  <a:pt x="1216" y="132431"/>
                  <a:pt x="7388" y="126642"/>
                  <a:pt x="14683" y="127015"/>
                </a:cubicBezTo>
                <a:lnTo>
                  <a:pt x="34885" y="127949"/>
                </a:lnTo>
                <a:cubicBezTo>
                  <a:pt x="38813" y="111514"/>
                  <a:pt x="46015" y="95826"/>
                  <a:pt x="56490" y="81819"/>
                </a:cubicBezTo>
                <a:lnTo>
                  <a:pt x="42741" y="66878"/>
                </a:lnTo>
                <a:cubicBezTo>
                  <a:pt x="40403" y="64263"/>
                  <a:pt x="39281" y="61182"/>
                  <a:pt x="39281" y="57913"/>
                </a:cubicBezTo>
                <a:cubicBezTo>
                  <a:pt x="39281" y="54458"/>
                  <a:pt x="40684" y="50816"/>
                  <a:pt x="43490" y="48202"/>
                </a:cubicBezTo>
                <a:lnTo>
                  <a:pt x="58641" y="34381"/>
                </a:lnTo>
                <a:cubicBezTo>
                  <a:pt x="63972" y="29526"/>
                  <a:pt x="72296" y="29899"/>
                  <a:pt x="77346" y="35315"/>
                </a:cubicBezTo>
                <a:lnTo>
                  <a:pt x="90627" y="50256"/>
                </a:lnTo>
                <a:cubicBezTo>
                  <a:pt x="105591" y="41011"/>
                  <a:pt x="121864" y="35128"/>
                  <a:pt x="138512" y="32794"/>
                </a:cubicBezTo>
                <a:lnTo>
                  <a:pt x="139447" y="12624"/>
                </a:lnTo>
                <a:cubicBezTo>
                  <a:pt x="139821" y="5433"/>
                  <a:pt x="145901" y="-356"/>
                  <a:pt x="153289" y="1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1" name="îṣḻïḓè">
            <a:extLst>
              <a:ext uri="{FF2B5EF4-FFF2-40B4-BE49-F238E27FC236}">
                <a16:creationId xmlns:a16="http://schemas.microsoft.com/office/drawing/2014/main" id="{30C8A656-A69C-4844-9B4C-38593487F7D6}"/>
              </a:ext>
            </a:extLst>
          </p:cNvPr>
          <p:cNvSpPr/>
          <p:nvPr/>
        </p:nvSpPr>
        <p:spPr bwMode="auto">
          <a:xfrm>
            <a:off x="3437252" y="-1336831"/>
            <a:ext cx="160881" cy="160568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81741" h="580612">
                <a:moveTo>
                  <a:pt x="291612" y="187916"/>
                </a:moveTo>
                <a:cubicBezTo>
                  <a:pt x="304876" y="187916"/>
                  <a:pt x="315648" y="198758"/>
                  <a:pt x="315648" y="212088"/>
                </a:cubicBezTo>
                <a:lnTo>
                  <a:pt x="315648" y="491836"/>
                </a:lnTo>
                <a:lnTo>
                  <a:pt x="331227" y="473974"/>
                </a:lnTo>
                <a:cubicBezTo>
                  <a:pt x="339863" y="463932"/>
                  <a:pt x="355086" y="462866"/>
                  <a:pt x="365145" y="471574"/>
                </a:cubicBezTo>
                <a:cubicBezTo>
                  <a:pt x="375116" y="480372"/>
                  <a:pt x="376184" y="495657"/>
                  <a:pt x="367460" y="505699"/>
                </a:cubicBezTo>
                <a:lnTo>
                  <a:pt x="309773" y="572348"/>
                </a:lnTo>
                <a:cubicBezTo>
                  <a:pt x="305143" y="577502"/>
                  <a:pt x="298556" y="580612"/>
                  <a:pt x="291612" y="580612"/>
                </a:cubicBezTo>
                <a:cubicBezTo>
                  <a:pt x="284579" y="580612"/>
                  <a:pt x="278080" y="577680"/>
                  <a:pt x="273451" y="572348"/>
                </a:cubicBezTo>
                <a:lnTo>
                  <a:pt x="215764" y="505699"/>
                </a:lnTo>
                <a:cubicBezTo>
                  <a:pt x="207039" y="495657"/>
                  <a:pt x="208108" y="480372"/>
                  <a:pt x="218078" y="471574"/>
                </a:cubicBezTo>
                <a:cubicBezTo>
                  <a:pt x="228049" y="462866"/>
                  <a:pt x="243272" y="463932"/>
                  <a:pt x="252085" y="473974"/>
                </a:cubicBezTo>
                <a:lnTo>
                  <a:pt x="267486" y="491747"/>
                </a:lnTo>
                <a:lnTo>
                  <a:pt x="267486" y="212088"/>
                </a:lnTo>
                <a:cubicBezTo>
                  <a:pt x="267486" y="198758"/>
                  <a:pt x="278258" y="187916"/>
                  <a:pt x="291612" y="187916"/>
                </a:cubicBezTo>
                <a:close/>
                <a:moveTo>
                  <a:pt x="329499" y="0"/>
                </a:moveTo>
                <a:cubicBezTo>
                  <a:pt x="426248" y="0"/>
                  <a:pt x="465322" y="80426"/>
                  <a:pt x="473332" y="108153"/>
                </a:cubicBezTo>
                <a:cubicBezTo>
                  <a:pt x="535280" y="120684"/>
                  <a:pt x="581474" y="175693"/>
                  <a:pt x="581741" y="241190"/>
                </a:cubicBezTo>
                <a:cubicBezTo>
                  <a:pt x="581741" y="315840"/>
                  <a:pt x="521306" y="376537"/>
                  <a:pt x="446987" y="376537"/>
                </a:cubicBezTo>
                <a:lnTo>
                  <a:pt x="372756" y="376537"/>
                </a:lnTo>
                <a:cubicBezTo>
                  <a:pt x="359316" y="376537"/>
                  <a:pt x="348546" y="365606"/>
                  <a:pt x="348546" y="352276"/>
                </a:cubicBezTo>
                <a:cubicBezTo>
                  <a:pt x="348546" y="338857"/>
                  <a:pt x="359316" y="327926"/>
                  <a:pt x="372756" y="327926"/>
                </a:cubicBezTo>
                <a:lnTo>
                  <a:pt x="446987" y="327926"/>
                </a:lnTo>
                <a:cubicBezTo>
                  <a:pt x="494605" y="327926"/>
                  <a:pt x="533322" y="289090"/>
                  <a:pt x="533322" y="241190"/>
                </a:cubicBezTo>
                <a:cubicBezTo>
                  <a:pt x="533322" y="195334"/>
                  <a:pt x="497720" y="157298"/>
                  <a:pt x="452238" y="154632"/>
                </a:cubicBezTo>
                <a:cubicBezTo>
                  <a:pt x="440934" y="153921"/>
                  <a:pt x="431589" y="145478"/>
                  <a:pt x="429809" y="134192"/>
                </a:cubicBezTo>
                <a:cubicBezTo>
                  <a:pt x="421709" y="84692"/>
                  <a:pt x="379609" y="48789"/>
                  <a:pt x="329677" y="48789"/>
                </a:cubicBezTo>
                <a:cubicBezTo>
                  <a:pt x="279567" y="48789"/>
                  <a:pt x="238001" y="84781"/>
                  <a:pt x="229457" y="134192"/>
                </a:cubicBezTo>
                <a:cubicBezTo>
                  <a:pt x="226520" y="151521"/>
                  <a:pt x="212190" y="162807"/>
                  <a:pt x="192964" y="151077"/>
                </a:cubicBezTo>
                <a:cubicBezTo>
                  <a:pt x="178011" y="141834"/>
                  <a:pt x="160922" y="136947"/>
                  <a:pt x="143299" y="136947"/>
                </a:cubicBezTo>
                <a:cubicBezTo>
                  <a:pt x="90964" y="136947"/>
                  <a:pt x="48419" y="179693"/>
                  <a:pt x="48419" y="232303"/>
                </a:cubicBezTo>
                <a:cubicBezTo>
                  <a:pt x="48419" y="284913"/>
                  <a:pt x="90964" y="327748"/>
                  <a:pt x="143299" y="327748"/>
                </a:cubicBezTo>
                <a:lnTo>
                  <a:pt x="218776" y="327748"/>
                </a:lnTo>
                <a:cubicBezTo>
                  <a:pt x="232216" y="327748"/>
                  <a:pt x="242986" y="338590"/>
                  <a:pt x="242986" y="352009"/>
                </a:cubicBezTo>
                <a:cubicBezTo>
                  <a:pt x="242986" y="365429"/>
                  <a:pt x="232216" y="376271"/>
                  <a:pt x="218776" y="376271"/>
                </a:cubicBezTo>
                <a:lnTo>
                  <a:pt x="143299" y="376271"/>
                </a:lnTo>
                <a:cubicBezTo>
                  <a:pt x="64262" y="376271"/>
                  <a:pt x="0" y="311574"/>
                  <a:pt x="0" y="232214"/>
                </a:cubicBezTo>
                <a:cubicBezTo>
                  <a:pt x="0" y="152854"/>
                  <a:pt x="64262" y="88158"/>
                  <a:pt x="143210" y="88158"/>
                </a:cubicBezTo>
                <a:cubicBezTo>
                  <a:pt x="159231" y="88158"/>
                  <a:pt x="174896" y="90735"/>
                  <a:pt x="189849" y="95978"/>
                </a:cubicBezTo>
                <a:cubicBezTo>
                  <a:pt x="198749" y="73050"/>
                  <a:pt x="238891" y="0"/>
                  <a:pt x="329499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2" name="iş1iḑe">
            <a:extLst>
              <a:ext uri="{FF2B5EF4-FFF2-40B4-BE49-F238E27FC236}">
                <a16:creationId xmlns:a16="http://schemas.microsoft.com/office/drawing/2014/main" id="{79D5FAF9-096B-4C61-A299-6A26A276E128}"/>
              </a:ext>
            </a:extLst>
          </p:cNvPr>
          <p:cNvSpPr/>
          <p:nvPr/>
        </p:nvSpPr>
        <p:spPr bwMode="auto">
          <a:xfrm>
            <a:off x="3207781" y="-1063014"/>
            <a:ext cx="160881" cy="160638"/>
          </a:xfrm>
          <a:custGeom>
            <a:avLst/>
            <a:gdLst>
              <a:gd name="connsiteX0" fmla="*/ 303820 w 607639"/>
              <a:gd name="connsiteY0" fmla="*/ 278099 h 606722"/>
              <a:gd name="connsiteX1" fmla="*/ 329118 w 607639"/>
              <a:gd name="connsiteY1" fmla="*/ 303362 h 606722"/>
              <a:gd name="connsiteX2" fmla="*/ 303820 w 607639"/>
              <a:gd name="connsiteY2" fmla="*/ 328625 h 606722"/>
              <a:gd name="connsiteX3" fmla="*/ 278522 w 607639"/>
              <a:gd name="connsiteY3" fmla="*/ 303362 h 606722"/>
              <a:gd name="connsiteX4" fmla="*/ 303820 w 607639"/>
              <a:gd name="connsiteY4" fmla="*/ 278099 h 606722"/>
              <a:gd name="connsiteX5" fmla="*/ 303775 w 607639"/>
              <a:gd name="connsiteY5" fmla="*/ 252735 h 606722"/>
              <a:gd name="connsiteX6" fmla="*/ 253140 w 607639"/>
              <a:gd name="connsiteY6" fmla="*/ 303317 h 606722"/>
              <a:gd name="connsiteX7" fmla="*/ 303775 w 607639"/>
              <a:gd name="connsiteY7" fmla="*/ 353900 h 606722"/>
              <a:gd name="connsiteX8" fmla="*/ 354410 w 607639"/>
              <a:gd name="connsiteY8" fmla="*/ 303317 h 606722"/>
              <a:gd name="connsiteX9" fmla="*/ 303775 w 607639"/>
              <a:gd name="connsiteY9" fmla="*/ 252735 h 606722"/>
              <a:gd name="connsiteX10" fmla="*/ 303775 w 607639"/>
              <a:gd name="connsiteY10" fmla="*/ 202241 h 606722"/>
              <a:gd name="connsiteX11" fmla="*/ 405045 w 607639"/>
              <a:gd name="connsiteY11" fmla="*/ 303317 h 606722"/>
              <a:gd name="connsiteX12" fmla="*/ 303775 w 607639"/>
              <a:gd name="connsiteY12" fmla="*/ 404482 h 606722"/>
              <a:gd name="connsiteX13" fmla="*/ 202593 w 607639"/>
              <a:gd name="connsiteY13" fmla="*/ 303317 h 606722"/>
              <a:gd name="connsiteX14" fmla="*/ 303775 w 607639"/>
              <a:gd name="connsiteY14" fmla="*/ 202241 h 606722"/>
              <a:gd name="connsiteX15" fmla="*/ 303775 w 607639"/>
              <a:gd name="connsiteY15" fmla="*/ 151703 h 606722"/>
              <a:gd name="connsiteX16" fmla="*/ 151932 w 607639"/>
              <a:gd name="connsiteY16" fmla="*/ 303317 h 606722"/>
              <a:gd name="connsiteX17" fmla="*/ 303775 w 607639"/>
              <a:gd name="connsiteY17" fmla="*/ 455019 h 606722"/>
              <a:gd name="connsiteX18" fmla="*/ 455707 w 607639"/>
              <a:gd name="connsiteY18" fmla="*/ 303317 h 606722"/>
              <a:gd name="connsiteX19" fmla="*/ 303775 w 607639"/>
              <a:gd name="connsiteY19" fmla="*/ 151703 h 606722"/>
              <a:gd name="connsiteX20" fmla="*/ 253131 w 607639"/>
              <a:gd name="connsiteY20" fmla="*/ 0 h 606722"/>
              <a:gd name="connsiteX21" fmla="*/ 354419 w 607639"/>
              <a:gd name="connsiteY21" fmla="*/ 0 h 606722"/>
              <a:gd name="connsiteX22" fmla="*/ 379786 w 607639"/>
              <a:gd name="connsiteY22" fmla="*/ 25239 h 606722"/>
              <a:gd name="connsiteX23" fmla="*/ 379786 w 607639"/>
              <a:gd name="connsiteY23" fmla="*/ 62387 h 606722"/>
              <a:gd name="connsiteX24" fmla="*/ 420639 w 607639"/>
              <a:gd name="connsiteY24" fmla="*/ 79451 h 606722"/>
              <a:gd name="connsiteX25" fmla="*/ 446985 w 607639"/>
              <a:gd name="connsiteY25" fmla="*/ 53145 h 606722"/>
              <a:gd name="connsiteX26" fmla="*/ 482854 w 607639"/>
              <a:gd name="connsiteY26" fmla="*/ 53145 h 606722"/>
              <a:gd name="connsiteX27" fmla="*/ 554414 w 607639"/>
              <a:gd name="connsiteY27" fmla="*/ 124597 h 606722"/>
              <a:gd name="connsiteX28" fmla="*/ 554414 w 607639"/>
              <a:gd name="connsiteY28" fmla="*/ 160323 h 606722"/>
              <a:gd name="connsiteX29" fmla="*/ 528069 w 607639"/>
              <a:gd name="connsiteY29" fmla="*/ 186629 h 606722"/>
              <a:gd name="connsiteX30" fmla="*/ 545158 w 607639"/>
              <a:gd name="connsiteY30" fmla="*/ 227510 h 606722"/>
              <a:gd name="connsiteX31" fmla="*/ 582273 w 607639"/>
              <a:gd name="connsiteY31" fmla="*/ 227510 h 606722"/>
              <a:gd name="connsiteX32" fmla="*/ 607639 w 607639"/>
              <a:gd name="connsiteY32" fmla="*/ 252749 h 606722"/>
              <a:gd name="connsiteX33" fmla="*/ 607639 w 607639"/>
              <a:gd name="connsiteY33" fmla="*/ 353884 h 606722"/>
              <a:gd name="connsiteX34" fmla="*/ 582273 w 607639"/>
              <a:gd name="connsiteY34" fmla="*/ 379212 h 606722"/>
              <a:gd name="connsiteX35" fmla="*/ 545158 w 607639"/>
              <a:gd name="connsiteY35" fmla="*/ 379212 h 606722"/>
              <a:gd name="connsiteX36" fmla="*/ 528069 w 607639"/>
              <a:gd name="connsiteY36" fmla="*/ 420004 h 606722"/>
              <a:gd name="connsiteX37" fmla="*/ 554414 w 607639"/>
              <a:gd name="connsiteY37" fmla="*/ 446310 h 606722"/>
              <a:gd name="connsiteX38" fmla="*/ 554414 w 607639"/>
              <a:gd name="connsiteY38" fmla="*/ 482125 h 606722"/>
              <a:gd name="connsiteX39" fmla="*/ 482854 w 607639"/>
              <a:gd name="connsiteY39" fmla="*/ 553577 h 606722"/>
              <a:gd name="connsiteX40" fmla="*/ 446985 w 607639"/>
              <a:gd name="connsiteY40" fmla="*/ 553577 h 606722"/>
              <a:gd name="connsiteX41" fmla="*/ 420639 w 607639"/>
              <a:gd name="connsiteY41" fmla="*/ 527271 h 606722"/>
              <a:gd name="connsiteX42" fmla="*/ 379786 w 607639"/>
              <a:gd name="connsiteY42" fmla="*/ 544246 h 606722"/>
              <a:gd name="connsiteX43" fmla="*/ 379786 w 607639"/>
              <a:gd name="connsiteY43" fmla="*/ 581394 h 606722"/>
              <a:gd name="connsiteX44" fmla="*/ 354419 w 607639"/>
              <a:gd name="connsiteY44" fmla="*/ 606722 h 606722"/>
              <a:gd name="connsiteX45" fmla="*/ 253131 w 607639"/>
              <a:gd name="connsiteY45" fmla="*/ 606722 h 606722"/>
              <a:gd name="connsiteX46" fmla="*/ 227854 w 607639"/>
              <a:gd name="connsiteY46" fmla="*/ 581394 h 606722"/>
              <a:gd name="connsiteX47" fmla="*/ 227854 w 607639"/>
              <a:gd name="connsiteY47" fmla="*/ 544246 h 606722"/>
              <a:gd name="connsiteX48" fmla="*/ 186911 w 607639"/>
              <a:gd name="connsiteY48" fmla="*/ 527271 h 606722"/>
              <a:gd name="connsiteX49" fmla="*/ 160566 w 607639"/>
              <a:gd name="connsiteY49" fmla="*/ 553577 h 606722"/>
              <a:gd name="connsiteX50" fmla="*/ 124786 w 607639"/>
              <a:gd name="connsiteY50" fmla="*/ 553577 h 606722"/>
              <a:gd name="connsiteX51" fmla="*/ 53225 w 607639"/>
              <a:gd name="connsiteY51" fmla="*/ 482125 h 606722"/>
              <a:gd name="connsiteX52" fmla="*/ 53225 w 607639"/>
              <a:gd name="connsiteY52" fmla="*/ 446310 h 606722"/>
              <a:gd name="connsiteX53" fmla="*/ 79482 w 607639"/>
              <a:gd name="connsiteY53" fmla="*/ 420004 h 606722"/>
              <a:gd name="connsiteX54" fmla="*/ 62482 w 607639"/>
              <a:gd name="connsiteY54" fmla="*/ 379212 h 606722"/>
              <a:gd name="connsiteX55" fmla="*/ 25278 w 607639"/>
              <a:gd name="connsiteY55" fmla="*/ 379212 h 606722"/>
              <a:gd name="connsiteX56" fmla="*/ 0 w 607639"/>
              <a:gd name="connsiteY56" fmla="*/ 353884 h 606722"/>
              <a:gd name="connsiteX57" fmla="*/ 0 w 607639"/>
              <a:gd name="connsiteY57" fmla="*/ 252749 h 606722"/>
              <a:gd name="connsiteX58" fmla="*/ 25278 w 607639"/>
              <a:gd name="connsiteY58" fmla="*/ 227510 h 606722"/>
              <a:gd name="connsiteX59" fmla="*/ 62482 w 607639"/>
              <a:gd name="connsiteY59" fmla="*/ 227510 h 606722"/>
              <a:gd name="connsiteX60" fmla="*/ 79482 w 607639"/>
              <a:gd name="connsiteY60" fmla="*/ 186629 h 606722"/>
              <a:gd name="connsiteX61" fmla="*/ 53225 w 607639"/>
              <a:gd name="connsiteY61" fmla="*/ 160323 h 606722"/>
              <a:gd name="connsiteX62" fmla="*/ 53225 w 607639"/>
              <a:gd name="connsiteY62" fmla="*/ 124597 h 606722"/>
              <a:gd name="connsiteX63" fmla="*/ 124786 w 607639"/>
              <a:gd name="connsiteY63" fmla="*/ 53145 h 606722"/>
              <a:gd name="connsiteX64" fmla="*/ 160566 w 607639"/>
              <a:gd name="connsiteY64" fmla="*/ 53145 h 606722"/>
              <a:gd name="connsiteX65" fmla="*/ 186911 w 607639"/>
              <a:gd name="connsiteY65" fmla="*/ 79451 h 606722"/>
              <a:gd name="connsiteX66" fmla="*/ 227854 w 607639"/>
              <a:gd name="connsiteY66" fmla="*/ 62387 h 606722"/>
              <a:gd name="connsiteX67" fmla="*/ 227854 w 607639"/>
              <a:gd name="connsiteY67" fmla="*/ 25239 h 606722"/>
              <a:gd name="connsiteX68" fmla="*/ 253131 w 607639"/>
              <a:gd name="connsiteY68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07639" h="606722">
                <a:moveTo>
                  <a:pt x="303820" y="278099"/>
                </a:moveTo>
                <a:cubicBezTo>
                  <a:pt x="317792" y="278099"/>
                  <a:pt x="329118" y="289410"/>
                  <a:pt x="329118" y="303362"/>
                </a:cubicBezTo>
                <a:cubicBezTo>
                  <a:pt x="329118" y="317314"/>
                  <a:pt x="317792" y="328625"/>
                  <a:pt x="303820" y="328625"/>
                </a:cubicBezTo>
                <a:cubicBezTo>
                  <a:pt x="289848" y="328625"/>
                  <a:pt x="278522" y="317314"/>
                  <a:pt x="278522" y="303362"/>
                </a:cubicBezTo>
                <a:cubicBezTo>
                  <a:pt x="278522" y="289410"/>
                  <a:pt x="289848" y="278099"/>
                  <a:pt x="303820" y="278099"/>
                </a:cubicBezTo>
                <a:close/>
                <a:moveTo>
                  <a:pt x="303775" y="252735"/>
                </a:moveTo>
                <a:cubicBezTo>
                  <a:pt x="275921" y="252735"/>
                  <a:pt x="253140" y="275492"/>
                  <a:pt x="253140" y="303317"/>
                </a:cubicBezTo>
                <a:cubicBezTo>
                  <a:pt x="253140" y="331231"/>
                  <a:pt x="275921" y="353900"/>
                  <a:pt x="303775" y="353900"/>
                </a:cubicBezTo>
                <a:cubicBezTo>
                  <a:pt x="331718" y="353900"/>
                  <a:pt x="354410" y="331231"/>
                  <a:pt x="354410" y="303317"/>
                </a:cubicBezTo>
                <a:cubicBezTo>
                  <a:pt x="354410" y="275492"/>
                  <a:pt x="331718" y="252735"/>
                  <a:pt x="303775" y="252735"/>
                </a:cubicBezTo>
                <a:close/>
                <a:moveTo>
                  <a:pt x="303775" y="202241"/>
                </a:moveTo>
                <a:cubicBezTo>
                  <a:pt x="359660" y="202241"/>
                  <a:pt x="405045" y="247579"/>
                  <a:pt x="405045" y="303317"/>
                </a:cubicBezTo>
                <a:cubicBezTo>
                  <a:pt x="405045" y="359144"/>
                  <a:pt x="359660" y="404482"/>
                  <a:pt x="303775" y="404482"/>
                </a:cubicBezTo>
                <a:cubicBezTo>
                  <a:pt x="247978" y="404482"/>
                  <a:pt x="202593" y="359144"/>
                  <a:pt x="202593" y="303317"/>
                </a:cubicBezTo>
                <a:cubicBezTo>
                  <a:pt x="202593" y="247579"/>
                  <a:pt x="247978" y="202241"/>
                  <a:pt x="303775" y="202241"/>
                </a:cubicBezTo>
                <a:close/>
                <a:moveTo>
                  <a:pt x="303775" y="151703"/>
                </a:moveTo>
                <a:cubicBezTo>
                  <a:pt x="220021" y="151703"/>
                  <a:pt x="151932" y="219689"/>
                  <a:pt x="151932" y="303317"/>
                </a:cubicBezTo>
                <a:cubicBezTo>
                  <a:pt x="151932" y="387033"/>
                  <a:pt x="220021" y="455019"/>
                  <a:pt x="303775" y="455019"/>
                </a:cubicBezTo>
                <a:cubicBezTo>
                  <a:pt x="387618" y="455019"/>
                  <a:pt x="455707" y="387033"/>
                  <a:pt x="455707" y="303317"/>
                </a:cubicBezTo>
                <a:cubicBezTo>
                  <a:pt x="455707" y="219689"/>
                  <a:pt x="387618" y="151703"/>
                  <a:pt x="303775" y="151703"/>
                </a:cubicBezTo>
                <a:close/>
                <a:moveTo>
                  <a:pt x="253131" y="0"/>
                </a:moveTo>
                <a:lnTo>
                  <a:pt x="354419" y="0"/>
                </a:lnTo>
                <a:cubicBezTo>
                  <a:pt x="368482" y="0"/>
                  <a:pt x="379786" y="11287"/>
                  <a:pt x="379786" y="25239"/>
                </a:cubicBezTo>
                <a:lnTo>
                  <a:pt x="379786" y="62387"/>
                </a:lnTo>
                <a:cubicBezTo>
                  <a:pt x="393849" y="66831"/>
                  <a:pt x="407555" y="72519"/>
                  <a:pt x="420639" y="79451"/>
                </a:cubicBezTo>
                <a:lnTo>
                  <a:pt x="446985" y="53145"/>
                </a:lnTo>
                <a:cubicBezTo>
                  <a:pt x="456953" y="43191"/>
                  <a:pt x="472974" y="43191"/>
                  <a:pt x="482854" y="53145"/>
                </a:cubicBezTo>
                <a:lnTo>
                  <a:pt x="554414" y="124597"/>
                </a:lnTo>
                <a:cubicBezTo>
                  <a:pt x="564294" y="134462"/>
                  <a:pt x="564294" y="150459"/>
                  <a:pt x="554414" y="160323"/>
                </a:cubicBezTo>
                <a:lnTo>
                  <a:pt x="528069" y="186629"/>
                </a:lnTo>
                <a:cubicBezTo>
                  <a:pt x="535011" y="199782"/>
                  <a:pt x="540707" y="213468"/>
                  <a:pt x="545158" y="227510"/>
                </a:cubicBezTo>
                <a:lnTo>
                  <a:pt x="582273" y="227510"/>
                </a:lnTo>
                <a:cubicBezTo>
                  <a:pt x="596336" y="227510"/>
                  <a:pt x="607639" y="238796"/>
                  <a:pt x="607639" y="252749"/>
                </a:cubicBezTo>
                <a:lnTo>
                  <a:pt x="607639" y="353884"/>
                </a:lnTo>
                <a:cubicBezTo>
                  <a:pt x="607639" y="367926"/>
                  <a:pt x="596247" y="379212"/>
                  <a:pt x="582273" y="379212"/>
                </a:cubicBezTo>
                <a:lnTo>
                  <a:pt x="545158" y="379212"/>
                </a:lnTo>
                <a:cubicBezTo>
                  <a:pt x="540707" y="393254"/>
                  <a:pt x="535011" y="406940"/>
                  <a:pt x="528069" y="420004"/>
                </a:cubicBezTo>
                <a:lnTo>
                  <a:pt x="554414" y="446310"/>
                </a:lnTo>
                <a:cubicBezTo>
                  <a:pt x="564294" y="456263"/>
                  <a:pt x="564294" y="472260"/>
                  <a:pt x="554414" y="482125"/>
                </a:cubicBezTo>
                <a:lnTo>
                  <a:pt x="482854" y="553577"/>
                </a:lnTo>
                <a:cubicBezTo>
                  <a:pt x="472974" y="563442"/>
                  <a:pt x="456953" y="563442"/>
                  <a:pt x="446985" y="553577"/>
                </a:cubicBezTo>
                <a:lnTo>
                  <a:pt x="420639" y="527271"/>
                </a:lnTo>
                <a:cubicBezTo>
                  <a:pt x="407555" y="534203"/>
                  <a:pt x="393849" y="539802"/>
                  <a:pt x="379786" y="544246"/>
                </a:cubicBezTo>
                <a:lnTo>
                  <a:pt x="379786" y="581394"/>
                </a:lnTo>
                <a:cubicBezTo>
                  <a:pt x="379786" y="595435"/>
                  <a:pt x="368393" y="606722"/>
                  <a:pt x="354419" y="606722"/>
                </a:cubicBezTo>
                <a:lnTo>
                  <a:pt x="253131" y="606722"/>
                </a:lnTo>
                <a:cubicBezTo>
                  <a:pt x="239157" y="606722"/>
                  <a:pt x="227854" y="595435"/>
                  <a:pt x="227854" y="581394"/>
                </a:cubicBezTo>
                <a:lnTo>
                  <a:pt x="227854" y="544246"/>
                </a:lnTo>
                <a:cubicBezTo>
                  <a:pt x="213791" y="539802"/>
                  <a:pt x="200084" y="534203"/>
                  <a:pt x="186911" y="527271"/>
                </a:cubicBezTo>
                <a:lnTo>
                  <a:pt x="160566" y="553577"/>
                </a:lnTo>
                <a:cubicBezTo>
                  <a:pt x="150686" y="563442"/>
                  <a:pt x="134665" y="563442"/>
                  <a:pt x="124786" y="553577"/>
                </a:cubicBezTo>
                <a:lnTo>
                  <a:pt x="53225" y="482125"/>
                </a:lnTo>
                <a:cubicBezTo>
                  <a:pt x="43257" y="472260"/>
                  <a:pt x="43257" y="456263"/>
                  <a:pt x="53225" y="446310"/>
                </a:cubicBezTo>
                <a:lnTo>
                  <a:pt x="79482" y="420004"/>
                </a:lnTo>
                <a:cubicBezTo>
                  <a:pt x="72629" y="406940"/>
                  <a:pt x="66932" y="393254"/>
                  <a:pt x="62482" y="379212"/>
                </a:cubicBezTo>
                <a:lnTo>
                  <a:pt x="25278" y="379212"/>
                </a:lnTo>
                <a:cubicBezTo>
                  <a:pt x="11304" y="379212"/>
                  <a:pt x="0" y="367926"/>
                  <a:pt x="0" y="353884"/>
                </a:cubicBezTo>
                <a:lnTo>
                  <a:pt x="0" y="252749"/>
                </a:lnTo>
                <a:cubicBezTo>
                  <a:pt x="0" y="238796"/>
                  <a:pt x="11304" y="227510"/>
                  <a:pt x="25278" y="227510"/>
                </a:cubicBezTo>
                <a:lnTo>
                  <a:pt x="62482" y="227510"/>
                </a:lnTo>
                <a:cubicBezTo>
                  <a:pt x="66932" y="213468"/>
                  <a:pt x="72629" y="199782"/>
                  <a:pt x="79482" y="186629"/>
                </a:cubicBezTo>
                <a:lnTo>
                  <a:pt x="53225" y="160323"/>
                </a:lnTo>
                <a:cubicBezTo>
                  <a:pt x="43257" y="150459"/>
                  <a:pt x="43257" y="134462"/>
                  <a:pt x="53225" y="124597"/>
                </a:cubicBezTo>
                <a:lnTo>
                  <a:pt x="124786" y="53145"/>
                </a:lnTo>
                <a:cubicBezTo>
                  <a:pt x="134665" y="43191"/>
                  <a:pt x="150686" y="43191"/>
                  <a:pt x="160566" y="53145"/>
                </a:cubicBezTo>
                <a:lnTo>
                  <a:pt x="186911" y="79451"/>
                </a:lnTo>
                <a:cubicBezTo>
                  <a:pt x="200084" y="72519"/>
                  <a:pt x="213791" y="66831"/>
                  <a:pt x="227854" y="62387"/>
                </a:cubicBezTo>
                <a:lnTo>
                  <a:pt x="227854" y="25239"/>
                </a:lnTo>
                <a:cubicBezTo>
                  <a:pt x="227854" y="11287"/>
                  <a:pt x="239157" y="0"/>
                  <a:pt x="253131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3" name="ïṧľíďê">
            <a:extLst>
              <a:ext uri="{FF2B5EF4-FFF2-40B4-BE49-F238E27FC236}">
                <a16:creationId xmlns:a16="http://schemas.microsoft.com/office/drawing/2014/main" id="{83AC56C8-BB22-4DB6-8372-AA84DFFA3A81}"/>
              </a:ext>
            </a:extLst>
          </p:cNvPr>
          <p:cNvSpPr/>
          <p:nvPr/>
        </p:nvSpPr>
        <p:spPr bwMode="auto">
          <a:xfrm>
            <a:off x="2983478" y="-789151"/>
            <a:ext cx="160881" cy="160618"/>
          </a:xfrm>
          <a:custGeom>
            <a:avLst/>
            <a:gdLst>
              <a:gd name="connsiteX0" fmla="*/ 380418 w 604181"/>
              <a:gd name="connsiteY0" fmla="*/ 268007 h 603193"/>
              <a:gd name="connsiteX1" fmla="*/ 519220 w 604181"/>
              <a:gd name="connsiteY1" fmla="*/ 339187 h 603193"/>
              <a:gd name="connsiteX2" fmla="*/ 519220 w 604181"/>
              <a:gd name="connsiteY2" fmla="*/ 355820 h 603193"/>
              <a:gd name="connsiteX3" fmla="*/ 380418 w 604181"/>
              <a:gd name="connsiteY3" fmla="*/ 426850 h 603193"/>
              <a:gd name="connsiteX4" fmla="*/ 380418 w 604181"/>
              <a:gd name="connsiteY4" fmla="*/ 406320 h 603193"/>
              <a:gd name="connsiteX5" fmla="*/ 498212 w 604181"/>
              <a:gd name="connsiteY5" fmla="*/ 347728 h 603193"/>
              <a:gd name="connsiteX6" fmla="*/ 498212 w 604181"/>
              <a:gd name="connsiteY6" fmla="*/ 347129 h 603193"/>
              <a:gd name="connsiteX7" fmla="*/ 380418 w 604181"/>
              <a:gd name="connsiteY7" fmla="*/ 288687 h 603193"/>
              <a:gd name="connsiteX8" fmla="*/ 216565 w 604181"/>
              <a:gd name="connsiteY8" fmla="*/ 268007 h 603193"/>
              <a:gd name="connsiteX9" fmla="*/ 216565 w 604181"/>
              <a:gd name="connsiteY9" fmla="*/ 288687 h 603193"/>
              <a:gd name="connsiteX10" fmla="*/ 99664 w 604181"/>
              <a:gd name="connsiteY10" fmla="*/ 347129 h 603193"/>
              <a:gd name="connsiteX11" fmla="*/ 99664 w 604181"/>
              <a:gd name="connsiteY11" fmla="*/ 347728 h 603193"/>
              <a:gd name="connsiteX12" fmla="*/ 216565 w 604181"/>
              <a:gd name="connsiteY12" fmla="*/ 406320 h 603193"/>
              <a:gd name="connsiteX13" fmla="*/ 216565 w 604181"/>
              <a:gd name="connsiteY13" fmla="*/ 426850 h 603193"/>
              <a:gd name="connsiteX14" fmla="*/ 77904 w 604181"/>
              <a:gd name="connsiteY14" fmla="*/ 355521 h 603193"/>
              <a:gd name="connsiteX15" fmla="*/ 77904 w 604181"/>
              <a:gd name="connsiteY15" fmla="*/ 339486 h 603193"/>
              <a:gd name="connsiteX16" fmla="*/ 338273 w 604181"/>
              <a:gd name="connsiteY16" fmla="*/ 222493 h 603193"/>
              <a:gd name="connsiteX17" fmla="*/ 358684 w 604181"/>
              <a:gd name="connsiteY17" fmla="*/ 222493 h 603193"/>
              <a:gd name="connsiteX18" fmla="*/ 253179 w 604181"/>
              <a:gd name="connsiteY18" fmla="*/ 482103 h 603193"/>
              <a:gd name="connsiteX19" fmla="*/ 233219 w 604181"/>
              <a:gd name="connsiteY19" fmla="*/ 482103 h 603193"/>
              <a:gd name="connsiteX20" fmla="*/ 28813 w 604181"/>
              <a:gd name="connsiteY20" fmla="*/ 128849 h 603193"/>
              <a:gd name="connsiteX21" fmla="*/ 28813 w 604181"/>
              <a:gd name="connsiteY21" fmla="*/ 557497 h 603193"/>
              <a:gd name="connsiteX22" fmla="*/ 45921 w 604181"/>
              <a:gd name="connsiteY22" fmla="*/ 574427 h 603193"/>
              <a:gd name="connsiteX23" fmla="*/ 558410 w 604181"/>
              <a:gd name="connsiteY23" fmla="*/ 574427 h 603193"/>
              <a:gd name="connsiteX24" fmla="*/ 575368 w 604181"/>
              <a:gd name="connsiteY24" fmla="*/ 557497 h 603193"/>
              <a:gd name="connsiteX25" fmla="*/ 575368 w 604181"/>
              <a:gd name="connsiteY25" fmla="*/ 128849 h 603193"/>
              <a:gd name="connsiteX26" fmla="*/ 502734 w 604181"/>
              <a:gd name="connsiteY26" fmla="*/ 43149 h 603193"/>
              <a:gd name="connsiteX27" fmla="*/ 502734 w 604181"/>
              <a:gd name="connsiteY27" fmla="*/ 77309 h 603193"/>
              <a:gd name="connsiteX28" fmla="*/ 537100 w 604181"/>
              <a:gd name="connsiteY28" fmla="*/ 77309 h 603193"/>
              <a:gd name="connsiteX29" fmla="*/ 537100 w 604181"/>
              <a:gd name="connsiteY29" fmla="*/ 43149 h 603193"/>
              <a:gd name="connsiteX30" fmla="*/ 423197 w 604181"/>
              <a:gd name="connsiteY30" fmla="*/ 43149 h 603193"/>
              <a:gd name="connsiteX31" fmla="*/ 423197 w 604181"/>
              <a:gd name="connsiteY31" fmla="*/ 77309 h 603193"/>
              <a:gd name="connsiteX32" fmla="*/ 457563 w 604181"/>
              <a:gd name="connsiteY32" fmla="*/ 77309 h 603193"/>
              <a:gd name="connsiteX33" fmla="*/ 457563 w 604181"/>
              <a:gd name="connsiteY33" fmla="*/ 43149 h 603193"/>
              <a:gd name="connsiteX34" fmla="*/ 45921 w 604181"/>
              <a:gd name="connsiteY34" fmla="*/ 0 h 603193"/>
              <a:gd name="connsiteX35" fmla="*/ 558410 w 604181"/>
              <a:gd name="connsiteY35" fmla="*/ 0 h 603193"/>
              <a:gd name="connsiteX36" fmla="*/ 604181 w 604181"/>
              <a:gd name="connsiteY36" fmla="*/ 45846 h 603193"/>
              <a:gd name="connsiteX37" fmla="*/ 604181 w 604181"/>
              <a:gd name="connsiteY37" fmla="*/ 557497 h 603193"/>
              <a:gd name="connsiteX38" fmla="*/ 558410 w 604181"/>
              <a:gd name="connsiteY38" fmla="*/ 603193 h 603193"/>
              <a:gd name="connsiteX39" fmla="*/ 45921 w 604181"/>
              <a:gd name="connsiteY39" fmla="*/ 603193 h 603193"/>
              <a:gd name="connsiteX40" fmla="*/ 0 w 604181"/>
              <a:gd name="connsiteY40" fmla="*/ 557497 h 603193"/>
              <a:gd name="connsiteX41" fmla="*/ 0 w 604181"/>
              <a:gd name="connsiteY41" fmla="*/ 45846 h 603193"/>
              <a:gd name="connsiteX42" fmla="*/ 45921 w 604181"/>
              <a:gd name="connsiteY42" fmla="*/ 0 h 603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04181" h="603193">
                <a:moveTo>
                  <a:pt x="380418" y="268007"/>
                </a:moveTo>
                <a:lnTo>
                  <a:pt x="519220" y="339187"/>
                </a:lnTo>
                <a:lnTo>
                  <a:pt x="519220" y="355820"/>
                </a:lnTo>
                <a:lnTo>
                  <a:pt x="380418" y="426850"/>
                </a:lnTo>
                <a:lnTo>
                  <a:pt x="380418" y="406320"/>
                </a:lnTo>
                <a:lnTo>
                  <a:pt x="498212" y="347728"/>
                </a:lnTo>
                <a:lnTo>
                  <a:pt x="498212" y="347129"/>
                </a:lnTo>
                <a:lnTo>
                  <a:pt x="380418" y="288687"/>
                </a:lnTo>
                <a:close/>
                <a:moveTo>
                  <a:pt x="216565" y="268007"/>
                </a:moveTo>
                <a:lnTo>
                  <a:pt x="216565" y="288687"/>
                </a:lnTo>
                <a:lnTo>
                  <a:pt x="99664" y="347129"/>
                </a:lnTo>
                <a:lnTo>
                  <a:pt x="99664" y="347728"/>
                </a:lnTo>
                <a:lnTo>
                  <a:pt x="216565" y="406320"/>
                </a:lnTo>
                <a:lnTo>
                  <a:pt x="216565" y="426850"/>
                </a:lnTo>
                <a:lnTo>
                  <a:pt x="77904" y="355521"/>
                </a:lnTo>
                <a:lnTo>
                  <a:pt x="77904" y="339486"/>
                </a:lnTo>
                <a:close/>
                <a:moveTo>
                  <a:pt x="338273" y="222493"/>
                </a:moveTo>
                <a:lnTo>
                  <a:pt x="358684" y="222493"/>
                </a:lnTo>
                <a:lnTo>
                  <a:pt x="253179" y="482103"/>
                </a:lnTo>
                <a:lnTo>
                  <a:pt x="233219" y="482103"/>
                </a:lnTo>
                <a:close/>
                <a:moveTo>
                  <a:pt x="28813" y="128849"/>
                </a:moveTo>
                <a:lnTo>
                  <a:pt x="28813" y="557497"/>
                </a:lnTo>
                <a:cubicBezTo>
                  <a:pt x="28813" y="566786"/>
                  <a:pt x="36467" y="574427"/>
                  <a:pt x="45921" y="574427"/>
                </a:cubicBezTo>
                <a:lnTo>
                  <a:pt x="558410" y="574427"/>
                </a:lnTo>
                <a:cubicBezTo>
                  <a:pt x="567714" y="574427"/>
                  <a:pt x="575368" y="566786"/>
                  <a:pt x="575368" y="557497"/>
                </a:cubicBezTo>
                <a:lnTo>
                  <a:pt x="575368" y="128849"/>
                </a:lnTo>
                <a:close/>
                <a:moveTo>
                  <a:pt x="502734" y="43149"/>
                </a:moveTo>
                <a:lnTo>
                  <a:pt x="502734" y="77309"/>
                </a:lnTo>
                <a:lnTo>
                  <a:pt x="537100" y="77309"/>
                </a:lnTo>
                <a:lnTo>
                  <a:pt x="537100" y="43149"/>
                </a:lnTo>
                <a:close/>
                <a:moveTo>
                  <a:pt x="423197" y="43149"/>
                </a:moveTo>
                <a:lnTo>
                  <a:pt x="423197" y="77309"/>
                </a:lnTo>
                <a:lnTo>
                  <a:pt x="457563" y="77309"/>
                </a:lnTo>
                <a:lnTo>
                  <a:pt x="457563" y="43149"/>
                </a:lnTo>
                <a:close/>
                <a:moveTo>
                  <a:pt x="45921" y="0"/>
                </a:moveTo>
                <a:lnTo>
                  <a:pt x="558410" y="0"/>
                </a:lnTo>
                <a:cubicBezTo>
                  <a:pt x="583621" y="0"/>
                  <a:pt x="604181" y="20526"/>
                  <a:pt x="604181" y="45846"/>
                </a:cubicBezTo>
                <a:lnTo>
                  <a:pt x="604181" y="557497"/>
                </a:lnTo>
                <a:cubicBezTo>
                  <a:pt x="604181" y="582667"/>
                  <a:pt x="583621" y="603193"/>
                  <a:pt x="558410" y="603193"/>
                </a:cubicBezTo>
                <a:lnTo>
                  <a:pt x="45921" y="603193"/>
                </a:lnTo>
                <a:cubicBezTo>
                  <a:pt x="20560" y="603193"/>
                  <a:pt x="0" y="582667"/>
                  <a:pt x="0" y="557497"/>
                </a:cubicBezTo>
                <a:lnTo>
                  <a:pt x="0" y="45846"/>
                </a:lnTo>
                <a:cubicBezTo>
                  <a:pt x="0" y="20526"/>
                  <a:pt x="20560" y="0"/>
                  <a:pt x="4592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4" name="îṣḻîḍé">
            <a:extLst>
              <a:ext uri="{FF2B5EF4-FFF2-40B4-BE49-F238E27FC236}">
                <a16:creationId xmlns:a16="http://schemas.microsoft.com/office/drawing/2014/main" id="{716A4AAF-66FE-4462-901E-658C29D84AD8}"/>
              </a:ext>
            </a:extLst>
          </p:cNvPr>
          <p:cNvSpPr/>
          <p:nvPr/>
        </p:nvSpPr>
        <p:spPr bwMode="auto">
          <a:xfrm>
            <a:off x="2753906" y="-515309"/>
            <a:ext cx="160881" cy="160638"/>
          </a:xfrm>
          <a:custGeom>
            <a:avLst/>
            <a:gdLst>
              <a:gd name="T0" fmla="*/ 6624 w 7154"/>
              <a:gd name="T1" fmla="*/ 2037 h 7154"/>
              <a:gd name="T2" fmla="*/ 6106 w 7154"/>
              <a:gd name="T3" fmla="*/ 1048 h 7154"/>
              <a:gd name="T4" fmla="*/ 5117 w 7154"/>
              <a:gd name="T5" fmla="*/ 530 h 7154"/>
              <a:gd name="T6" fmla="*/ 4643 w 7154"/>
              <a:gd name="T7" fmla="*/ 334 h 7154"/>
              <a:gd name="T8" fmla="*/ 3577 w 7154"/>
              <a:gd name="T9" fmla="*/ 0 h 7154"/>
              <a:gd name="T10" fmla="*/ 2511 w 7154"/>
              <a:gd name="T11" fmla="*/ 334 h 7154"/>
              <a:gd name="T12" fmla="*/ 2037 w 7154"/>
              <a:gd name="T13" fmla="*/ 530 h 7154"/>
              <a:gd name="T14" fmla="*/ 1048 w 7154"/>
              <a:gd name="T15" fmla="*/ 1048 h 7154"/>
              <a:gd name="T16" fmla="*/ 530 w 7154"/>
              <a:gd name="T17" fmla="*/ 2037 h 7154"/>
              <a:gd name="T18" fmla="*/ 334 w 7154"/>
              <a:gd name="T19" fmla="*/ 2511 h 7154"/>
              <a:gd name="T20" fmla="*/ 0 w 7154"/>
              <a:gd name="T21" fmla="*/ 3577 h 7154"/>
              <a:gd name="T22" fmla="*/ 334 w 7154"/>
              <a:gd name="T23" fmla="*/ 4643 h 7154"/>
              <a:gd name="T24" fmla="*/ 530 w 7154"/>
              <a:gd name="T25" fmla="*/ 5117 h 7154"/>
              <a:gd name="T26" fmla="*/ 1048 w 7154"/>
              <a:gd name="T27" fmla="*/ 6106 h 7154"/>
              <a:gd name="T28" fmla="*/ 2037 w 7154"/>
              <a:gd name="T29" fmla="*/ 6624 h 7154"/>
              <a:gd name="T30" fmla="*/ 2511 w 7154"/>
              <a:gd name="T31" fmla="*/ 6820 h 7154"/>
              <a:gd name="T32" fmla="*/ 3577 w 7154"/>
              <a:gd name="T33" fmla="*/ 7154 h 7154"/>
              <a:gd name="T34" fmla="*/ 4643 w 7154"/>
              <a:gd name="T35" fmla="*/ 6820 h 7154"/>
              <a:gd name="T36" fmla="*/ 5117 w 7154"/>
              <a:gd name="T37" fmla="*/ 6624 h 7154"/>
              <a:gd name="T38" fmla="*/ 6106 w 7154"/>
              <a:gd name="T39" fmla="*/ 6106 h 7154"/>
              <a:gd name="T40" fmla="*/ 6624 w 7154"/>
              <a:gd name="T41" fmla="*/ 5117 h 7154"/>
              <a:gd name="T42" fmla="*/ 6820 w 7154"/>
              <a:gd name="T43" fmla="*/ 4643 h 7154"/>
              <a:gd name="T44" fmla="*/ 7154 w 7154"/>
              <a:gd name="T45" fmla="*/ 3577 h 7154"/>
              <a:gd name="T46" fmla="*/ 6820 w 7154"/>
              <a:gd name="T47" fmla="*/ 2511 h 7154"/>
              <a:gd name="T48" fmla="*/ 6624 w 7154"/>
              <a:gd name="T49" fmla="*/ 2037 h 7154"/>
              <a:gd name="T50" fmla="*/ 5857 w 7154"/>
              <a:gd name="T51" fmla="*/ 2406 h 7154"/>
              <a:gd name="T52" fmla="*/ 3286 w 7154"/>
              <a:gd name="T53" fmla="*/ 4976 h 7154"/>
              <a:gd name="T54" fmla="*/ 2875 w 7154"/>
              <a:gd name="T55" fmla="*/ 5387 h 7154"/>
              <a:gd name="T56" fmla="*/ 2464 w 7154"/>
              <a:gd name="T57" fmla="*/ 5387 h 7154"/>
              <a:gd name="T58" fmla="*/ 2053 w 7154"/>
              <a:gd name="T59" fmla="*/ 4976 h 7154"/>
              <a:gd name="T60" fmla="*/ 1297 w 7154"/>
              <a:gd name="T61" fmla="*/ 4221 h 7154"/>
              <a:gd name="T62" fmla="*/ 1297 w 7154"/>
              <a:gd name="T63" fmla="*/ 3809 h 7154"/>
              <a:gd name="T64" fmla="*/ 1708 w 7154"/>
              <a:gd name="T65" fmla="*/ 3398 h 7154"/>
              <a:gd name="T66" fmla="*/ 2120 w 7154"/>
              <a:gd name="T67" fmla="*/ 3398 h 7154"/>
              <a:gd name="T68" fmla="*/ 2669 w 7154"/>
              <a:gd name="T69" fmla="*/ 3948 h 7154"/>
              <a:gd name="T70" fmla="*/ 5034 w 7154"/>
              <a:gd name="T71" fmla="*/ 1583 h 7154"/>
              <a:gd name="T72" fmla="*/ 5445 w 7154"/>
              <a:gd name="T73" fmla="*/ 1583 h 7154"/>
              <a:gd name="T74" fmla="*/ 5857 w 7154"/>
              <a:gd name="T75" fmla="*/ 1994 h 7154"/>
              <a:gd name="T76" fmla="*/ 5857 w 7154"/>
              <a:gd name="T77" fmla="*/ 2406 h 7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154" h="7154">
                <a:moveTo>
                  <a:pt x="6624" y="2037"/>
                </a:moveTo>
                <a:cubicBezTo>
                  <a:pt x="6580" y="1703"/>
                  <a:pt x="6403" y="1345"/>
                  <a:pt x="6106" y="1048"/>
                </a:cubicBezTo>
                <a:cubicBezTo>
                  <a:pt x="5809" y="751"/>
                  <a:pt x="5451" y="574"/>
                  <a:pt x="5117" y="530"/>
                </a:cubicBezTo>
                <a:cubicBezTo>
                  <a:pt x="4966" y="510"/>
                  <a:pt x="4764" y="427"/>
                  <a:pt x="4643" y="334"/>
                </a:cubicBezTo>
                <a:cubicBezTo>
                  <a:pt x="4375" y="128"/>
                  <a:pt x="3997" y="0"/>
                  <a:pt x="3577" y="0"/>
                </a:cubicBezTo>
                <a:cubicBezTo>
                  <a:pt x="3157" y="0"/>
                  <a:pt x="2779" y="128"/>
                  <a:pt x="2511" y="334"/>
                </a:cubicBezTo>
                <a:cubicBezTo>
                  <a:pt x="2390" y="427"/>
                  <a:pt x="2188" y="510"/>
                  <a:pt x="2037" y="530"/>
                </a:cubicBezTo>
                <a:cubicBezTo>
                  <a:pt x="1702" y="574"/>
                  <a:pt x="1345" y="751"/>
                  <a:pt x="1048" y="1048"/>
                </a:cubicBezTo>
                <a:cubicBezTo>
                  <a:pt x="751" y="1345"/>
                  <a:pt x="574" y="1703"/>
                  <a:pt x="530" y="2037"/>
                </a:cubicBezTo>
                <a:cubicBezTo>
                  <a:pt x="510" y="2188"/>
                  <a:pt x="427" y="2390"/>
                  <a:pt x="334" y="2511"/>
                </a:cubicBezTo>
                <a:cubicBezTo>
                  <a:pt x="128" y="2779"/>
                  <a:pt x="0" y="3157"/>
                  <a:pt x="0" y="3577"/>
                </a:cubicBezTo>
                <a:cubicBezTo>
                  <a:pt x="0" y="3997"/>
                  <a:pt x="128" y="4375"/>
                  <a:pt x="334" y="4643"/>
                </a:cubicBezTo>
                <a:cubicBezTo>
                  <a:pt x="427" y="4764"/>
                  <a:pt x="510" y="4966"/>
                  <a:pt x="530" y="5117"/>
                </a:cubicBezTo>
                <a:cubicBezTo>
                  <a:pt x="574" y="5451"/>
                  <a:pt x="751" y="5809"/>
                  <a:pt x="1048" y="6106"/>
                </a:cubicBezTo>
                <a:cubicBezTo>
                  <a:pt x="1345" y="6403"/>
                  <a:pt x="1702" y="6580"/>
                  <a:pt x="2037" y="6624"/>
                </a:cubicBezTo>
                <a:cubicBezTo>
                  <a:pt x="2188" y="6644"/>
                  <a:pt x="2390" y="6727"/>
                  <a:pt x="2511" y="6820"/>
                </a:cubicBezTo>
                <a:cubicBezTo>
                  <a:pt x="2779" y="7025"/>
                  <a:pt x="3157" y="7154"/>
                  <a:pt x="3577" y="7154"/>
                </a:cubicBezTo>
                <a:cubicBezTo>
                  <a:pt x="3997" y="7154"/>
                  <a:pt x="4375" y="7025"/>
                  <a:pt x="4643" y="6820"/>
                </a:cubicBezTo>
                <a:cubicBezTo>
                  <a:pt x="4764" y="6727"/>
                  <a:pt x="4966" y="6644"/>
                  <a:pt x="5117" y="6624"/>
                </a:cubicBezTo>
                <a:cubicBezTo>
                  <a:pt x="5451" y="6580"/>
                  <a:pt x="5809" y="6403"/>
                  <a:pt x="6106" y="6106"/>
                </a:cubicBezTo>
                <a:cubicBezTo>
                  <a:pt x="6403" y="5809"/>
                  <a:pt x="6580" y="5451"/>
                  <a:pt x="6624" y="5117"/>
                </a:cubicBezTo>
                <a:cubicBezTo>
                  <a:pt x="6644" y="4966"/>
                  <a:pt x="6727" y="4764"/>
                  <a:pt x="6820" y="4643"/>
                </a:cubicBezTo>
                <a:cubicBezTo>
                  <a:pt x="7026" y="4375"/>
                  <a:pt x="7154" y="3997"/>
                  <a:pt x="7154" y="3577"/>
                </a:cubicBezTo>
                <a:cubicBezTo>
                  <a:pt x="7154" y="3157"/>
                  <a:pt x="7026" y="2779"/>
                  <a:pt x="6820" y="2511"/>
                </a:cubicBezTo>
                <a:cubicBezTo>
                  <a:pt x="6727" y="2390"/>
                  <a:pt x="6644" y="2188"/>
                  <a:pt x="6624" y="2037"/>
                </a:cubicBezTo>
                <a:close/>
                <a:moveTo>
                  <a:pt x="5857" y="2406"/>
                </a:moveTo>
                <a:lnTo>
                  <a:pt x="3286" y="4976"/>
                </a:lnTo>
                <a:lnTo>
                  <a:pt x="2875" y="5387"/>
                </a:lnTo>
                <a:cubicBezTo>
                  <a:pt x="2762" y="5501"/>
                  <a:pt x="2577" y="5501"/>
                  <a:pt x="2464" y="5387"/>
                </a:cubicBezTo>
                <a:lnTo>
                  <a:pt x="2053" y="4976"/>
                </a:lnTo>
                <a:lnTo>
                  <a:pt x="1297" y="4221"/>
                </a:lnTo>
                <a:cubicBezTo>
                  <a:pt x="1183" y="4107"/>
                  <a:pt x="1183" y="3923"/>
                  <a:pt x="1297" y="3809"/>
                </a:cubicBezTo>
                <a:lnTo>
                  <a:pt x="1708" y="3398"/>
                </a:lnTo>
                <a:cubicBezTo>
                  <a:pt x="1822" y="3285"/>
                  <a:pt x="2006" y="3285"/>
                  <a:pt x="2120" y="3398"/>
                </a:cubicBezTo>
                <a:lnTo>
                  <a:pt x="2669" y="3948"/>
                </a:lnTo>
                <a:lnTo>
                  <a:pt x="5034" y="1583"/>
                </a:lnTo>
                <a:cubicBezTo>
                  <a:pt x="5148" y="1470"/>
                  <a:pt x="5332" y="1470"/>
                  <a:pt x="5445" y="1583"/>
                </a:cubicBezTo>
                <a:lnTo>
                  <a:pt x="5857" y="1994"/>
                </a:lnTo>
                <a:cubicBezTo>
                  <a:pt x="5970" y="2108"/>
                  <a:pt x="5970" y="2292"/>
                  <a:pt x="5857" y="2406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5" name="iṧḷiḑé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513623" y="-1073633"/>
            <a:ext cx="1330682" cy="200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>
                <a:solidFill>
                  <a:schemeClr val="bg1"/>
                </a:solidFill>
              </a:rPr>
              <a:t>按分布模式进行配置</a:t>
            </a: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16" name="îṧḻiḑe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281051" y="-796684"/>
            <a:ext cx="1330682" cy="200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运行第一个实例</a:t>
            </a:r>
            <a:endParaRPr lang="en-US" altLang="zh-CN" sz="1100" dirty="0"/>
          </a:p>
        </p:txBody>
      </p:sp>
      <p:sp>
        <p:nvSpPr>
          <p:cNvPr id="217" name="îṣľïd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048547" y="-519735"/>
            <a:ext cx="1330682" cy="200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开心</a:t>
            </a:r>
            <a:r>
              <a:rPr lang="en-US" altLang="zh-CN" sz="1100" dirty="0" err="1"/>
              <a:t>ing</a:t>
            </a:r>
            <a:r>
              <a:rPr lang="en-US" altLang="zh-CN" sz="1100" dirty="0"/>
              <a:t>~</a:t>
            </a:r>
          </a:p>
        </p:txBody>
      </p:sp>
      <p:sp>
        <p:nvSpPr>
          <p:cNvPr id="218" name="íṧ1îd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746099" y="-1350582"/>
            <a:ext cx="1330682" cy="200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 解压</a:t>
            </a:r>
            <a:endParaRPr lang="en-US" altLang="zh-CN" sz="1100" dirty="0"/>
          </a:p>
        </p:txBody>
      </p:sp>
      <p:sp>
        <p:nvSpPr>
          <p:cNvPr id="219" name="îs1ïḋ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981505" y="-1627532"/>
            <a:ext cx="1330682" cy="200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配置环境变量 使之生效</a:t>
            </a:r>
            <a:endParaRPr lang="en-US" altLang="zh-CN" sz="1100" dirty="0"/>
          </a:p>
        </p:txBody>
      </p:sp>
      <p:sp>
        <p:nvSpPr>
          <p:cNvPr id="220" name="íšliḓ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4213995" y="-1904481"/>
            <a:ext cx="1330682" cy="200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</a:t>
            </a:r>
            <a:r>
              <a:rPr lang="en-US" altLang="zh-CN" sz="1100" dirty="0"/>
              <a:t> </a:t>
            </a:r>
            <a:r>
              <a:rPr lang="zh-CN" altLang="en-US" sz="1100" dirty="0"/>
              <a:t>解压</a:t>
            </a:r>
            <a:endParaRPr lang="en-US" altLang="zh-CN" sz="1100" dirty="0"/>
          </a:p>
        </p:txBody>
      </p:sp>
      <p:sp>
        <p:nvSpPr>
          <p:cNvPr id="32" name="išļíde">
            <a:extLst>
              <a:ext uri="{FF2B5EF4-FFF2-40B4-BE49-F238E27FC236}">
                <a16:creationId xmlns:a16="http://schemas.microsoft.com/office/drawing/2014/main" id="{036FFCF7-C7CF-4EE8-8714-BBA60503041B}"/>
              </a:ext>
            </a:extLst>
          </p:cNvPr>
          <p:cNvSpPr/>
          <p:nvPr/>
        </p:nvSpPr>
        <p:spPr bwMode="auto">
          <a:xfrm>
            <a:off x="-235254" y="2969968"/>
            <a:ext cx="6462137" cy="1765300"/>
          </a:xfrm>
          <a:custGeom>
            <a:avLst/>
            <a:gdLst/>
            <a:ahLst/>
            <a:cxnLst>
              <a:cxn ang="0">
                <a:pos x="1972" y="620"/>
              </a:cxn>
              <a:cxn ang="0">
                <a:pos x="1765" y="500"/>
              </a:cxn>
              <a:cxn ang="0">
                <a:pos x="1765" y="580"/>
              </a:cxn>
              <a:cxn ang="0">
                <a:pos x="860" y="580"/>
              </a:cxn>
              <a:cxn ang="0">
                <a:pos x="820" y="540"/>
              </a:cxn>
              <a:cxn ang="0">
                <a:pos x="820" y="120"/>
              </a:cxn>
              <a:cxn ang="0">
                <a:pos x="700" y="0"/>
              </a:cxn>
              <a:cxn ang="0">
                <a:pos x="0" y="0"/>
              </a:cxn>
              <a:cxn ang="0">
                <a:pos x="0" y="80"/>
              </a:cxn>
              <a:cxn ang="0">
                <a:pos x="700" y="80"/>
              </a:cxn>
              <a:cxn ang="0">
                <a:pos x="740" y="120"/>
              </a:cxn>
              <a:cxn ang="0">
                <a:pos x="740" y="540"/>
              </a:cxn>
              <a:cxn ang="0">
                <a:pos x="860" y="660"/>
              </a:cxn>
              <a:cxn ang="0">
                <a:pos x="1765" y="660"/>
              </a:cxn>
              <a:cxn ang="0">
                <a:pos x="1765" y="740"/>
              </a:cxn>
              <a:cxn ang="0">
                <a:pos x="1972" y="620"/>
              </a:cxn>
            </a:cxnLst>
            <a:rect l="0" t="0" r="r" b="b"/>
            <a:pathLst>
              <a:path w="1972" h="740">
                <a:moveTo>
                  <a:pt x="1972" y="620"/>
                </a:moveTo>
                <a:cubicBezTo>
                  <a:pt x="1765" y="500"/>
                  <a:pt x="1765" y="500"/>
                  <a:pt x="1765" y="500"/>
                </a:cubicBezTo>
                <a:cubicBezTo>
                  <a:pt x="1765" y="580"/>
                  <a:pt x="1765" y="580"/>
                  <a:pt x="1765" y="580"/>
                </a:cubicBezTo>
                <a:cubicBezTo>
                  <a:pt x="860" y="580"/>
                  <a:pt x="860" y="580"/>
                  <a:pt x="860" y="580"/>
                </a:cubicBezTo>
                <a:cubicBezTo>
                  <a:pt x="838" y="580"/>
                  <a:pt x="820" y="562"/>
                  <a:pt x="820" y="540"/>
                </a:cubicBezTo>
                <a:cubicBezTo>
                  <a:pt x="820" y="120"/>
                  <a:pt x="820" y="120"/>
                  <a:pt x="820" y="120"/>
                </a:cubicBezTo>
                <a:cubicBezTo>
                  <a:pt x="820" y="54"/>
                  <a:pt x="766" y="0"/>
                  <a:pt x="70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0"/>
                  <a:pt x="0" y="80"/>
                  <a:pt x="0" y="80"/>
                </a:cubicBezTo>
                <a:cubicBezTo>
                  <a:pt x="700" y="80"/>
                  <a:pt x="700" y="80"/>
                  <a:pt x="700" y="80"/>
                </a:cubicBezTo>
                <a:cubicBezTo>
                  <a:pt x="722" y="80"/>
                  <a:pt x="740" y="98"/>
                  <a:pt x="740" y="120"/>
                </a:cubicBezTo>
                <a:cubicBezTo>
                  <a:pt x="740" y="540"/>
                  <a:pt x="740" y="540"/>
                  <a:pt x="740" y="540"/>
                </a:cubicBezTo>
                <a:cubicBezTo>
                  <a:pt x="740" y="606"/>
                  <a:pt x="794" y="660"/>
                  <a:pt x="860" y="660"/>
                </a:cubicBezTo>
                <a:cubicBezTo>
                  <a:pt x="1765" y="660"/>
                  <a:pt x="1765" y="660"/>
                  <a:pt x="1765" y="660"/>
                </a:cubicBezTo>
                <a:cubicBezTo>
                  <a:pt x="1765" y="740"/>
                  <a:pt x="1765" y="740"/>
                  <a:pt x="1765" y="740"/>
                </a:cubicBezTo>
                <a:lnTo>
                  <a:pt x="1972" y="62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33" name="ïṣlïďê">
            <a:extLst>
              <a:ext uri="{FF2B5EF4-FFF2-40B4-BE49-F238E27FC236}">
                <a16:creationId xmlns:a16="http://schemas.microsoft.com/office/drawing/2014/main" id="{9B4EF286-F3C7-4072-9BC1-65E6C4E48539}"/>
              </a:ext>
            </a:extLst>
          </p:cNvPr>
          <p:cNvSpPr/>
          <p:nvPr/>
        </p:nvSpPr>
        <p:spPr bwMode="auto">
          <a:xfrm>
            <a:off x="235022" y="2063507"/>
            <a:ext cx="5779378" cy="2538414"/>
          </a:xfrm>
          <a:custGeom>
            <a:avLst/>
            <a:gdLst/>
            <a:ahLst/>
            <a:cxnLst>
              <a:cxn ang="0">
                <a:pos x="1764" y="120"/>
              </a:cxn>
              <a:cxn ang="0">
                <a:pos x="1557" y="0"/>
              </a:cxn>
              <a:cxn ang="0">
                <a:pos x="1557" y="80"/>
              </a:cxn>
              <a:cxn ang="0">
                <a:pos x="392" y="80"/>
              </a:cxn>
              <a:cxn ang="0">
                <a:pos x="272" y="200"/>
              </a:cxn>
              <a:cxn ang="0">
                <a:pos x="272" y="944"/>
              </a:cxn>
              <a:cxn ang="0">
                <a:pos x="232" y="984"/>
              </a:cxn>
              <a:cxn ang="0">
                <a:pos x="0" y="984"/>
              </a:cxn>
              <a:cxn ang="0">
                <a:pos x="0" y="1064"/>
              </a:cxn>
              <a:cxn ang="0">
                <a:pos x="232" y="1064"/>
              </a:cxn>
              <a:cxn ang="0">
                <a:pos x="352" y="944"/>
              </a:cxn>
              <a:cxn ang="0">
                <a:pos x="352" y="200"/>
              </a:cxn>
              <a:cxn ang="0">
                <a:pos x="392" y="160"/>
              </a:cxn>
              <a:cxn ang="0">
                <a:pos x="1557" y="160"/>
              </a:cxn>
              <a:cxn ang="0">
                <a:pos x="1557" y="240"/>
              </a:cxn>
              <a:cxn ang="0">
                <a:pos x="1764" y="120"/>
              </a:cxn>
            </a:cxnLst>
            <a:rect l="0" t="0" r="r" b="b"/>
            <a:pathLst>
              <a:path w="1764" h="1064">
                <a:moveTo>
                  <a:pt x="1764" y="120"/>
                </a:moveTo>
                <a:cubicBezTo>
                  <a:pt x="1557" y="0"/>
                  <a:pt x="1557" y="0"/>
                  <a:pt x="1557" y="0"/>
                </a:cubicBezTo>
                <a:cubicBezTo>
                  <a:pt x="1557" y="80"/>
                  <a:pt x="1557" y="80"/>
                  <a:pt x="1557" y="80"/>
                </a:cubicBezTo>
                <a:cubicBezTo>
                  <a:pt x="392" y="80"/>
                  <a:pt x="392" y="80"/>
                  <a:pt x="392" y="80"/>
                </a:cubicBezTo>
                <a:cubicBezTo>
                  <a:pt x="326" y="80"/>
                  <a:pt x="272" y="134"/>
                  <a:pt x="272" y="200"/>
                </a:cubicBezTo>
                <a:cubicBezTo>
                  <a:pt x="272" y="944"/>
                  <a:pt x="272" y="944"/>
                  <a:pt x="272" y="944"/>
                </a:cubicBezTo>
                <a:cubicBezTo>
                  <a:pt x="272" y="966"/>
                  <a:pt x="254" y="984"/>
                  <a:pt x="232" y="984"/>
                </a:cubicBezTo>
                <a:cubicBezTo>
                  <a:pt x="0" y="984"/>
                  <a:pt x="0" y="984"/>
                  <a:pt x="0" y="984"/>
                </a:cubicBezTo>
                <a:cubicBezTo>
                  <a:pt x="0" y="1064"/>
                  <a:pt x="0" y="1064"/>
                  <a:pt x="0" y="1064"/>
                </a:cubicBezTo>
                <a:cubicBezTo>
                  <a:pt x="232" y="1064"/>
                  <a:pt x="232" y="1064"/>
                  <a:pt x="232" y="1064"/>
                </a:cubicBezTo>
                <a:cubicBezTo>
                  <a:pt x="298" y="1064"/>
                  <a:pt x="352" y="1010"/>
                  <a:pt x="352" y="944"/>
                </a:cubicBezTo>
                <a:cubicBezTo>
                  <a:pt x="352" y="200"/>
                  <a:pt x="352" y="200"/>
                  <a:pt x="352" y="200"/>
                </a:cubicBezTo>
                <a:cubicBezTo>
                  <a:pt x="352" y="178"/>
                  <a:pt x="370" y="160"/>
                  <a:pt x="392" y="160"/>
                </a:cubicBezTo>
                <a:cubicBezTo>
                  <a:pt x="1557" y="160"/>
                  <a:pt x="1557" y="160"/>
                  <a:pt x="1557" y="160"/>
                </a:cubicBezTo>
                <a:cubicBezTo>
                  <a:pt x="1557" y="240"/>
                  <a:pt x="1557" y="240"/>
                  <a:pt x="1557" y="240"/>
                </a:cubicBezTo>
                <a:lnTo>
                  <a:pt x="1764" y="12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35" name="îŝliḑê">
            <a:extLst>
              <a:ext uri="{FF2B5EF4-FFF2-40B4-BE49-F238E27FC236}">
                <a16:creationId xmlns:a16="http://schemas.microsoft.com/office/drawing/2014/main" id="{A9230264-FE68-48E1-88C8-096BF6C72CAC}"/>
              </a:ext>
            </a:extLst>
          </p:cNvPr>
          <p:cNvSpPr/>
          <p:nvPr/>
        </p:nvSpPr>
        <p:spPr bwMode="auto">
          <a:xfrm>
            <a:off x="235021" y="3170484"/>
            <a:ext cx="4626128" cy="2119314"/>
          </a:xfrm>
          <a:custGeom>
            <a:avLst/>
            <a:gdLst/>
            <a:ahLst/>
            <a:cxnLst>
              <a:cxn ang="0">
                <a:pos x="1412" y="120"/>
              </a:cxn>
              <a:cxn ang="0">
                <a:pos x="1205" y="0"/>
              </a:cxn>
              <a:cxn ang="0">
                <a:pos x="1205" y="80"/>
              </a:cxn>
              <a:cxn ang="0">
                <a:pos x="564" y="80"/>
              </a:cxn>
              <a:cxn ang="0">
                <a:pos x="444" y="200"/>
              </a:cxn>
              <a:cxn ang="0">
                <a:pos x="444" y="768"/>
              </a:cxn>
              <a:cxn ang="0">
                <a:pos x="404" y="808"/>
              </a:cxn>
              <a:cxn ang="0">
                <a:pos x="0" y="808"/>
              </a:cxn>
              <a:cxn ang="0">
                <a:pos x="0" y="888"/>
              </a:cxn>
              <a:cxn ang="0">
                <a:pos x="404" y="888"/>
              </a:cxn>
              <a:cxn ang="0">
                <a:pos x="524" y="768"/>
              </a:cxn>
              <a:cxn ang="0">
                <a:pos x="524" y="200"/>
              </a:cxn>
              <a:cxn ang="0">
                <a:pos x="564" y="160"/>
              </a:cxn>
              <a:cxn ang="0">
                <a:pos x="1205" y="160"/>
              </a:cxn>
              <a:cxn ang="0">
                <a:pos x="1205" y="240"/>
              </a:cxn>
              <a:cxn ang="0">
                <a:pos x="1412" y="120"/>
              </a:cxn>
            </a:cxnLst>
            <a:rect l="0" t="0" r="r" b="b"/>
            <a:pathLst>
              <a:path w="1412" h="888">
                <a:moveTo>
                  <a:pt x="1412" y="120"/>
                </a:moveTo>
                <a:cubicBezTo>
                  <a:pt x="1205" y="0"/>
                  <a:pt x="1205" y="0"/>
                  <a:pt x="1205" y="0"/>
                </a:cubicBezTo>
                <a:cubicBezTo>
                  <a:pt x="1205" y="80"/>
                  <a:pt x="1205" y="80"/>
                  <a:pt x="1205" y="80"/>
                </a:cubicBezTo>
                <a:cubicBezTo>
                  <a:pt x="564" y="80"/>
                  <a:pt x="564" y="80"/>
                  <a:pt x="564" y="80"/>
                </a:cubicBezTo>
                <a:cubicBezTo>
                  <a:pt x="498" y="80"/>
                  <a:pt x="444" y="134"/>
                  <a:pt x="444" y="200"/>
                </a:cubicBezTo>
                <a:cubicBezTo>
                  <a:pt x="444" y="768"/>
                  <a:pt x="444" y="768"/>
                  <a:pt x="444" y="768"/>
                </a:cubicBezTo>
                <a:cubicBezTo>
                  <a:pt x="444" y="790"/>
                  <a:pt x="426" y="808"/>
                  <a:pt x="404" y="808"/>
                </a:cubicBezTo>
                <a:cubicBezTo>
                  <a:pt x="0" y="808"/>
                  <a:pt x="0" y="808"/>
                  <a:pt x="0" y="808"/>
                </a:cubicBezTo>
                <a:cubicBezTo>
                  <a:pt x="0" y="888"/>
                  <a:pt x="0" y="888"/>
                  <a:pt x="0" y="888"/>
                </a:cubicBezTo>
                <a:cubicBezTo>
                  <a:pt x="404" y="888"/>
                  <a:pt x="404" y="888"/>
                  <a:pt x="404" y="888"/>
                </a:cubicBezTo>
                <a:cubicBezTo>
                  <a:pt x="470" y="888"/>
                  <a:pt x="524" y="834"/>
                  <a:pt x="524" y="768"/>
                </a:cubicBezTo>
                <a:cubicBezTo>
                  <a:pt x="524" y="200"/>
                  <a:pt x="524" y="200"/>
                  <a:pt x="524" y="200"/>
                </a:cubicBezTo>
                <a:cubicBezTo>
                  <a:pt x="524" y="178"/>
                  <a:pt x="542" y="160"/>
                  <a:pt x="564" y="160"/>
                </a:cubicBezTo>
                <a:cubicBezTo>
                  <a:pt x="1205" y="160"/>
                  <a:pt x="1205" y="160"/>
                  <a:pt x="1205" y="160"/>
                </a:cubicBezTo>
                <a:cubicBezTo>
                  <a:pt x="1205" y="240"/>
                  <a:pt x="1205" y="240"/>
                  <a:pt x="1205" y="240"/>
                </a:cubicBezTo>
                <a:lnTo>
                  <a:pt x="1412" y="120"/>
                </a:lnTo>
                <a:close/>
              </a:path>
            </a:pathLst>
          </a:custGeom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grpSp>
        <p:nvGrpSpPr>
          <p:cNvPr id="40" name="íśḷiďe">
            <a:extLst>
              <a:ext uri="{FF2B5EF4-FFF2-40B4-BE49-F238E27FC236}">
                <a16:creationId xmlns:a16="http://schemas.microsoft.com/office/drawing/2014/main" id="{D14D74C2-BEF0-4158-B838-E4B59131AD59}"/>
              </a:ext>
            </a:extLst>
          </p:cNvPr>
          <p:cNvGrpSpPr/>
          <p:nvPr/>
        </p:nvGrpSpPr>
        <p:grpSpPr>
          <a:xfrm>
            <a:off x="6834919" y="1974602"/>
            <a:ext cx="1802902" cy="1109719"/>
            <a:chOff x="1197898" y="2503545"/>
            <a:chExt cx="2198693" cy="1006991"/>
          </a:xfrm>
        </p:grpSpPr>
        <p:sp>
          <p:nvSpPr>
            <p:cNvPr id="50" name="ïsľíḓê">
              <a:extLst>
                <a:ext uri="{FF2B5EF4-FFF2-40B4-BE49-F238E27FC236}">
                  <a16:creationId xmlns:a16="http://schemas.microsoft.com/office/drawing/2014/main" id="{5D5C09A4-206E-47A4-B385-D9FDB7B4FFBD}"/>
                </a:ext>
              </a:extLst>
            </p:cNvPr>
            <p:cNvSpPr txBox="1"/>
            <p:nvPr/>
          </p:nvSpPr>
          <p:spPr>
            <a:xfrm>
              <a:off x="1197898" y="2503545"/>
              <a:ext cx="2198693" cy="264215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 fontScale="92500" lnSpcReduction="20000"/>
            </a:bodyPr>
            <a:lstStyle/>
            <a:p>
              <a:r>
                <a:rPr lang="zh-CN" altLang="en-US" sz="1600" b="1" dirty="0"/>
                <a:t>单机模式</a:t>
              </a:r>
            </a:p>
          </p:txBody>
        </p:sp>
        <p:sp>
          <p:nvSpPr>
            <p:cNvPr id="51" name="ïs1íḓé">
              <a:extLst>
                <a:ext uri="{FF2B5EF4-FFF2-40B4-BE49-F238E27FC236}">
                  <a16:creationId xmlns:a16="http://schemas.microsoft.com/office/drawing/2014/main" id="{9FF9B7E6-1F4E-408B-9005-8A60782E18B3}"/>
                </a:ext>
              </a:extLst>
            </p:cNvPr>
            <p:cNvSpPr txBox="1"/>
            <p:nvPr/>
          </p:nvSpPr>
          <p:spPr>
            <a:xfrm>
              <a:off x="1197898" y="2743144"/>
              <a:ext cx="2198693" cy="767392"/>
            </a:xfrm>
            <a:prstGeom prst="rect">
              <a:avLst/>
            </a:prstGeom>
          </p:spPr>
          <p:txBody>
            <a:bodyPr vert="horz" wrap="square" lIns="91440" tIns="45720" rIns="91440" bIns="45720" anchor="ctr" anchorCtr="0">
              <a:normAutofit fontScale="70000" lnSpcReduction="20000"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100" dirty="0"/>
                <a:t>易于配置，使用，以及代码的调试，已经可以开始了！</a:t>
              </a:r>
              <a:endParaRPr lang="en-US" altLang="zh-CN" sz="1100" dirty="0"/>
            </a:p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单机模式下</a:t>
              </a:r>
              <a:r>
                <a:rPr lang="en-US" altLang="zh-CN" sz="1100" dirty="0"/>
                <a:t>Hadoop</a:t>
              </a:r>
              <a:r>
                <a:rPr lang="zh-CN" altLang="en-US" sz="1100" dirty="0"/>
                <a:t>不会使用</a:t>
              </a:r>
              <a:r>
                <a:rPr lang="en-US" altLang="zh-CN" sz="1100" dirty="0"/>
                <a:t>HDFS,</a:t>
              </a:r>
              <a:r>
                <a:rPr lang="zh-CN" altLang="en-US" sz="1100" dirty="0"/>
                <a:t>也不会开启任何</a:t>
              </a:r>
              <a:r>
                <a:rPr lang="en-US" altLang="zh-CN" sz="1100" dirty="0"/>
                <a:t>Hadoop</a:t>
              </a:r>
              <a:r>
                <a:rPr lang="zh-CN" altLang="en-US" sz="1100" dirty="0"/>
                <a:t>守护进程</a:t>
              </a:r>
              <a:r>
                <a:rPr lang="en-US" altLang="zh-CN" sz="1100" dirty="0"/>
                <a:t>,</a:t>
              </a:r>
              <a:r>
                <a:rPr lang="zh-CN" altLang="en-US" sz="1100" dirty="0"/>
                <a:t>所有程序将在一个</a:t>
              </a:r>
              <a:r>
                <a:rPr lang="en-US" altLang="zh-CN" sz="1100" dirty="0"/>
                <a:t>JVM</a:t>
              </a:r>
              <a:r>
                <a:rPr lang="zh-CN" altLang="en-US" sz="1100" dirty="0"/>
                <a:t>上运行并且最多只允许拥有一个</a:t>
              </a:r>
              <a:r>
                <a:rPr lang="en-US" altLang="zh-CN" sz="1100" dirty="0"/>
                <a:t>reducer</a:t>
              </a:r>
            </a:p>
          </p:txBody>
        </p:sp>
      </p:grpSp>
      <p:grpSp>
        <p:nvGrpSpPr>
          <p:cNvPr id="41" name="ïśļïḓé">
            <a:extLst>
              <a:ext uri="{FF2B5EF4-FFF2-40B4-BE49-F238E27FC236}">
                <a16:creationId xmlns:a16="http://schemas.microsoft.com/office/drawing/2014/main" id="{C77F0BAE-7850-4AD7-8923-8CC50CAF4588}"/>
              </a:ext>
            </a:extLst>
          </p:cNvPr>
          <p:cNvGrpSpPr/>
          <p:nvPr/>
        </p:nvGrpSpPr>
        <p:grpSpPr>
          <a:xfrm>
            <a:off x="7072484" y="4084556"/>
            <a:ext cx="1802902" cy="2052719"/>
            <a:chOff x="1197898" y="2503545"/>
            <a:chExt cx="2198693" cy="1006991"/>
          </a:xfrm>
        </p:grpSpPr>
        <p:sp>
          <p:nvSpPr>
            <p:cNvPr id="48" name="íṩ1iďè">
              <a:extLst>
                <a:ext uri="{FF2B5EF4-FFF2-40B4-BE49-F238E27FC236}">
                  <a16:creationId xmlns:a16="http://schemas.microsoft.com/office/drawing/2014/main" id="{AD56F0CD-81FC-4A5A-AA29-6EAEBF683855}"/>
                </a:ext>
              </a:extLst>
            </p:cNvPr>
            <p:cNvSpPr txBox="1"/>
            <p:nvPr/>
          </p:nvSpPr>
          <p:spPr>
            <a:xfrm>
              <a:off x="1197898" y="2503545"/>
              <a:ext cx="2198693" cy="142837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 fontScale="92500" lnSpcReduction="20000"/>
            </a:bodyPr>
            <a:lstStyle/>
            <a:p>
              <a:r>
                <a:rPr lang="zh-CN" altLang="en-US" sz="1600" b="1" dirty="0"/>
                <a:t>完全分布模式</a:t>
              </a:r>
            </a:p>
          </p:txBody>
        </p:sp>
        <p:sp>
          <p:nvSpPr>
            <p:cNvPr id="49" name="ïṩḷíḑê">
              <a:extLst>
                <a:ext uri="{FF2B5EF4-FFF2-40B4-BE49-F238E27FC236}">
                  <a16:creationId xmlns:a16="http://schemas.microsoft.com/office/drawing/2014/main" id="{66F3BE66-37BF-4AAB-BA51-CBF77FFFA666}"/>
                </a:ext>
              </a:extLst>
            </p:cNvPr>
            <p:cNvSpPr txBox="1"/>
            <p:nvPr/>
          </p:nvSpPr>
          <p:spPr>
            <a:xfrm>
              <a:off x="1197898" y="2615217"/>
              <a:ext cx="2198693" cy="895319"/>
            </a:xfrm>
            <a:prstGeom prst="rect">
              <a:avLst/>
            </a:prstGeom>
          </p:spPr>
          <p:txBody>
            <a:bodyPr vert="horz" wrap="square" lIns="91440" tIns="45720" rIns="91440" bIns="45720" anchor="ctr" anchorCtr="0">
              <a:normAutofit fontScale="70000" lnSpcReduction="20000"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100" dirty="0"/>
                <a:t>1</a:t>
              </a:r>
              <a:r>
                <a:rPr lang="zh-CN" altLang="en-US" sz="1100" dirty="0"/>
                <a:t>、配置好几台虚拟机</a:t>
              </a:r>
              <a:r>
                <a:rPr lang="en-US" altLang="zh-CN" sz="1100" dirty="0"/>
                <a:t>,</a:t>
              </a:r>
              <a:r>
                <a:rPr lang="zh-CN" altLang="en-US" sz="1100" dirty="0"/>
                <a:t>安装好</a:t>
              </a:r>
              <a:r>
                <a:rPr lang="en-US" altLang="zh-CN" sz="1100" dirty="0" err="1"/>
                <a:t>jdk</a:t>
              </a:r>
              <a:r>
                <a:rPr lang="zh-CN" altLang="en-US" sz="1100" dirty="0"/>
                <a:t>和</a:t>
              </a:r>
              <a:r>
                <a:rPr lang="en-US" altLang="zh-CN" sz="1100" dirty="0" err="1"/>
                <a:t>hadoop</a:t>
              </a:r>
              <a:r>
                <a:rPr lang="zh-CN" altLang="en-US" sz="1100" dirty="0"/>
                <a:t>；</a:t>
              </a:r>
              <a:endParaRPr lang="en-US" altLang="zh-CN" sz="1100" dirty="0"/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2</a:t>
              </a:r>
              <a:r>
                <a:rPr lang="zh-CN" altLang="en-US" sz="1100" dirty="0"/>
                <a:t>、安装配置</a:t>
              </a:r>
              <a:r>
                <a:rPr lang="en-US" altLang="zh-CN" sz="1100" dirty="0"/>
                <a:t>SSH</a:t>
              </a:r>
              <a:r>
                <a:rPr lang="zh-CN" altLang="en-US" sz="1100" dirty="0"/>
                <a:t>；</a:t>
              </a:r>
              <a:endParaRPr lang="en-US" altLang="zh-CN" sz="1100" dirty="0"/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3</a:t>
              </a:r>
              <a:r>
                <a:rPr lang="zh-CN" altLang="en-US" sz="1100" dirty="0"/>
                <a:t>、</a:t>
              </a:r>
              <a:r>
                <a:rPr lang="en-US" altLang="zh-CN" sz="1100" dirty="0" err="1"/>
                <a:t>hadoop</a:t>
              </a:r>
              <a:r>
                <a:rPr lang="zh-CN" altLang="en-US" sz="1100" dirty="0"/>
                <a:t>配置；</a:t>
              </a:r>
              <a:endParaRPr lang="en-US" altLang="zh-CN" sz="1100" dirty="0"/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4</a:t>
              </a:r>
              <a:r>
                <a:rPr lang="zh-CN" altLang="en-US" sz="1100" dirty="0"/>
                <a:t>、</a:t>
              </a:r>
              <a:r>
                <a:rPr lang="en-US" altLang="zh-CN" sz="1100" dirty="0"/>
                <a:t>hadoop-env.sh</a:t>
              </a:r>
              <a:r>
                <a:rPr lang="zh-CN" altLang="en-US" sz="1100" dirty="0"/>
                <a:t>，</a:t>
              </a:r>
              <a:r>
                <a:rPr lang="en-US" altLang="zh-CN" sz="1100" dirty="0" err="1"/>
                <a:t>hadoop</a:t>
              </a:r>
              <a:r>
                <a:rPr lang="en-US" altLang="zh-CN" sz="1100" dirty="0"/>
                <a:t>-core-</a:t>
              </a:r>
              <a:r>
                <a:rPr lang="en-US" altLang="zh-CN" sz="1100" dirty="0" err="1"/>
                <a:t>site.xm</a:t>
              </a:r>
              <a:r>
                <a:rPr lang="zh-CN" altLang="en-US" sz="1100" dirty="0"/>
                <a:t>，</a:t>
              </a:r>
              <a:r>
                <a:rPr lang="en-US" altLang="zh-CN" sz="1100" dirty="0" err="1"/>
                <a:t>hadoop-hdfs-site.xm</a:t>
              </a:r>
              <a:r>
                <a:rPr lang="zh-CN" altLang="en-US" sz="1100" dirty="0"/>
                <a:t>，</a:t>
              </a:r>
              <a:r>
                <a:rPr lang="en-US" altLang="zh-CN" sz="1100" dirty="0"/>
                <a:t>hadoop-mapred-site.xml</a:t>
              </a:r>
              <a:r>
                <a:rPr lang="zh-CN" altLang="en-US" sz="1100" dirty="0"/>
                <a:t>，</a:t>
              </a:r>
              <a:r>
                <a:rPr lang="en-US" altLang="zh-CN" sz="1100" dirty="0"/>
                <a:t>hadoop-yarn-site.xml</a:t>
              </a:r>
              <a:r>
                <a:rPr lang="zh-CN" altLang="en-US" sz="1100" dirty="0"/>
                <a:t>；</a:t>
              </a:r>
              <a:r>
                <a:rPr lang="en-US" altLang="zh-CN" sz="1100" dirty="0"/>
                <a:t>5</a:t>
              </a:r>
              <a:r>
                <a:rPr lang="zh-CN" altLang="en-US" sz="1100" dirty="0"/>
                <a:t>、配置</a:t>
              </a:r>
              <a:r>
                <a:rPr lang="en-US" altLang="zh-CN" sz="1100" dirty="0"/>
                <a:t>slave</a:t>
              </a:r>
              <a:r>
                <a:rPr lang="zh-CN" altLang="en-US" sz="1100" dirty="0"/>
                <a:t>；</a:t>
              </a:r>
              <a:endParaRPr lang="en-US" altLang="zh-CN" sz="1100" dirty="0"/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6</a:t>
              </a:r>
              <a:r>
                <a:rPr lang="zh-CN" altLang="en-US" sz="1100" dirty="0"/>
                <a:t>、分发到所有虚拟机上；</a:t>
              </a:r>
              <a:endParaRPr lang="en-US" altLang="zh-CN" sz="1100" dirty="0"/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7</a:t>
              </a:r>
              <a:r>
                <a:rPr lang="zh-CN" altLang="en-US" sz="1100" dirty="0"/>
                <a:t>、</a:t>
              </a:r>
              <a:r>
                <a:rPr lang="en-US" altLang="zh-CN" sz="1100" dirty="0" err="1"/>
                <a:t>namenode</a:t>
              </a:r>
              <a:r>
                <a:rPr lang="zh-CN" altLang="en-US" sz="1100" dirty="0"/>
                <a:t>格式化；</a:t>
              </a:r>
              <a:endParaRPr lang="en-US" altLang="zh-CN" sz="1100" dirty="0"/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8</a:t>
              </a:r>
              <a:r>
                <a:rPr lang="zh-CN" altLang="en-US" sz="1100" dirty="0"/>
                <a:t>、启动进程；</a:t>
              </a:r>
              <a:endParaRPr lang="en-US" altLang="zh-CN" sz="1100" dirty="0"/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9</a:t>
              </a:r>
              <a:r>
                <a:rPr lang="zh-CN" altLang="en-US" sz="1100" dirty="0"/>
                <a:t>、查看（</a:t>
              </a:r>
              <a:r>
                <a:rPr lang="en-US" altLang="zh-CN" sz="1100" dirty="0" err="1"/>
                <a:t>jps</a:t>
              </a:r>
              <a:r>
                <a:rPr lang="zh-CN" altLang="en-US" sz="1100" dirty="0"/>
                <a:t>，</a:t>
              </a:r>
              <a:r>
                <a:rPr lang="en-US" altLang="zh-CN" sz="1100" dirty="0"/>
                <a:t>web</a:t>
              </a:r>
              <a:r>
                <a:rPr lang="zh-CN" altLang="en-US" sz="1100" dirty="0"/>
                <a:t>）；</a:t>
              </a:r>
            </a:p>
          </p:txBody>
        </p:sp>
      </p:grpSp>
      <p:grpSp>
        <p:nvGrpSpPr>
          <p:cNvPr id="42" name="îṧḻïḍé">
            <a:extLst>
              <a:ext uri="{FF2B5EF4-FFF2-40B4-BE49-F238E27FC236}">
                <a16:creationId xmlns:a16="http://schemas.microsoft.com/office/drawing/2014/main" id="{A517228F-64D9-4804-A9C8-DC5255459070}"/>
              </a:ext>
            </a:extLst>
          </p:cNvPr>
          <p:cNvGrpSpPr/>
          <p:nvPr/>
        </p:nvGrpSpPr>
        <p:grpSpPr>
          <a:xfrm>
            <a:off x="6045248" y="3084321"/>
            <a:ext cx="1911887" cy="1109719"/>
            <a:chOff x="1304696" y="2503545"/>
            <a:chExt cx="2198694" cy="1086301"/>
          </a:xfrm>
        </p:grpSpPr>
        <p:sp>
          <p:nvSpPr>
            <p:cNvPr id="46" name="î$ļîḍè">
              <a:extLst>
                <a:ext uri="{FF2B5EF4-FFF2-40B4-BE49-F238E27FC236}">
                  <a16:creationId xmlns:a16="http://schemas.microsoft.com/office/drawing/2014/main" id="{CA184EE0-1617-4535-BA33-B094D54277CA}"/>
                </a:ext>
              </a:extLst>
            </p:cNvPr>
            <p:cNvSpPr txBox="1"/>
            <p:nvPr/>
          </p:nvSpPr>
          <p:spPr>
            <a:xfrm>
              <a:off x="1304697" y="2503545"/>
              <a:ext cx="2198693" cy="285025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 fontScale="92500" lnSpcReduction="20000"/>
            </a:bodyPr>
            <a:lstStyle/>
            <a:p>
              <a:r>
                <a:rPr lang="zh-CN" altLang="en-US" sz="1600" b="1" dirty="0"/>
                <a:t>伪分布模式</a:t>
              </a:r>
            </a:p>
          </p:txBody>
        </p:sp>
        <p:sp>
          <p:nvSpPr>
            <p:cNvPr id="47" name="ïṡ1iḓê">
              <a:extLst>
                <a:ext uri="{FF2B5EF4-FFF2-40B4-BE49-F238E27FC236}">
                  <a16:creationId xmlns:a16="http://schemas.microsoft.com/office/drawing/2014/main" id="{97E0D361-4374-4EF9-B648-AD94700A1C4E}"/>
                </a:ext>
              </a:extLst>
            </p:cNvPr>
            <p:cNvSpPr txBox="1"/>
            <p:nvPr/>
          </p:nvSpPr>
          <p:spPr>
            <a:xfrm>
              <a:off x="1304696" y="2666312"/>
              <a:ext cx="2198693" cy="923534"/>
            </a:xfrm>
            <a:prstGeom prst="rect">
              <a:avLst/>
            </a:prstGeom>
          </p:spPr>
          <p:txBody>
            <a:bodyPr vert="horz" wrap="square" lIns="91440" tIns="45720" rIns="91440" bIns="45720" anchor="ctr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800" b="1" dirty="0"/>
                <a:t>HADOOP_HOME/</a:t>
              </a:r>
              <a:r>
                <a:rPr lang="en-US" altLang="zh-CN" sz="800" b="1" dirty="0" err="1"/>
                <a:t>etc</a:t>
              </a:r>
              <a:r>
                <a:rPr lang="en-US" altLang="zh-CN" sz="800" b="1" dirty="0"/>
                <a:t>/Hadoop</a:t>
              </a:r>
              <a:r>
                <a:rPr lang="zh-CN" altLang="en-US" sz="800" b="1" dirty="0"/>
                <a:t>下</a:t>
              </a:r>
              <a:endParaRPr lang="en-US" altLang="zh-CN" sz="800" b="1" dirty="0"/>
            </a:p>
            <a:p>
              <a:pPr>
                <a:lnSpc>
                  <a:spcPct val="120000"/>
                </a:lnSpc>
              </a:pPr>
              <a:r>
                <a:rPr lang="en-US" altLang="zh-CN" sz="800" b="1" dirty="0"/>
                <a:t>core-site.xml  hdfs-site.xml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800" b="1" dirty="0" err="1"/>
                <a:t>hdfs</a:t>
              </a:r>
              <a:r>
                <a:rPr lang="en-US" altLang="zh-CN" sz="800" b="1" dirty="0"/>
                <a:t> </a:t>
              </a:r>
              <a:r>
                <a:rPr lang="en-US" altLang="zh-CN" sz="800" b="1" dirty="0" err="1"/>
                <a:t>namenode</a:t>
              </a:r>
              <a:r>
                <a:rPr lang="en-US" altLang="zh-CN" sz="800" b="1" dirty="0"/>
                <a:t> -format 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800" b="1" dirty="0"/>
                <a:t>start-dfs.sh 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800" b="1" dirty="0" err="1"/>
                <a:t>jps</a:t>
              </a:r>
              <a:endParaRPr lang="en-US" altLang="zh-CN" sz="800" b="1" dirty="0"/>
            </a:p>
          </p:txBody>
        </p:sp>
      </p:grpSp>
      <p:sp>
        <p:nvSpPr>
          <p:cNvPr id="9" name="图形 5">
            <a:extLst>
              <a:ext uri="{FF2B5EF4-FFF2-40B4-BE49-F238E27FC236}">
                <a16:creationId xmlns:a16="http://schemas.microsoft.com/office/drawing/2014/main" id="{FFA06E4D-CE15-468D-AE99-D8997EB27D59}"/>
              </a:ext>
            </a:extLst>
          </p:cNvPr>
          <p:cNvSpPr/>
          <p:nvPr/>
        </p:nvSpPr>
        <p:spPr>
          <a:xfrm>
            <a:off x="6377257" y="2125668"/>
            <a:ext cx="365043" cy="373216"/>
          </a:xfrm>
          <a:custGeom>
            <a:avLst/>
            <a:gdLst>
              <a:gd name="connsiteX0" fmla="*/ 365354 w 365043"/>
              <a:gd name="connsiteY0" fmla="*/ 184987 h 373215"/>
              <a:gd name="connsiteX1" fmla="*/ 363962 w 365043"/>
              <a:gd name="connsiteY1" fmla="*/ 180287 h 373215"/>
              <a:gd name="connsiteX2" fmla="*/ 354542 w 365043"/>
              <a:gd name="connsiteY2" fmla="*/ 170511 h 373215"/>
              <a:gd name="connsiteX3" fmla="*/ 318954 w 365043"/>
              <a:gd name="connsiteY3" fmla="*/ 134587 h 373215"/>
              <a:gd name="connsiteX4" fmla="*/ 292974 w 365043"/>
              <a:gd name="connsiteY4" fmla="*/ 108283 h 373215"/>
              <a:gd name="connsiteX5" fmla="*/ 270334 w 365043"/>
              <a:gd name="connsiteY5" fmla="*/ 84952 h 373215"/>
              <a:gd name="connsiteX6" fmla="*/ 243119 w 365043"/>
              <a:gd name="connsiteY6" fmla="*/ 57046 h 373215"/>
              <a:gd name="connsiteX7" fmla="*/ 240398 w 365043"/>
              <a:gd name="connsiteY7" fmla="*/ 54817 h 373215"/>
              <a:gd name="connsiteX8" fmla="*/ 230726 w 365043"/>
              <a:gd name="connsiteY8" fmla="*/ 44664 h 373215"/>
              <a:gd name="connsiteX9" fmla="*/ 203396 w 365043"/>
              <a:gd name="connsiteY9" fmla="*/ 16664 h 373215"/>
              <a:gd name="connsiteX10" fmla="*/ 200643 w 365043"/>
              <a:gd name="connsiteY10" fmla="*/ 14434 h 373215"/>
              <a:gd name="connsiteX11" fmla="*/ 191296 w 365043"/>
              <a:gd name="connsiteY11" fmla="*/ 4417 h 373215"/>
              <a:gd name="connsiteX12" fmla="*/ 170906 w 365043"/>
              <a:gd name="connsiteY12" fmla="*/ 4574 h 373215"/>
              <a:gd name="connsiteX13" fmla="*/ 158555 w 365043"/>
              <a:gd name="connsiteY13" fmla="*/ 17459 h 373215"/>
              <a:gd name="connsiteX14" fmla="*/ 127153 w 365043"/>
              <a:gd name="connsiteY14" fmla="*/ 49908 h 373215"/>
              <a:gd name="connsiteX15" fmla="*/ 97594 w 365043"/>
              <a:gd name="connsiteY15" fmla="*/ 80796 h 373215"/>
              <a:gd name="connsiteX16" fmla="*/ 77256 w 365043"/>
              <a:gd name="connsiteY16" fmla="*/ 101731 h 373215"/>
              <a:gd name="connsiteX17" fmla="*/ 57033 w 365043"/>
              <a:gd name="connsiteY17" fmla="*/ 122466 h 373215"/>
              <a:gd name="connsiteX18" fmla="*/ 29452 w 365043"/>
              <a:gd name="connsiteY18" fmla="*/ 150727 h 373215"/>
              <a:gd name="connsiteX19" fmla="*/ 2175 w 365043"/>
              <a:gd name="connsiteY19" fmla="*/ 178811 h 373215"/>
              <a:gd name="connsiteX20" fmla="*/ 82 w 365043"/>
              <a:gd name="connsiteY20" fmla="*/ 184767 h 373215"/>
              <a:gd name="connsiteX21" fmla="*/ 2688 w 365043"/>
              <a:gd name="connsiteY21" fmla="*/ 196804 h 373215"/>
              <a:gd name="connsiteX22" fmla="*/ 25245 w 365043"/>
              <a:gd name="connsiteY22" fmla="*/ 213551 h 373215"/>
              <a:gd name="connsiteX23" fmla="*/ 46106 w 365043"/>
              <a:gd name="connsiteY23" fmla="*/ 213468 h 373215"/>
              <a:gd name="connsiteX24" fmla="*/ 48922 w 365043"/>
              <a:gd name="connsiteY24" fmla="*/ 216262 h 373215"/>
              <a:gd name="connsiteX25" fmla="*/ 48744 w 365043"/>
              <a:gd name="connsiteY25" fmla="*/ 344108 h 373215"/>
              <a:gd name="connsiteX26" fmla="*/ 57651 w 365043"/>
              <a:gd name="connsiteY26" fmla="*/ 365734 h 373215"/>
              <a:gd name="connsiteX27" fmla="*/ 80564 w 365043"/>
              <a:gd name="connsiteY27" fmla="*/ 373427 h 373215"/>
              <a:gd name="connsiteX28" fmla="*/ 139368 w 365043"/>
              <a:gd name="connsiteY28" fmla="*/ 373532 h 373215"/>
              <a:gd name="connsiteX29" fmla="*/ 143283 w 365043"/>
              <a:gd name="connsiteY29" fmla="*/ 369774 h 373215"/>
              <a:gd name="connsiteX30" fmla="*/ 143189 w 365043"/>
              <a:gd name="connsiteY30" fmla="*/ 279432 h 373215"/>
              <a:gd name="connsiteX31" fmla="*/ 143283 w 365043"/>
              <a:gd name="connsiteY31" fmla="*/ 244723 h 373215"/>
              <a:gd name="connsiteX32" fmla="*/ 153133 w 365043"/>
              <a:gd name="connsiteY32" fmla="*/ 234622 h 373215"/>
              <a:gd name="connsiteX33" fmla="*/ 214051 w 365043"/>
              <a:gd name="connsiteY33" fmla="*/ 234758 h 373215"/>
              <a:gd name="connsiteX34" fmla="*/ 221745 w 365043"/>
              <a:gd name="connsiteY34" fmla="*/ 242734 h 373215"/>
              <a:gd name="connsiteX35" fmla="*/ 221692 w 365043"/>
              <a:gd name="connsiteY35" fmla="*/ 369889 h 373215"/>
              <a:gd name="connsiteX36" fmla="*/ 225063 w 365043"/>
              <a:gd name="connsiteY36" fmla="*/ 373542 h 373215"/>
              <a:gd name="connsiteX37" fmla="*/ 282800 w 365043"/>
              <a:gd name="connsiteY37" fmla="*/ 373385 h 373215"/>
              <a:gd name="connsiteX38" fmla="*/ 298333 w 365043"/>
              <a:gd name="connsiteY38" fmla="*/ 370245 h 373215"/>
              <a:gd name="connsiteX39" fmla="*/ 309847 w 365043"/>
              <a:gd name="connsiteY39" fmla="*/ 360825 h 373215"/>
              <a:gd name="connsiteX40" fmla="*/ 318064 w 365043"/>
              <a:gd name="connsiteY40" fmla="*/ 342182 h 373215"/>
              <a:gd name="connsiteX41" fmla="*/ 318284 w 365043"/>
              <a:gd name="connsiteY41" fmla="*/ 308614 h 373215"/>
              <a:gd name="connsiteX42" fmla="*/ 318357 w 365043"/>
              <a:gd name="connsiteY42" fmla="*/ 259973 h 373215"/>
              <a:gd name="connsiteX43" fmla="*/ 318357 w 365043"/>
              <a:gd name="connsiteY43" fmla="*/ 213897 h 373215"/>
              <a:gd name="connsiteX44" fmla="*/ 319655 w 365043"/>
              <a:gd name="connsiteY44" fmla="*/ 212306 h 373215"/>
              <a:gd name="connsiteX45" fmla="*/ 344776 w 365043"/>
              <a:gd name="connsiteY45" fmla="*/ 212505 h 373215"/>
              <a:gd name="connsiteX46" fmla="*/ 360299 w 365043"/>
              <a:gd name="connsiteY46" fmla="*/ 205094 h 373215"/>
              <a:gd name="connsiteX47" fmla="*/ 365198 w 365043"/>
              <a:gd name="connsiteY47" fmla="*/ 184987 h 373215"/>
              <a:gd name="connsiteX48" fmla="*/ 348775 w 365043"/>
              <a:gd name="connsiteY48" fmla="*/ 190011 h 373215"/>
              <a:gd name="connsiteX49" fmla="*/ 342494 w 365043"/>
              <a:gd name="connsiteY49" fmla="*/ 196134 h 373215"/>
              <a:gd name="connsiteX50" fmla="*/ 305660 w 365043"/>
              <a:gd name="connsiteY50" fmla="*/ 196029 h 373215"/>
              <a:gd name="connsiteX51" fmla="*/ 302237 w 365043"/>
              <a:gd name="connsiteY51" fmla="*/ 199588 h 373215"/>
              <a:gd name="connsiteX52" fmla="*/ 302028 w 365043"/>
              <a:gd name="connsiteY52" fmla="*/ 255180 h 373215"/>
              <a:gd name="connsiteX53" fmla="*/ 301693 w 365043"/>
              <a:gd name="connsiteY53" fmla="*/ 327508 h 373215"/>
              <a:gd name="connsiteX54" fmla="*/ 301882 w 365043"/>
              <a:gd name="connsiteY54" fmla="*/ 338687 h 373215"/>
              <a:gd name="connsiteX55" fmla="*/ 283428 w 365043"/>
              <a:gd name="connsiteY55" fmla="*/ 356878 h 373215"/>
              <a:gd name="connsiteX56" fmla="*/ 241643 w 365043"/>
              <a:gd name="connsiteY56" fmla="*/ 356753 h 373215"/>
              <a:gd name="connsiteX57" fmla="*/ 238314 w 365043"/>
              <a:gd name="connsiteY57" fmla="*/ 353330 h 373215"/>
              <a:gd name="connsiteX58" fmla="*/ 238513 w 365043"/>
              <a:gd name="connsiteY58" fmla="*/ 296117 h 373215"/>
              <a:gd name="connsiteX59" fmla="*/ 238398 w 365043"/>
              <a:gd name="connsiteY59" fmla="*/ 243184 h 373215"/>
              <a:gd name="connsiteX60" fmla="*/ 228433 w 365043"/>
              <a:gd name="connsiteY60" fmla="*/ 222459 h 373215"/>
              <a:gd name="connsiteX61" fmla="*/ 218877 w 365043"/>
              <a:gd name="connsiteY61" fmla="*/ 218984 h 373215"/>
              <a:gd name="connsiteX62" fmla="*/ 152316 w 365043"/>
              <a:gd name="connsiteY62" fmla="*/ 218984 h 373215"/>
              <a:gd name="connsiteX63" fmla="*/ 142959 w 365043"/>
              <a:gd name="connsiteY63" fmla="*/ 219727 h 373215"/>
              <a:gd name="connsiteX64" fmla="*/ 127541 w 365043"/>
              <a:gd name="connsiteY64" fmla="*/ 240138 h 373215"/>
              <a:gd name="connsiteX65" fmla="*/ 127258 w 365043"/>
              <a:gd name="connsiteY65" fmla="*/ 245759 h 373215"/>
              <a:gd name="connsiteX66" fmla="*/ 127321 w 365043"/>
              <a:gd name="connsiteY66" fmla="*/ 353100 h 373215"/>
              <a:gd name="connsiteX67" fmla="*/ 123667 w 365043"/>
              <a:gd name="connsiteY67" fmla="*/ 356763 h 373215"/>
              <a:gd name="connsiteX68" fmla="*/ 75519 w 365043"/>
              <a:gd name="connsiteY68" fmla="*/ 356523 h 373215"/>
              <a:gd name="connsiteX69" fmla="*/ 65738 w 365043"/>
              <a:gd name="connsiteY69" fmla="*/ 347477 h 373215"/>
              <a:gd name="connsiteX70" fmla="*/ 65732 w 365043"/>
              <a:gd name="connsiteY70" fmla="*/ 347249 h 373215"/>
              <a:gd name="connsiteX71" fmla="*/ 65439 w 365043"/>
              <a:gd name="connsiteY71" fmla="*/ 329224 h 373215"/>
              <a:gd name="connsiteX72" fmla="*/ 65439 w 365043"/>
              <a:gd name="connsiteY72" fmla="*/ 272544 h 373215"/>
              <a:gd name="connsiteX73" fmla="*/ 65501 w 365043"/>
              <a:gd name="connsiteY73" fmla="*/ 200635 h 373215"/>
              <a:gd name="connsiteX74" fmla="*/ 62068 w 365043"/>
              <a:gd name="connsiteY74" fmla="*/ 197128 h 373215"/>
              <a:gd name="connsiteX75" fmla="*/ 26292 w 365043"/>
              <a:gd name="connsiteY75" fmla="*/ 197202 h 373215"/>
              <a:gd name="connsiteX76" fmla="*/ 17405 w 365043"/>
              <a:gd name="connsiteY76" fmla="*/ 188765 h 373215"/>
              <a:gd name="connsiteX77" fmla="*/ 22345 w 365043"/>
              <a:gd name="connsiteY77" fmla="*/ 181669 h 373215"/>
              <a:gd name="connsiteX78" fmla="*/ 45174 w 365043"/>
              <a:gd name="connsiteY78" fmla="*/ 158274 h 373215"/>
              <a:gd name="connsiteX79" fmla="*/ 79486 w 365043"/>
              <a:gd name="connsiteY79" fmla="*/ 122979 h 373215"/>
              <a:gd name="connsiteX80" fmla="*/ 111117 w 365043"/>
              <a:gd name="connsiteY80" fmla="*/ 89631 h 373215"/>
              <a:gd name="connsiteX81" fmla="*/ 138918 w 365043"/>
              <a:gd name="connsiteY81" fmla="*/ 61055 h 373215"/>
              <a:gd name="connsiteX82" fmla="*/ 164678 w 365043"/>
              <a:gd name="connsiteY82" fmla="*/ 34207 h 373215"/>
              <a:gd name="connsiteX83" fmla="*/ 180190 w 365043"/>
              <a:gd name="connsiteY83" fmla="*/ 18506 h 373215"/>
              <a:gd name="connsiteX84" fmla="*/ 182284 w 365043"/>
              <a:gd name="connsiteY84" fmla="*/ 18600 h 373215"/>
              <a:gd name="connsiteX85" fmla="*/ 196624 w 365043"/>
              <a:gd name="connsiteY85" fmla="*/ 32804 h 373215"/>
              <a:gd name="connsiteX86" fmla="*/ 221745 w 365043"/>
              <a:gd name="connsiteY86" fmla="*/ 58826 h 373215"/>
              <a:gd name="connsiteX87" fmla="*/ 254895 w 365043"/>
              <a:gd name="connsiteY87" fmla="*/ 92499 h 373215"/>
              <a:gd name="connsiteX88" fmla="*/ 279147 w 365043"/>
              <a:gd name="connsiteY88" fmla="*/ 116814 h 373215"/>
              <a:gd name="connsiteX89" fmla="*/ 300353 w 365043"/>
              <a:gd name="connsiteY89" fmla="*/ 138617 h 373215"/>
              <a:gd name="connsiteX90" fmla="*/ 319268 w 365043"/>
              <a:gd name="connsiteY90" fmla="*/ 157594 h 373215"/>
              <a:gd name="connsiteX91" fmla="*/ 342484 w 365043"/>
              <a:gd name="connsiteY91" fmla="*/ 181825 h 373215"/>
              <a:gd name="connsiteX92" fmla="*/ 347288 w 365043"/>
              <a:gd name="connsiteY92" fmla="*/ 186389 h 373215"/>
              <a:gd name="connsiteX93" fmla="*/ 348848 w 365043"/>
              <a:gd name="connsiteY93" fmla="*/ 190032 h 373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365043" h="373215">
                <a:moveTo>
                  <a:pt x="365354" y="184987"/>
                </a:moveTo>
                <a:cubicBezTo>
                  <a:pt x="365354" y="183312"/>
                  <a:pt x="365585" y="181553"/>
                  <a:pt x="363962" y="180287"/>
                </a:cubicBezTo>
                <a:cubicBezTo>
                  <a:pt x="360362" y="177471"/>
                  <a:pt x="357682" y="173692"/>
                  <a:pt x="354542" y="170511"/>
                </a:cubicBezTo>
                <a:cubicBezTo>
                  <a:pt x="342679" y="158557"/>
                  <a:pt x="330816" y="146582"/>
                  <a:pt x="318954" y="134587"/>
                </a:cubicBezTo>
                <a:cubicBezTo>
                  <a:pt x="310297" y="125826"/>
                  <a:pt x="301599" y="117086"/>
                  <a:pt x="292974" y="108283"/>
                </a:cubicBezTo>
                <a:cubicBezTo>
                  <a:pt x="285396" y="100537"/>
                  <a:pt x="277891" y="92719"/>
                  <a:pt x="270334" y="84952"/>
                </a:cubicBezTo>
                <a:cubicBezTo>
                  <a:pt x="261269" y="75646"/>
                  <a:pt x="251807" y="66739"/>
                  <a:pt x="243119" y="57046"/>
                </a:cubicBezTo>
                <a:cubicBezTo>
                  <a:pt x="242229" y="56272"/>
                  <a:pt x="241266" y="55612"/>
                  <a:pt x="240398" y="54817"/>
                </a:cubicBezTo>
                <a:cubicBezTo>
                  <a:pt x="237174" y="51426"/>
                  <a:pt x="233981" y="48003"/>
                  <a:pt x="230726" y="44664"/>
                </a:cubicBezTo>
                <a:cubicBezTo>
                  <a:pt x="221654" y="35292"/>
                  <a:pt x="212544" y="25959"/>
                  <a:pt x="203396" y="16664"/>
                </a:cubicBezTo>
                <a:cubicBezTo>
                  <a:pt x="202531" y="15858"/>
                  <a:pt x="201611" y="15113"/>
                  <a:pt x="200643" y="14434"/>
                </a:cubicBezTo>
                <a:cubicBezTo>
                  <a:pt x="198037" y="10604"/>
                  <a:pt x="194196" y="7955"/>
                  <a:pt x="191296" y="4417"/>
                </a:cubicBezTo>
                <a:cubicBezTo>
                  <a:pt x="186732" y="-1193"/>
                  <a:pt x="175983" y="-1800"/>
                  <a:pt x="170906" y="4574"/>
                </a:cubicBezTo>
                <a:cubicBezTo>
                  <a:pt x="167222" y="9211"/>
                  <a:pt x="162784" y="13304"/>
                  <a:pt x="158555" y="17459"/>
                </a:cubicBezTo>
                <a:cubicBezTo>
                  <a:pt x="147826" y="28010"/>
                  <a:pt x="137694" y="39169"/>
                  <a:pt x="127153" y="49908"/>
                </a:cubicBezTo>
                <a:cubicBezTo>
                  <a:pt x="117178" y="60061"/>
                  <a:pt x="107077" y="70120"/>
                  <a:pt x="97594" y="80796"/>
                </a:cubicBezTo>
                <a:cubicBezTo>
                  <a:pt x="91136" y="88071"/>
                  <a:pt x="83704" y="94404"/>
                  <a:pt x="77256" y="101731"/>
                </a:cubicBezTo>
                <a:cubicBezTo>
                  <a:pt x="70808" y="109058"/>
                  <a:pt x="63921" y="115725"/>
                  <a:pt x="57033" y="122466"/>
                </a:cubicBezTo>
                <a:cubicBezTo>
                  <a:pt x="47613" y="131698"/>
                  <a:pt x="38967" y="141621"/>
                  <a:pt x="29452" y="150727"/>
                </a:cubicBezTo>
                <a:cubicBezTo>
                  <a:pt x="19938" y="159834"/>
                  <a:pt x="11334" y="169516"/>
                  <a:pt x="2175" y="178811"/>
                </a:cubicBezTo>
                <a:cubicBezTo>
                  <a:pt x="519" y="180317"/>
                  <a:pt x="-268" y="182555"/>
                  <a:pt x="82" y="184767"/>
                </a:cubicBezTo>
                <a:cubicBezTo>
                  <a:pt x="574" y="188859"/>
                  <a:pt x="1013" y="192963"/>
                  <a:pt x="2688" y="196804"/>
                </a:cubicBezTo>
                <a:cubicBezTo>
                  <a:pt x="6645" y="205795"/>
                  <a:pt x="13699" y="213928"/>
                  <a:pt x="25245" y="213551"/>
                </a:cubicBezTo>
                <a:cubicBezTo>
                  <a:pt x="32195" y="213332"/>
                  <a:pt x="39177" y="213551"/>
                  <a:pt x="46106" y="213468"/>
                </a:cubicBezTo>
                <a:cubicBezTo>
                  <a:pt x="48262" y="213468"/>
                  <a:pt x="48932" y="214064"/>
                  <a:pt x="48922" y="216262"/>
                </a:cubicBezTo>
                <a:cubicBezTo>
                  <a:pt x="48796" y="258829"/>
                  <a:pt x="48737" y="301444"/>
                  <a:pt x="48744" y="344108"/>
                </a:cubicBezTo>
                <a:cubicBezTo>
                  <a:pt x="48744" y="352388"/>
                  <a:pt x="51455" y="359914"/>
                  <a:pt x="57651" y="365734"/>
                </a:cubicBezTo>
                <a:cubicBezTo>
                  <a:pt x="64067" y="371763"/>
                  <a:pt x="72127" y="373385"/>
                  <a:pt x="80564" y="373427"/>
                </a:cubicBezTo>
                <a:cubicBezTo>
                  <a:pt x="100169" y="373532"/>
                  <a:pt x="119763" y="373427"/>
                  <a:pt x="139368" y="373532"/>
                </a:cubicBezTo>
                <a:cubicBezTo>
                  <a:pt x="142352" y="373532"/>
                  <a:pt x="143283" y="373019"/>
                  <a:pt x="143283" y="369774"/>
                </a:cubicBezTo>
                <a:cubicBezTo>
                  <a:pt x="143126" y="339660"/>
                  <a:pt x="143189" y="309546"/>
                  <a:pt x="143189" y="279432"/>
                </a:cubicBezTo>
                <a:cubicBezTo>
                  <a:pt x="143189" y="267918"/>
                  <a:pt x="142959" y="256279"/>
                  <a:pt x="143283" y="244723"/>
                </a:cubicBezTo>
                <a:cubicBezTo>
                  <a:pt x="143461" y="238516"/>
                  <a:pt x="145670" y="234486"/>
                  <a:pt x="153133" y="234622"/>
                </a:cubicBezTo>
                <a:cubicBezTo>
                  <a:pt x="173429" y="235020"/>
                  <a:pt x="193735" y="234758"/>
                  <a:pt x="214051" y="234758"/>
                </a:cubicBezTo>
                <a:cubicBezTo>
                  <a:pt x="219400" y="234758"/>
                  <a:pt x="221745" y="237218"/>
                  <a:pt x="221745" y="242734"/>
                </a:cubicBezTo>
                <a:cubicBezTo>
                  <a:pt x="221745" y="285126"/>
                  <a:pt x="221728" y="327511"/>
                  <a:pt x="221692" y="369889"/>
                </a:cubicBezTo>
                <a:cubicBezTo>
                  <a:pt x="221692" y="372443"/>
                  <a:pt x="222038" y="373553"/>
                  <a:pt x="225063" y="373542"/>
                </a:cubicBezTo>
                <a:cubicBezTo>
                  <a:pt x="244312" y="373375"/>
                  <a:pt x="263541" y="373542"/>
                  <a:pt x="282800" y="373385"/>
                </a:cubicBezTo>
                <a:cubicBezTo>
                  <a:pt x="288096" y="373385"/>
                  <a:pt x="293341" y="372789"/>
                  <a:pt x="298333" y="370245"/>
                </a:cubicBezTo>
                <a:cubicBezTo>
                  <a:pt x="302806" y="367973"/>
                  <a:pt x="306734" y="364759"/>
                  <a:pt x="309847" y="360825"/>
                </a:cubicBezTo>
                <a:cubicBezTo>
                  <a:pt x="314212" y="355392"/>
                  <a:pt x="317624" y="349091"/>
                  <a:pt x="318064" y="342182"/>
                </a:cubicBezTo>
                <a:cubicBezTo>
                  <a:pt x="318776" y="331035"/>
                  <a:pt x="318273" y="319814"/>
                  <a:pt x="318284" y="308614"/>
                </a:cubicBezTo>
                <a:cubicBezTo>
                  <a:pt x="318284" y="292404"/>
                  <a:pt x="318308" y="276191"/>
                  <a:pt x="318357" y="259973"/>
                </a:cubicBezTo>
                <a:lnTo>
                  <a:pt x="318357" y="213897"/>
                </a:lnTo>
                <a:cubicBezTo>
                  <a:pt x="318357" y="213164"/>
                  <a:pt x="317938" y="212264"/>
                  <a:pt x="319655" y="212306"/>
                </a:cubicBezTo>
                <a:cubicBezTo>
                  <a:pt x="328029" y="212505"/>
                  <a:pt x="336402" y="212306"/>
                  <a:pt x="344776" y="212505"/>
                </a:cubicBezTo>
                <a:cubicBezTo>
                  <a:pt x="350871" y="212820"/>
                  <a:pt x="356712" y="210032"/>
                  <a:pt x="360299" y="205094"/>
                </a:cubicBezTo>
                <a:cubicBezTo>
                  <a:pt x="364863" y="199170"/>
                  <a:pt x="365271" y="192104"/>
                  <a:pt x="365198" y="184987"/>
                </a:cubicBezTo>
                <a:close/>
                <a:moveTo>
                  <a:pt x="348775" y="190011"/>
                </a:moveTo>
                <a:cubicBezTo>
                  <a:pt x="348597" y="195433"/>
                  <a:pt x="347864" y="196134"/>
                  <a:pt x="342494" y="196134"/>
                </a:cubicBezTo>
                <a:cubicBezTo>
                  <a:pt x="330216" y="196134"/>
                  <a:pt x="317938" y="196249"/>
                  <a:pt x="305660" y="196029"/>
                </a:cubicBezTo>
                <a:cubicBezTo>
                  <a:pt x="302677" y="196029"/>
                  <a:pt x="302248" y="197537"/>
                  <a:pt x="302237" y="199588"/>
                </a:cubicBezTo>
                <a:cubicBezTo>
                  <a:pt x="302133" y="218115"/>
                  <a:pt x="302102" y="236653"/>
                  <a:pt x="302028" y="255180"/>
                </a:cubicBezTo>
                <a:cubicBezTo>
                  <a:pt x="301923" y="279296"/>
                  <a:pt x="301812" y="303405"/>
                  <a:pt x="301693" y="327508"/>
                </a:cubicBezTo>
                <a:cubicBezTo>
                  <a:pt x="301693" y="331234"/>
                  <a:pt x="301955" y="334971"/>
                  <a:pt x="301882" y="338687"/>
                </a:cubicBezTo>
                <a:cubicBezTo>
                  <a:pt x="301714" y="346798"/>
                  <a:pt x="294147" y="357528"/>
                  <a:pt x="283428" y="356878"/>
                </a:cubicBezTo>
                <a:cubicBezTo>
                  <a:pt x="269549" y="356020"/>
                  <a:pt x="255575" y="356585"/>
                  <a:pt x="241643" y="356753"/>
                </a:cubicBezTo>
                <a:cubicBezTo>
                  <a:pt x="238838" y="356753"/>
                  <a:pt x="238304" y="355769"/>
                  <a:pt x="238314" y="353330"/>
                </a:cubicBezTo>
                <a:cubicBezTo>
                  <a:pt x="238454" y="334245"/>
                  <a:pt x="238520" y="315174"/>
                  <a:pt x="238513" y="296117"/>
                </a:cubicBezTo>
                <a:cubicBezTo>
                  <a:pt x="238513" y="278469"/>
                  <a:pt x="238587" y="260821"/>
                  <a:pt x="238398" y="243184"/>
                </a:cubicBezTo>
                <a:cubicBezTo>
                  <a:pt x="238304" y="234810"/>
                  <a:pt x="235059" y="227609"/>
                  <a:pt x="228433" y="222459"/>
                </a:cubicBezTo>
                <a:cubicBezTo>
                  <a:pt x="225734" y="220251"/>
                  <a:pt x="222364" y="219026"/>
                  <a:pt x="218877" y="218984"/>
                </a:cubicBezTo>
                <a:cubicBezTo>
                  <a:pt x="196708" y="219047"/>
                  <a:pt x="174538" y="218984"/>
                  <a:pt x="152316" y="218984"/>
                </a:cubicBezTo>
                <a:cubicBezTo>
                  <a:pt x="149176" y="218984"/>
                  <a:pt x="146036" y="218492"/>
                  <a:pt x="142959" y="219727"/>
                </a:cubicBezTo>
                <a:cubicBezTo>
                  <a:pt x="133664" y="223411"/>
                  <a:pt x="128880" y="230508"/>
                  <a:pt x="127541" y="240138"/>
                </a:cubicBezTo>
                <a:cubicBezTo>
                  <a:pt x="127311" y="242002"/>
                  <a:pt x="127216" y="243881"/>
                  <a:pt x="127258" y="245759"/>
                </a:cubicBezTo>
                <a:cubicBezTo>
                  <a:pt x="127258" y="281536"/>
                  <a:pt x="127279" y="317316"/>
                  <a:pt x="127321" y="353100"/>
                </a:cubicBezTo>
                <a:cubicBezTo>
                  <a:pt x="127321" y="356031"/>
                  <a:pt x="126661" y="356805"/>
                  <a:pt x="123667" y="356763"/>
                </a:cubicBezTo>
                <a:cubicBezTo>
                  <a:pt x="107622" y="356564"/>
                  <a:pt x="91565" y="356763"/>
                  <a:pt x="75519" y="356523"/>
                </a:cubicBezTo>
                <a:cubicBezTo>
                  <a:pt x="70320" y="356725"/>
                  <a:pt x="65941" y="352675"/>
                  <a:pt x="65738" y="347477"/>
                </a:cubicBezTo>
                <a:cubicBezTo>
                  <a:pt x="65735" y="347401"/>
                  <a:pt x="65733" y="347325"/>
                  <a:pt x="65732" y="347249"/>
                </a:cubicBezTo>
                <a:cubicBezTo>
                  <a:pt x="65407" y="341251"/>
                  <a:pt x="65449" y="335232"/>
                  <a:pt x="65439" y="329224"/>
                </a:cubicBezTo>
                <a:lnTo>
                  <a:pt x="65439" y="272544"/>
                </a:lnTo>
                <a:cubicBezTo>
                  <a:pt x="65439" y="248575"/>
                  <a:pt x="65439" y="224605"/>
                  <a:pt x="65501" y="200635"/>
                </a:cubicBezTo>
                <a:cubicBezTo>
                  <a:pt x="65501" y="197924"/>
                  <a:pt x="64915" y="197097"/>
                  <a:pt x="62068" y="197128"/>
                </a:cubicBezTo>
                <a:cubicBezTo>
                  <a:pt x="50146" y="197306"/>
                  <a:pt x="38224" y="197212"/>
                  <a:pt x="26292" y="197202"/>
                </a:cubicBezTo>
                <a:cubicBezTo>
                  <a:pt x="21567" y="197176"/>
                  <a:pt x="17676" y="193482"/>
                  <a:pt x="17405" y="188765"/>
                </a:cubicBezTo>
                <a:cubicBezTo>
                  <a:pt x="17248" y="185269"/>
                  <a:pt x="20482" y="183710"/>
                  <a:pt x="22345" y="181669"/>
                </a:cubicBezTo>
                <a:cubicBezTo>
                  <a:pt x="29672" y="173651"/>
                  <a:pt x="37554" y="166072"/>
                  <a:pt x="45174" y="158274"/>
                </a:cubicBezTo>
                <a:cubicBezTo>
                  <a:pt x="56636" y="146541"/>
                  <a:pt x="68118" y="134797"/>
                  <a:pt x="79486" y="122979"/>
                </a:cubicBezTo>
                <a:cubicBezTo>
                  <a:pt x="90099" y="111926"/>
                  <a:pt x="100514" y="100684"/>
                  <a:pt x="111117" y="89631"/>
                </a:cubicBezTo>
                <a:cubicBezTo>
                  <a:pt x="120318" y="80043"/>
                  <a:pt x="129801" y="70716"/>
                  <a:pt x="138918" y="61055"/>
                </a:cubicBezTo>
                <a:cubicBezTo>
                  <a:pt x="147397" y="52033"/>
                  <a:pt x="156430" y="43502"/>
                  <a:pt x="164678" y="34207"/>
                </a:cubicBezTo>
                <a:cubicBezTo>
                  <a:pt x="169556" y="28712"/>
                  <a:pt x="175145" y="23824"/>
                  <a:pt x="180190" y="18506"/>
                </a:cubicBezTo>
                <a:cubicBezTo>
                  <a:pt x="181321" y="17323"/>
                  <a:pt x="181405" y="17763"/>
                  <a:pt x="182284" y="18600"/>
                </a:cubicBezTo>
                <a:cubicBezTo>
                  <a:pt x="187025" y="23384"/>
                  <a:pt x="191934" y="28021"/>
                  <a:pt x="196624" y="32804"/>
                </a:cubicBezTo>
                <a:cubicBezTo>
                  <a:pt x="205050" y="41440"/>
                  <a:pt x="213078" y="50462"/>
                  <a:pt x="221745" y="58826"/>
                </a:cubicBezTo>
                <a:cubicBezTo>
                  <a:pt x="233112" y="69764"/>
                  <a:pt x="243726" y="81414"/>
                  <a:pt x="254895" y="92499"/>
                </a:cubicBezTo>
                <a:cubicBezTo>
                  <a:pt x="263028" y="100548"/>
                  <a:pt x="271307" y="108493"/>
                  <a:pt x="279147" y="116814"/>
                </a:cubicBezTo>
                <a:cubicBezTo>
                  <a:pt x="286097" y="124204"/>
                  <a:pt x="293257" y="131374"/>
                  <a:pt x="300353" y="138617"/>
                </a:cubicBezTo>
                <a:cubicBezTo>
                  <a:pt x="306634" y="145002"/>
                  <a:pt x="313395" y="150916"/>
                  <a:pt x="319268" y="157594"/>
                </a:cubicBezTo>
                <a:cubicBezTo>
                  <a:pt x="326689" y="165968"/>
                  <a:pt x="334968" y="173546"/>
                  <a:pt x="342484" y="181825"/>
                </a:cubicBezTo>
                <a:cubicBezTo>
                  <a:pt x="343931" y="183501"/>
                  <a:pt x="345540" y="185030"/>
                  <a:pt x="347288" y="186389"/>
                </a:cubicBezTo>
                <a:cubicBezTo>
                  <a:pt x="348464" y="187203"/>
                  <a:pt x="349070" y="188619"/>
                  <a:pt x="348848" y="190032"/>
                </a:cubicBezTo>
                <a:close/>
              </a:path>
            </a:pathLst>
          </a:cu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zh-CN" altLang="en-US"/>
          </a:p>
        </p:txBody>
      </p:sp>
      <p:sp>
        <p:nvSpPr>
          <p:cNvPr id="10" name="图形 7">
            <a:extLst>
              <a:ext uri="{FF2B5EF4-FFF2-40B4-BE49-F238E27FC236}">
                <a16:creationId xmlns:a16="http://schemas.microsoft.com/office/drawing/2014/main" id="{1C9ADDE1-B117-4F4D-B754-87CA2DD600F8}"/>
              </a:ext>
            </a:extLst>
          </p:cNvPr>
          <p:cNvSpPr/>
          <p:nvPr/>
        </p:nvSpPr>
        <p:spPr>
          <a:xfrm>
            <a:off x="5597909" y="3250597"/>
            <a:ext cx="365822" cy="365692"/>
          </a:xfrm>
          <a:custGeom>
            <a:avLst/>
            <a:gdLst>
              <a:gd name="connsiteX0" fmla="*/ 298885 w 365822"/>
              <a:gd name="connsiteY0" fmla="*/ 239202 h 365691"/>
              <a:gd name="connsiteX1" fmla="*/ 346208 w 365822"/>
              <a:gd name="connsiteY1" fmla="*/ 257963 h 365691"/>
              <a:gd name="connsiteX2" fmla="*/ 366134 w 365822"/>
              <a:gd name="connsiteY2" fmla="*/ 302520 h 365691"/>
              <a:gd name="connsiteX3" fmla="*/ 298885 w 365822"/>
              <a:gd name="connsiteY3" fmla="*/ 365839 h 365691"/>
              <a:gd name="connsiteX4" fmla="*/ 231636 w 365822"/>
              <a:gd name="connsiteY4" fmla="*/ 302520 h 365691"/>
              <a:gd name="connsiteX5" fmla="*/ 234126 w 365822"/>
              <a:gd name="connsiteY5" fmla="*/ 281414 h 365691"/>
              <a:gd name="connsiteX6" fmla="*/ 161896 w 365822"/>
              <a:gd name="connsiteY6" fmla="*/ 241547 h 365691"/>
              <a:gd name="connsiteX7" fmla="*/ 159405 w 365822"/>
              <a:gd name="connsiteY7" fmla="*/ 243892 h 365691"/>
              <a:gd name="connsiteX8" fmla="*/ 92156 w 365822"/>
              <a:gd name="connsiteY8" fmla="*/ 269689 h 365691"/>
              <a:gd name="connsiteX9" fmla="*/ 0 w 365822"/>
              <a:gd name="connsiteY9" fmla="*/ 182919 h 365691"/>
              <a:gd name="connsiteX10" fmla="*/ 92156 w 365822"/>
              <a:gd name="connsiteY10" fmla="*/ 96150 h 365691"/>
              <a:gd name="connsiteX11" fmla="*/ 156914 w 365822"/>
              <a:gd name="connsiteY11" fmla="*/ 121946 h 365691"/>
              <a:gd name="connsiteX12" fmla="*/ 159405 w 365822"/>
              <a:gd name="connsiteY12" fmla="*/ 124291 h 365691"/>
              <a:gd name="connsiteX13" fmla="*/ 231636 w 365822"/>
              <a:gd name="connsiteY13" fmla="*/ 84424 h 365691"/>
              <a:gd name="connsiteX14" fmla="*/ 229145 w 365822"/>
              <a:gd name="connsiteY14" fmla="*/ 63318 h 365691"/>
              <a:gd name="connsiteX15" fmla="*/ 296394 w 365822"/>
              <a:gd name="connsiteY15" fmla="*/ 0 h 365691"/>
              <a:gd name="connsiteX16" fmla="*/ 363643 w 365822"/>
              <a:gd name="connsiteY16" fmla="*/ 63318 h 365691"/>
              <a:gd name="connsiteX17" fmla="*/ 296394 w 365822"/>
              <a:gd name="connsiteY17" fmla="*/ 126636 h 365691"/>
              <a:gd name="connsiteX18" fmla="*/ 249071 w 365822"/>
              <a:gd name="connsiteY18" fmla="*/ 107875 h 365691"/>
              <a:gd name="connsiteX19" fmla="*/ 176840 w 365822"/>
              <a:gd name="connsiteY19" fmla="*/ 147742 h 365691"/>
              <a:gd name="connsiteX20" fmla="*/ 184312 w 365822"/>
              <a:gd name="connsiteY20" fmla="*/ 182919 h 365691"/>
              <a:gd name="connsiteX21" fmla="*/ 176840 w 365822"/>
              <a:gd name="connsiteY21" fmla="*/ 218096 h 365691"/>
              <a:gd name="connsiteX22" fmla="*/ 249071 w 365822"/>
              <a:gd name="connsiteY22" fmla="*/ 257963 h 365691"/>
              <a:gd name="connsiteX23" fmla="*/ 298885 w 365822"/>
              <a:gd name="connsiteY23" fmla="*/ 239202 h 365691"/>
              <a:gd name="connsiteX24" fmla="*/ 323792 w 365822"/>
              <a:gd name="connsiteY24" fmla="*/ 276724 h 365691"/>
              <a:gd name="connsiteX25" fmla="*/ 296394 w 365822"/>
              <a:gd name="connsiteY25" fmla="*/ 267344 h 365691"/>
              <a:gd name="connsiteX26" fmla="*/ 268996 w 365822"/>
              <a:gd name="connsiteY26" fmla="*/ 276724 h 365691"/>
              <a:gd name="connsiteX27" fmla="*/ 259033 w 365822"/>
              <a:gd name="connsiteY27" fmla="*/ 302520 h 365691"/>
              <a:gd name="connsiteX28" fmla="*/ 296394 w 365822"/>
              <a:gd name="connsiteY28" fmla="*/ 337697 h 365691"/>
              <a:gd name="connsiteX29" fmla="*/ 333755 w 365822"/>
              <a:gd name="connsiteY29" fmla="*/ 302520 h 365691"/>
              <a:gd name="connsiteX30" fmla="*/ 323792 w 365822"/>
              <a:gd name="connsiteY30" fmla="*/ 276724 h 365691"/>
              <a:gd name="connsiteX31" fmla="*/ 136989 w 365822"/>
              <a:gd name="connsiteY31" fmla="*/ 140707 h 365691"/>
              <a:gd name="connsiteX32" fmla="*/ 92156 w 365822"/>
              <a:gd name="connsiteY32" fmla="*/ 124291 h 365691"/>
              <a:gd name="connsiteX33" fmla="*/ 29888 w 365822"/>
              <a:gd name="connsiteY33" fmla="*/ 182919 h 365691"/>
              <a:gd name="connsiteX34" fmla="*/ 92156 w 365822"/>
              <a:gd name="connsiteY34" fmla="*/ 241547 h 365691"/>
              <a:gd name="connsiteX35" fmla="*/ 134498 w 365822"/>
              <a:gd name="connsiteY35" fmla="*/ 225131 h 365691"/>
              <a:gd name="connsiteX36" fmla="*/ 154424 w 365822"/>
              <a:gd name="connsiteY36" fmla="*/ 182919 h 365691"/>
              <a:gd name="connsiteX37" fmla="*/ 136989 w 365822"/>
              <a:gd name="connsiteY37" fmla="*/ 140707 h 365691"/>
              <a:gd name="connsiteX38" fmla="*/ 298885 w 365822"/>
              <a:gd name="connsiteY38" fmla="*/ 28141 h 365691"/>
              <a:gd name="connsiteX39" fmla="*/ 261524 w 365822"/>
              <a:gd name="connsiteY39" fmla="*/ 63318 h 365691"/>
              <a:gd name="connsiteX40" fmla="*/ 266506 w 365822"/>
              <a:gd name="connsiteY40" fmla="*/ 82079 h 365691"/>
              <a:gd name="connsiteX41" fmla="*/ 271487 w 365822"/>
              <a:gd name="connsiteY41" fmla="*/ 86769 h 365691"/>
              <a:gd name="connsiteX42" fmla="*/ 298885 w 365822"/>
              <a:gd name="connsiteY42" fmla="*/ 96150 h 365691"/>
              <a:gd name="connsiteX43" fmla="*/ 336245 w 365822"/>
              <a:gd name="connsiteY43" fmla="*/ 60973 h 365691"/>
              <a:gd name="connsiteX44" fmla="*/ 298885 w 365822"/>
              <a:gd name="connsiteY44" fmla="*/ 28141 h 365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365822" h="365691">
                <a:moveTo>
                  <a:pt x="298885" y="239202"/>
                </a:moveTo>
                <a:cubicBezTo>
                  <a:pt x="318810" y="239202"/>
                  <a:pt x="333755" y="246237"/>
                  <a:pt x="346208" y="257963"/>
                </a:cubicBezTo>
                <a:cubicBezTo>
                  <a:pt x="358662" y="269689"/>
                  <a:pt x="366134" y="286104"/>
                  <a:pt x="366134" y="302520"/>
                </a:cubicBezTo>
                <a:cubicBezTo>
                  <a:pt x="366134" y="337697"/>
                  <a:pt x="336245" y="365839"/>
                  <a:pt x="298885" y="365839"/>
                </a:cubicBezTo>
                <a:cubicBezTo>
                  <a:pt x="261524" y="365839"/>
                  <a:pt x="231636" y="337697"/>
                  <a:pt x="231636" y="302520"/>
                </a:cubicBezTo>
                <a:cubicBezTo>
                  <a:pt x="231636" y="295485"/>
                  <a:pt x="234126" y="288450"/>
                  <a:pt x="234126" y="281414"/>
                </a:cubicBezTo>
                <a:lnTo>
                  <a:pt x="161896" y="241547"/>
                </a:lnTo>
                <a:lnTo>
                  <a:pt x="159405" y="243892"/>
                </a:lnTo>
                <a:cubicBezTo>
                  <a:pt x="139480" y="260308"/>
                  <a:pt x="117063" y="269689"/>
                  <a:pt x="92156" y="269689"/>
                </a:cubicBezTo>
                <a:cubicBezTo>
                  <a:pt x="42342" y="269689"/>
                  <a:pt x="0" y="229822"/>
                  <a:pt x="0" y="182919"/>
                </a:cubicBezTo>
                <a:cubicBezTo>
                  <a:pt x="0" y="136017"/>
                  <a:pt x="42342" y="96150"/>
                  <a:pt x="92156" y="96150"/>
                </a:cubicBezTo>
                <a:cubicBezTo>
                  <a:pt x="117063" y="96150"/>
                  <a:pt x="141970" y="105530"/>
                  <a:pt x="156914" y="121946"/>
                </a:cubicBezTo>
                <a:lnTo>
                  <a:pt x="159405" y="124291"/>
                </a:lnTo>
                <a:lnTo>
                  <a:pt x="231636" y="84424"/>
                </a:lnTo>
                <a:cubicBezTo>
                  <a:pt x="231636" y="77389"/>
                  <a:pt x="229145" y="70354"/>
                  <a:pt x="229145" y="63318"/>
                </a:cubicBezTo>
                <a:cubicBezTo>
                  <a:pt x="229145" y="28141"/>
                  <a:pt x="259033" y="0"/>
                  <a:pt x="296394" y="0"/>
                </a:cubicBezTo>
                <a:cubicBezTo>
                  <a:pt x="333755" y="0"/>
                  <a:pt x="363643" y="28141"/>
                  <a:pt x="363643" y="63318"/>
                </a:cubicBezTo>
                <a:cubicBezTo>
                  <a:pt x="363643" y="98495"/>
                  <a:pt x="333755" y="126636"/>
                  <a:pt x="296394" y="126636"/>
                </a:cubicBezTo>
                <a:cubicBezTo>
                  <a:pt x="276468" y="126636"/>
                  <a:pt x="261524" y="119601"/>
                  <a:pt x="249071" y="107875"/>
                </a:cubicBezTo>
                <a:lnTo>
                  <a:pt x="176840" y="147742"/>
                </a:lnTo>
                <a:cubicBezTo>
                  <a:pt x="181822" y="159468"/>
                  <a:pt x="184312" y="171194"/>
                  <a:pt x="184312" y="182919"/>
                </a:cubicBezTo>
                <a:cubicBezTo>
                  <a:pt x="184312" y="194645"/>
                  <a:pt x="181822" y="206370"/>
                  <a:pt x="176840" y="218096"/>
                </a:cubicBezTo>
                <a:lnTo>
                  <a:pt x="249071" y="257963"/>
                </a:lnTo>
                <a:cubicBezTo>
                  <a:pt x="261524" y="246237"/>
                  <a:pt x="278959" y="239202"/>
                  <a:pt x="298885" y="239202"/>
                </a:cubicBezTo>
                <a:close/>
                <a:moveTo>
                  <a:pt x="323792" y="276724"/>
                </a:moveTo>
                <a:cubicBezTo>
                  <a:pt x="316320" y="269689"/>
                  <a:pt x="306357" y="267344"/>
                  <a:pt x="296394" y="267344"/>
                </a:cubicBezTo>
                <a:cubicBezTo>
                  <a:pt x="286431" y="267344"/>
                  <a:pt x="276468" y="272034"/>
                  <a:pt x="268996" y="276724"/>
                </a:cubicBezTo>
                <a:cubicBezTo>
                  <a:pt x="261524" y="283759"/>
                  <a:pt x="259033" y="293140"/>
                  <a:pt x="259033" y="302520"/>
                </a:cubicBezTo>
                <a:cubicBezTo>
                  <a:pt x="259033" y="321281"/>
                  <a:pt x="276468" y="337697"/>
                  <a:pt x="296394" y="337697"/>
                </a:cubicBezTo>
                <a:cubicBezTo>
                  <a:pt x="316320" y="337697"/>
                  <a:pt x="333755" y="321281"/>
                  <a:pt x="333755" y="302520"/>
                </a:cubicBezTo>
                <a:cubicBezTo>
                  <a:pt x="336245" y="293140"/>
                  <a:pt x="331264" y="283759"/>
                  <a:pt x="323792" y="276724"/>
                </a:cubicBezTo>
                <a:close/>
                <a:moveTo>
                  <a:pt x="136989" y="140707"/>
                </a:moveTo>
                <a:cubicBezTo>
                  <a:pt x="124535" y="131327"/>
                  <a:pt x="109591" y="124291"/>
                  <a:pt x="92156" y="124291"/>
                </a:cubicBezTo>
                <a:cubicBezTo>
                  <a:pt x="57286" y="124291"/>
                  <a:pt x="29888" y="150088"/>
                  <a:pt x="29888" y="182919"/>
                </a:cubicBezTo>
                <a:cubicBezTo>
                  <a:pt x="29888" y="215751"/>
                  <a:pt x="57286" y="241547"/>
                  <a:pt x="92156" y="241547"/>
                </a:cubicBezTo>
                <a:cubicBezTo>
                  <a:pt x="109591" y="241547"/>
                  <a:pt x="124535" y="234512"/>
                  <a:pt x="134498" y="225131"/>
                </a:cubicBezTo>
                <a:cubicBezTo>
                  <a:pt x="149442" y="213406"/>
                  <a:pt x="154424" y="199335"/>
                  <a:pt x="154424" y="182919"/>
                </a:cubicBezTo>
                <a:cubicBezTo>
                  <a:pt x="154424" y="166503"/>
                  <a:pt x="149442" y="152433"/>
                  <a:pt x="136989" y="140707"/>
                </a:cubicBezTo>
                <a:close/>
                <a:moveTo>
                  <a:pt x="298885" y="28141"/>
                </a:moveTo>
                <a:cubicBezTo>
                  <a:pt x="278959" y="28141"/>
                  <a:pt x="261524" y="44557"/>
                  <a:pt x="261524" y="63318"/>
                </a:cubicBezTo>
                <a:cubicBezTo>
                  <a:pt x="261524" y="70354"/>
                  <a:pt x="264015" y="77389"/>
                  <a:pt x="266506" y="82079"/>
                </a:cubicBezTo>
                <a:cubicBezTo>
                  <a:pt x="268996" y="84424"/>
                  <a:pt x="268996" y="86769"/>
                  <a:pt x="271487" y="86769"/>
                </a:cubicBezTo>
                <a:cubicBezTo>
                  <a:pt x="278959" y="93805"/>
                  <a:pt x="288922" y="96150"/>
                  <a:pt x="298885" y="96150"/>
                </a:cubicBezTo>
                <a:cubicBezTo>
                  <a:pt x="318810" y="96150"/>
                  <a:pt x="336245" y="79734"/>
                  <a:pt x="336245" y="60973"/>
                </a:cubicBezTo>
                <a:cubicBezTo>
                  <a:pt x="336245" y="44557"/>
                  <a:pt x="318810" y="28141"/>
                  <a:pt x="298885" y="28141"/>
                </a:cubicBezTo>
                <a:close/>
              </a:path>
            </a:pathLst>
          </a:cu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图形 11">
            <a:extLst>
              <a:ext uri="{FF2B5EF4-FFF2-40B4-BE49-F238E27FC236}">
                <a16:creationId xmlns:a16="http://schemas.microsoft.com/office/drawing/2014/main" id="{440DDDB9-F78C-4DEC-8949-2C93213F81C0}"/>
              </a:ext>
            </a:extLst>
          </p:cNvPr>
          <p:cNvSpPr/>
          <p:nvPr/>
        </p:nvSpPr>
        <p:spPr>
          <a:xfrm>
            <a:off x="6594180" y="4270740"/>
            <a:ext cx="371741" cy="337509"/>
          </a:xfrm>
          <a:custGeom>
            <a:avLst/>
            <a:gdLst>
              <a:gd name="connsiteX0" fmla="*/ 167070 w 371740"/>
              <a:gd name="connsiteY0" fmla="*/ 133241 h 337508"/>
              <a:gd name="connsiteX1" fmla="*/ 72165 w 371740"/>
              <a:gd name="connsiteY1" fmla="*/ 133241 h 337508"/>
              <a:gd name="connsiteX2" fmla="*/ 35683 w 371740"/>
              <a:gd name="connsiteY2" fmla="*/ 165021 h 337508"/>
              <a:gd name="connsiteX3" fmla="*/ 35683 w 371740"/>
              <a:gd name="connsiteY3" fmla="*/ 242892 h 337508"/>
              <a:gd name="connsiteX4" fmla="*/ 35843 w 371740"/>
              <a:gd name="connsiteY4" fmla="*/ 245225 h 337508"/>
              <a:gd name="connsiteX5" fmla="*/ 0 w 371740"/>
              <a:gd name="connsiteY5" fmla="*/ 290589 h 337508"/>
              <a:gd name="connsiteX6" fmla="*/ 48198 w 371740"/>
              <a:gd name="connsiteY6" fmla="*/ 337509 h 337508"/>
              <a:gd name="connsiteX7" fmla="*/ 96397 w 371740"/>
              <a:gd name="connsiteY7" fmla="*/ 290589 h 337508"/>
              <a:gd name="connsiteX8" fmla="*/ 60501 w 371740"/>
              <a:gd name="connsiteY8" fmla="*/ 245225 h 337508"/>
              <a:gd name="connsiteX9" fmla="*/ 60714 w 371740"/>
              <a:gd name="connsiteY9" fmla="*/ 242892 h 337508"/>
              <a:gd name="connsiteX10" fmla="*/ 60714 w 371740"/>
              <a:gd name="connsiteY10" fmla="*/ 165021 h 337508"/>
              <a:gd name="connsiteX11" fmla="*/ 72165 w 371740"/>
              <a:gd name="connsiteY11" fmla="*/ 157608 h 337508"/>
              <a:gd name="connsiteX12" fmla="*/ 299576 w 371740"/>
              <a:gd name="connsiteY12" fmla="*/ 157608 h 337508"/>
              <a:gd name="connsiteX13" fmla="*/ 311027 w 371740"/>
              <a:gd name="connsiteY13" fmla="*/ 165021 h 337508"/>
              <a:gd name="connsiteX14" fmla="*/ 311027 w 371740"/>
              <a:gd name="connsiteY14" fmla="*/ 242892 h 337508"/>
              <a:gd name="connsiteX15" fmla="*/ 311240 w 371740"/>
              <a:gd name="connsiteY15" fmla="*/ 245225 h 337508"/>
              <a:gd name="connsiteX16" fmla="*/ 275397 w 371740"/>
              <a:gd name="connsiteY16" fmla="*/ 290589 h 337508"/>
              <a:gd name="connsiteX17" fmla="*/ 323542 w 371740"/>
              <a:gd name="connsiteY17" fmla="*/ 337509 h 337508"/>
              <a:gd name="connsiteX18" fmla="*/ 371794 w 371740"/>
              <a:gd name="connsiteY18" fmla="*/ 290589 h 337508"/>
              <a:gd name="connsiteX19" fmla="*/ 335898 w 371740"/>
              <a:gd name="connsiteY19" fmla="*/ 245225 h 337508"/>
              <a:gd name="connsiteX20" fmla="*/ 336111 w 371740"/>
              <a:gd name="connsiteY20" fmla="*/ 242892 h 337508"/>
              <a:gd name="connsiteX21" fmla="*/ 336111 w 371740"/>
              <a:gd name="connsiteY21" fmla="*/ 165021 h 337508"/>
              <a:gd name="connsiteX22" fmla="*/ 299630 w 371740"/>
              <a:gd name="connsiteY22" fmla="*/ 133241 h 337508"/>
              <a:gd name="connsiteX23" fmla="*/ 192102 w 371740"/>
              <a:gd name="connsiteY23" fmla="*/ 133241 h 337508"/>
              <a:gd name="connsiteX24" fmla="*/ 192102 w 371740"/>
              <a:gd name="connsiteY24" fmla="*/ 92232 h 337508"/>
              <a:gd name="connsiteX25" fmla="*/ 227784 w 371740"/>
              <a:gd name="connsiteY25" fmla="*/ 46919 h 337508"/>
              <a:gd name="connsiteX26" fmla="*/ 179586 w 371740"/>
              <a:gd name="connsiteY26" fmla="*/ 0 h 337508"/>
              <a:gd name="connsiteX27" fmla="*/ 131388 w 371740"/>
              <a:gd name="connsiteY27" fmla="*/ 46919 h 337508"/>
              <a:gd name="connsiteX28" fmla="*/ 167070 w 371740"/>
              <a:gd name="connsiteY28" fmla="*/ 92232 h 337508"/>
              <a:gd name="connsiteX29" fmla="*/ 167070 w 371740"/>
              <a:gd name="connsiteY29" fmla="*/ 133241 h 337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71740" h="337508">
                <a:moveTo>
                  <a:pt x="167070" y="133241"/>
                </a:moveTo>
                <a:lnTo>
                  <a:pt x="72165" y="133241"/>
                </a:lnTo>
                <a:cubicBezTo>
                  <a:pt x="52512" y="133241"/>
                  <a:pt x="35683" y="146928"/>
                  <a:pt x="35683" y="165021"/>
                </a:cubicBezTo>
                <a:lnTo>
                  <a:pt x="35683" y="242892"/>
                </a:lnTo>
                <a:cubicBezTo>
                  <a:pt x="35683" y="243670"/>
                  <a:pt x="35736" y="244447"/>
                  <a:pt x="35843" y="245225"/>
                </a:cubicBezTo>
                <a:cubicBezTo>
                  <a:pt x="15232" y="250513"/>
                  <a:pt x="0" y="268814"/>
                  <a:pt x="0" y="290589"/>
                </a:cubicBezTo>
                <a:cubicBezTo>
                  <a:pt x="0" y="316511"/>
                  <a:pt x="21569" y="337509"/>
                  <a:pt x="48198" y="337509"/>
                </a:cubicBezTo>
                <a:cubicBezTo>
                  <a:pt x="74828" y="337509"/>
                  <a:pt x="96397" y="316511"/>
                  <a:pt x="96397" y="290589"/>
                </a:cubicBezTo>
                <a:cubicBezTo>
                  <a:pt x="96397" y="268814"/>
                  <a:pt x="81165" y="250513"/>
                  <a:pt x="60501" y="245225"/>
                </a:cubicBezTo>
                <a:cubicBezTo>
                  <a:pt x="60661" y="244499"/>
                  <a:pt x="60714" y="243722"/>
                  <a:pt x="60714" y="242892"/>
                </a:cubicBezTo>
                <a:lnTo>
                  <a:pt x="60714" y="165021"/>
                </a:lnTo>
                <a:cubicBezTo>
                  <a:pt x="60714" y="161496"/>
                  <a:pt x="65454" y="157608"/>
                  <a:pt x="72165" y="157608"/>
                </a:cubicBezTo>
                <a:lnTo>
                  <a:pt x="299576" y="157608"/>
                </a:lnTo>
                <a:cubicBezTo>
                  <a:pt x="306340" y="157608"/>
                  <a:pt x="311027" y="161444"/>
                  <a:pt x="311027" y="165021"/>
                </a:cubicBezTo>
                <a:lnTo>
                  <a:pt x="311027" y="242892"/>
                </a:lnTo>
                <a:cubicBezTo>
                  <a:pt x="311027" y="243670"/>
                  <a:pt x="311133" y="244447"/>
                  <a:pt x="311240" y="245225"/>
                </a:cubicBezTo>
                <a:cubicBezTo>
                  <a:pt x="290576" y="250513"/>
                  <a:pt x="275397" y="268814"/>
                  <a:pt x="275397" y="290589"/>
                </a:cubicBezTo>
                <a:cubicBezTo>
                  <a:pt x="275397" y="316511"/>
                  <a:pt x="296967" y="337509"/>
                  <a:pt x="323542" y="337509"/>
                </a:cubicBezTo>
                <a:cubicBezTo>
                  <a:pt x="350118" y="337509"/>
                  <a:pt x="371794" y="316511"/>
                  <a:pt x="371794" y="290589"/>
                </a:cubicBezTo>
                <a:cubicBezTo>
                  <a:pt x="371794" y="268814"/>
                  <a:pt x="356562" y="250513"/>
                  <a:pt x="335898" y="245225"/>
                </a:cubicBezTo>
                <a:cubicBezTo>
                  <a:pt x="336005" y="244499"/>
                  <a:pt x="336111" y="243722"/>
                  <a:pt x="336111" y="242892"/>
                </a:cubicBezTo>
                <a:lnTo>
                  <a:pt x="336111" y="165021"/>
                </a:lnTo>
                <a:cubicBezTo>
                  <a:pt x="336111" y="146980"/>
                  <a:pt x="319282" y="133241"/>
                  <a:pt x="299630" y="133241"/>
                </a:cubicBezTo>
                <a:lnTo>
                  <a:pt x="192102" y="133241"/>
                </a:lnTo>
                <a:lnTo>
                  <a:pt x="192102" y="92232"/>
                </a:lnTo>
                <a:cubicBezTo>
                  <a:pt x="212606" y="86840"/>
                  <a:pt x="227784" y="68642"/>
                  <a:pt x="227784" y="46919"/>
                </a:cubicBezTo>
                <a:cubicBezTo>
                  <a:pt x="227784" y="20997"/>
                  <a:pt x="206215" y="0"/>
                  <a:pt x="179586" y="0"/>
                </a:cubicBezTo>
                <a:cubicBezTo>
                  <a:pt x="152957" y="0"/>
                  <a:pt x="131388" y="20997"/>
                  <a:pt x="131388" y="46919"/>
                </a:cubicBezTo>
                <a:cubicBezTo>
                  <a:pt x="131388" y="68590"/>
                  <a:pt x="146513" y="86840"/>
                  <a:pt x="167070" y="92232"/>
                </a:cubicBezTo>
                <a:lnTo>
                  <a:pt x="167070" y="133241"/>
                </a:lnTo>
                <a:close/>
              </a:path>
            </a:pathLst>
          </a:cu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5285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xit" presetSubtype="0" fill="hold" grpId="0" nodeType="clickEffect">
                                  <p:stCondLst>
                                    <p:cond delay="32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42" presetClass="exit" presetSubtype="0" fill="hold" grpId="0" nodeType="withEffect">
                                  <p:stCondLst>
                                    <p:cond delay="103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42" presetClass="exit" presetSubtype="0" fill="hold" grpId="0" nodeType="withEffect">
                                  <p:stCondLst>
                                    <p:cond delay="123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500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42" presetClass="exit" presetSubtype="0" fill="hold" nodeType="withEffect">
                                  <p:stCondLst>
                                    <p:cond delay="46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500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42" presetClass="exit" presetSubtype="0" fill="hold" nodeType="withEffect">
                                  <p:stCondLst>
                                    <p:cond delay="202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5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42" presetClass="exit" presetSubtype="0" fill="hold" nodeType="withEffect">
                                  <p:stCondLst>
                                    <p:cond delay="47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42" presetClass="exit" presetSubtype="0" fill="hold" grpId="0" nodeType="withEffect">
                                  <p:stCondLst>
                                    <p:cond delay="171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42" presetClass="exit" presetSubtype="0" fill="hold" grpId="0" nodeType="withEffect">
                                  <p:stCondLst>
                                    <p:cond delay="274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42" presetClass="exit" presetSubtype="0" fill="hold" grpId="0" nodeType="withEffect">
                                  <p:stCondLst>
                                    <p:cond delay="227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  <p:bldP spid="35" grpId="0" animBg="1"/>
      <p:bldP spid="9" grpId="0" animBg="1"/>
      <p:bldP spid="10" grpId="0" animBg="1"/>
      <p:bldP spid="13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000" dirty="0"/>
              <a:t>Hadoop</a:t>
            </a:r>
            <a:r>
              <a:rPr lang="zh-CN" altLang="en-US" sz="2000" dirty="0"/>
              <a:t>的部署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2</a:t>
            </a:fld>
            <a:endParaRPr lang="zh-CN" altLang="en-US"/>
          </a:p>
        </p:txBody>
      </p:sp>
      <p:sp>
        <p:nvSpPr>
          <p:cNvPr id="195" name="iṧḻîďè">
            <a:extLst>
              <a:ext uri="{FF2B5EF4-FFF2-40B4-BE49-F238E27FC236}">
                <a16:creationId xmlns:a16="http://schemas.microsoft.com/office/drawing/2014/main" id="{6FC8272D-4563-47EB-B741-E738A21C2623}"/>
              </a:ext>
            </a:extLst>
          </p:cNvPr>
          <p:cNvSpPr/>
          <p:nvPr/>
        </p:nvSpPr>
        <p:spPr bwMode="auto">
          <a:xfrm>
            <a:off x="4127680" y="4366718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搞定！</a:t>
            </a:r>
            <a:endParaRPr lang="en-US" altLang="zh-CN" b="1" dirty="0"/>
          </a:p>
        </p:txBody>
      </p:sp>
      <p:sp>
        <p:nvSpPr>
          <p:cNvPr id="196" name="îŝḻiḋé">
            <a:extLst>
              <a:ext uri="{FF2B5EF4-FFF2-40B4-BE49-F238E27FC236}">
                <a16:creationId xmlns:a16="http://schemas.microsoft.com/office/drawing/2014/main" id="{C05C75D7-4258-49B9-958F-F2EEF0B840E0}"/>
              </a:ext>
            </a:extLst>
          </p:cNvPr>
          <p:cNvSpPr/>
          <p:nvPr/>
        </p:nvSpPr>
        <p:spPr bwMode="auto">
          <a:xfrm>
            <a:off x="4532019" y="3878936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>
                <a:solidFill>
                  <a:schemeClr val="bg1"/>
                </a:solidFill>
              </a:rPr>
              <a:t>测试</a:t>
            </a:r>
            <a:endParaRPr lang="en-US" altLang="zh-CN" sz="1750" b="1" dirty="0">
              <a:solidFill>
                <a:schemeClr val="bg1"/>
              </a:solidFill>
            </a:endParaRPr>
          </a:p>
        </p:txBody>
      </p:sp>
      <p:sp>
        <p:nvSpPr>
          <p:cNvPr id="197" name="íṥḷíďê">
            <a:extLst>
              <a:ext uri="{FF2B5EF4-FFF2-40B4-BE49-F238E27FC236}">
                <a16:creationId xmlns:a16="http://schemas.microsoft.com/office/drawing/2014/main" id="{D4FCC7AE-5767-4EC4-BB68-B94457D3AE6D}"/>
              </a:ext>
            </a:extLst>
          </p:cNvPr>
          <p:cNvSpPr/>
          <p:nvPr/>
        </p:nvSpPr>
        <p:spPr bwMode="auto">
          <a:xfrm>
            <a:off x="4927756" y="3391154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/>
              <a:t>配置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8" name="ïś1ïḓè">
            <a:extLst>
              <a:ext uri="{FF2B5EF4-FFF2-40B4-BE49-F238E27FC236}">
                <a16:creationId xmlns:a16="http://schemas.microsoft.com/office/drawing/2014/main" id="{F32E844B-E27C-4A92-9B60-95E4AD88D81F}"/>
              </a:ext>
            </a:extLst>
          </p:cNvPr>
          <p:cNvSpPr/>
          <p:nvPr/>
        </p:nvSpPr>
        <p:spPr bwMode="auto">
          <a:xfrm>
            <a:off x="5331236" y="2903372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 dirty="0"/>
              <a:t>安装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9" name="îśļïḍè">
            <a:extLst>
              <a:ext uri="{FF2B5EF4-FFF2-40B4-BE49-F238E27FC236}">
                <a16:creationId xmlns:a16="http://schemas.microsoft.com/office/drawing/2014/main" id="{F812BB55-77DE-4E23-95E6-156A22FAD363}"/>
              </a:ext>
            </a:extLst>
          </p:cNvPr>
          <p:cNvSpPr/>
          <p:nvPr/>
        </p:nvSpPr>
        <p:spPr bwMode="auto">
          <a:xfrm>
            <a:off x="5707535" y="2415589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配置</a:t>
            </a:r>
            <a:r>
              <a:rPr lang="en-US" altLang="zh-CN" b="1" dirty="0"/>
              <a:t>JAVA</a:t>
            </a:r>
          </a:p>
        </p:txBody>
      </p:sp>
      <p:sp>
        <p:nvSpPr>
          <p:cNvPr id="200" name="ï$1íḍé">
            <a:extLst>
              <a:ext uri="{FF2B5EF4-FFF2-40B4-BE49-F238E27FC236}">
                <a16:creationId xmlns:a16="http://schemas.microsoft.com/office/drawing/2014/main" id="{48245F16-84E7-4201-9485-85B5E5B15ECD}"/>
              </a:ext>
            </a:extLst>
          </p:cNvPr>
          <p:cNvSpPr/>
          <p:nvPr/>
        </p:nvSpPr>
        <p:spPr bwMode="auto">
          <a:xfrm>
            <a:off x="6097761" y="1927807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安装</a:t>
            </a:r>
            <a:r>
              <a:rPr lang="en-US" altLang="zh-CN" b="1" dirty="0"/>
              <a:t>JAVA</a:t>
            </a:r>
          </a:p>
        </p:txBody>
      </p:sp>
      <p:sp>
        <p:nvSpPr>
          <p:cNvPr id="201" name="îṥľïďê">
            <a:extLst>
              <a:ext uri="{FF2B5EF4-FFF2-40B4-BE49-F238E27FC236}">
                <a16:creationId xmlns:a16="http://schemas.microsoft.com/office/drawing/2014/main" id="{920DFBAA-02E5-4206-86B0-FE10F93A7509}"/>
              </a:ext>
            </a:extLst>
          </p:cNvPr>
          <p:cNvSpPr/>
          <p:nvPr/>
        </p:nvSpPr>
        <p:spPr bwMode="auto">
          <a:xfrm>
            <a:off x="3815241" y="3025429"/>
            <a:ext cx="2806439" cy="929672"/>
          </a:xfrm>
          <a:custGeom>
            <a:avLst/>
            <a:gdLst>
              <a:gd name="T0" fmla="*/ 179 w 203"/>
              <a:gd name="T1" fmla="*/ 82 h 82"/>
              <a:gd name="T2" fmla="*/ 203 w 203"/>
              <a:gd name="T3" fmla="*/ 29 h 82"/>
              <a:gd name="T4" fmla="*/ 65 w 203"/>
              <a:gd name="T5" fmla="*/ 27 h 82"/>
              <a:gd name="T6" fmla="*/ 59 w 203"/>
              <a:gd name="T7" fmla="*/ 0 h 82"/>
              <a:gd name="T8" fmla="*/ 59 w 203"/>
              <a:gd name="T9" fmla="*/ 0 h 82"/>
              <a:gd name="T10" fmla="*/ 0 w 203"/>
              <a:gd name="T11" fmla="*/ 80 h 82"/>
              <a:gd name="T12" fmla="*/ 61 w 203"/>
              <a:gd name="T13" fmla="*/ 82 h 82"/>
              <a:gd name="T14" fmla="*/ 179 w 203"/>
              <a:gd name="T15" fmla="*/ 8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3" h="82">
                <a:moveTo>
                  <a:pt x="179" y="82"/>
                </a:moveTo>
                <a:lnTo>
                  <a:pt x="203" y="29"/>
                </a:lnTo>
                <a:lnTo>
                  <a:pt x="65" y="27"/>
                </a:lnTo>
                <a:lnTo>
                  <a:pt x="59" y="0"/>
                </a:lnTo>
                <a:lnTo>
                  <a:pt x="59" y="0"/>
                </a:lnTo>
                <a:lnTo>
                  <a:pt x="0" y="80"/>
                </a:lnTo>
                <a:lnTo>
                  <a:pt x="61" y="82"/>
                </a:lnTo>
                <a:lnTo>
                  <a:pt x="179" y="8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2" name="i$ḻíḋè">
            <a:extLst>
              <a:ext uri="{FF2B5EF4-FFF2-40B4-BE49-F238E27FC236}">
                <a16:creationId xmlns:a16="http://schemas.microsoft.com/office/drawing/2014/main" id="{430BE7EB-B6F0-4F05-80EA-1F517165029F}"/>
              </a:ext>
            </a:extLst>
          </p:cNvPr>
          <p:cNvSpPr/>
          <p:nvPr/>
        </p:nvSpPr>
        <p:spPr bwMode="auto">
          <a:xfrm>
            <a:off x="5924572" y="1927807"/>
            <a:ext cx="1048730" cy="185748"/>
          </a:xfrm>
          <a:prstGeom prst="triangle">
            <a:avLst>
              <a:gd name="adj" fmla="val 14726"/>
            </a:avLst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3" name="işľiḋe">
            <a:extLst>
              <a:ext uri="{FF2B5EF4-FFF2-40B4-BE49-F238E27FC236}">
                <a16:creationId xmlns:a16="http://schemas.microsoft.com/office/drawing/2014/main" id="{E4DECB97-43D1-4D26-8C48-41447675AE79}"/>
              </a:ext>
            </a:extLst>
          </p:cNvPr>
          <p:cNvSpPr/>
          <p:nvPr/>
        </p:nvSpPr>
        <p:spPr bwMode="auto">
          <a:xfrm>
            <a:off x="2656434" y="1800983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4" name="iś1íďé">
            <a:extLst>
              <a:ext uri="{FF2B5EF4-FFF2-40B4-BE49-F238E27FC236}">
                <a16:creationId xmlns:a16="http://schemas.microsoft.com/office/drawing/2014/main" id="{6E7EA96A-F20A-4912-AC31-63A0F19E66DE}"/>
              </a:ext>
            </a:extLst>
          </p:cNvPr>
          <p:cNvSpPr/>
          <p:nvPr/>
        </p:nvSpPr>
        <p:spPr bwMode="auto">
          <a:xfrm>
            <a:off x="2246957" y="2288765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5" name="ïŝlíḋe">
            <a:extLst>
              <a:ext uri="{FF2B5EF4-FFF2-40B4-BE49-F238E27FC236}">
                <a16:creationId xmlns:a16="http://schemas.microsoft.com/office/drawing/2014/main" id="{66D30D6F-26C9-4C2C-BC01-900AC07DC57E}"/>
              </a:ext>
            </a:extLst>
          </p:cNvPr>
          <p:cNvSpPr/>
          <p:nvPr/>
        </p:nvSpPr>
        <p:spPr bwMode="auto">
          <a:xfrm>
            <a:off x="1832342" y="2776548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6" name="îSliďè">
            <a:extLst>
              <a:ext uri="{FF2B5EF4-FFF2-40B4-BE49-F238E27FC236}">
                <a16:creationId xmlns:a16="http://schemas.microsoft.com/office/drawing/2014/main" id="{2F6D5554-EACD-4DDD-892F-2E5F97A9C421}"/>
              </a:ext>
            </a:extLst>
          </p:cNvPr>
          <p:cNvSpPr/>
          <p:nvPr/>
        </p:nvSpPr>
        <p:spPr bwMode="auto">
          <a:xfrm>
            <a:off x="1422890" y="3264330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7" name="îSliďé">
            <a:extLst>
              <a:ext uri="{FF2B5EF4-FFF2-40B4-BE49-F238E27FC236}">
                <a16:creationId xmlns:a16="http://schemas.microsoft.com/office/drawing/2014/main" id="{2E278F3F-C8D8-4E2A-A3EA-29ADCF1A02AA}"/>
              </a:ext>
            </a:extLst>
          </p:cNvPr>
          <p:cNvSpPr/>
          <p:nvPr/>
        </p:nvSpPr>
        <p:spPr bwMode="auto">
          <a:xfrm>
            <a:off x="1013267" y="3752112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8" name="îs1iďé">
            <a:extLst>
              <a:ext uri="{FF2B5EF4-FFF2-40B4-BE49-F238E27FC236}">
                <a16:creationId xmlns:a16="http://schemas.microsoft.com/office/drawing/2014/main" id="{EB74D0C2-5677-4F3F-A043-44D01A3F3D48}"/>
              </a:ext>
            </a:extLst>
          </p:cNvPr>
          <p:cNvSpPr/>
          <p:nvPr/>
        </p:nvSpPr>
        <p:spPr bwMode="auto">
          <a:xfrm>
            <a:off x="603765" y="4239894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9" name="ïṣḻïḋe">
            <a:extLst>
              <a:ext uri="{FF2B5EF4-FFF2-40B4-BE49-F238E27FC236}">
                <a16:creationId xmlns:a16="http://schemas.microsoft.com/office/drawing/2014/main" id="{7709F84E-C33F-462F-B538-51CB71C9284E}"/>
              </a:ext>
            </a:extLst>
          </p:cNvPr>
          <p:cNvSpPr/>
          <p:nvPr/>
        </p:nvSpPr>
        <p:spPr bwMode="auto">
          <a:xfrm>
            <a:off x="3339328" y="2225720"/>
            <a:ext cx="283355" cy="282961"/>
          </a:xfrm>
          <a:custGeom>
            <a:avLst/>
            <a:gdLst>
              <a:gd name="T0" fmla="*/ 400 w 11264"/>
              <a:gd name="T1" fmla="*/ 7099 h 11264"/>
              <a:gd name="T2" fmla="*/ 4165 w 11264"/>
              <a:gd name="T3" fmla="*/ 7099 h 11264"/>
              <a:gd name="T4" fmla="*/ 4165 w 11264"/>
              <a:gd name="T5" fmla="*/ 10864 h 11264"/>
              <a:gd name="T6" fmla="*/ 4565 w 11264"/>
              <a:gd name="T7" fmla="*/ 11264 h 11264"/>
              <a:gd name="T8" fmla="*/ 6699 w 11264"/>
              <a:gd name="T9" fmla="*/ 11264 h 11264"/>
              <a:gd name="T10" fmla="*/ 7099 w 11264"/>
              <a:gd name="T11" fmla="*/ 10864 h 11264"/>
              <a:gd name="T12" fmla="*/ 7099 w 11264"/>
              <a:gd name="T13" fmla="*/ 7099 h 11264"/>
              <a:gd name="T14" fmla="*/ 10864 w 11264"/>
              <a:gd name="T15" fmla="*/ 7099 h 11264"/>
              <a:gd name="T16" fmla="*/ 11264 w 11264"/>
              <a:gd name="T17" fmla="*/ 6699 h 11264"/>
              <a:gd name="T18" fmla="*/ 11264 w 11264"/>
              <a:gd name="T19" fmla="*/ 4565 h 11264"/>
              <a:gd name="T20" fmla="*/ 10864 w 11264"/>
              <a:gd name="T21" fmla="*/ 4165 h 11264"/>
              <a:gd name="T22" fmla="*/ 7099 w 11264"/>
              <a:gd name="T23" fmla="*/ 4165 h 11264"/>
              <a:gd name="T24" fmla="*/ 7099 w 11264"/>
              <a:gd name="T25" fmla="*/ 400 h 11264"/>
              <a:gd name="T26" fmla="*/ 6699 w 11264"/>
              <a:gd name="T27" fmla="*/ 0 h 11264"/>
              <a:gd name="T28" fmla="*/ 4565 w 11264"/>
              <a:gd name="T29" fmla="*/ 0 h 11264"/>
              <a:gd name="T30" fmla="*/ 4165 w 11264"/>
              <a:gd name="T31" fmla="*/ 400 h 11264"/>
              <a:gd name="T32" fmla="*/ 4165 w 11264"/>
              <a:gd name="T33" fmla="*/ 4165 h 11264"/>
              <a:gd name="T34" fmla="*/ 400 w 11264"/>
              <a:gd name="T35" fmla="*/ 4165 h 11264"/>
              <a:gd name="T36" fmla="*/ 0 w 11264"/>
              <a:gd name="T37" fmla="*/ 4565 h 11264"/>
              <a:gd name="T38" fmla="*/ 0 w 11264"/>
              <a:gd name="T39" fmla="*/ 6699 h 11264"/>
              <a:gd name="T40" fmla="*/ 400 w 11264"/>
              <a:gd name="T41" fmla="*/ 7099 h 11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264" h="11264">
                <a:moveTo>
                  <a:pt x="400" y="7099"/>
                </a:moveTo>
                <a:lnTo>
                  <a:pt x="4165" y="7099"/>
                </a:lnTo>
                <a:lnTo>
                  <a:pt x="4165" y="10864"/>
                </a:lnTo>
                <a:cubicBezTo>
                  <a:pt x="4165" y="11085"/>
                  <a:pt x="4344" y="11264"/>
                  <a:pt x="4565" y="11264"/>
                </a:cubicBezTo>
                <a:lnTo>
                  <a:pt x="6699" y="11264"/>
                </a:lnTo>
                <a:cubicBezTo>
                  <a:pt x="6920" y="11264"/>
                  <a:pt x="7099" y="11085"/>
                  <a:pt x="7099" y="10864"/>
                </a:cubicBezTo>
                <a:lnTo>
                  <a:pt x="7099" y="7099"/>
                </a:lnTo>
                <a:lnTo>
                  <a:pt x="10864" y="7099"/>
                </a:lnTo>
                <a:cubicBezTo>
                  <a:pt x="11085" y="7099"/>
                  <a:pt x="11264" y="6920"/>
                  <a:pt x="11264" y="6699"/>
                </a:cubicBezTo>
                <a:lnTo>
                  <a:pt x="11264" y="4565"/>
                </a:lnTo>
                <a:cubicBezTo>
                  <a:pt x="11264" y="4344"/>
                  <a:pt x="11085" y="4165"/>
                  <a:pt x="10864" y="4165"/>
                </a:cubicBezTo>
                <a:lnTo>
                  <a:pt x="7099" y="4165"/>
                </a:lnTo>
                <a:lnTo>
                  <a:pt x="7099" y="400"/>
                </a:lnTo>
                <a:cubicBezTo>
                  <a:pt x="7099" y="179"/>
                  <a:pt x="6920" y="0"/>
                  <a:pt x="6699" y="0"/>
                </a:cubicBezTo>
                <a:lnTo>
                  <a:pt x="4565" y="0"/>
                </a:lnTo>
                <a:cubicBezTo>
                  <a:pt x="4344" y="0"/>
                  <a:pt x="4165" y="179"/>
                  <a:pt x="4165" y="400"/>
                </a:cubicBezTo>
                <a:lnTo>
                  <a:pt x="4165" y="4165"/>
                </a:lnTo>
                <a:lnTo>
                  <a:pt x="400" y="4165"/>
                </a:lnTo>
                <a:cubicBezTo>
                  <a:pt x="179" y="4165"/>
                  <a:pt x="0" y="4344"/>
                  <a:pt x="0" y="4565"/>
                </a:cubicBezTo>
                <a:lnTo>
                  <a:pt x="0" y="6699"/>
                </a:lnTo>
                <a:cubicBezTo>
                  <a:pt x="0" y="6920"/>
                  <a:pt x="179" y="7099"/>
                  <a:pt x="400" y="7099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0" name="îsḷïde">
            <a:extLst>
              <a:ext uri="{FF2B5EF4-FFF2-40B4-BE49-F238E27FC236}">
                <a16:creationId xmlns:a16="http://schemas.microsoft.com/office/drawing/2014/main" id="{F7027C89-1BCC-4A00-9535-016DE4C49FD7}"/>
              </a:ext>
            </a:extLst>
          </p:cNvPr>
          <p:cNvSpPr/>
          <p:nvPr/>
        </p:nvSpPr>
        <p:spPr bwMode="auto">
          <a:xfrm>
            <a:off x="2952042" y="2707851"/>
            <a:ext cx="277477" cy="283355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  <a:gd name="connsiteX107" fmla="*/ 373273 h 605239"/>
              <a:gd name="connsiteY107" fmla="*/ 373273 h 605239"/>
              <a:gd name="connsiteX108" fmla="*/ 373273 h 605239"/>
              <a:gd name="connsiteY108" fmla="*/ 373273 h 605239"/>
              <a:gd name="connsiteX109" fmla="*/ 373273 h 605239"/>
              <a:gd name="connsiteY109" fmla="*/ 373273 h 605239"/>
              <a:gd name="connsiteX110" fmla="*/ 373273 h 605239"/>
              <a:gd name="connsiteY110" fmla="*/ 373273 h 605239"/>
              <a:gd name="connsiteX111" fmla="*/ 373273 h 605239"/>
              <a:gd name="connsiteY111" fmla="*/ 373273 h 605239"/>
              <a:gd name="connsiteX112" fmla="*/ 373273 h 605239"/>
              <a:gd name="connsiteY112" fmla="*/ 373273 h 605239"/>
              <a:gd name="connsiteX113" fmla="*/ 373273 h 605239"/>
              <a:gd name="connsiteY113" fmla="*/ 373273 h 605239"/>
              <a:gd name="connsiteX114" fmla="*/ 373273 h 605239"/>
              <a:gd name="connsiteY114" fmla="*/ 373273 h 605239"/>
              <a:gd name="connsiteX115" fmla="*/ 373273 h 605239"/>
              <a:gd name="connsiteY115" fmla="*/ 373273 h 605239"/>
              <a:gd name="connsiteX116" fmla="*/ 373273 h 605239"/>
              <a:gd name="connsiteY116" fmla="*/ 373273 h 605239"/>
              <a:gd name="connsiteX117" fmla="*/ 373273 h 605239"/>
              <a:gd name="connsiteY117" fmla="*/ 373273 h 605239"/>
              <a:gd name="connsiteX118" fmla="*/ 373273 h 605239"/>
              <a:gd name="connsiteY118" fmla="*/ 373273 h 605239"/>
              <a:gd name="connsiteX119" fmla="*/ 373273 h 605239"/>
              <a:gd name="connsiteY119" fmla="*/ 373273 h 605239"/>
              <a:gd name="connsiteX120" fmla="*/ 373273 h 605239"/>
              <a:gd name="connsiteY120" fmla="*/ 373273 h 605239"/>
              <a:gd name="connsiteX121" fmla="*/ 373273 h 605239"/>
              <a:gd name="connsiteY121" fmla="*/ 373273 h 605239"/>
              <a:gd name="connsiteX122" fmla="*/ 373273 h 605239"/>
              <a:gd name="connsiteY122" fmla="*/ 373273 h 605239"/>
              <a:gd name="connsiteX123" fmla="*/ 373273 h 605239"/>
              <a:gd name="connsiteY123" fmla="*/ 373273 h 605239"/>
              <a:gd name="connsiteX124" fmla="*/ 373273 h 605239"/>
              <a:gd name="connsiteY124" fmla="*/ 373273 h 605239"/>
              <a:gd name="connsiteX125" fmla="*/ 373273 h 605239"/>
              <a:gd name="connsiteY125" fmla="*/ 373273 h 605239"/>
              <a:gd name="connsiteX126" fmla="*/ 373273 h 605239"/>
              <a:gd name="connsiteY126" fmla="*/ 373273 h 605239"/>
              <a:gd name="connsiteX127" fmla="*/ 373273 h 605239"/>
              <a:gd name="connsiteY127" fmla="*/ 373273 h 605239"/>
              <a:gd name="connsiteX128" fmla="*/ 373273 h 605239"/>
              <a:gd name="connsiteY128" fmla="*/ 373273 h 605239"/>
              <a:gd name="connsiteX129" fmla="*/ 373273 h 605239"/>
              <a:gd name="connsiteY12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593733" h="606309">
                <a:moveTo>
                  <a:pt x="353250" y="302855"/>
                </a:moveTo>
                <a:cubicBezTo>
                  <a:pt x="318468" y="302855"/>
                  <a:pt x="290232" y="331146"/>
                  <a:pt x="290232" y="365879"/>
                </a:cubicBezTo>
                <a:cubicBezTo>
                  <a:pt x="290232" y="374189"/>
                  <a:pt x="296964" y="380912"/>
                  <a:pt x="305285" y="380912"/>
                </a:cubicBezTo>
                <a:cubicBezTo>
                  <a:pt x="313607" y="380912"/>
                  <a:pt x="320338" y="374189"/>
                  <a:pt x="320338" y="365879"/>
                </a:cubicBezTo>
                <a:cubicBezTo>
                  <a:pt x="320338" y="347672"/>
                  <a:pt x="335111" y="333014"/>
                  <a:pt x="353250" y="333014"/>
                </a:cubicBezTo>
                <a:cubicBezTo>
                  <a:pt x="361665" y="333014"/>
                  <a:pt x="368397" y="326291"/>
                  <a:pt x="368397" y="317888"/>
                </a:cubicBezTo>
                <a:cubicBezTo>
                  <a:pt x="368397" y="309578"/>
                  <a:pt x="361665" y="302855"/>
                  <a:pt x="353250" y="302855"/>
                </a:cubicBezTo>
                <a:close/>
                <a:moveTo>
                  <a:pt x="353250" y="265041"/>
                </a:moveTo>
                <a:cubicBezTo>
                  <a:pt x="409163" y="265041"/>
                  <a:pt x="454229" y="310232"/>
                  <a:pt x="454229" y="365879"/>
                </a:cubicBezTo>
                <a:cubicBezTo>
                  <a:pt x="454229" y="421527"/>
                  <a:pt x="408976" y="466717"/>
                  <a:pt x="353250" y="466717"/>
                </a:cubicBezTo>
                <a:cubicBezTo>
                  <a:pt x="297525" y="466717"/>
                  <a:pt x="252271" y="421527"/>
                  <a:pt x="252271" y="365879"/>
                </a:cubicBezTo>
                <a:cubicBezTo>
                  <a:pt x="252271" y="310232"/>
                  <a:pt x="297431" y="265041"/>
                  <a:pt x="353250" y="265041"/>
                </a:cubicBezTo>
                <a:close/>
                <a:moveTo>
                  <a:pt x="427779" y="133781"/>
                </a:moveTo>
                <a:cubicBezTo>
                  <a:pt x="432818" y="131960"/>
                  <a:pt x="438547" y="132054"/>
                  <a:pt x="443784" y="134482"/>
                </a:cubicBezTo>
                <a:lnTo>
                  <a:pt x="473245" y="148209"/>
                </a:lnTo>
                <a:cubicBezTo>
                  <a:pt x="483720" y="153158"/>
                  <a:pt x="488209" y="165671"/>
                  <a:pt x="483346" y="176130"/>
                </a:cubicBezTo>
                <a:lnTo>
                  <a:pt x="470252" y="203957"/>
                </a:lnTo>
                <a:cubicBezTo>
                  <a:pt x="492231" y="219646"/>
                  <a:pt x="511123" y="240003"/>
                  <a:pt x="525526" y="264095"/>
                </a:cubicBezTo>
                <a:lnTo>
                  <a:pt x="554426" y="253636"/>
                </a:lnTo>
                <a:cubicBezTo>
                  <a:pt x="565368" y="249714"/>
                  <a:pt x="577340" y="255411"/>
                  <a:pt x="581361" y="266243"/>
                </a:cubicBezTo>
                <a:lnTo>
                  <a:pt x="592491" y="296592"/>
                </a:lnTo>
                <a:cubicBezTo>
                  <a:pt x="596419" y="307612"/>
                  <a:pt x="590714" y="319564"/>
                  <a:pt x="579865" y="323486"/>
                </a:cubicBezTo>
                <a:lnTo>
                  <a:pt x="550965" y="333945"/>
                </a:lnTo>
                <a:cubicBezTo>
                  <a:pt x="555455" y="361586"/>
                  <a:pt x="553958" y="389414"/>
                  <a:pt x="547224" y="415561"/>
                </a:cubicBezTo>
                <a:lnTo>
                  <a:pt x="575095" y="428634"/>
                </a:lnTo>
                <a:cubicBezTo>
                  <a:pt x="585570" y="433490"/>
                  <a:pt x="590059" y="445910"/>
                  <a:pt x="585102" y="456649"/>
                </a:cubicBezTo>
                <a:lnTo>
                  <a:pt x="571354" y="485970"/>
                </a:lnTo>
                <a:cubicBezTo>
                  <a:pt x="566397" y="496429"/>
                  <a:pt x="553958" y="500911"/>
                  <a:pt x="543483" y="496056"/>
                </a:cubicBezTo>
                <a:lnTo>
                  <a:pt x="515238" y="482982"/>
                </a:lnTo>
                <a:cubicBezTo>
                  <a:pt x="499526" y="504833"/>
                  <a:pt x="479137" y="523510"/>
                  <a:pt x="455007" y="537704"/>
                </a:cubicBezTo>
                <a:lnTo>
                  <a:pt x="465763" y="567026"/>
                </a:lnTo>
                <a:cubicBezTo>
                  <a:pt x="469784" y="578045"/>
                  <a:pt x="463986" y="589997"/>
                  <a:pt x="453137" y="593919"/>
                </a:cubicBezTo>
                <a:lnTo>
                  <a:pt x="422741" y="605032"/>
                </a:lnTo>
                <a:cubicBezTo>
                  <a:pt x="411798" y="609047"/>
                  <a:pt x="399827" y="603258"/>
                  <a:pt x="395805" y="592425"/>
                </a:cubicBezTo>
                <a:lnTo>
                  <a:pt x="385050" y="562823"/>
                </a:lnTo>
                <a:cubicBezTo>
                  <a:pt x="357646" y="567212"/>
                  <a:pt x="330056" y="565718"/>
                  <a:pt x="304149" y="558995"/>
                </a:cubicBezTo>
                <a:lnTo>
                  <a:pt x="290682" y="587756"/>
                </a:lnTo>
                <a:cubicBezTo>
                  <a:pt x="285725" y="598215"/>
                  <a:pt x="273192" y="602697"/>
                  <a:pt x="262717" y="597841"/>
                </a:cubicBezTo>
                <a:lnTo>
                  <a:pt x="233350" y="584114"/>
                </a:lnTo>
                <a:cubicBezTo>
                  <a:pt x="222875" y="579165"/>
                  <a:pt x="218385" y="566652"/>
                  <a:pt x="223249" y="556193"/>
                </a:cubicBezTo>
                <a:lnTo>
                  <a:pt x="236810" y="527338"/>
                </a:lnTo>
                <a:cubicBezTo>
                  <a:pt x="215112" y="511650"/>
                  <a:pt x="196407" y="491480"/>
                  <a:pt x="182284" y="467668"/>
                </a:cubicBezTo>
                <a:lnTo>
                  <a:pt x="152169" y="478687"/>
                </a:lnTo>
                <a:cubicBezTo>
                  <a:pt x="141133" y="482609"/>
                  <a:pt x="129161" y="476912"/>
                  <a:pt x="125233" y="466080"/>
                </a:cubicBezTo>
                <a:lnTo>
                  <a:pt x="114104" y="435731"/>
                </a:lnTo>
                <a:cubicBezTo>
                  <a:pt x="110082" y="424712"/>
                  <a:pt x="115881" y="412759"/>
                  <a:pt x="126730" y="408837"/>
                </a:cubicBezTo>
                <a:lnTo>
                  <a:pt x="156845" y="397818"/>
                </a:lnTo>
                <a:cubicBezTo>
                  <a:pt x="153852" y="379422"/>
                  <a:pt x="153478" y="361026"/>
                  <a:pt x="155629" y="342910"/>
                </a:cubicBezTo>
                <a:lnTo>
                  <a:pt x="158622" y="343097"/>
                </a:lnTo>
                <a:cubicBezTo>
                  <a:pt x="181162" y="344030"/>
                  <a:pt x="200522" y="327408"/>
                  <a:pt x="203141" y="305370"/>
                </a:cubicBezTo>
                <a:cubicBezTo>
                  <a:pt x="207723" y="303876"/>
                  <a:pt x="212119" y="302195"/>
                  <a:pt x="216515" y="300515"/>
                </a:cubicBezTo>
                <a:cubicBezTo>
                  <a:pt x="220349" y="304063"/>
                  <a:pt x="224745" y="306958"/>
                  <a:pt x="229609" y="308919"/>
                </a:cubicBezTo>
                <a:cubicBezTo>
                  <a:pt x="219227" y="330957"/>
                  <a:pt x="214831" y="355983"/>
                  <a:pt x="217824" y="381943"/>
                </a:cubicBezTo>
                <a:cubicBezTo>
                  <a:pt x="226709" y="456462"/>
                  <a:pt x="294329" y="509876"/>
                  <a:pt x="368963" y="501192"/>
                </a:cubicBezTo>
                <a:cubicBezTo>
                  <a:pt x="443691" y="492320"/>
                  <a:pt x="497188" y="424899"/>
                  <a:pt x="488490" y="350287"/>
                </a:cubicBezTo>
                <a:cubicBezTo>
                  <a:pt x="479605" y="275675"/>
                  <a:pt x="411985" y="222260"/>
                  <a:pt x="337351" y="231038"/>
                </a:cubicBezTo>
                <a:cubicBezTo>
                  <a:pt x="324632" y="232532"/>
                  <a:pt x="312473" y="235707"/>
                  <a:pt x="301156" y="240376"/>
                </a:cubicBezTo>
                <a:cubicBezTo>
                  <a:pt x="299660" y="236268"/>
                  <a:pt x="297509" y="232345"/>
                  <a:pt x="294797" y="228890"/>
                </a:cubicBezTo>
                <a:cubicBezTo>
                  <a:pt x="297041" y="224688"/>
                  <a:pt x="299005" y="220393"/>
                  <a:pt x="300782" y="216097"/>
                </a:cubicBezTo>
                <a:cubicBezTo>
                  <a:pt x="311164" y="215817"/>
                  <a:pt x="320891" y="211802"/>
                  <a:pt x="328466" y="204891"/>
                </a:cubicBezTo>
                <a:cubicBezTo>
                  <a:pt x="336977" y="197141"/>
                  <a:pt x="341934" y="186589"/>
                  <a:pt x="342402" y="175103"/>
                </a:cubicBezTo>
                <a:lnTo>
                  <a:pt x="342776" y="166978"/>
                </a:lnTo>
                <a:cubicBezTo>
                  <a:pt x="363164" y="165764"/>
                  <a:pt x="383460" y="167912"/>
                  <a:pt x="402820" y="172768"/>
                </a:cubicBezTo>
                <a:lnTo>
                  <a:pt x="415913" y="144567"/>
                </a:lnTo>
                <a:cubicBezTo>
                  <a:pt x="418392" y="139338"/>
                  <a:pt x="422741" y="135602"/>
                  <a:pt x="427779" y="133781"/>
                </a:cubicBezTo>
                <a:close/>
                <a:moveTo>
                  <a:pt x="159906" y="88589"/>
                </a:moveTo>
                <a:cubicBezTo>
                  <a:pt x="142487" y="87818"/>
                  <a:pt x="124764" y="93678"/>
                  <a:pt x="110828" y="106378"/>
                </a:cubicBezTo>
                <a:cubicBezTo>
                  <a:pt x="96145" y="119731"/>
                  <a:pt x="88663" y="138127"/>
                  <a:pt x="88663" y="156523"/>
                </a:cubicBezTo>
                <a:cubicBezTo>
                  <a:pt x="88663" y="172958"/>
                  <a:pt x="94555" y="189393"/>
                  <a:pt x="106526" y="202467"/>
                </a:cubicBezTo>
                <a:cubicBezTo>
                  <a:pt x="131965" y="230294"/>
                  <a:pt x="175081" y="232162"/>
                  <a:pt x="202764" y="206762"/>
                </a:cubicBezTo>
                <a:cubicBezTo>
                  <a:pt x="217448" y="193409"/>
                  <a:pt x="224930" y="175013"/>
                  <a:pt x="224930" y="156523"/>
                </a:cubicBezTo>
                <a:cubicBezTo>
                  <a:pt x="224930" y="140088"/>
                  <a:pt x="219132" y="123653"/>
                  <a:pt x="207160" y="110580"/>
                </a:cubicBezTo>
                <a:cubicBezTo>
                  <a:pt x="194441" y="96760"/>
                  <a:pt x="177325" y="89359"/>
                  <a:pt x="159906" y="88589"/>
                </a:cubicBezTo>
                <a:close/>
                <a:moveTo>
                  <a:pt x="153289" y="17"/>
                </a:moveTo>
                <a:lnTo>
                  <a:pt x="173678" y="951"/>
                </a:lnTo>
                <a:cubicBezTo>
                  <a:pt x="180786" y="1325"/>
                  <a:pt x="186304" y="7114"/>
                  <a:pt x="186304" y="14118"/>
                </a:cubicBezTo>
                <a:lnTo>
                  <a:pt x="186304" y="14771"/>
                </a:lnTo>
                <a:lnTo>
                  <a:pt x="185462" y="34755"/>
                </a:lnTo>
                <a:cubicBezTo>
                  <a:pt x="201923" y="38677"/>
                  <a:pt x="217729" y="45774"/>
                  <a:pt x="231851" y="56232"/>
                </a:cubicBezTo>
                <a:lnTo>
                  <a:pt x="246535" y="42786"/>
                </a:lnTo>
                <a:cubicBezTo>
                  <a:pt x="251866" y="37930"/>
                  <a:pt x="260283" y="38303"/>
                  <a:pt x="265240" y="43626"/>
                </a:cubicBezTo>
                <a:lnTo>
                  <a:pt x="279082" y="58660"/>
                </a:lnTo>
                <a:cubicBezTo>
                  <a:pt x="281420" y="61275"/>
                  <a:pt x="282542" y="64450"/>
                  <a:pt x="282542" y="67625"/>
                </a:cubicBezTo>
                <a:cubicBezTo>
                  <a:pt x="282542" y="71173"/>
                  <a:pt x="281233" y="74722"/>
                  <a:pt x="278334" y="77337"/>
                </a:cubicBezTo>
                <a:lnTo>
                  <a:pt x="263744" y="90690"/>
                </a:lnTo>
                <a:cubicBezTo>
                  <a:pt x="273096" y="105537"/>
                  <a:pt x="278988" y="121973"/>
                  <a:pt x="281420" y="138781"/>
                </a:cubicBezTo>
                <a:lnTo>
                  <a:pt x="301061" y="139621"/>
                </a:lnTo>
                <a:cubicBezTo>
                  <a:pt x="308169" y="139995"/>
                  <a:pt x="313593" y="145878"/>
                  <a:pt x="313593" y="152788"/>
                </a:cubicBezTo>
                <a:lnTo>
                  <a:pt x="313593" y="153442"/>
                </a:lnTo>
                <a:lnTo>
                  <a:pt x="312751" y="173892"/>
                </a:lnTo>
                <a:cubicBezTo>
                  <a:pt x="312377" y="181083"/>
                  <a:pt x="306298" y="186779"/>
                  <a:pt x="298910" y="186405"/>
                </a:cubicBezTo>
                <a:lnTo>
                  <a:pt x="279456" y="185565"/>
                </a:lnTo>
                <a:cubicBezTo>
                  <a:pt x="275622" y="202093"/>
                  <a:pt x="268327" y="218061"/>
                  <a:pt x="257758" y="232162"/>
                </a:cubicBezTo>
                <a:lnTo>
                  <a:pt x="270852" y="246449"/>
                </a:lnTo>
                <a:cubicBezTo>
                  <a:pt x="273190" y="249064"/>
                  <a:pt x="274312" y="252145"/>
                  <a:pt x="274312" y="255414"/>
                </a:cubicBezTo>
                <a:cubicBezTo>
                  <a:pt x="274312" y="258869"/>
                  <a:pt x="273003" y="262511"/>
                  <a:pt x="270104" y="265126"/>
                </a:cubicBezTo>
                <a:lnTo>
                  <a:pt x="255046" y="278946"/>
                </a:lnTo>
                <a:cubicBezTo>
                  <a:pt x="249621" y="283802"/>
                  <a:pt x="241297" y="283428"/>
                  <a:pt x="236340" y="278106"/>
                </a:cubicBezTo>
                <a:lnTo>
                  <a:pt x="223247" y="263724"/>
                </a:lnTo>
                <a:cubicBezTo>
                  <a:pt x="208282" y="272970"/>
                  <a:pt x="191635" y="278853"/>
                  <a:pt x="174800" y="281187"/>
                </a:cubicBezTo>
                <a:lnTo>
                  <a:pt x="173958" y="300610"/>
                </a:lnTo>
                <a:cubicBezTo>
                  <a:pt x="173584" y="307801"/>
                  <a:pt x="167505" y="313590"/>
                  <a:pt x="160117" y="313217"/>
                </a:cubicBezTo>
                <a:lnTo>
                  <a:pt x="139634" y="312283"/>
                </a:lnTo>
                <a:cubicBezTo>
                  <a:pt x="132526" y="311909"/>
                  <a:pt x="127102" y="306120"/>
                  <a:pt x="127102" y="299116"/>
                </a:cubicBezTo>
                <a:lnTo>
                  <a:pt x="127102" y="298463"/>
                </a:lnTo>
                <a:lnTo>
                  <a:pt x="128037" y="279039"/>
                </a:lnTo>
                <a:cubicBezTo>
                  <a:pt x="111577" y="275211"/>
                  <a:pt x="95771" y="267834"/>
                  <a:pt x="81648" y="257281"/>
                </a:cubicBezTo>
                <a:lnTo>
                  <a:pt x="67058" y="270635"/>
                </a:lnTo>
                <a:cubicBezTo>
                  <a:pt x="61727" y="275491"/>
                  <a:pt x="53403" y="275117"/>
                  <a:pt x="48353" y="269701"/>
                </a:cubicBezTo>
                <a:lnTo>
                  <a:pt x="34511" y="254667"/>
                </a:lnTo>
                <a:cubicBezTo>
                  <a:pt x="32173" y="252052"/>
                  <a:pt x="31051" y="248970"/>
                  <a:pt x="31051" y="245702"/>
                </a:cubicBezTo>
                <a:cubicBezTo>
                  <a:pt x="31051" y="242247"/>
                  <a:pt x="32453" y="238605"/>
                  <a:pt x="35259" y="235990"/>
                </a:cubicBezTo>
                <a:lnTo>
                  <a:pt x="50036" y="222544"/>
                </a:lnTo>
                <a:cubicBezTo>
                  <a:pt x="40777" y="207696"/>
                  <a:pt x="35072" y="191261"/>
                  <a:pt x="32640" y="174639"/>
                </a:cubicBezTo>
                <a:lnTo>
                  <a:pt x="12626" y="173705"/>
                </a:lnTo>
                <a:cubicBezTo>
                  <a:pt x="5518" y="173332"/>
                  <a:pt x="0" y="167542"/>
                  <a:pt x="0" y="160539"/>
                </a:cubicBezTo>
                <a:lnTo>
                  <a:pt x="0" y="159885"/>
                </a:lnTo>
                <a:lnTo>
                  <a:pt x="842" y="139621"/>
                </a:lnTo>
                <a:cubicBezTo>
                  <a:pt x="1216" y="132431"/>
                  <a:pt x="7388" y="126642"/>
                  <a:pt x="14683" y="127015"/>
                </a:cubicBezTo>
                <a:lnTo>
                  <a:pt x="34885" y="127949"/>
                </a:lnTo>
                <a:cubicBezTo>
                  <a:pt x="38813" y="111514"/>
                  <a:pt x="46015" y="95826"/>
                  <a:pt x="56490" y="81819"/>
                </a:cubicBezTo>
                <a:lnTo>
                  <a:pt x="42741" y="66878"/>
                </a:lnTo>
                <a:cubicBezTo>
                  <a:pt x="40403" y="64263"/>
                  <a:pt x="39281" y="61182"/>
                  <a:pt x="39281" y="57913"/>
                </a:cubicBezTo>
                <a:cubicBezTo>
                  <a:pt x="39281" y="54458"/>
                  <a:pt x="40684" y="50816"/>
                  <a:pt x="43490" y="48202"/>
                </a:cubicBezTo>
                <a:lnTo>
                  <a:pt x="58641" y="34381"/>
                </a:lnTo>
                <a:cubicBezTo>
                  <a:pt x="63972" y="29526"/>
                  <a:pt x="72296" y="29899"/>
                  <a:pt x="77346" y="35315"/>
                </a:cubicBezTo>
                <a:lnTo>
                  <a:pt x="90627" y="50256"/>
                </a:lnTo>
                <a:cubicBezTo>
                  <a:pt x="105591" y="41011"/>
                  <a:pt x="121864" y="35128"/>
                  <a:pt x="138512" y="32794"/>
                </a:cubicBezTo>
                <a:lnTo>
                  <a:pt x="139447" y="12624"/>
                </a:lnTo>
                <a:cubicBezTo>
                  <a:pt x="139821" y="5433"/>
                  <a:pt x="145901" y="-356"/>
                  <a:pt x="153289" y="1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1" name="îṣḻïḓè">
            <a:extLst>
              <a:ext uri="{FF2B5EF4-FFF2-40B4-BE49-F238E27FC236}">
                <a16:creationId xmlns:a16="http://schemas.microsoft.com/office/drawing/2014/main" id="{30C8A656-A69C-4844-9B4C-38593487F7D6}"/>
              </a:ext>
            </a:extLst>
          </p:cNvPr>
          <p:cNvSpPr/>
          <p:nvPr/>
        </p:nvSpPr>
        <p:spPr bwMode="auto">
          <a:xfrm>
            <a:off x="2572805" y="3190456"/>
            <a:ext cx="283355" cy="282804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81741" h="580612">
                <a:moveTo>
                  <a:pt x="291612" y="187916"/>
                </a:moveTo>
                <a:cubicBezTo>
                  <a:pt x="304876" y="187916"/>
                  <a:pt x="315648" y="198758"/>
                  <a:pt x="315648" y="212088"/>
                </a:cubicBezTo>
                <a:lnTo>
                  <a:pt x="315648" y="491836"/>
                </a:lnTo>
                <a:lnTo>
                  <a:pt x="331227" y="473974"/>
                </a:lnTo>
                <a:cubicBezTo>
                  <a:pt x="339863" y="463932"/>
                  <a:pt x="355086" y="462866"/>
                  <a:pt x="365145" y="471574"/>
                </a:cubicBezTo>
                <a:cubicBezTo>
                  <a:pt x="375116" y="480372"/>
                  <a:pt x="376184" y="495657"/>
                  <a:pt x="367460" y="505699"/>
                </a:cubicBezTo>
                <a:lnTo>
                  <a:pt x="309773" y="572348"/>
                </a:lnTo>
                <a:cubicBezTo>
                  <a:pt x="305143" y="577502"/>
                  <a:pt x="298556" y="580612"/>
                  <a:pt x="291612" y="580612"/>
                </a:cubicBezTo>
                <a:cubicBezTo>
                  <a:pt x="284579" y="580612"/>
                  <a:pt x="278080" y="577680"/>
                  <a:pt x="273451" y="572348"/>
                </a:cubicBezTo>
                <a:lnTo>
                  <a:pt x="215764" y="505699"/>
                </a:lnTo>
                <a:cubicBezTo>
                  <a:pt x="207039" y="495657"/>
                  <a:pt x="208108" y="480372"/>
                  <a:pt x="218078" y="471574"/>
                </a:cubicBezTo>
                <a:cubicBezTo>
                  <a:pt x="228049" y="462866"/>
                  <a:pt x="243272" y="463932"/>
                  <a:pt x="252085" y="473974"/>
                </a:cubicBezTo>
                <a:lnTo>
                  <a:pt x="267486" y="491747"/>
                </a:lnTo>
                <a:lnTo>
                  <a:pt x="267486" y="212088"/>
                </a:lnTo>
                <a:cubicBezTo>
                  <a:pt x="267486" y="198758"/>
                  <a:pt x="278258" y="187916"/>
                  <a:pt x="291612" y="187916"/>
                </a:cubicBezTo>
                <a:close/>
                <a:moveTo>
                  <a:pt x="329499" y="0"/>
                </a:moveTo>
                <a:cubicBezTo>
                  <a:pt x="426248" y="0"/>
                  <a:pt x="465322" y="80426"/>
                  <a:pt x="473332" y="108153"/>
                </a:cubicBezTo>
                <a:cubicBezTo>
                  <a:pt x="535280" y="120684"/>
                  <a:pt x="581474" y="175693"/>
                  <a:pt x="581741" y="241190"/>
                </a:cubicBezTo>
                <a:cubicBezTo>
                  <a:pt x="581741" y="315840"/>
                  <a:pt x="521306" y="376537"/>
                  <a:pt x="446987" y="376537"/>
                </a:cubicBezTo>
                <a:lnTo>
                  <a:pt x="372756" y="376537"/>
                </a:lnTo>
                <a:cubicBezTo>
                  <a:pt x="359316" y="376537"/>
                  <a:pt x="348546" y="365606"/>
                  <a:pt x="348546" y="352276"/>
                </a:cubicBezTo>
                <a:cubicBezTo>
                  <a:pt x="348546" y="338857"/>
                  <a:pt x="359316" y="327926"/>
                  <a:pt x="372756" y="327926"/>
                </a:cubicBezTo>
                <a:lnTo>
                  <a:pt x="446987" y="327926"/>
                </a:lnTo>
                <a:cubicBezTo>
                  <a:pt x="494605" y="327926"/>
                  <a:pt x="533322" y="289090"/>
                  <a:pt x="533322" y="241190"/>
                </a:cubicBezTo>
                <a:cubicBezTo>
                  <a:pt x="533322" y="195334"/>
                  <a:pt x="497720" y="157298"/>
                  <a:pt x="452238" y="154632"/>
                </a:cubicBezTo>
                <a:cubicBezTo>
                  <a:pt x="440934" y="153921"/>
                  <a:pt x="431589" y="145478"/>
                  <a:pt x="429809" y="134192"/>
                </a:cubicBezTo>
                <a:cubicBezTo>
                  <a:pt x="421709" y="84692"/>
                  <a:pt x="379609" y="48789"/>
                  <a:pt x="329677" y="48789"/>
                </a:cubicBezTo>
                <a:cubicBezTo>
                  <a:pt x="279567" y="48789"/>
                  <a:pt x="238001" y="84781"/>
                  <a:pt x="229457" y="134192"/>
                </a:cubicBezTo>
                <a:cubicBezTo>
                  <a:pt x="226520" y="151521"/>
                  <a:pt x="212190" y="162807"/>
                  <a:pt x="192964" y="151077"/>
                </a:cubicBezTo>
                <a:cubicBezTo>
                  <a:pt x="178011" y="141834"/>
                  <a:pt x="160922" y="136947"/>
                  <a:pt x="143299" y="136947"/>
                </a:cubicBezTo>
                <a:cubicBezTo>
                  <a:pt x="90964" y="136947"/>
                  <a:pt x="48419" y="179693"/>
                  <a:pt x="48419" y="232303"/>
                </a:cubicBezTo>
                <a:cubicBezTo>
                  <a:pt x="48419" y="284913"/>
                  <a:pt x="90964" y="327748"/>
                  <a:pt x="143299" y="327748"/>
                </a:cubicBezTo>
                <a:lnTo>
                  <a:pt x="218776" y="327748"/>
                </a:lnTo>
                <a:cubicBezTo>
                  <a:pt x="232216" y="327748"/>
                  <a:pt x="242986" y="338590"/>
                  <a:pt x="242986" y="352009"/>
                </a:cubicBezTo>
                <a:cubicBezTo>
                  <a:pt x="242986" y="365429"/>
                  <a:pt x="232216" y="376271"/>
                  <a:pt x="218776" y="376271"/>
                </a:cubicBezTo>
                <a:lnTo>
                  <a:pt x="143299" y="376271"/>
                </a:lnTo>
                <a:cubicBezTo>
                  <a:pt x="64262" y="376271"/>
                  <a:pt x="0" y="311574"/>
                  <a:pt x="0" y="232214"/>
                </a:cubicBezTo>
                <a:cubicBezTo>
                  <a:pt x="0" y="152854"/>
                  <a:pt x="64262" y="88158"/>
                  <a:pt x="143210" y="88158"/>
                </a:cubicBezTo>
                <a:cubicBezTo>
                  <a:pt x="159231" y="88158"/>
                  <a:pt x="174896" y="90735"/>
                  <a:pt x="189849" y="95978"/>
                </a:cubicBezTo>
                <a:cubicBezTo>
                  <a:pt x="198749" y="73050"/>
                  <a:pt x="238891" y="0"/>
                  <a:pt x="329499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2" name="iş1iḑe">
            <a:extLst>
              <a:ext uri="{FF2B5EF4-FFF2-40B4-BE49-F238E27FC236}">
                <a16:creationId xmlns:a16="http://schemas.microsoft.com/office/drawing/2014/main" id="{79D5FAF9-096B-4C61-A299-6A26A276E128}"/>
              </a:ext>
            </a:extLst>
          </p:cNvPr>
          <p:cNvSpPr/>
          <p:nvPr/>
        </p:nvSpPr>
        <p:spPr bwMode="auto">
          <a:xfrm>
            <a:off x="2168646" y="3672722"/>
            <a:ext cx="283355" cy="282927"/>
          </a:xfrm>
          <a:custGeom>
            <a:avLst/>
            <a:gdLst>
              <a:gd name="connsiteX0" fmla="*/ 303820 w 607639"/>
              <a:gd name="connsiteY0" fmla="*/ 278099 h 606722"/>
              <a:gd name="connsiteX1" fmla="*/ 329118 w 607639"/>
              <a:gd name="connsiteY1" fmla="*/ 303362 h 606722"/>
              <a:gd name="connsiteX2" fmla="*/ 303820 w 607639"/>
              <a:gd name="connsiteY2" fmla="*/ 328625 h 606722"/>
              <a:gd name="connsiteX3" fmla="*/ 278522 w 607639"/>
              <a:gd name="connsiteY3" fmla="*/ 303362 h 606722"/>
              <a:gd name="connsiteX4" fmla="*/ 303820 w 607639"/>
              <a:gd name="connsiteY4" fmla="*/ 278099 h 606722"/>
              <a:gd name="connsiteX5" fmla="*/ 303775 w 607639"/>
              <a:gd name="connsiteY5" fmla="*/ 252735 h 606722"/>
              <a:gd name="connsiteX6" fmla="*/ 253140 w 607639"/>
              <a:gd name="connsiteY6" fmla="*/ 303317 h 606722"/>
              <a:gd name="connsiteX7" fmla="*/ 303775 w 607639"/>
              <a:gd name="connsiteY7" fmla="*/ 353900 h 606722"/>
              <a:gd name="connsiteX8" fmla="*/ 354410 w 607639"/>
              <a:gd name="connsiteY8" fmla="*/ 303317 h 606722"/>
              <a:gd name="connsiteX9" fmla="*/ 303775 w 607639"/>
              <a:gd name="connsiteY9" fmla="*/ 252735 h 606722"/>
              <a:gd name="connsiteX10" fmla="*/ 303775 w 607639"/>
              <a:gd name="connsiteY10" fmla="*/ 202241 h 606722"/>
              <a:gd name="connsiteX11" fmla="*/ 405045 w 607639"/>
              <a:gd name="connsiteY11" fmla="*/ 303317 h 606722"/>
              <a:gd name="connsiteX12" fmla="*/ 303775 w 607639"/>
              <a:gd name="connsiteY12" fmla="*/ 404482 h 606722"/>
              <a:gd name="connsiteX13" fmla="*/ 202593 w 607639"/>
              <a:gd name="connsiteY13" fmla="*/ 303317 h 606722"/>
              <a:gd name="connsiteX14" fmla="*/ 303775 w 607639"/>
              <a:gd name="connsiteY14" fmla="*/ 202241 h 606722"/>
              <a:gd name="connsiteX15" fmla="*/ 303775 w 607639"/>
              <a:gd name="connsiteY15" fmla="*/ 151703 h 606722"/>
              <a:gd name="connsiteX16" fmla="*/ 151932 w 607639"/>
              <a:gd name="connsiteY16" fmla="*/ 303317 h 606722"/>
              <a:gd name="connsiteX17" fmla="*/ 303775 w 607639"/>
              <a:gd name="connsiteY17" fmla="*/ 455019 h 606722"/>
              <a:gd name="connsiteX18" fmla="*/ 455707 w 607639"/>
              <a:gd name="connsiteY18" fmla="*/ 303317 h 606722"/>
              <a:gd name="connsiteX19" fmla="*/ 303775 w 607639"/>
              <a:gd name="connsiteY19" fmla="*/ 151703 h 606722"/>
              <a:gd name="connsiteX20" fmla="*/ 253131 w 607639"/>
              <a:gd name="connsiteY20" fmla="*/ 0 h 606722"/>
              <a:gd name="connsiteX21" fmla="*/ 354419 w 607639"/>
              <a:gd name="connsiteY21" fmla="*/ 0 h 606722"/>
              <a:gd name="connsiteX22" fmla="*/ 379786 w 607639"/>
              <a:gd name="connsiteY22" fmla="*/ 25239 h 606722"/>
              <a:gd name="connsiteX23" fmla="*/ 379786 w 607639"/>
              <a:gd name="connsiteY23" fmla="*/ 62387 h 606722"/>
              <a:gd name="connsiteX24" fmla="*/ 420639 w 607639"/>
              <a:gd name="connsiteY24" fmla="*/ 79451 h 606722"/>
              <a:gd name="connsiteX25" fmla="*/ 446985 w 607639"/>
              <a:gd name="connsiteY25" fmla="*/ 53145 h 606722"/>
              <a:gd name="connsiteX26" fmla="*/ 482854 w 607639"/>
              <a:gd name="connsiteY26" fmla="*/ 53145 h 606722"/>
              <a:gd name="connsiteX27" fmla="*/ 554414 w 607639"/>
              <a:gd name="connsiteY27" fmla="*/ 124597 h 606722"/>
              <a:gd name="connsiteX28" fmla="*/ 554414 w 607639"/>
              <a:gd name="connsiteY28" fmla="*/ 160323 h 606722"/>
              <a:gd name="connsiteX29" fmla="*/ 528069 w 607639"/>
              <a:gd name="connsiteY29" fmla="*/ 186629 h 606722"/>
              <a:gd name="connsiteX30" fmla="*/ 545158 w 607639"/>
              <a:gd name="connsiteY30" fmla="*/ 227510 h 606722"/>
              <a:gd name="connsiteX31" fmla="*/ 582273 w 607639"/>
              <a:gd name="connsiteY31" fmla="*/ 227510 h 606722"/>
              <a:gd name="connsiteX32" fmla="*/ 607639 w 607639"/>
              <a:gd name="connsiteY32" fmla="*/ 252749 h 606722"/>
              <a:gd name="connsiteX33" fmla="*/ 607639 w 607639"/>
              <a:gd name="connsiteY33" fmla="*/ 353884 h 606722"/>
              <a:gd name="connsiteX34" fmla="*/ 582273 w 607639"/>
              <a:gd name="connsiteY34" fmla="*/ 379212 h 606722"/>
              <a:gd name="connsiteX35" fmla="*/ 545158 w 607639"/>
              <a:gd name="connsiteY35" fmla="*/ 379212 h 606722"/>
              <a:gd name="connsiteX36" fmla="*/ 528069 w 607639"/>
              <a:gd name="connsiteY36" fmla="*/ 420004 h 606722"/>
              <a:gd name="connsiteX37" fmla="*/ 554414 w 607639"/>
              <a:gd name="connsiteY37" fmla="*/ 446310 h 606722"/>
              <a:gd name="connsiteX38" fmla="*/ 554414 w 607639"/>
              <a:gd name="connsiteY38" fmla="*/ 482125 h 606722"/>
              <a:gd name="connsiteX39" fmla="*/ 482854 w 607639"/>
              <a:gd name="connsiteY39" fmla="*/ 553577 h 606722"/>
              <a:gd name="connsiteX40" fmla="*/ 446985 w 607639"/>
              <a:gd name="connsiteY40" fmla="*/ 553577 h 606722"/>
              <a:gd name="connsiteX41" fmla="*/ 420639 w 607639"/>
              <a:gd name="connsiteY41" fmla="*/ 527271 h 606722"/>
              <a:gd name="connsiteX42" fmla="*/ 379786 w 607639"/>
              <a:gd name="connsiteY42" fmla="*/ 544246 h 606722"/>
              <a:gd name="connsiteX43" fmla="*/ 379786 w 607639"/>
              <a:gd name="connsiteY43" fmla="*/ 581394 h 606722"/>
              <a:gd name="connsiteX44" fmla="*/ 354419 w 607639"/>
              <a:gd name="connsiteY44" fmla="*/ 606722 h 606722"/>
              <a:gd name="connsiteX45" fmla="*/ 253131 w 607639"/>
              <a:gd name="connsiteY45" fmla="*/ 606722 h 606722"/>
              <a:gd name="connsiteX46" fmla="*/ 227854 w 607639"/>
              <a:gd name="connsiteY46" fmla="*/ 581394 h 606722"/>
              <a:gd name="connsiteX47" fmla="*/ 227854 w 607639"/>
              <a:gd name="connsiteY47" fmla="*/ 544246 h 606722"/>
              <a:gd name="connsiteX48" fmla="*/ 186911 w 607639"/>
              <a:gd name="connsiteY48" fmla="*/ 527271 h 606722"/>
              <a:gd name="connsiteX49" fmla="*/ 160566 w 607639"/>
              <a:gd name="connsiteY49" fmla="*/ 553577 h 606722"/>
              <a:gd name="connsiteX50" fmla="*/ 124786 w 607639"/>
              <a:gd name="connsiteY50" fmla="*/ 553577 h 606722"/>
              <a:gd name="connsiteX51" fmla="*/ 53225 w 607639"/>
              <a:gd name="connsiteY51" fmla="*/ 482125 h 606722"/>
              <a:gd name="connsiteX52" fmla="*/ 53225 w 607639"/>
              <a:gd name="connsiteY52" fmla="*/ 446310 h 606722"/>
              <a:gd name="connsiteX53" fmla="*/ 79482 w 607639"/>
              <a:gd name="connsiteY53" fmla="*/ 420004 h 606722"/>
              <a:gd name="connsiteX54" fmla="*/ 62482 w 607639"/>
              <a:gd name="connsiteY54" fmla="*/ 379212 h 606722"/>
              <a:gd name="connsiteX55" fmla="*/ 25278 w 607639"/>
              <a:gd name="connsiteY55" fmla="*/ 379212 h 606722"/>
              <a:gd name="connsiteX56" fmla="*/ 0 w 607639"/>
              <a:gd name="connsiteY56" fmla="*/ 353884 h 606722"/>
              <a:gd name="connsiteX57" fmla="*/ 0 w 607639"/>
              <a:gd name="connsiteY57" fmla="*/ 252749 h 606722"/>
              <a:gd name="connsiteX58" fmla="*/ 25278 w 607639"/>
              <a:gd name="connsiteY58" fmla="*/ 227510 h 606722"/>
              <a:gd name="connsiteX59" fmla="*/ 62482 w 607639"/>
              <a:gd name="connsiteY59" fmla="*/ 227510 h 606722"/>
              <a:gd name="connsiteX60" fmla="*/ 79482 w 607639"/>
              <a:gd name="connsiteY60" fmla="*/ 186629 h 606722"/>
              <a:gd name="connsiteX61" fmla="*/ 53225 w 607639"/>
              <a:gd name="connsiteY61" fmla="*/ 160323 h 606722"/>
              <a:gd name="connsiteX62" fmla="*/ 53225 w 607639"/>
              <a:gd name="connsiteY62" fmla="*/ 124597 h 606722"/>
              <a:gd name="connsiteX63" fmla="*/ 124786 w 607639"/>
              <a:gd name="connsiteY63" fmla="*/ 53145 h 606722"/>
              <a:gd name="connsiteX64" fmla="*/ 160566 w 607639"/>
              <a:gd name="connsiteY64" fmla="*/ 53145 h 606722"/>
              <a:gd name="connsiteX65" fmla="*/ 186911 w 607639"/>
              <a:gd name="connsiteY65" fmla="*/ 79451 h 606722"/>
              <a:gd name="connsiteX66" fmla="*/ 227854 w 607639"/>
              <a:gd name="connsiteY66" fmla="*/ 62387 h 606722"/>
              <a:gd name="connsiteX67" fmla="*/ 227854 w 607639"/>
              <a:gd name="connsiteY67" fmla="*/ 25239 h 606722"/>
              <a:gd name="connsiteX68" fmla="*/ 253131 w 607639"/>
              <a:gd name="connsiteY68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07639" h="606722">
                <a:moveTo>
                  <a:pt x="303820" y="278099"/>
                </a:moveTo>
                <a:cubicBezTo>
                  <a:pt x="317792" y="278099"/>
                  <a:pt x="329118" y="289410"/>
                  <a:pt x="329118" y="303362"/>
                </a:cubicBezTo>
                <a:cubicBezTo>
                  <a:pt x="329118" y="317314"/>
                  <a:pt x="317792" y="328625"/>
                  <a:pt x="303820" y="328625"/>
                </a:cubicBezTo>
                <a:cubicBezTo>
                  <a:pt x="289848" y="328625"/>
                  <a:pt x="278522" y="317314"/>
                  <a:pt x="278522" y="303362"/>
                </a:cubicBezTo>
                <a:cubicBezTo>
                  <a:pt x="278522" y="289410"/>
                  <a:pt x="289848" y="278099"/>
                  <a:pt x="303820" y="278099"/>
                </a:cubicBezTo>
                <a:close/>
                <a:moveTo>
                  <a:pt x="303775" y="252735"/>
                </a:moveTo>
                <a:cubicBezTo>
                  <a:pt x="275921" y="252735"/>
                  <a:pt x="253140" y="275492"/>
                  <a:pt x="253140" y="303317"/>
                </a:cubicBezTo>
                <a:cubicBezTo>
                  <a:pt x="253140" y="331231"/>
                  <a:pt x="275921" y="353900"/>
                  <a:pt x="303775" y="353900"/>
                </a:cubicBezTo>
                <a:cubicBezTo>
                  <a:pt x="331718" y="353900"/>
                  <a:pt x="354410" y="331231"/>
                  <a:pt x="354410" y="303317"/>
                </a:cubicBezTo>
                <a:cubicBezTo>
                  <a:pt x="354410" y="275492"/>
                  <a:pt x="331718" y="252735"/>
                  <a:pt x="303775" y="252735"/>
                </a:cubicBezTo>
                <a:close/>
                <a:moveTo>
                  <a:pt x="303775" y="202241"/>
                </a:moveTo>
                <a:cubicBezTo>
                  <a:pt x="359660" y="202241"/>
                  <a:pt x="405045" y="247579"/>
                  <a:pt x="405045" y="303317"/>
                </a:cubicBezTo>
                <a:cubicBezTo>
                  <a:pt x="405045" y="359144"/>
                  <a:pt x="359660" y="404482"/>
                  <a:pt x="303775" y="404482"/>
                </a:cubicBezTo>
                <a:cubicBezTo>
                  <a:pt x="247978" y="404482"/>
                  <a:pt x="202593" y="359144"/>
                  <a:pt x="202593" y="303317"/>
                </a:cubicBezTo>
                <a:cubicBezTo>
                  <a:pt x="202593" y="247579"/>
                  <a:pt x="247978" y="202241"/>
                  <a:pt x="303775" y="202241"/>
                </a:cubicBezTo>
                <a:close/>
                <a:moveTo>
                  <a:pt x="303775" y="151703"/>
                </a:moveTo>
                <a:cubicBezTo>
                  <a:pt x="220021" y="151703"/>
                  <a:pt x="151932" y="219689"/>
                  <a:pt x="151932" y="303317"/>
                </a:cubicBezTo>
                <a:cubicBezTo>
                  <a:pt x="151932" y="387033"/>
                  <a:pt x="220021" y="455019"/>
                  <a:pt x="303775" y="455019"/>
                </a:cubicBezTo>
                <a:cubicBezTo>
                  <a:pt x="387618" y="455019"/>
                  <a:pt x="455707" y="387033"/>
                  <a:pt x="455707" y="303317"/>
                </a:cubicBezTo>
                <a:cubicBezTo>
                  <a:pt x="455707" y="219689"/>
                  <a:pt x="387618" y="151703"/>
                  <a:pt x="303775" y="151703"/>
                </a:cubicBezTo>
                <a:close/>
                <a:moveTo>
                  <a:pt x="253131" y="0"/>
                </a:moveTo>
                <a:lnTo>
                  <a:pt x="354419" y="0"/>
                </a:lnTo>
                <a:cubicBezTo>
                  <a:pt x="368482" y="0"/>
                  <a:pt x="379786" y="11287"/>
                  <a:pt x="379786" y="25239"/>
                </a:cubicBezTo>
                <a:lnTo>
                  <a:pt x="379786" y="62387"/>
                </a:lnTo>
                <a:cubicBezTo>
                  <a:pt x="393849" y="66831"/>
                  <a:pt x="407555" y="72519"/>
                  <a:pt x="420639" y="79451"/>
                </a:cubicBezTo>
                <a:lnTo>
                  <a:pt x="446985" y="53145"/>
                </a:lnTo>
                <a:cubicBezTo>
                  <a:pt x="456953" y="43191"/>
                  <a:pt x="472974" y="43191"/>
                  <a:pt x="482854" y="53145"/>
                </a:cubicBezTo>
                <a:lnTo>
                  <a:pt x="554414" y="124597"/>
                </a:lnTo>
                <a:cubicBezTo>
                  <a:pt x="564294" y="134462"/>
                  <a:pt x="564294" y="150459"/>
                  <a:pt x="554414" y="160323"/>
                </a:cubicBezTo>
                <a:lnTo>
                  <a:pt x="528069" y="186629"/>
                </a:lnTo>
                <a:cubicBezTo>
                  <a:pt x="535011" y="199782"/>
                  <a:pt x="540707" y="213468"/>
                  <a:pt x="545158" y="227510"/>
                </a:cubicBezTo>
                <a:lnTo>
                  <a:pt x="582273" y="227510"/>
                </a:lnTo>
                <a:cubicBezTo>
                  <a:pt x="596336" y="227510"/>
                  <a:pt x="607639" y="238796"/>
                  <a:pt x="607639" y="252749"/>
                </a:cubicBezTo>
                <a:lnTo>
                  <a:pt x="607639" y="353884"/>
                </a:lnTo>
                <a:cubicBezTo>
                  <a:pt x="607639" y="367926"/>
                  <a:pt x="596247" y="379212"/>
                  <a:pt x="582273" y="379212"/>
                </a:cubicBezTo>
                <a:lnTo>
                  <a:pt x="545158" y="379212"/>
                </a:lnTo>
                <a:cubicBezTo>
                  <a:pt x="540707" y="393254"/>
                  <a:pt x="535011" y="406940"/>
                  <a:pt x="528069" y="420004"/>
                </a:cubicBezTo>
                <a:lnTo>
                  <a:pt x="554414" y="446310"/>
                </a:lnTo>
                <a:cubicBezTo>
                  <a:pt x="564294" y="456263"/>
                  <a:pt x="564294" y="472260"/>
                  <a:pt x="554414" y="482125"/>
                </a:cubicBezTo>
                <a:lnTo>
                  <a:pt x="482854" y="553577"/>
                </a:lnTo>
                <a:cubicBezTo>
                  <a:pt x="472974" y="563442"/>
                  <a:pt x="456953" y="563442"/>
                  <a:pt x="446985" y="553577"/>
                </a:cubicBezTo>
                <a:lnTo>
                  <a:pt x="420639" y="527271"/>
                </a:lnTo>
                <a:cubicBezTo>
                  <a:pt x="407555" y="534203"/>
                  <a:pt x="393849" y="539802"/>
                  <a:pt x="379786" y="544246"/>
                </a:cubicBezTo>
                <a:lnTo>
                  <a:pt x="379786" y="581394"/>
                </a:lnTo>
                <a:cubicBezTo>
                  <a:pt x="379786" y="595435"/>
                  <a:pt x="368393" y="606722"/>
                  <a:pt x="354419" y="606722"/>
                </a:cubicBezTo>
                <a:lnTo>
                  <a:pt x="253131" y="606722"/>
                </a:lnTo>
                <a:cubicBezTo>
                  <a:pt x="239157" y="606722"/>
                  <a:pt x="227854" y="595435"/>
                  <a:pt x="227854" y="581394"/>
                </a:cubicBezTo>
                <a:lnTo>
                  <a:pt x="227854" y="544246"/>
                </a:lnTo>
                <a:cubicBezTo>
                  <a:pt x="213791" y="539802"/>
                  <a:pt x="200084" y="534203"/>
                  <a:pt x="186911" y="527271"/>
                </a:cubicBezTo>
                <a:lnTo>
                  <a:pt x="160566" y="553577"/>
                </a:lnTo>
                <a:cubicBezTo>
                  <a:pt x="150686" y="563442"/>
                  <a:pt x="134665" y="563442"/>
                  <a:pt x="124786" y="553577"/>
                </a:cubicBezTo>
                <a:lnTo>
                  <a:pt x="53225" y="482125"/>
                </a:lnTo>
                <a:cubicBezTo>
                  <a:pt x="43257" y="472260"/>
                  <a:pt x="43257" y="456263"/>
                  <a:pt x="53225" y="446310"/>
                </a:cubicBezTo>
                <a:lnTo>
                  <a:pt x="79482" y="420004"/>
                </a:lnTo>
                <a:cubicBezTo>
                  <a:pt x="72629" y="406940"/>
                  <a:pt x="66932" y="393254"/>
                  <a:pt x="62482" y="379212"/>
                </a:cubicBezTo>
                <a:lnTo>
                  <a:pt x="25278" y="379212"/>
                </a:lnTo>
                <a:cubicBezTo>
                  <a:pt x="11304" y="379212"/>
                  <a:pt x="0" y="367926"/>
                  <a:pt x="0" y="353884"/>
                </a:cubicBezTo>
                <a:lnTo>
                  <a:pt x="0" y="252749"/>
                </a:lnTo>
                <a:cubicBezTo>
                  <a:pt x="0" y="238796"/>
                  <a:pt x="11304" y="227510"/>
                  <a:pt x="25278" y="227510"/>
                </a:cubicBezTo>
                <a:lnTo>
                  <a:pt x="62482" y="227510"/>
                </a:lnTo>
                <a:cubicBezTo>
                  <a:pt x="66932" y="213468"/>
                  <a:pt x="72629" y="199782"/>
                  <a:pt x="79482" y="186629"/>
                </a:cubicBezTo>
                <a:lnTo>
                  <a:pt x="53225" y="160323"/>
                </a:lnTo>
                <a:cubicBezTo>
                  <a:pt x="43257" y="150459"/>
                  <a:pt x="43257" y="134462"/>
                  <a:pt x="53225" y="124597"/>
                </a:cubicBezTo>
                <a:lnTo>
                  <a:pt x="124786" y="53145"/>
                </a:lnTo>
                <a:cubicBezTo>
                  <a:pt x="134665" y="43191"/>
                  <a:pt x="150686" y="43191"/>
                  <a:pt x="160566" y="53145"/>
                </a:cubicBezTo>
                <a:lnTo>
                  <a:pt x="186911" y="79451"/>
                </a:lnTo>
                <a:cubicBezTo>
                  <a:pt x="200084" y="72519"/>
                  <a:pt x="213791" y="66831"/>
                  <a:pt x="227854" y="62387"/>
                </a:cubicBezTo>
                <a:lnTo>
                  <a:pt x="227854" y="25239"/>
                </a:lnTo>
                <a:cubicBezTo>
                  <a:pt x="227854" y="11287"/>
                  <a:pt x="239157" y="0"/>
                  <a:pt x="25313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3" name="ïṧľíďê">
            <a:extLst>
              <a:ext uri="{FF2B5EF4-FFF2-40B4-BE49-F238E27FC236}">
                <a16:creationId xmlns:a16="http://schemas.microsoft.com/office/drawing/2014/main" id="{83AC56C8-BB22-4DB6-8372-AA84DFFA3A81}"/>
              </a:ext>
            </a:extLst>
          </p:cNvPr>
          <p:cNvSpPr/>
          <p:nvPr/>
        </p:nvSpPr>
        <p:spPr bwMode="auto">
          <a:xfrm>
            <a:off x="1773587" y="4155069"/>
            <a:ext cx="283355" cy="282891"/>
          </a:xfrm>
          <a:custGeom>
            <a:avLst/>
            <a:gdLst>
              <a:gd name="connsiteX0" fmla="*/ 380418 w 604181"/>
              <a:gd name="connsiteY0" fmla="*/ 268007 h 603193"/>
              <a:gd name="connsiteX1" fmla="*/ 519220 w 604181"/>
              <a:gd name="connsiteY1" fmla="*/ 339187 h 603193"/>
              <a:gd name="connsiteX2" fmla="*/ 519220 w 604181"/>
              <a:gd name="connsiteY2" fmla="*/ 355820 h 603193"/>
              <a:gd name="connsiteX3" fmla="*/ 380418 w 604181"/>
              <a:gd name="connsiteY3" fmla="*/ 426850 h 603193"/>
              <a:gd name="connsiteX4" fmla="*/ 380418 w 604181"/>
              <a:gd name="connsiteY4" fmla="*/ 406320 h 603193"/>
              <a:gd name="connsiteX5" fmla="*/ 498212 w 604181"/>
              <a:gd name="connsiteY5" fmla="*/ 347728 h 603193"/>
              <a:gd name="connsiteX6" fmla="*/ 498212 w 604181"/>
              <a:gd name="connsiteY6" fmla="*/ 347129 h 603193"/>
              <a:gd name="connsiteX7" fmla="*/ 380418 w 604181"/>
              <a:gd name="connsiteY7" fmla="*/ 288687 h 603193"/>
              <a:gd name="connsiteX8" fmla="*/ 216565 w 604181"/>
              <a:gd name="connsiteY8" fmla="*/ 268007 h 603193"/>
              <a:gd name="connsiteX9" fmla="*/ 216565 w 604181"/>
              <a:gd name="connsiteY9" fmla="*/ 288687 h 603193"/>
              <a:gd name="connsiteX10" fmla="*/ 99664 w 604181"/>
              <a:gd name="connsiteY10" fmla="*/ 347129 h 603193"/>
              <a:gd name="connsiteX11" fmla="*/ 99664 w 604181"/>
              <a:gd name="connsiteY11" fmla="*/ 347728 h 603193"/>
              <a:gd name="connsiteX12" fmla="*/ 216565 w 604181"/>
              <a:gd name="connsiteY12" fmla="*/ 406320 h 603193"/>
              <a:gd name="connsiteX13" fmla="*/ 216565 w 604181"/>
              <a:gd name="connsiteY13" fmla="*/ 426850 h 603193"/>
              <a:gd name="connsiteX14" fmla="*/ 77904 w 604181"/>
              <a:gd name="connsiteY14" fmla="*/ 355521 h 603193"/>
              <a:gd name="connsiteX15" fmla="*/ 77904 w 604181"/>
              <a:gd name="connsiteY15" fmla="*/ 339486 h 603193"/>
              <a:gd name="connsiteX16" fmla="*/ 338273 w 604181"/>
              <a:gd name="connsiteY16" fmla="*/ 222493 h 603193"/>
              <a:gd name="connsiteX17" fmla="*/ 358684 w 604181"/>
              <a:gd name="connsiteY17" fmla="*/ 222493 h 603193"/>
              <a:gd name="connsiteX18" fmla="*/ 253179 w 604181"/>
              <a:gd name="connsiteY18" fmla="*/ 482103 h 603193"/>
              <a:gd name="connsiteX19" fmla="*/ 233219 w 604181"/>
              <a:gd name="connsiteY19" fmla="*/ 482103 h 603193"/>
              <a:gd name="connsiteX20" fmla="*/ 28813 w 604181"/>
              <a:gd name="connsiteY20" fmla="*/ 128849 h 603193"/>
              <a:gd name="connsiteX21" fmla="*/ 28813 w 604181"/>
              <a:gd name="connsiteY21" fmla="*/ 557497 h 603193"/>
              <a:gd name="connsiteX22" fmla="*/ 45921 w 604181"/>
              <a:gd name="connsiteY22" fmla="*/ 574427 h 603193"/>
              <a:gd name="connsiteX23" fmla="*/ 558410 w 604181"/>
              <a:gd name="connsiteY23" fmla="*/ 574427 h 603193"/>
              <a:gd name="connsiteX24" fmla="*/ 575368 w 604181"/>
              <a:gd name="connsiteY24" fmla="*/ 557497 h 603193"/>
              <a:gd name="connsiteX25" fmla="*/ 575368 w 604181"/>
              <a:gd name="connsiteY25" fmla="*/ 128849 h 603193"/>
              <a:gd name="connsiteX26" fmla="*/ 502734 w 604181"/>
              <a:gd name="connsiteY26" fmla="*/ 43149 h 603193"/>
              <a:gd name="connsiteX27" fmla="*/ 502734 w 604181"/>
              <a:gd name="connsiteY27" fmla="*/ 77309 h 603193"/>
              <a:gd name="connsiteX28" fmla="*/ 537100 w 604181"/>
              <a:gd name="connsiteY28" fmla="*/ 77309 h 603193"/>
              <a:gd name="connsiteX29" fmla="*/ 537100 w 604181"/>
              <a:gd name="connsiteY29" fmla="*/ 43149 h 603193"/>
              <a:gd name="connsiteX30" fmla="*/ 423197 w 604181"/>
              <a:gd name="connsiteY30" fmla="*/ 43149 h 603193"/>
              <a:gd name="connsiteX31" fmla="*/ 423197 w 604181"/>
              <a:gd name="connsiteY31" fmla="*/ 77309 h 603193"/>
              <a:gd name="connsiteX32" fmla="*/ 457563 w 604181"/>
              <a:gd name="connsiteY32" fmla="*/ 77309 h 603193"/>
              <a:gd name="connsiteX33" fmla="*/ 457563 w 604181"/>
              <a:gd name="connsiteY33" fmla="*/ 43149 h 603193"/>
              <a:gd name="connsiteX34" fmla="*/ 45921 w 604181"/>
              <a:gd name="connsiteY34" fmla="*/ 0 h 603193"/>
              <a:gd name="connsiteX35" fmla="*/ 558410 w 604181"/>
              <a:gd name="connsiteY35" fmla="*/ 0 h 603193"/>
              <a:gd name="connsiteX36" fmla="*/ 604181 w 604181"/>
              <a:gd name="connsiteY36" fmla="*/ 45846 h 603193"/>
              <a:gd name="connsiteX37" fmla="*/ 604181 w 604181"/>
              <a:gd name="connsiteY37" fmla="*/ 557497 h 603193"/>
              <a:gd name="connsiteX38" fmla="*/ 558410 w 604181"/>
              <a:gd name="connsiteY38" fmla="*/ 603193 h 603193"/>
              <a:gd name="connsiteX39" fmla="*/ 45921 w 604181"/>
              <a:gd name="connsiteY39" fmla="*/ 603193 h 603193"/>
              <a:gd name="connsiteX40" fmla="*/ 0 w 604181"/>
              <a:gd name="connsiteY40" fmla="*/ 557497 h 603193"/>
              <a:gd name="connsiteX41" fmla="*/ 0 w 604181"/>
              <a:gd name="connsiteY41" fmla="*/ 45846 h 603193"/>
              <a:gd name="connsiteX42" fmla="*/ 45921 w 604181"/>
              <a:gd name="connsiteY42" fmla="*/ 0 h 603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04181" h="603193">
                <a:moveTo>
                  <a:pt x="380418" y="268007"/>
                </a:moveTo>
                <a:lnTo>
                  <a:pt x="519220" y="339187"/>
                </a:lnTo>
                <a:lnTo>
                  <a:pt x="519220" y="355820"/>
                </a:lnTo>
                <a:lnTo>
                  <a:pt x="380418" y="426850"/>
                </a:lnTo>
                <a:lnTo>
                  <a:pt x="380418" y="406320"/>
                </a:lnTo>
                <a:lnTo>
                  <a:pt x="498212" y="347728"/>
                </a:lnTo>
                <a:lnTo>
                  <a:pt x="498212" y="347129"/>
                </a:lnTo>
                <a:lnTo>
                  <a:pt x="380418" y="288687"/>
                </a:lnTo>
                <a:close/>
                <a:moveTo>
                  <a:pt x="216565" y="268007"/>
                </a:moveTo>
                <a:lnTo>
                  <a:pt x="216565" y="288687"/>
                </a:lnTo>
                <a:lnTo>
                  <a:pt x="99664" y="347129"/>
                </a:lnTo>
                <a:lnTo>
                  <a:pt x="99664" y="347728"/>
                </a:lnTo>
                <a:lnTo>
                  <a:pt x="216565" y="406320"/>
                </a:lnTo>
                <a:lnTo>
                  <a:pt x="216565" y="426850"/>
                </a:lnTo>
                <a:lnTo>
                  <a:pt x="77904" y="355521"/>
                </a:lnTo>
                <a:lnTo>
                  <a:pt x="77904" y="339486"/>
                </a:lnTo>
                <a:close/>
                <a:moveTo>
                  <a:pt x="338273" y="222493"/>
                </a:moveTo>
                <a:lnTo>
                  <a:pt x="358684" y="222493"/>
                </a:lnTo>
                <a:lnTo>
                  <a:pt x="253179" y="482103"/>
                </a:lnTo>
                <a:lnTo>
                  <a:pt x="233219" y="482103"/>
                </a:lnTo>
                <a:close/>
                <a:moveTo>
                  <a:pt x="28813" y="128849"/>
                </a:moveTo>
                <a:lnTo>
                  <a:pt x="28813" y="557497"/>
                </a:lnTo>
                <a:cubicBezTo>
                  <a:pt x="28813" y="566786"/>
                  <a:pt x="36467" y="574427"/>
                  <a:pt x="45921" y="574427"/>
                </a:cubicBezTo>
                <a:lnTo>
                  <a:pt x="558410" y="574427"/>
                </a:lnTo>
                <a:cubicBezTo>
                  <a:pt x="567714" y="574427"/>
                  <a:pt x="575368" y="566786"/>
                  <a:pt x="575368" y="557497"/>
                </a:cubicBezTo>
                <a:lnTo>
                  <a:pt x="575368" y="128849"/>
                </a:lnTo>
                <a:close/>
                <a:moveTo>
                  <a:pt x="502734" y="43149"/>
                </a:moveTo>
                <a:lnTo>
                  <a:pt x="502734" y="77309"/>
                </a:lnTo>
                <a:lnTo>
                  <a:pt x="537100" y="77309"/>
                </a:lnTo>
                <a:lnTo>
                  <a:pt x="537100" y="43149"/>
                </a:lnTo>
                <a:close/>
                <a:moveTo>
                  <a:pt x="423197" y="43149"/>
                </a:moveTo>
                <a:lnTo>
                  <a:pt x="423197" y="77309"/>
                </a:lnTo>
                <a:lnTo>
                  <a:pt x="457563" y="77309"/>
                </a:lnTo>
                <a:lnTo>
                  <a:pt x="457563" y="43149"/>
                </a:lnTo>
                <a:close/>
                <a:moveTo>
                  <a:pt x="45921" y="0"/>
                </a:moveTo>
                <a:lnTo>
                  <a:pt x="558410" y="0"/>
                </a:lnTo>
                <a:cubicBezTo>
                  <a:pt x="583621" y="0"/>
                  <a:pt x="604181" y="20526"/>
                  <a:pt x="604181" y="45846"/>
                </a:cubicBezTo>
                <a:lnTo>
                  <a:pt x="604181" y="557497"/>
                </a:lnTo>
                <a:cubicBezTo>
                  <a:pt x="604181" y="582667"/>
                  <a:pt x="583621" y="603193"/>
                  <a:pt x="558410" y="603193"/>
                </a:cubicBezTo>
                <a:lnTo>
                  <a:pt x="45921" y="603193"/>
                </a:lnTo>
                <a:cubicBezTo>
                  <a:pt x="20560" y="603193"/>
                  <a:pt x="0" y="582667"/>
                  <a:pt x="0" y="557497"/>
                </a:cubicBezTo>
                <a:lnTo>
                  <a:pt x="0" y="45846"/>
                </a:lnTo>
                <a:cubicBezTo>
                  <a:pt x="0" y="20526"/>
                  <a:pt x="20560" y="0"/>
                  <a:pt x="45921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4" name="îṣḻîḍé">
            <a:extLst>
              <a:ext uri="{FF2B5EF4-FFF2-40B4-BE49-F238E27FC236}">
                <a16:creationId xmlns:a16="http://schemas.microsoft.com/office/drawing/2014/main" id="{716A4AAF-66FE-4462-901E-658C29D84AD8}"/>
              </a:ext>
            </a:extLst>
          </p:cNvPr>
          <p:cNvSpPr/>
          <p:nvPr/>
        </p:nvSpPr>
        <p:spPr bwMode="auto">
          <a:xfrm>
            <a:off x="1369248" y="4637380"/>
            <a:ext cx="283355" cy="282926"/>
          </a:xfrm>
          <a:custGeom>
            <a:avLst/>
            <a:gdLst>
              <a:gd name="T0" fmla="*/ 6624 w 7154"/>
              <a:gd name="T1" fmla="*/ 2037 h 7154"/>
              <a:gd name="T2" fmla="*/ 6106 w 7154"/>
              <a:gd name="T3" fmla="*/ 1048 h 7154"/>
              <a:gd name="T4" fmla="*/ 5117 w 7154"/>
              <a:gd name="T5" fmla="*/ 530 h 7154"/>
              <a:gd name="T6" fmla="*/ 4643 w 7154"/>
              <a:gd name="T7" fmla="*/ 334 h 7154"/>
              <a:gd name="T8" fmla="*/ 3577 w 7154"/>
              <a:gd name="T9" fmla="*/ 0 h 7154"/>
              <a:gd name="T10" fmla="*/ 2511 w 7154"/>
              <a:gd name="T11" fmla="*/ 334 h 7154"/>
              <a:gd name="T12" fmla="*/ 2037 w 7154"/>
              <a:gd name="T13" fmla="*/ 530 h 7154"/>
              <a:gd name="T14" fmla="*/ 1048 w 7154"/>
              <a:gd name="T15" fmla="*/ 1048 h 7154"/>
              <a:gd name="T16" fmla="*/ 530 w 7154"/>
              <a:gd name="T17" fmla="*/ 2037 h 7154"/>
              <a:gd name="T18" fmla="*/ 334 w 7154"/>
              <a:gd name="T19" fmla="*/ 2511 h 7154"/>
              <a:gd name="T20" fmla="*/ 0 w 7154"/>
              <a:gd name="T21" fmla="*/ 3577 h 7154"/>
              <a:gd name="T22" fmla="*/ 334 w 7154"/>
              <a:gd name="T23" fmla="*/ 4643 h 7154"/>
              <a:gd name="T24" fmla="*/ 530 w 7154"/>
              <a:gd name="T25" fmla="*/ 5117 h 7154"/>
              <a:gd name="T26" fmla="*/ 1048 w 7154"/>
              <a:gd name="T27" fmla="*/ 6106 h 7154"/>
              <a:gd name="T28" fmla="*/ 2037 w 7154"/>
              <a:gd name="T29" fmla="*/ 6624 h 7154"/>
              <a:gd name="T30" fmla="*/ 2511 w 7154"/>
              <a:gd name="T31" fmla="*/ 6820 h 7154"/>
              <a:gd name="T32" fmla="*/ 3577 w 7154"/>
              <a:gd name="T33" fmla="*/ 7154 h 7154"/>
              <a:gd name="T34" fmla="*/ 4643 w 7154"/>
              <a:gd name="T35" fmla="*/ 6820 h 7154"/>
              <a:gd name="T36" fmla="*/ 5117 w 7154"/>
              <a:gd name="T37" fmla="*/ 6624 h 7154"/>
              <a:gd name="T38" fmla="*/ 6106 w 7154"/>
              <a:gd name="T39" fmla="*/ 6106 h 7154"/>
              <a:gd name="T40" fmla="*/ 6624 w 7154"/>
              <a:gd name="T41" fmla="*/ 5117 h 7154"/>
              <a:gd name="T42" fmla="*/ 6820 w 7154"/>
              <a:gd name="T43" fmla="*/ 4643 h 7154"/>
              <a:gd name="T44" fmla="*/ 7154 w 7154"/>
              <a:gd name="T45" fmla="*/ 3577 h 7154"/>
              <a:gd name="T46" fmla="*/ 6820 w 7154"/>
              <a:gd name="T47" fmla="*/ 2511 h 7154"/>
              <a:gd name="T48" fmla="*/ 6624 w 7154"/>
              <a:gd name="T49" fmla="*/ 2037 h 7154"/>
              <a:gd name="T50" fmla="*/ 5857 w 7154"/>
              <a:gd name="T51" fmla="*/ 2406 h 7154"/>
              <a:gd name="T52" fmla="*/ 3286 w 7154"/>
              <a:gd name="T53" fmla="*/ 4976 h 7154"/>
              <a:gd name="T54" fmla="*/ 2875 w 7154"/>
              <a:gd name="T55" fmla="*/ 5387 h 7154"/>
              <a:gd name="T56" fmla="*/ 2464 w 7154"/>
              <a:gd name="T57" fmla="*/ 5387 h 7154"/>
              <a:gd name="T58" fmla="*/ 2053 w 7154"/>
              <a:gd name="T59" fmla="*/ 4976 h 7154"/>
              <a:gd name="T60" fmla="*/ 1297 w 7154"/>
              <a:gd name="T61" fmla="*/ 4221 h 7154"/>
              <a:gd name="T62" fmla="*/ 1297 w 7154"/>
              <a:gd name="T63" fmla="*/ 3809 h 7154"/>
              <a:gd name="T64" fmla="*/ 1708 w 7154"/>
              <a:gd name="T65" fmla="*/ 3398 h 7154"/>
              <a:gd name="T66" fmla="*/ 2120 w 7154"/>
              <a:gd name="T67" fmla="*/ 3398 h 7154"/>
              <a:gd name="T68" fmla="*/ 2669 w 7154"/>
              <a:gd name="T69" fmla="*/ 3948 h 7154"/>
              <a:gd name="T70" fmla="*/ 5034 w 7154"/>
              <a:gd name="T71" fmla="*/ 1583 h 7154"/>
              <a:gd name="T72" fmla="*/ 5445 w 7154"/>
              <a:gd name="T73" fmla="*/ 1583 h 7154"/>
              <a:gd name="T74" fmla="*/ 5857 w 7154"/>
              <a:gd name="T75" fmla="*/ 1994 h 7154"/>
              <a:gd name="T76" fmla="*/ 5857 w 7154"/>
              <a:gd name="T77" fmla="*/ 2406 h 7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154" h="7154">
                <a:moveTo>
                  <a:pt x="6624" y="2037"/>
                </a:moveTo>
                <a:cubicBezTo>
                  <a:pt x="6580" y="1703"/>
                  <a:pt x="6403" y="1345"/>
                  <a:pt x="6106" y="1048"/>
                </a:cubicBezTo>
                <a:cubicBezTo>
                  <a:pt x="5809" y="751"/>
                  <a:pt x="5451" y="574"/>
                  <a:pt x="5117" y="530"/>
                </a:cubicBezTo>
                <a:cubicBezTo>
                  <a:pt x="4966" y="510"/>
                  <a:pt x="4764" y="427"/>
                  <a:pt x="4643" y="334"/>
                </a:cubicBezTo>
                <a:cubicBezTo>
                  <a:pt x="4375" y="128"/>
                  <a:pt x="3997" y="0"/>
                  <a:pt x="3577" y="0"/>
                </a:cubicBezTo>
                <a:cubicBezTo>
                  <a:pt x="3157" y="0"/>
                  <a:pt x="2779" y="128"/>
                  <a:pt x="2511" y="334"/>
                </a:cubicBezTo>
                <a:cubicBezTo>
                  <a:pt x="2390" y="427"/>
                  <a:pt x="2188" y="510"/>
                  <a:pt x="2037" y="530"/>
                </a:cubicBezTo>
                <a:cubicBezTo>
                  <a:pt x="1702" y="574"/>
                  <a:pt x="1345" y="751"/>
                  <a:pt x="1048" y="1048"/>
                </a:cubicBezTo>
                <a:cubicBezTo>
                  <a:pt x="751" y="1345"/>
                  <a:pt x="574" y="1703"/>
                  <a:pt x="530" y="2037"/>
                </a:cubicBezTo>
                <a:cubicBezTo>
                  <a:pt x="510" y="2188"/>
                  <a:pt x="427" y="2390"/>
                  <a:pt x="334" y="2511"/>
                </a:cubicBezTo>
                <a:cubicBezTo>
                  <a:pt x="128" y="2779"/>
                  <a:pt x="0" y="3157"/>
                  <a:pt x="0" y="3577"/>
                </a:cubicBezTo>
                <a:cubicBezTo>
                  <a:pt x="0" y="3997"/>
                  <a:pt x="128" y="4375"/>
                  <a:pt x="334" y="4643"/>
                </a:cubicBezTo>
                <a:cubicBezTo>
                  <a:pt x="427" y="4764"/>
                  <a:pt x="510" y="4966"/>
                  <a:pt x="530" y="5117"/>
                </a:cubicBezTo>
                <a:cubicBezTo>
                  <a:pt x="574" y="5451"/>
                  <a:pt x="751" y="5809"/>
                  <a:pt x="1048" y="6106"/>
                </a:cubicBezTo>
                <a:cubicBezTo>
                  <a:pt x="1345" y="6403"/>
                  <a:pt x="1702" y="6580"/>
                  <a:pt x="2037" y="6624"/>
                </a:cubicBezTo>
                <a:cubicBezTo>
                  <a:pt x="2188" y="6644"/>
                  <a:pt x="2390" y="6727"/>
                  <a:pt x="2511" y="6820"/>
                </a:cubicBezTo>
                <a:cubicBezTo>
                  <a:pt x="2779" y="7025"/>
                  <a:pt x="3157" y="7154"/>
                  <a:pt x="3577" y="7154"/>
                </a:cubicBezTo>
                <a:cubicBezTo>
                  <a:pt x="3997" y="7154"/>
                  <a:pt x="4375" y="7025"/>
                  <a:pt x="4643" y="6820"/>
                </a:cubicBezTo>
                <a:cubicBezTo>
                  <a:pt x="4764" y="6727"/>
                  <a:pt x="4966" y="6644"/>
                  <a:pt x="5117" y="6624"/>
                </a:cubicBezTo>
                <a:cubicBezTo>
                  <a:pt x="5451" y="6580"/>
                  <a:pt x="5809" y="6403"/>
                  <a:pt x="6106" y="6106"/>
                </a:cubicBezTo>
                <a:cubicBezTo>
                  <a:pt x="6403" y="5809"/>
                  <a:pt x="6580" y="5451"/>
                  <a:pt x="6624" y="5117"/>
                </a:cubicBezTo>
                <a:cubicBezTo>
                  <a:pt x="6644" y="4966"/>
                  <a:pt x="6727" y="4764"/>
                  <a:pt x="6820" y="4643"/>
                </a:cubicBezTo>
                <a:cubicBezTo>
                  <a:pt x="7026" y="4375"/>
                  <a:pt x="7154" y="3997"/>
                  <a:pt x="7154" y="3577"/>
                </a:cubicBezTo>
                <a:cubicBezTo>
                  <a:pt x="7154" y="3157"/>
                  <a:pt x="7026" y="2779"/>
                  <a:pt x="6820" y="2511"/>
                </a:cubicBezTo>
                <a:cubicBezTo>
                  <a:pt x="6727" y="2390"/>
                  <a:pt x="6644" y="2188"/>
                  <a:pt x="6624" y="2037"/>
                </a:cubicBezTo>
                <a:close/>
                <a:moveTo>
                  <a:pt x="5857" y="2406"/>
                </a:moveTo>
                <a:lnTo>
                  <a:pt x="3286" y="4976"/>
                </a:lnTo>
                <a:lnTo>
                  <a:pt x="2875" y="5387"/>
                </a:lnTo>
                <a:cubicBezTo>
                  <a:pt x="2762" y="5501"/>
                  <a:pt x="2577" y="5501"/>
                  <a:pt x="2464" y="5387"/>
                </a:cubicBezTo>
                <a:lnTo>
                  <a:pt x="2053" y="4976"/>
                </a:lnTo>
                <a:lnTo>
                  <a:pt x="1297" y="4221"/>
                </a:lnTo>
                <a:cubicBezTo>
                  <a:pt x="1183" y="4107"/>
                  <a:pt x="1183" y="3923"/>
                  <a:pt x="1297" y="3809"/>
                </a:cubicBezTo>
                <a:lnTo>
                  <a:pt x="1708" y="3398"/>
                </a:lnTo>
                <a:cubicBezTo>
                  <a:pt x="1822" y="3285"/>
                  <a:pt x="2006" y="3285"/>
                  <a:pt x="2120" y="3398"/>
                </a:cubicBezTo>
                <a:lnTo>
                  <a:pt x="2669" y="3948"/>
                </a:lnTo>
                <a:lnTo>
                  <a:pt x="5034" y="1583"/>
                </a:lnTo>
                <a:cubicBezTo>
                  <a:pt x="5148" y="1470"/>
                  <a:pt x="5332" y="1470"/>
                  <a:pt x="5445" y="1583"/>
                </a:cubicBezTo>
                <a:lnTo>
                  <a:pt x="5857" y="1994"/>
                </a:lnTo>
                <a:cubicBezTo>
                  <a:pt x="5970" y="2108"/>
                  <a:pt x="5970" y="2292"/>
                  <a:pt x="5857" y="2406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5" name="iṧḷiḑé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2707316" y="3654019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按分布模式进行配置</a:t>
            </a:r>
            <a:endParaRPr lang="en-US" altLang="zh-CN" sz="1100" dirty="0"/>
          </a:p>
        </p:txBody>
      </p:sp>
      <p:sp>
        <p:nvSpPr>
          <p:cNvPr id="216" name="îṧḻiḑe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2297693" y="4141801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>
                <a:solidFill>
                  <a:schemeClr val="bg1"/>
                </a:solidFill>
              </a:rPr>
              <a:t>运行第一个实例</a:t>
            </a: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17" name="îṣľïd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1888191" y="4629583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开心</a:t>
            </a:r>
            <a:r>
              <a:rPr lang="en-US" altLang="zh-CN" sz="1100" dirty="0" err="1"/>
              <a:t>ing</a:t>
            </a:r>
            <a:r>
              <a:rPr lang="en-US" altLang="zh-CN" sz="1100" dirty="0"/>
              <a:t>~</a:t>
            </a:r>
          </a:p>
        </p:txBody>
      </p:sp>
      <p:sp>
        <p:nvSpPr>
          <p:cNvPr id="218" name="íṧ1îd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116769" y="3166237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 解压</a:t>
            </a:r>
            <a:endParaRPr lang="en-US" altLang="zh-CN" sz="1100" dirty="0"/>
          </a:p>
        </p:txBody>
      </p:sp>
      <p:sp>
        <p:nvSpPr>
          <p:cNvPr id="219" name="îs1ïḋ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531383" y="2678454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配置环境变量 使之生效</a:t>
            </a:r>
            <a:endParaRPr lang="en-US" altLang="zh-CN" sz="1100" dirty="0"/>
          </a:p>
        </p:txBody>
      </p:sp>
      <p:sp>
        <p:nvSpPr>
          <p:cNvPr id="220" name="íšliḓ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940861" y="2190672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</a:t>
            </a:r>
            <a:r>
              <a:rPr lang="en-US" altLang="zh-CN" sz="1100" dirty="0"/>
              <a:t> </a:t>
            </a:r>
            <a:r>
              <a:rPr lang="zh-CN" altLang="en-US" sz="1100" dirty="0"/>
              <a:t>解压</a:t>
            </a:r>
            <a:endParaRPr lang="en-US" altLang="zh-CN" sz="1100" dirty="0"/>
          </a:p>
        </p:txBody>
      </p:sp>
    </p:spTree>
    <p:extLst>
      <p:ext uri="{BB962C8B-B14F-4D97-AF65-F5344CB8AC3E}">
        <p14:creationId xmlns:p14="http://schemas.microsoft.com/office/powerpoint/2010/main" val="28239167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Mapredeuce</a:t>
            </a:r>
            <a:r>
              <a:rPr lang="zh-CN" altLang="en-US" dirty="0"/>
              <a:t>中有很多内置的实例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3</a:t>
            </a:fld>
            <a:endParaRPr lang="zh-CN" altLang="en-US"/>
          </a:p>
        </p:txBody>
      </p:sp>
      <p:sp>
        <p:nvSpPr>
          <p:cNvPr id="195" name="iṧḻîďè">
            <a:extLst>
              <a:ext uri="{FF2B5EF4-FFF2-40B4-BE49-F238E27FC236}">
                <a16:creationId xmlns:a16="http://schemas.microsoft.com/office/drawing/2014/main" id="{6FC8272D-4563-47EB-B741-E738A21C2623}"/>
              </a:ext>
            </a:extLst>
          </p:cNvPr>
          <p:cNvSpPr/>
          <p:nvPr/>
        </p:nvSpPr>
        <p:spPr bwMode="auto">
          <a:xfrm>
            <a:off x="4270421" y="-659664"/>
            <a:ext cx="1659226" cy="34701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搞定！</a:t>
            </a:r>
            <a:endParaRPr lang="en-US" altLang="zh-CN" b="1" dirty="0"/>
          </a:p>
        </p:txBody>
      </p:sp>
      <p:sp>
        <p:nvSpPr>
          <p:cNvPr id="196" name="îŝḻiḋé">
            <a:extLst>
              <a:ext uri="{FF2B5EF4-FFF2-40B4-BE49-F238E27FC236}">
                <a16:creationId xmlns:a16="http://schemas.microsoft.com/office/drawing/2014/main" id="{C05C75D7-4258-49B9-958F-F2EEF0B840E0}"/>
              </a:ext>
            </a:extLst>
          </p:cNvPr>
          <p:cNvSpPr/>
          <p:nvPr/>
        </p:nvSpPr>
        <p:spPr bwMode="auto">
          <a:xfrm>
            <a:off x="4545232" y="-991187"/>
            <a:ext cx="1659226" cy="347013"/>
          </a:xfrm>
          <a:prstGeom prst="parallelogram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>
                <a:solidFill>
                  <a:schemeClr val="bg1"/>
                </a:solidFill>
              </a:rPr>
              <a:t>测试</a:t>
            </a:r>
            <a:endParaRPr lang="en-US" altLang="zh-CN" sz="1750" b="1" dirty="0">
              <a:solidFill>
                <a:schemeClr val="bg1"/>
              </a:solidFill>
            </a:endParaRPr>
          </a:p>
        </p:txBody>
      </p:sp>
      <p:sp>
        <p:nvSpPr>
          <p:cNvPr id="197" name="íṥḷíďê">
            <a:extLst>
              <a:ext uri="{FF2B5EF4-FFF2-40B4-BE49-F238E27FC236}">
                <a16:creationId xmlns:a16="http://schemas.microsoft.com/office/drawing/2014/main" id="{D4FCC7AE-5767-4EC4-BB68-B94457D3AE6D}"/>
              </a:ext>
            </a:extLst>
          </p:cNvPr>
          <p:cNvSpPr/>
          <p:nvPr/>
        </p:nvSpPr>
        <p:spPr bwMode="auto">
          <a:xfrm>
            <a:off x="4814195" y="-1322709"/>
            <a:ext cx="1659226" cy="34701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/>
              <a:t>配置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8" name="ïś1ïḓè">
            <a:extLst>
              <a:ext uri="{FF2B5EF4-FFF2-40B4-BE49-F238E27FC236}">
                <a16:creationId xmlns:a16="http://schemas.microsoft.com/office/drawing/2014/main" id="{F32E844B-E27C-4A92-9B60-95E4AD88D81F}"/>
              </a:ext>
            </a:extLst>
          </p:cNvPr>
          <p:cNvSpPr/>
          <p:nvPr/>
        </p:nvSpPr>
        <p:spPr bwMode="auto">
          <a:xfrm>
            <a:off x="5088422" y="-1654232"/>
            <a:ext cx="1659226" cy="34701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 dirty="0"/>
              <a:t>安装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9" name="îśļïḍè">
            <a:extLst>
              <a:ext uri="{FF2B5EF4-FFF2-40B4-BE49-F238E27FC236}">
                <a16:creationId xmlns:a16="http://schemas.microsoft.com/office/drawing/2014/main" id="{F812BB55-77DE-4E23-95E6-156A22FAD363}"/>
              </a:ext>
            </a:extLst>
          </p:cNvPr>
          <p:cNvSpPr/>
          <p:nvPr/>
        </p:nvSpPr>
        <p:spPr bwMode="auto">
          <a:xfrm>
            <a:off x="5344175" y="-1985755"/>
            <a:ext cx="1659226" cy="34701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配置</a:t>
            </a:r>
            <a:r>
              <a:rPr lang="en-US" altLang="zh-CN" b="1" dirty="0"/>
              <a:t>JAVA</a:t>
            </a:r>
          </a:p>
        </p:txBody>
      </p:sp>
      <p:sp>
        <p:nvSpPr>
          <p:cNvPr id="200" name="ï$1íḍé">
            <a:extLst>
              <a:ext uri="{FF2B5EF4-FFF2-40B4-BE49-F238E27FC236}">
                <a16:creationId xmlns:a16="http://schemas.microsoft.com/office/drawing/2014/main" id="{48245F16-84E7-4201-9485-85B5E5B15ECD}"/>
              </a:ext>
            </a:extLst>
          </p:cNvPr>
          <p:cNvSpPr/>
          <p:nvPr/>
        </p:nvSpPr>
        <p:spPr bwMode="auto">
          <a:xfrm>
            <a:off x="5609393" y="-2317278"/>
            <a:ext cx="1659226" cy="34701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安装</a:t>
            </a:r>
            <a:r>
              <a:rPr lang="en-US" altLang="zh-CN" b="1" dirty="0"/>
              <a:t>JAVA</a:t>
            </a:r>
          </a:p>
        </p:txBody>
      </p:sp>
      <p:sp>
        <p:nvSpPr>
          <p:cNvPr id="201" name="îṥľïďê">
            <a:extLst>
              <a:ext uri="{FF2B5EF4-FFF2-40B4-BE49-F238E27FC236}">
                <a16:creationId xmlns:a16="http://schemas.microsoft.com/office/drawing/2014/main" id="{920DFBAA-02E5-4206-86B0-FE10F93A7509}"/>
              </a:ext>
            </a:extLst>
          </p:cNvPr>
          <p:cNvSpPr/>
          <p:nvPr/>
        </p:nvSpPr>
        <p:spPr bwMode="auto">
          <a:xfrm>
            <a:off x="4058071" y="-1571275"/>
            <a:ext cx="1907405" cy="631854"/>
          </a:xfrm>
          <a:custGeom>
            <a:avLst/>
            <a:gdLst>
              <a:gd name="T0" fmla="*/ 179 w 203"/>
              <a:gd name="T1" fmla="*/ 82 h 82"/>
              <a:gd name="T2" fmla="*/ 203 w 203"/>
              <a:gd name="T3" fmla="*/ 29 h 82"/>
              <a:gd name="T4" fmla="*/ 65 w 203"/>
              <a:gd name="T5" fmla="*/ 27 h 82"/>
              <a:gd name="T6" fmla="*/ 59 w 203"/>
              <a:gd name="T7" fmla="*/ 0 h 82"/>
              <a:gd name="T8" fmla="*/ 59 w 203"/>
              <a:gd name="T9" fmla="*/ 0 h 82"/>
              <a:gd name="T10" fmla="*/ 0 w 203"/>
              <a:gd name="T11" fmla="*/ 80 h 82"/>
              <a:gd name="T12" fmla="*/ 61 w 203"/>
              <a:gd name="T13" fmla="*/ 82 h 82"/>
              <a:gd name="T14" fmla="*/ 179 w 203"/>
              <a:gd name="T15" fmla="*/ 8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3" h="82">
                <a:moveTo>
                  <a:pt x="179" y="82"/>
                </a:moveTo>
                <a:lnTo>
                  <a:pt x="203" y="29"/>
                </a:lnTo>
                <a:lnTo>
                  <a:pt x="65" y="27"/>
                </a:lnTo>
                <a:lnTo>
                  <a:pt x="59" y="0"/>
                </a:lnTo>
                <a:lnTo>
                  <a:pt x="59" y="0"/>
                </a:lnTo>
                <a:lnTo>
                  <a:pt x="0" y="80"/>
                </a:lnTo>
                <a:lnTo>
                  <a:pt x="61" y="82"/>
                </a:lnTo>
                <a:lnTo>
                  <a:pt x="179" y="8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2" name="i$ḻíḋè">
            <a:extLst>
              <a:ext uri="{FF2B5EF4-FFF2-40B4-BE49-F238E27FC236}">
                <a16:creationId xmlns:a16="http://schemas.microsoft.com/office/drawing/2014/main" id="{430BE7EB-B6F0-4F05-80EA-1F517165029F}"/>
              </a:ext>
            </a:extLst>
          </p:cNvPr>
          <p:cNvSpPr/>
          <p:nvPr/>
        </p:nvSpPr>
        <p:spPr bwMode="auto">
          <a:xfrm>
            <a:off x="5491685" y="-2317278"/>
            <a:ext cx="712773" cy="126244"/>
          </a:xfrm>
          <a:prstGeom prst="triangle">
            <a:avLst>
              <a:gd name="adj" fmla="val 14726"/>
            </a:avLst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3" name="işľiḋe">
            <a:extLst>
              <a:ext uri="{FF2B5EF4-FFF2-40B4-BE49-F238E27FC236}">
                <a16:creationId xmlns:a16="http://schemas.microsoft.com/office/drawing/2014/main" id="{E4DECB97-43D1-4D26-8C48-41447675AE79}"/>
              </a:ext>
            </a:extLst>
          </p:cNvPr>
          <p:cNvSpPr/>
          <p:nvPr/>
        </p:nvSpPr>
        <p:spPr bwMode="auto">
          <a:xfrm>
            <a:off x="3270484" y="-2403474"/>
            <a:ext cx="2933974" cy="555361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4" name="iś1íďé">
            <a:extLst>
              <a:ext uri="{FF2B5EF4-FFF2-40B4-BE49-F238E27FC236}">
                <a16:creationId xmlns:a16="http://schemas.microsoft.com/office/drawing/2014/main" id="{6E7EA96A-F20A-4912-AC31-63A0F19E66DE}"/>
              </a:ext>
            </a:extLst>
          </p:cNvPr>
          <p:cNvSpPr/>
          <p:nvPr/>
        </p:nvSpPr>
        <p:spPr bwMode="auto">
          <a:xfrm>
            <a:off x="2992182" y="-2071951"/>
            <a:ext cx="2933974" cy="555361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5" name="ïŝlíḋe">
            <a:extLst>
              <a:ext uri="{FF2B5EF4-FFF2-40B4-BE49-F238E27FC236}">
                <a16:creationId xmlns:a16="http://schemas.microsoft.com/office/drawing/2014/main" id="{66D30D6F-26C9-4C2C-BC01-900AC07DC57E}"/>
              </a:ext>
            </a:extLst>
          </p:cNvPr>
          <p:cNvSpPr/>
          <p:nvPr/>
        </p:nvSpPr>
        <p:spPr bwMode="auto">
          <a:xfrm>
            <a:off x="2710388" y="-1740428"/>
            <a:ext cx="2933974" cy="555361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6" name="îSliďè">
            <a:extLst>
              <a:ext uri="{FF2B5EF4-FFF2-40B4-BE49-F238E27FC236}">
                <a16:creationId xmlns:a16="http://schemas.microsoft.com/office/drawing/2014/main" id="{2F6D5554-EACD-4DDD-892F-2E5F97A9C421}"/>
              </a:ext>
            </a:extLst>
          </p:cNvPr>
          <p:cNvSpPr/>
          <p:nvPr/>
        </p:nvSpPr>
        <p:spPr bwMode="auto">
          <a:xfrm>
            <a:off x="2432102" y="-1408905"/>
            <a:ext cx="2933974" cy="555361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7" name="îSliďé">
            <a:extLst>
              <a:ext uri="{FF2B5EF4-FFF2-40B4-BE49-F238E27FC236}">
                <a16:creationId xmlns:a16="http://schemas.microsoft.com/office/drawing/2014/main" id="{2E278F3F-C8D8-4E2A-A3EA-29ADCF1A02AA}"/>
              </a:ext>
            </a:extLst>
          </p:cNvPr>
          <p:cNvSpPr/>
          <p:nvPr/>
        </p:nvSpPr>
        <p:spPr bwMode="auto">
          <a:xfrm>
            <a:off x="2153700" y="-1077383"/>
            <a:ext cx="2933974" cy="555361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8" name="îs1iďé">
            <a:extLst>
              <a:ext uri="{FF2B5EF4-FFF2-40B4-BE49-F238E27FC236}">
                <a16:creationId xmlns:a16="http://schemas.microsoft.com/office/drawing/2014/main" id="{EB74D0C2-5677-4F3F-A043-44D01A3F3D48}"/>
              </a:ext>
            </a:extLst>
          </p:cNvPr>
          <p:cNvSpPr/>
          <p:nvPr/>
        </p:nvSpPr>
        <p:spPr bwMode="auto">
          <a:xfrm>
            <a:off x="1875381" y="-745860"/>
            <a:ext cx="2933974" cy="555361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9" name="ïṣḻïḋe">
            <a:extLst>
              <a:ext uri="{FF2B5EF4-FFF2-40B4-BE49-F238E27FC236}">
                <a16:creationId xmlns:a16="http://schemas.microsoft.com/office/drawing/2014/main" id="{7709F84E-C33F-462F-B538-51CB71C9284E}"/>
              </a:ext>
            </a:extLst>
          </p:cNvPr>
          <p:cNvSpPr/>
          <p:nvPr/>
        </p:nvSpPr>
        <p:spPr bwMode="auto">
          <a:xfrm>
            <a:off x="3734615" y="-2114800"/>
            <a:ext cx="192583" cy="192315"/>
          </a:xfrm>
          <a:custGeom>
            <a:avLst/>
            <a:gdLst>
              <a:gd name="T0" fmla="*/ 400 w 11264"/>
              <a:gd name="T1" fmla="*/ 7099 h 11264"/>
              <a:gd name="T2" fmla="*/ 4165 w 11264"/>
              <a:gd name="T3" fmla="*/ 7099 h 11264"/>
              <a:gd name="T4" fmla="*/ 4165 w 11264"/>
              <a:gd name="T5" fmla="*/ 10864 h 11264"/>
              <a:gd name="T6" fmla="*/ 4565 w 11264"/>
              <a:gd name="T7" fmla="*/ 11264 h 11264"/>
              <a:gd name="T8" fmla="*/ 6699 w 11264"/>
              <a:gd name="T9" fmla="*/ 11264 h 11264"/>
              <a:gd name="T10" fmla="*/ 7099 w 11264"/>
              <a:gd name="T11" fmla="*/ 10864 h 11264"/>
              <a:gd name="T12" fmla="*/ 7099 w 11264"/>
              <a:gd name="T13" fmla="*/ 7099 h 11264"/>
              <a:gd name="T14" fmla="*/ 10864 w 11264"/>
              <a:gd name="T15" fmla="*/ 7099 h 11264"/>
              <a:gd name="T16" fmla="*/ 11264 w 11264"/>
              <a:gd name="T17" fmla="*/ 6699 h 11264"/>
              <a:gd name="T18" fmla="*/ 11264 w 11264"/>
              <a:gd name="T19" fmla="*/ 4565 h 11264"/>
              <a:gd name="T20" fmla="*/ 10864 w 11264"/>
              <a:gd name="T21" fmla="*/ 4165 h 11264"/>
              <a:gd name="T22" fmla="*/ 7099 w 11264"/>
              <a:gd name="T23" fmla="*/ 4165 h 11264"/>
              <a:gd name="T24" fmla="*/ 7099 w 11264"/>
              <a:gd name="T25" fmla="*/ 400 h 11264"/>
              <a:gd name="T26" fmla="*/ 6699 w 11264"/>
              <a:gd name="T27" fmla="*/ 0 h 11264"/>
              <a:gd name="T28" fmla="*/ 4565 w 11264"/>
              <a:gd name="T29" fmla="*/ 0 h 11264"/>
              <a:gd name="T30" fmla="*/ 4165 w 11264"/>
              <a:gd name="T31" fmla="*/ 400 h 11264"/>
              <a:gd name="T32" fmla="*/ 4165 w 11264"/>
              <a:gd name="T33" fmla="*/ 4165 h 11264"/>
              <a:gd name="T34" fmla="*/ 400 w 11264"/>
              <a:gd name="T35" fmla="*/ 4165 h 11264"/>
              <a:gd name="T36" fmla="*/ 0 w 11264"/>
              <a:gd name="T37" fmla="*/ 4565 h 11264"/>
              <a:gd name="T38" fmla="*/ 0 w 11264"/>
              <a:gd name="T39" fmla="*/ 6699 h 11264"/>
              <a:gd name="T40" fmla="*/ 400 w 11264"/>
              <a:gd name="T41" fmla="*/ 7099 h 11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264" h="11264">
                <a:moveTo>
                  <a:pt x="400" y="7099"/>
                </a:moveTo>
                <a:lnTo>
                  <a:pt x="4165" y="7099"/>
                </a:lnTo>
                <a:lnTo>
                  <a:pt x="4165" y="10864"/>
                </a:lnTo>
                <a:cubicBezTo>
                  <a:pt x="4165" y="11085"/>
                  <a:pt x="4344" y="11264"/>
                  <a:pt x="4565" y="11264"/>
                </a:cubicBezTo>
                <a:lnTo>
                  <a:pt x="6699" y="11264"/>
                </a:lnTo>
                <a:cubicBezTo>
                  <a:pt x="6920" y="11264"/>
                  <a:pt x="7099" y="11085"/>
                  <a:pt x="7099" y="10864"/>
                </a:cubicBezTo>
                <a:lnTo>
                  <a:pt x="7099" y="7099"/>
                </a:lnTo>
                <a:lnTo>
                  <a:pt x="10864" y="7099"/>
                </a:lnTo>
                <a:cubicBezTo>
                  <a:pt x="11085" y="7099"/>
                  <a:pt x="11264" y="6920"/>
                  <a:pt x="11264" y="6699"/>
                </a:cubicBezTo>
                <a:lnTo>
                  <a:pt x="11264" y="4565"/>
                </a:lnTo>
                <a:cubicBezTo>
                  <a:pt x="11264" y="4344"/>
                  <a:pt x="11085" y="4165"/>
                  <a:pt x="10864" y="4165"/>
                </a:cubicBezTo>
                <a:lnTo>
                  <a:pt x="7099" y="4165"/>
                </a:lnTo>
                <a:lnTo>
                  <a:pt x="7099" y="400"/>
                </a:lnTo>
                <a:cubicBezTo>
                  <a:pt x="7099" y="179"/>
                  <a:pt x="6920" y="0"/>
                  <a:pt x="6699" y="0"/>
                </a:cubicBezTo>
                <a:lnTo>
                  <a:pt x="4565" y="0"/>
                </a:lnTo>
                <a:cubicBezTo>
                  <a:pt x="4344" y="0"/>
                  <a:pt x="4165" y="179"/>
                  <a:pt x="4165" y="400"/>
                </a:cubicBezTo>
                <a:lnTo>
                  <a:pt x="4165" y="4165"/>
                </a:lnTo>
                <a:lnTo>
                  <a:pt x="400" y="4165"/>
                </a:lnTo>
                <a:cubicBezTo>
                  <a:pt x="179" y="4165"/>
                  <a:pt x="0" y="4344"/>
                  <a:pt x="0" y="4565"/>
                </a:cubicBezTo>
                <a:lnTo>
                  <a:pt x="0" y="6699"/>
                </a:lnTo>
                <a:cubicBezTo>
                  <a:pt x="0" y="6920"/>
                  <a:pt x="179" y="7099"/>
                  <a:pt x="400" y="7099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0" name="îsḷïde">
            <a:extLst>
              <a:ext uri="{FF2B5EF4-FFF2-40B4-BE49-F238E27FC236}">
                <a16:creationId xmlns:a16="http://schemas.microsoft.com/office/drawing/2014/main" id="{F7027C89-1BCC-4A00-9535-016DE4C49FD7}"/>
              </a:ext>
            </a:extLst>
          </p:cNvPr>
          <p:cNvSpPr/>
          <p:nvPr/>
        </p:nvSpPr>
        <p:spPr bwMode="auto">
          <a:xfrm>
            <a:off x="3471395" y="-1787118"/>
            <a:ext cx="188588" cy="192583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  <a:gd name="connsiteX107" fmla="*/ 373273 h 605239"/>
              <a:gd name="connsiteY107" fmla="*/ 373273 h 605239"/>
              <a:gd name="connsiteX108" fmla="*/ 373273 h 605239"/>
              <a:gd name="connsiteY108" fmla="*/ 373273 h 605239"/>
              <a:gd name="connsiteX109" fmla="*/ 373273 h 605239"/>
              <a:gd name="connsiteY109" fmla="*/ 373273 h 605239"/>
              <a:gd name="connsiteX110" fmla="*/ 373273 h 605239"/>
              <a:gd name="connsiteY110" fmla="*/ 373273 h 605239"/>
              <a:gd name="connsiteX111" fmla="*/ 373273 h 605239"/>
              <a:gd name="connsiteY111" fmla="*/ 373273 h 605239"/>
              <a:gd name="connsiteX112" fmla="*/ 373273 h 605239"/>
              <a:gd name="connsiteY112" fmla="*/ 373273 h 605239"/>
              <a:gd name="connsiteX113" fmla="*/ 373273 h 605239"/>
              <a:gd name="connsiteY113" fmla="*/ 373273 h 605239"/>
              <a:gd name="connsiteX114" fmla="*/ 373273 h 605239"/>
              <a:gd name="connsiteY114" fmla="*/ 373273 h 605239"/>
              <a:gd name="connsiteX115" fmla="*/ 373273 h 605239"/>
              <a:gd name="connsiteY115" fmla="*/ 373273 h 605239"/>
              <a:gd name="connsiteX116" fmla="*/ 373273 h 605239"/>
              <a:gd name="connsiteY116" fmla="*/ 373273 h 605239"/>
              <a:gd name="connsiteX117" fmla="*/ 373273 h 605239"/>
              <a:gd name="connsiteY117" fmla="*/ 373273 h 605239"/>
              <a:gd name="connsiteX118" fmla="*/ 373273 h 605239"/>
              <a:gd name="connsiteY118" fmla="*/ 373273 h 605239"/>
              <a:gd name="connsiteX119" fmla="*/ 373273 h 605239"/>
              <a:gd name="connsiteY119" fmla="*/ 373273 h 605239"/>
              <a:gd name="connsiteX120" fmla="*/ 373273 h 605239"/>
              <a:gd name="connsiteY120" fmla="*/ 373273 h 605239"/>
              <a:gd name="connsiteX121" fmla="*/ 373273 h 605239"/>
              <a:gd name="connsiteY121" fmla="*/ 373273 h 605239"/>
              <a:gd name="connsiteX122" fmla="*/ 373273 h 605239"/>
              <a:gd name="connsiteY122" fmla="*/ 373273 h 605239"/>
              <a:gd name="connsiteX123" fmla="*/ 373273 h 605239"/>
              <a:gd name="connsiteY123" fmla="*/ 373273 h 605239"/>
              <a:gd name="connsiteX124" fmla="*/ 373273 h 605239"/>
              <a:gd name="connsiteY124" fmla="*/ 373273 h 605239"/>
              <a:gd name="connsiteX125" fmla="*/ 373273 h 605239"/>
              <a:gd name="connsiteY125" fmla="*/ 373273 h 605239"/>
              <a:gd name="connsiteX126" fmla="*/ 373273 h 605239"/>
              <a:gd name="connsiteY126" fmla="*/ 373273 h 605239"/>
              <a:gd name="connsiteX127" fmla="*/ 373273 h 605239"/>
              <a:gd name="connsiteY127" fmla="*/ 373273 h 605239"/>
              <a:gd name="connsiteX128" fmla="*/ 373273 h 605239"/>
              <a:gd name="connsiteY128" fmla="*/ 373273 h 605239"/>
              <a:gd name="connsiteX129" fmla="*/ 373273 h 605239"/>
              <a:gd name="connsiteY12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593733" h="606309">
                <a:moveTo>
                  <a:pt x="353250" y="302855"/>
                </a:moveTo>
                <a:cubicBezTo>
                  <a:pt x="318468" y="302855"/>
                  <a:pt x="290232" y="331146"/>
                  <a:pt x="290232" y="365879"/>
                </a:cubicBezTo>
                <a:cubicBezTo>
                  <a:pt x="290232" y="374189"/>
                  <a:pt x="296964" y="380912"/>
                  <a:pt x="305285" y="380912"/>
                </a:cubicBezTo>
                <a:cubicBezTo>
                  <a:pt x="313607" y="380912"/>
                  <a:pt x="320338" y="374189"/>
                  <a:pt x="320338" y="365879"/>
                </a:cubicBezTo>
                <a:cubicBezTo>
                  <a:pt x="320338" y="347672"/>
                  <a:pt x="335111" y="333014"/>
                  <a:pt x="353250" y="333014"/>
                </a:cubicBezTo>
                <a:cubicBezTo>
                  <a:pt x="361665" y="333014"/>
                  <a:pt x="368397" y="326291"/>
                  <a:pt x="368397" y="317888"/>
                </a:cubicBezTo>
                <a:cubicBezTo>
                  <a:pt x="368397" y="309578"/>
                  <a:pt x="361665" y="302855"/>
                  <a:pt x="353250" y="302855"/>
                </a:cubicBezTo>
                <a:close/>
                <a:moveTo>
                  <a:pt x="353250" y="265041"/>
                </a:moveTo>
                <a:cubicBezTo>
                  <a:pt x="409163" y="265041"/>
                  <a:pt x="454229" y="310232"/>
                  <a:pt x="454229" y="365879"/>
                </a:cubicBezTo>
                <a:cubicBezTo>
                  <a:pt x="454229" y="421527"/>
                  <a:pt x="408976" y="466717"/>
                  <a:pt x="353250" y="466717"/>
                </a:cubicBezTo>
                <a:cubicBezTo>
                  <a:pt x="297525" y="466717"/>
                  <a:pt x="252271" y="421527"/>
                  <a:pt x="252271" y="365879"/>
                </a:cubicBezTo>
                <a:cubicBezTo>
                  <a:pt x="252271" y="310232"/>
                  <a:pt x="297431" y="265041"/>
                  <a:pt x="353250" y="265041"/>
                </a:cubicBezTo>
                <a:close/>
                <a:moveTo>
                  <a:pt x="427779" y="133781"/>
                </a:moveTo>
                <a:cubicBezTo>
                  <a:pt x="432818" y="131960"/>
                  <a:pt x="438547" y="132054"/>
                  <a:pt x="443784" y="134482"/>
                </a:cubicBezTo>
                <a:lnTo>
                  <a:pt x="473245" y="148209"/>
                </a:lnTo>
                <a:cubicBezTo>
                  <a:pt x="483720" y="153158"/>
                  <a:pt x="488209" y="165671"/>
                  <a:pt x="483346" y="176130"/>
                </a:cubicBezTo>
                <a:lnTo>
                  <a:pt x="470252" y="203957"/>
                </a:lnTo>
                <a:cubicBezTo>
                  <a:pt x="492231" y="219646"/>
                  <a:pt x="511123" y="240003"/>
                  <a:pt x="525526" y="264095"/>
                </a:cubicBezTo>
                <a:lnTo>
                  <a:pt x="554426" y="253636"/>
                </a:lnTo>
                <a:cubicBezTo>
                  <a:pt x="565368" y="249714"/>
                  <a:pt x="577340" y="255411"/>
                  <a:pt x="581361" y="266243"/>
                </a:cubicBezTo>
                <a:lnTo>
                  <a:pt x="592491" y="296592"/>
                </a:lnTo>
                <a:cubicBezTo>
                  <a:pt x="596419" y="307612"/>
                  <a:pt x="590714" y="319564"/>
                  <a:pt x="579865" y="323486"/>
                </a:cubicBezTo>
                <a:lnTo>
                  <a:pt x="550965" y="333945"/>
                </a:lnTo>
                <a:cubicBezTo>
                  <a:pt x="555455" y="361586"/>
                  <a:pt x="553958" y="389414"/>
                  <a:pt x="547224" y="415561"/>
                </a:cubicBezTo>
                <a:lnTo>
                  <a:pt x="575095" y="428634"/>
                </a:lnTo>
                <a:cubicBezTo>
                  <a:pt x="585570" y="433490"/>
                  <a:pt x="590059" y="445910"/>
                  <a:pt x="585102" y="456649"/>
                </a:cubicBezTo>
                <a:lnTo>
                  <a:pt x="571354" y="485970"/>
                </a:lnTo>
                <a:cubicBezTo>
                  <a:pt x="566397" y="496429"/>
                  <a:pt x="553958" y="500911"/>
                  <a:pt x="543483" y="496056"/>
                </a:cubicBezTo>
                <a:lnTo>
                  <a:pt x="515238" y="482982"/>
                </a:lnTo>
                <a:cubicBezTo>
                  <a:pt x="499526" y="504833"/>
                  <a:pt x="479137" y="523510"/>
                  <a:pt x="455007" y="537704"/>
                </a:cubicBezTo>
                <a:lnTo>
                  <a:pt x="465763" y="567026"/>
                </a:lnTo>
                <a:cubicBezTo>
                  <a:pt x="469784" y="578045"/>
                  <a:pt x="463986" y="589997"/>
                  <a:pt x="453137" y="593919"/>
                </a:cubicBezTo>
                <a:lnTo>
                  <a:pt x="422741" y="605032"/>
                </a:lnTo>
                <a:cubicBezTo>
                  <a:pt x="411798" y="609047"/>
                  <a:pt x="399827" y="603258"/>
                  <a:pt x="395805" y="592425"/>
                </a:cubicBezTo>
                <a:lnTo>
                  <a:pt x="385050" y="562823"/>
                </a:lnTo>
                <a:cubicBezTo>
                  <a:pt x="357646" y="567212"/>
                  <a:pt x="330056" y="565718"/>
                  <a:pt x="304149" y="558995"/>
                </a:cubicBezTo>
                <a:lnTo>
                  <a:pt x="290682" y="587756"/>
                </a:lnTo>
                <a:cubicBezTo>
                  <a:pt x="285725" y="598215"/>
                  <a:pt x="273192" y="602697"/>
                  <a:pt x="262717" y="597841"/>
                </a:cubicBezTo>
                <a:lnTo>
                  <a:pt x="233350" y="584114"/>
                </a:lnTo>
                <a:cubicBezTo>
                  <a:pt x="222875" y="579165"/>
                  <a:pt x="218385" y="566652"/>
                  <a:pt x="223249" y="556193"/>
                </a:cubicBezTo>
                <a:lnTo>
                  <a:pt x="236810" y="527338"/>
                </a:lnTo>
                <a:cubicBezTo>
                  <a:pt x="215112" y="511650"/>
                  <a:pt x="196407" y="491480"/>
                  <a:pt x="182284" y="467668"/>
                </a:cubicBezTo>
                <a:lnTo>
                  <a:pt x="152169" y="478687"/>
                </a:lnTo>
                <a:cubicBezTo>
                  <a:pt x="141133" y="482609"/>
                  <a:pt x="129161" y="476912"/>
                  <a:pt x="125233" y="466080"/>
                </a:cubicBezTo>
                <a:lnTo>
                  <a:pt x="114104" y="435731"/>
                </a:lnTo>
                <a:cubicBezTo>
                  <a:pt x="110082" y="424712"/>
                  <a:pt x="115881" y="412759"/>
                  <a:pt x="126730" y="408837"/>
                </a:cubicBezTo>
                <a:lnTo>
                  <a:pt x="156845" y="397818"/>
                </a:lnTo>
                <a:cubicBezTo>
                  <a:pt x="153852" y="379422"/>
                  <a:pt x="153478" y="361026"/>
                  <a:pt x="155629" y="342910"/>
                </a:cubicBezTo>
                <a:lnTo>
                  <a:pt x="158622" y="343097"/>
                </a:lnTo>
                <a:cubicBezTo>
                  <a:pt x="181162" y="344030"/>
                  <a:pt x="200522" y="327408"/>
                  <a:pt x="203141" y="305370"/>
                </a:cubicBezTo>
                <a:cubicBezTo>
                  <a:pt x="207723" y="303876"/>
                  <a:pt x="212119" y="302195"/>
                  <a:pt x="216515" y="300515"/>
                </a:cubicBezTo>
                <a:cubicBezTo>
                  <a:pt x="220349" y="304063"/>
                  <a:pt x="224745" y="306958"/>
                  <a:pt x="229609" y="308919"/>
                </a:cubicBezTo>
                <a:cubicBezTo>
                  <a:pt x="219227" y="330957"/>
                  <a:pt x="214831" y="355983"/>
                  <a:pt x="217824" y="381943"/>
                </a:cubicBezTo>
                <a:cubicBezTo>
                  <a:pt x="226709" y="456462"/>
                  <a:pt x="294329" y="509876"/>
                  <a:pt x="368963" y="501192"/>
                </a:cubicBezTo>
                <a:cubicBezTo>
                  <a:pt x="443691" y="492320"/>
                  <a:pt x="497188" y="424899"/>
                  <a:pt x="488490" y="350287"/>
                </a:cubicBezTo>
                <a:cubicBezTo>
                  <a:pt x="479605" y="275675"/>
                  <a:pt x="411985" y="222260"/>
                  <a:pt x="337351" y="231038"/>
                </a:cubicBezTo>
                <a:cubicBezTo>
                  <a:pt x="324632" y="232532"/>
                  <a:pt x="312473" y="235707"/>
                  <a:pt x="301156" y="240376"/>
                </a:cubicBezTo>
                <a:cubicBezTo>
                  <a:pt x="299660" y="236268"/>
                  <a:pt x="297509" y="232345"/>
                  <a:pt x="294797" y="228890"/>
                </a:cubicBezTo>
                <a:cubicBezTo>
                  <a:pt x="297041" y="224688"/>
                  <a:pt x="299005" y="220393"/>
                  <a:pt x="300782" y="216097"/>
                </a:cubicBezTo>
                <a:cubicBezTo>
                  <a:pt x="311164" y="215817"/>
                  <a:pt x="320891" y="211802"/>
                  <a:pt x="328466" y="204891"/>
                </a:cubicBezTo>
                <a:cubicBezTo>
                  <a:pt x="336977" y="197141"/>
                  <a:pt x="341934" y="186589"/>
                  <a:pt x="342402" y="175103"/>
                </a:cubicBezTo>
                <a:lnTo>
                  <a:pt x="342776" y="166978"/>
                </a:lnTo>
                <a:cubicBezTo>
                  <a:pt x="363164" y="165764"/>
                  <a:pt x="383460" y="167912"/>
                  <a:pt x="402820" y="172768"/>
                </a:cubicBezTo>
                <a:lnTo>
                  <a:pt x="415913" y="144567"/>
                </a:lnTo>
                <a:cubicBezTo>
                  <a:pt x="418392" y="139338"/>
                  <a:pt x="422741" y="135602"/>
                  <a:pt x="427779" y="133781"/>
                </a:cubicBezTo>
                <a:close/>
                <a:moveTo>
                  <a:pt x="159906" y="88589"/>
                </a:moveTo>
                <a:cubicBezTo>
                  <a:pt x="142487" y="87818"/>
                  <a:pt x="124764" y="93678"/>
                  <a:pt x="110828" y="106378"/>
                </a:cubicBezTo>
                <a:cubicBezTo>
                  <a:pt x="96145" y="119731"/>
                  <a:pt x="88663" y="138127"/>
                  <a:pt x="88663" y="156523"/>
                </a:cubicBezTo>
                <a:cubicBezTo>
                  <a:pt x="88663" y="172958"/>
                  <a:pt x="94555" y="189393"/>
                  <a:pt x="106526" y="202467"/>
                </a:cubicBezTo>
                <a:cubicBezTo>
                  <a:pt x="131965" y="230294"/>
                  <a:pt x="175081" y="232162"/>
                  <a:pt x="202764" y="206762"/>
                </a:cubicBezTo>
                <a:cubicBezTo>
                  <a:pt x="217448" y="193409"/>
                  <a:pt x="224930" y="175013"/>
                  <a:pt x="224930" y="156523"/>
                </a:cubicBezTo>
                <a:cubicBezTo>
                  <a:pt x="224930" y="140088"/>
                  <a:pt x="219132" y="123653"/>
                  <a:pt x="207160" y="110580"/>
                </a:cubicBezTo>
                <a:cubicBezTo>
                  <a:pt x="194441" y="96760"/>
                  <a:pt x="177325" y="89359"/>
                  <a:pt x="159906" y="88589"/>
                </a:cubicBezTo>
                <a:close/>
                <a:moveTo>
                  <a:pt x="153289" y="17"/>
                </a:moveTo>
                <a:lnTo>
                  <a:pt x="173678" y="951"/>
                </a:lnTo>
                <a:cubicBezTo>
                  <a:pt x="180786" y="1325"/>
                  <a:pt x="186304" y="7114"/>
                  <a:pt x="186304" y="14118"/>
                </a:cubicBezTo>
                <a:lnTo>
                  <a:pt x="186304" y="14771"/>
                </a:lnTo>
                <a:lnTo>
                  <a:pt x="185462" y="34755"/>
                </a:lnTo>
                <a:cubicBezTo>
                  <a:pt x="201923" y="38677"/>
                  <a:pt x="217729" y="45774"/>
                  <a:pt x="231851" y="56232"/>
                </a:cubicBezTo>
                <a:lnTo>
                  <a:pt x="246535" y="42786"/>
                </a:lnTo>
                <a:cubicBezTo>
                  <a:pt x="251866" y="37930"/>
                  <a:pt x="260283" y="38303"/>
                  <a:pt x="265240" y="43626"/>
                </a:cubicBezTo>
                <a:lnTo>
                  <a:pt x="279082" y="58660"/>
                </a:lnTo>
                <a:cubicBezTo>
                  <a:pt x="281420" y="61275"/>
                  <a:pt x="282542" y="64450"/>
                  <a:pt x="282542" y="67625"/>
                </a:cubicBezTo>
                <a:cubicBezTo>
                  <a:pt x="282542" y="71173"/>
                  <a:pt x="281233" y="74722"/>
                  <a:pt x="278334" y="77337"/>
                </a:cubicBezTo>
                <a:lnTo>
                  <a:pt x="263744" y="90690"/>
                </a:lnTo>
                <a:cubicBezTo>
                  <a:pt x="273096" y="105537"/>
                  <a:pt x="278988" y="121973"/>
                  <a:pt x="281420" y="138781"/>
                </a:cubicBezTo>
                <a:lnTo>
                  <a:pt x="301061" y="139621"/>
                </a:lnTo>
                <a:cubicBezTo>
                  <a:pt x="308169" y="139995"/>
                  <a:pt x="313593" y="145878"/>
                  <a:pt x="313593" y="152788"/>
                </a:cubicBezTo>
                <a:lnTo>
                  <a:pt x="313593" y="153442"/>
                </a:lnTo>
                <a:lnTo>
                  <a:pt x="312751" y="173892"/>
                </a:lnTo>
                <a:cubicBezTo>
                  <a:pt x="312377" y="181083"/>
                  <a:pt x="306298" y="186779"/>
                  <a:pt x="298910" y="186405"/>
                </a:cubicBezTo>
                <a:lnTo>
                  <a:pt x="279456" y="185565"/>
                </a:lnTo>
                <a:cubicBezTo>
                  <a:pt x="275622" y="202093"/>
                  <a:pt x="268327" y="218061"/>
                  <a:pt x="257758" y="232162"/>
                </a:cubicBezTo>
                <a:lnTo>
                  <a:pt x="270852" y="246449"/>
                </a:lnTo>
                <a:cubicBezTo>
                  <a:pt x="273190" y="249064"/>
                  <a:pt x="274312" y="252145"/>
                  <a:pt x="274312" y="255414"/>
                </a:cubicBezTo>
                <a:cubicBezTo>
                  <a:pt x="274312" y="258869"/>
                  <a:pt x="273003" y="262511"/>
                  <a:pt x="270104" y="265126"/>
                </a:cubicBezTo>
                <a:lnTo>
                  <a:pt x="255046" y="278946"/>
                </a:lnTo>
                <a:cubicBezTo>
                  <a:pt x="249621" y="283802"/>
                  <a:pt x="241297" y="283428"/>
                  <a:pt x="236340" y="278106"/>
                </a:cubicBezTo>
                <a:lnTo>
                  <a:pt x="223247" y="263724"/>
                </a:lnTo>
                <a:cubicBezTo>
                  <a:pt x="208282" y="272970"/>
                  <a:pt x="191635" y="278853"/>
                  <a:pt x="174800" y="281187"/>
                </a:cubicBezTo>
                <a:lnTo>
                  <a:pt x="173958" y="300610"/>
                </a:lnTo>
                <a:cubicBezTo>
                  <a:pt x="173584" y="307801"/>
                  <a:pt x="167505" y="313590"/>
                  <a:pt x="160117" y="313217"/>
                </a:cubicBezTo>
                <a:lnTo>
                  <a:pt x="139634" y="312283"/>
                </a:lnTo>
                <a:cubicBezTo>
                  <a:pt x="132526" y="311909"/>
                  <a:pt x="127102" y="306120"/>
                  <a:pt x="127102" y="299116"/>
                </a:cubicBezTo>
                <a:lnTo>
                  <a:pt x="127102" y="298463"/>
                </a:lnTo>
                <a:lnTo>
                  <a:pt x="128037" y="279039"/>
                </a:lnTo>
                <a:cubicBezTo>
                  <a:pt x="111577" y="275211"/>
                  <a:pt x="95771" y="267834"/>
                  <a:pt x="81648" y="257281"/>
                </a:cubicBezTo>
                <a:lnTo>
                  <a:pt x="67058" y="270635"/>
                </a:lnTo>
                <a:cubicBezTo>
                  <a:pt x="61727" y="275491"/>
                  <a:pt x="53403" y="275117"/>
                  <a:pt x="48353" y="269701"/>
                </a:cubicBezTo>
                <a:lnTo>
                  <a:pt x="34511" y="254667"/>
                </a:lnTo>
                <a:cubicBezTo>
                  <a:pt x="32173" y="252052"/>
                  <a:pt x="31051" y="248970"/>
                  <a:pt x="31051" y="245702"/>
                </a:cubicBezTo>
                <a:cubicBezTo>
                  <a:pt x="31051" y="242247"/>
                  <a:pt x="32453" y="238605"/>
                  <a:pt x="35259" y="235990"/>
                </a:cubicBezTo>
                <a:lnTo>
                  <a:pt x="50036" y="222544"/>
                </a:lnTo>
                <a:cubicBezTo>
                  <a:pt x="40777" y="207696"/>
                  <a:pt x="35072" y="191261"/>
                  <a:pt x="32640" y="174639"/>
                </a:cubicBezTo>
                <a:lnTo>
                  <a:pt x="12626" y="173705"/>
                </a:lnTo>
                <a:cubicBezTo>
                  <a:pt x="5518" y="173332"/>
                  <a:pt x="0" y="167542"/>
                  <a:pt x="0" y="160539"/>
                </a:cubicBezTo>
                <a:lnTo>
                  <a:pt x="0" y="159885"/>
                </a:lnTo>
                <a:lnTo>
                  <a:pt x="842" y="139621"/>
                </a:lnTo>
                <a:cubicBezTo>
                  <a:pt x="1216" y="132431"/>
                  <a:pt x="7388" y="126642"/>
                  <a:pt x="14683" y="127015"/>
                </a:cubicBezTo>
                <a:lnTo>
                  <a:pt x="34885" y="127949"/>
                </a:lnTo>
                <a:cubicBezTo>
                  <a:pt x="38813" y="111514"/>
                  <a:pt x="46015" y="95826"/>
                  <a:pt x="56490" y="81819"/>
                </a:cubicBezTo>
                <a:lnTo>
                  <a:pt x="42741" y="66878"/>
                </a:lnTo>
                <a:cubicBezTo>
                  <a:pt x="40403" y="64263"/>
                  <a:pt x="39281" y="61182"/>
                  <a:pt x="39281" y="57913"/>
                </a:cubicBezTo>
                <a:cubicBezTo>
                  <a:pt x="39281" y="54458"/>
                  <a:pt x="40684" y="50816"/>
                  <a:pt x="43490" y="48202"/>
                </a:cubicBezTo>
                <a:lnTo>
                  <a:pt x="58641" y="34381"/>
                </a:lnTo>
                <a:cubicBezTo>
                  <a:pt x="63972" y="29526"/>
                  <a:pt x="72296" y="29899"/>
                  <a:pt x="77346" y="35315"/>
                </a:cubicBezTo>
                <a:lnTo>
                  <a:pt x="90627" y="50256"/>
                </a:lnTo>
                <a:cubicBezTo>
                  <a:pt x="105591" y="41011"/>
                  <a:pt x="121864" y="35128"/>
                  <a:pt x="138512" y="32794"/>
                </a:cubicBezTo>
                <a:lnTo>
                  <a:pt x="139447" y="12624"/>
                </a:lnTo>
                <a:cubicBezTo>
                  <a:pt x="139821" y="5433"/>
                  <a:pt x="145901" y="-356"/>
                  <a:pt x="153289" y="1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1" name="îṣḻïḓè">
            <a:extLst>
              <a:ext uri="{FF2B5EF4-FFF2-40B4-BE49-F238E27FC236}">
                <a16:creationId xmlns:a16="http://schemas.microsoft.com/office/drawing/2014/main" id="{30C8A656-A69C-4844-9B4C-38593487F7D6}"/>
              </a:ext>
            </a:extLst>
          </p:cNvPr>
          <p:cNvSpPr/>
          <p:nvPr/>
        </p:nvSpPr>
        <p:spPr bwMode="auto">
          <a:xfrm>
            <a:off x="3213645" y="-1459114"/>
            <a:ext cx="192583" cy="192209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81741" h="580612">
                <a:moveTo>
                  <a:pt x="291612" y="187916"/>
                </a:moveTo>
                <a:cubicBezTo>
                  <a:pt x="304876" y="187916"/>
                  <a:pt x="315648" y="198758"/>
                  <a:pt x="315648" y="212088"/>
                </a:cubicBezTo>
                <a:lnTo>
                  <a:pt x="315648" y="491836"/>
                </a:lnTo>
                <a:lnTo>
                  <a:pt x="331227" y="473974"/>
                </a:lnTo>
                <a:cubicBezTo>
                  <a:pt x="339863" y="463932"/>
                  <a:pt x="355086" y="462866"/>
                  <a:pt x="365145" y="471574"/>
                </a:cubicBezTo>
                <a:cubicBezTo>
                  <a:pt x="375116" y="480372"/>
                  <a:pt x="376184" y="495657"/>
                  <a:pt x="367460" y="505699"/>
                </a:cubicBezTo>
                <a:lnTo>
                  <a:pt x="309773" y="572348"/>
                </a:lnTo>
                <a:cubicBezTo>
                  <a:pt x="305143" y="577502"/>
                  <a:pt x="298556" y="580612"/>
                  <a:pt x="291612" y="580612"/>
                </a:cubicBezTo>
                <a:cubicBezTo>
                  <a:pt x="284579" y="580612"/>
                  <a:pt x="278080" y="577680"/>
                  <a:pt x="273451" y="572348"/>
                </a:cubicBezTo>
                <a:lnTo>
                  <a:pt x="215764" y="505699"/>
                </a:lnTo>
                <a:cubicBezTo>
                  <a:pt x="207039" y="495657"/>
                  <a:pt x="208108" y="480372"/>
                  <a:pt x="218078" y="471574"/>
                </a:cubicBezTo>
                <a:cubicBezTo>
                  <a:pt x="228049" y="462866"/>
                  <a:pt x="243272" y="463932"/>
                  <a:pt x="252085" y="473974"/>
                </a:cubicBezTo>
                <a:lnTo>
                  <a:pt x="267486" y="491747"/>
                </a:lnTo>
                <a:lnTo>
                  <a:pt x="267486" y="212088"/>
                </a:lnTo>
                <a:cubicBezTo>
                  <a:pt x="267486" y="198758"/>
                  <a:pt x="278258" y="187916"/>
                  <a:pt x="291612" y="187916"/>
                </a:cubicBezTo>
                <a:close/>
                <a:moveTo>
                  <a:pt x="329499" y="0"/>
                </a:moveTo>
                <a:cubicBezTo>
                  <a:pt x="426248" y="0"/>
                  <a:pt x="465322" y="80426"/>
                  <a:pt x="473332" y="108153"/>
                </a:cubicBezTo>
                <a:cubicBezTo>
                  <a:pt x="535280" y="120684"/>
                  <a:pt x="581474" y="175693"/>
                  <a:pt x="581741" y="241190"/>
                </a:cubicBezTo>
                <a:cubicBezTo>
                  <a:pt x="581741" y="315840"/>
                  <a:pt x="521306" y="376537"/>
                  <a:pt x="446987" y="376537"/>
                </a:cubicBezTo>
                <a:lnTo>
                  <a:pt x="372756" y="376537"/>
                </a:lnTo>
                <a:cubicBezTo>
                  <a:pt x="359316" y="376537"/>
                  <a:pt x="348546" y="365606"/>
                  <a:pt x="348546" y="352276"/>
                </a:cubicBezTo>
                <a:cubicBezTo>
                  <a:pt x="348546" y="338857"/>
                  <a:pt x="359316" y="327926"/>
                  <a:pt x="372756" y="327926"/>
                </a:cubicBezTo>
                <a:lnTo>
                  <a:pt x="446987" y="327926"/>
                </a:lnTo>
                <a:cubicBezTo>
                  <a:pt x="494605" y="327926"/>
                  <a:pt x="533322" y="289090"/>
                  <a:pt x="533322" y="241190"/>
                </a:cubicBezTo>
                <a:cubicBezTo>
                  <a:pt x="533322" y="195334"/>
                  <a:pt x="497720" y="157298"/>
                  <a:pt x="452238" y="154632"/>
                </a:cubicBezTo>
                <a:cubicBezTo>
                  <a:pt x="440934" y="153921"/>
                  <a:pt x="431589" y="145478"/>
                  <a:pt x="429809" y="134192"/>
                </a:cubicBezTo>
                <a:cubicBezTo>
                  <a:pt x="421709" y="84692"/>
                  <a:pt x="379609" y="48789"/>
                  <a:pt x="329677" y="48789"/>
                </a:cubicBezTo>
                <a:cubicBezTo>
                  <a:pt x="279567" y="48789"/>
                  <a:pt x="238001" y="84781"/>
                  <a:pt x="229457" y="134192"/>
                </a:cubicBezTo>
                <a:cubicBezTo>
                  <a:pt x="226520" y="151521"/>
                  <a:pt x="212190" y="162807"/>
                  <a:pt x="192964" y="151077"/>
                </a:cubicBezTo>
                <a:cubicBezTo>
                  <a:pt x="178011" y="141834"/>
                  <a:pt x="160922" y="136947"/>
                  <a:pt x="143299" y="136947"/>
                </a:cubicBezTo>
                <a:cubicBezTo>
                  <a:pt x="90964" y="136947"/>
                  <a:pt x="48419" y="179693"/>
                  <a:pt x="48419" y="232303"/>
                </a:cubicBezTo>
                <a:cubicBezTo>
                  <a:pt x="48419" y="284913"/>
                  <a:pt x="90964" y="327748"/>
                  <a:pt x="143299" y="327748"/>
                </a:cubicBezTo>
                <a:lnTo>
                  <a:pt x="218776" y="327748"/>
                </a:lnTo>
                <a:cubicBezTo>
                  <a:pt x="232216" y="327748"/>
                  <a:pt x="242986" y="338590"/>
                  <a:pt x="242986" y="352009"/>
                </a:cubicBezTo>
                <a:cubicBezTo>
                  <a:pt x="242986" y="365429"/>
                  <a:pt x="232216" y="376271"/>
                  <a:pt x="218776" y="376271"/>
                </a:cubicBezTo>
                <a:lnTo>
                  <a:pt x="143299" y="376271"/>
                </a:lnTo>
                <a:cubicBezTo>
                  <a:pt x="64262" y="376271"/>
                  <a:pt x="0" y="311574"/>
                  <a:pt x="0" y="232214"/>
                </a:cubicBezTo>
                <a:cubicBezTo>
                  <a:pt x="0" y="152854"/>
                  <a:pt x="64262" y="88158"/>
                  <a:pt x="143210" y="88158"/>
                </a:cubicBezTo>
                <a:cubicBezTo>
                  <a:pt x="159231" y="88158"/>
                  <a:pt x="174896" y="90735"/>
                  <a:pt x="189849" y="95978"/>
                </a:cubicBezTo>
                <a:cubicBezTo>
                  <a:pt x="198749" y="73050"/>
                  <a:pt x="238891" y="0"/>
                  <a:pt x="329499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2" name="iş1iḑe">
            <a:extLst>
              <a:ext uri="{FF2B5EF4-FFF2-40B4-BE49-F238E27FC236}">
                <a16:creationId xmlns:a16="http://schemas.microsoft.com/office/drawing/2014/main" id="{79D5FAF9-096B-4C61-A299-6A26A276E128}"/>
              </a:ext>
            </a:extLst>
          </p:cNvPr>
          <p:cNvSpPr/>
          <p:nvPr/>
        </p:nvSpPr>
        <p:spPr bwMode="auto">
          <a:xfrm>
            <a:off x="2938957" y="-1131340"/>
            <a:ext cx="192583" cy="192292"/>
          </a:xfrm>
          <a:custGeom>
            <a:avLst/>
            <a:gdLst>
              <a:gd name="connsiteX0" fmla="*/ 303820 w 607639"/>
              <a:gd name="connsiteY0" fmla="*/ 278099 h 606722"/>
              <a:gd name="connsiteX1" fmla="*/ 329118 w 607639"/>
              <a:gd name="connsiteY1" fmla="*/ 303362 h 606722"/>
              <a:gd name="connsiteX2" fmla="*/ 303820 w 607639"/>
              <a:gd name="connsiteY2" fmla="*/ 328625 h 606722"/>
              <a:gd name="connsiteX3" fmla="*/ 278522 w 607639"/>
              <a:gd name="connsiteY3" fmla="*/ 303362 h 606722"/>
              <a:gd name="connsiteX4" fmla="*/ 303820 w 607639"/>
              <a:gd name="connsiteY4" fmla="*/ 278099 h 606722"/>
              <a:gd name="connsiteX5" fmla="*/ 303775 w 607639"/>
              <a:gd name="connsiteY5" fmla="*/ 252735 h 606722"/>
              <a:gd name="connsiteX6" fmla="*/ 253140 w 607639"/>
              <a:gd name="connsiteY6" fmla="*/ 303317 h 606722"/>
              <a:gd name="connsiteX7" fmla="*/ 303775 w 607639"/>
              <a:gd name="connsiteY7" fmla="*/ 353900 h 606722"/>
              <a:gd name="connsiteX8" fmla="*/ 354410 w 607639"/>
              <a:gd name="connsiteY8" fmla="*/ 303317 h 606722"/>
              <a:gd name="connsiteX9" fmla="*/ 303775 w 607639"/>
              <a:gd name="connsiteY9" fmla="*/ 252735 h 606722"/>
              <a:gd name="connsiteX10" fmla="*/ 303775 w 607639"/>
              <a:gd name="connsiteY10" fmla="*/ 202241 h 606722"/>
              <a:gd name="connsiteX11" fmla="*/ 405045 w 607639"/>
              <a:gd name="connsiteY11" fmla="*/ 303317 h 606722"/>
              <a:gd name="connsiteX12" fmla="*/ 303775 w 607639"/>
              <a:gd name="connsiteY12" fmla="*/ 404482 h 606722"/>
              <a:gd name="connsiteX13" fmla="*/ 202593 w 607639"/>
              <a:gd name="connsiteY13" fmla="*/ 303317 h 606722"/>
              <a:gd name="connsiteX14" fmla="*/ 303775 w 607639"/>
              <a:gd name="connsiteY14" fmla="*/ 202241 h 606722"/>
              <a:gd name="connsiteX15" fmla="*/ 303775 w 607639"/>
              <a:gd name="connsiteY15" fmla="*/ 151703 h 606722"/>
              <a:gd name="connsiteX16" fmla="*/ 151932 w 607639"/>
              <a:gd name="connsiteY16" fmla="*/ 303317 h 606722"/>
              <a:gd name="connsiteX17" fmla="*/ 303775 w 607639"/>
              <a:gd name="connsiteY17" fmla="*/ 455019 h 606722"/>
              <a:gd name="connsiteX18" fmla="*/ 455707 w 607639"/>
              <a:gd name="connsiteY18" fmla="*/ 303317 h 606722"/>
              <a:gd name="connsiteX19" fmla="*/ 303775 w 607639"/>
              <a:gd name="connsiteY19" fmla="*/ 151703 h 606722"/>
              <a:gd name="connsiteX20" fmla="*/ 253131 w 607639"/>
              <a:gd name="connsiteY20" fmla="*/ 0 h 606722"/>
              <a:gd name="connsiteX21" fmla="*/ 354419 w 607639"/>
              <a:gd name="connsiteY21" fmla="*/ 0 h 606722"/>
              <a:gd name="connsiteX22" fmla="*/ 379786 w 607639"/>
              <a:gd name="connsiteY22" fmla="*/ 25239 h 606722"/>
              <a:gd name="connsiteX23" fmla="*/ 379786 w 607639"/>
              <a:gd name="connsiteY23" fmla="*/ 62387 h 606722"/>
              <a:gd name="connsiteX24" fmla="*/ 420639 w 607639"/>
              <a:gd name="connsiteY24" fmla="*/ 79451 h 606722"/>
              <a:gd name="connsiteX25" fmla="*/ 446985 w 607639"/>
              <a:gd name="connsiteY25" fmla="*/ 53145 h 606722"/>
              <a:gd name="connsiteX26" fmla="*/ 482854 w 607639"/>
              <a:gd name="connsiteY26" fmla="*/ 53145 h 606722"/>
              <a:gd name="connsiteX27" fmla="*/ 554414 w 607639"/>
              <a:gd name="connsiteY27" fmla="*/ 124597 h 606722"/>
              <a:gd name="connsiteX28" fmla="*/ 554414 w 607639"/>
              <a:gd name="connsiteY28" fmla="*/ 160323 h 606722"/>
              <a:gd name="connsiteX29" fmla="*/ 528069 w 607639"/>
              <a:gd name="connsiteY29" fmla="*/ 186629 h 606722"/>
              <a:gd name="connsiteX30" fmla="*/ 545158 w 607639"/>
              <a:gd name="connsiteY30" fmla="*/ 227510 h 606722"/>
              <a:gd name="connsiteX31" fmla="*/ 582273 w 607639"/>
              <a:gd name="connsiteY31" fmla="*/ 227510 h 606722"/>
              <a:gd name="connsiteX32" fmla="*/ 607639 w 607639"/>
              <a:gd name="connsiteY32" fmla="*/ 252749 h 606722"/>
              <a:gd name="connsiteX33" fmla="*/ 607639 w 607639"/>
              <a:gd name="connsiteY33" fmla="*/ 353884 h 606722"/>
              <a:gd name="connsiteX34" fmla="*/ 582273 w 607639"/>
              <a:gd name="connsiteY34" fmla="*/ 379212 h 606722"/>
              <a:gd name="connsiteX35" fmla="*/ 545158 w 607639"/>
              <a:gd name="connsiteY35" fmla="*/ 379212 h 606722"/>
              <a:gd name="connsiteX36" fmla="*/ 528069 w 607639"/>
              <a:gd name="connsiteY36" fmla="*/ 420004 h 606722"/>
              <a:gd name="connsiteX37" fmla="*/ 554414 w 607639"/>
              <a:gd name="connsiteY37" fmla="*/ 446310 h 606722"/>
              <a:gd name="connsiteX38" fmla="*/ 554414 w 607639"/>
              <a:gd name="connsiteY38" fmla="*/ 482125 h 606722"/>
              <a:gd name="connsiteX39" fmla="*/ 482854 w 607639"/>
              <a:gd name="connsiteY39" fmla="*/ 553577 h 606722"/>
              <a:gd name="connsiteX40" fmla="*/ 446985 w 607639"/>
              <a:gd name="connsiteY40" fmla="*/ 553577 h 606722"/>
              <a:gd name="connsiteX41" fmla="*/ 420639 w 607639"/>
              <a:gd name="connsiteY41" fmla="*/ 527271 h 606722"/>
              <a:gd name="connsiteX42" fmla="*/ 379786 w 607639"/>
              <a:gd name="connsiteY42" fmla="*/ 544246 h 606722"/>
              <a:gd name="connsiteX43" fmla="*/ 379786 w 607639"/>
              <a:gd name="connsiteY43" fmla="*/ 581394 h 606722"/>
              <a:gd name="connsiteX44" fmla="*/ 354419 w 607639"/>
              <a:gd name="connsiteY44" fmla="*/ 606722 h 606722"/>
              <a:gd name="connsiteX45" fmla="*/ 253131 w 607639"/>
              <a:gd name="connsiteY45" fmla="*/ 606722 h 606722"/>
              <a:gd name="connsiteX46" fmla="*/ 227854 w 607639"/>
              <a:gd name="connsiteY46" fmla="*/ 581394 h 606722"/>
              <a:gd name="connsiteX47" fmla="*/ 227854 w 607639"/>
              <a:gd name="connsiteY47" fmla="*/ 544246 h 606722"/>
              <a:gd name="connsiteX48" fmla="*/ 186911 w 607639"/>
              <a:gd name="connsiteY48" fmla="*/ 527271 h 606722"/>
              <a:gd name="connsiteX49" fmla="*/ 160566 w 607639"/>
              <a:gd name="connsiteY49" fmla="*/ 553577 h 606722"/>
              <a:gd name="connsiteX50" fmla="*/ 124786 w 607639"/>
              <a:gd name="connsiteY50" fmla="*/ 553577 h 606722"/>
              <a:gd name="connsiteX51" fmla="*/ 53225 w 607639"/>
              <a:gd name="connsiteY51" fmla="*/ 482125 h 606722"/>
              <a:gd name="connsiteX52" fmla="*/ 53225 w 607639"/>
              <a:gd name="connsiteY52" fmla="*/ 446310 h 606722"/>
              <a:gd name="connsiteX53" fmla="*/ 79482 w 607639"/>
              <a:gd name="connsiteY53" fmla="*/ 420004 h 606722"/>
              <a:gd name="connsiteX54" fmla="*/ 62482 w 607639"/>
              <a:gd name="connsiteY54" fmla="*/ 379212 h 606722"/>
              <a:gd name="connsiteX55" fmla="*/ 25278 w 607639"/>
              <a:gd name="connsiteY55" fmla="*/ 379212 h 606722"/>
              <a:gd name="connsiteX56" fmla="*/ 0 w 607639"/>
              <a:gd name="connsiteY56" fmla="*/ 353884 h 606722"/>
              <a:gd name="connsiteX57" fmla="*/ 0 w 607639"/>
              <a:gd name="connsiteY57" fmla="*/ 252749 h 606722"/>
              <a:gd name="connsiteX58" fmla="*/ 25278 w 607639"/>
              <a:gd name="connsiteY58" fmla="*/ 227510 h 606722"/>
              <a:gd name="connsiteX59" fmla="*/ 62482 w 607639"/>
              <a:gd name="connsiteY59" fmla="*/ 227510 h 606722"/>
              <a:gd name="connsiteX60" fmla="*/ 79482 w 607639"/>
              <a:gd name="connsiteY60" fmla="*/ 186629 h 606722"/>
              <a:gd name="connsiteX61" fmla="*/ 53225 w 607639"/>
              <a:gd name="connsiteY61" fmla="*/ 160323 h 606722"/>
              <a:gd name="connsiteX62" fmla="*/ 53225 w 607639"/>
              <a:gd name="connsiteY62" fmla="*/ 124597 h 606722"/>
              <a:gd name="connsiteX63" fmla="*/ 124786 w 607639"/>
              <a:gd name="connsiteY63" fmla="*/ 53145 h 606722"/>
              <a:gd name="connsiteX64" fmla="*/ 160566 w 607639"/>
              <a:gd name="connsiteY64" fmla="*/ 53145 h 606722"/>
              <a:gd name="connsiteX65" fmla="*/ 186911 w 607639"/>
              <a:gd name="connsiteY65" fmla="*/ 79451 h 606722"/>
              <a:gd name="connsiteX66" fmla="*/ 227854 w 607639"/>
              <a:gd name="connsiteY66" fmla="*/ 62387 h 606722"/>
              <a:gd name="connsiteX67" fmla="*/ 227854 w 607639"/>
              <a:gd name="connsiteY67" fmla="*/ 25239 h 606722"/>
              <a:gd name="connsiteX68" fmla="*/ 253131 w 607639"/>
              <a:gd name="connsiteY68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07639" h="606722">
                <a:moveTo>
                  <a:pt x="303820" y="278099"/>
                </a:moveTo>
                <a:cubicBezTo>
                  <a:pt x="317792" y="278099"/>
                  <a:pt x="329118" y="289410"/>
                  <a:pt x="329118" y="303362"/>
                </a:cubicBezTo>
                <a:cubicBezTo>
                  <a:pt x="329118" y="317314"/>
                  <a:pt x="317792" y="328625"/>
                  <a:pt x="303820" y="328625"/>
                </a:cubicBezTo>
                <a:cubicBezTo>
                  <a:pt x="289848" y="328625"/>
                  <a:pt x="278522" y="317314"/>
                  <a:pt x="278522" y="303362"/>
                </a:cubicBezTo>
                <a:cubicBezTo>
                  <a:pt x="278522" y="289410"/>
                  <a:pt x="289848" y="278099"/>
                  <a:pt x="303820" y="278099"/>
                </a:cubicBezTo>
                <a:close/>
                <a:moveTo>
                  <a:pt x="303775" y="252735"/>
                </a:moveTo>
                <a:cubicBezTo>
                  <a:pt x="275921" y="252735"/>
                  <a:pt x="253140" y="275492"/>
                  <a:pt x="253140" y="303317"/>
                </a:cubicBezTo>
                <a:cubicBezTo>
                  <a:pt x="253140" y="331231"/>
                  <a:pt x="275921" y="353900"/>
                  <a:pt x="303775" y="353900"/>
                </a:cubicBezTo>
                <a:cubicBezTo>
                  <a:pt x="331718" y="353900"/>
                  <a:pt x="354410" y="331231"/>
                  <a:pt x="354410" y="303317"/>
                </a:cubicBezTo>
                <a:cubicBezTo>
                  <a:pt x="354410" y="275492"/>
                  <a:pt x="331718" y="252735"/>
                  <a:pt x="303775" y="252735"/>
                </a:cubicBezTo>
                <a:close/>
                <a:moveTo>
                  <a:pt x="303775" y="202241"/>
                </a:moveTo>
                <a:cubicBezTo>
                  <a:pt x="359660" y="202241"/>
                  <a:pt x="405045" y="247579"/>
                  <a:pt x="405045" y="303317"/>
                </a:cubicBezTo>
                <a:cubicBezTo>
                  <a:pt x="405045" y="359144"/>
                  <a:pt x="359660" y="404482"/>
                  <a:pt x="303775" y="404482"/>
                </a:cubicBezTo>
                <a:cubicBezTo>
                  <a:pt x="247978" y="404482"/>
                  <a:pt x="202593" y="359144"/>
                  <a:pt x="202593" y="303317"/>
                </a:cubicBezTo>
                <a:cubicBezTo>
                  <a:pt x="202593" y="247579"/>
                  <a:pt x="247978" y="202241"/>
                  <a:pt x="303775" y="202241"/>
                </a:cubicBezTo>
                <a:close/>
                <a:moveTo>
                  <a:pt x="303775" y="151703"/>
                </a:moveTo>
                <a:cubicBezTo>
                  <a:pt x="220021" y="151703"/>
                  <a:pt x="151932" y="219689"/>
                  <a:pt x="151932" y="303317"/>
                </a:cubicBezTo>
                <a:cubicBezTo>
                  <a:pt x="151932" y="387033"/>
                  <a:pt x="220021" y="455019"/>
                  <a:pt x="303775" y="455019"/>
                </a:cubicBezTo>
                <a:cubicBezTo>
                  <a:pt x="387618" y="455019"/>
                  <a:pt x="455707" y="387033"/>
                  <a:pt x="455707" y="303317"/>
                </a:cubicBezTo>
                <a:cubicBezTo>
                  <a:pt x="455707" y="219689"/>
                  <a:pt x="387618" y="151703"/>
                  <a:pt x="303775" y="151703"/>
                </a:cubicBezTo>
                <a:close/>
                <a:moveTo>
                  <a:pt x="253131" y="0"/>
                </a:moveTo>
                <a:lnTo>
                  <a:pt x="354419" y="0"/>
                </a:lnTo>
                <a:cubicBezTo>
                  <a:pt x="368482" y="0"/>
                  <a:pt x="379786" y="11287"/>
                  <a:pt x="379786" y="25239"/>
                </a:cubicBezTo>
                <a:lnTo>
                  <a:pt x="379786" y="62387"/>
                </a:lnTo>
                <a:cubicBezTo>
                  <a:pt x="393849" y="66831"/>
                  <a:pt x="407555" y="72519"/>
                  <a:pt x="420639" y="79451"/>
                </a:cubicBezTo>
                <a:lnTo>
                  <a:pt x="446985" y="53145"/>
                </a:lnTo>
                <a:cubicBezTo>
                  <a:pt x="456953" y="43191"/>
                  <a:pt x="472974" y="43191"/>
                  <a:pt x="482854" y="53145"/>
                </a:cubicBezTo>
                <a:lnTo>
                  <a:pt x="554414" y="124597"/>
                </a:lnTo>
                <a:cubicBezTo>
                  <a:pt x="564294" y="134462"/>
                  <a:pt x="564294" y="150459"/>
                  <a:pt x="554414" y="160323"/>
                </a:cubicBezTo>
                <a:lnTo>
                  <a:pt x="528069" y="186629"/>
                </a:lnTo>
                <a:cubicBezTo>
                  <a:pt x="535011" y="199782"/>
                  <a:pt x="540707" y="213468"/>
                  <a:pt x="545158" y="227510"/>
                </a:cubicBezTo>
                <a:lnTo>
                  <a:pt x="582273" y="227510"/>
                </a:lnTo>
                <a:cubicBezTo>
                  <a:pt x="596336" y="227510"/>
                  <a:pt x="607639" y="238796"/>
                  <a:pt x="607639" y="252749"/>
                </a:cubicBezTo>
                <a:lnTo>
                  <a:pt x="607639" y="353884"/>
                </a:lnTo>
                <a:cubicBezTo>
                  <a:pt x="607639" y="367926"/>
                  <a:pt x="596247" y="379212"/>
                  <a:pt x="582273" y="379212"/>
                </a:cubicBezTo>
                <a:lnTo>
                  <a:pt x="545158" y="379212"/>
                </a:lnTo>
                <a:cubicBezTo>
                  <a:pt x="540707" y="393254"/>
                  <a:pt x="535011" y="406940"/>
                  <a:pt x="528069" y="420004"/>
                </a:cubicBezTo>
                <a:lnTo>
                  <a:pt x="554414" y="446310"/>
                </a:lnTo>
                <a:cubicBezTo>
                  <a:pt x="564294" y="456263"/>
                  <a:pt x="564294" y="472260"/>
                  <a:pt x="554414" y="482125"/>
                </a:cubicBezTo>
                <a:lnTo>
                  <a:pt x="482854" y="553577"/>
                </a:lnTo>
                <a:cubicBezTo>
                  <a:pt x="472974" y="563442"/>
                  <a:pt x="456953" y="563442"/>
                  <a:pt x="446985" y="553577"/>
                </a:cubicBezTo>
                <a:lnTo>
                  <a:pt x="420639" y="527271"/>
                </a:lnTo>
                <a:cubicBezTo>
                  <a:pt x="407555" y="534203"/>
                  <a:pt x="393849" y="539802"/>
                  <a:pt x="379786" y="544246"/>
                </a:cubicBezTo>
                <a:lnTo>
                  <a:pt x="379786" y="581394"/>
                </a:lnTo>
                <a:cubicBezTo>
                  <a:pt x="379786" y="595435"/>
                  <a:pt x="368393" y="606722"/>
                  <a:pt x="354419" y="606722"/>
                </a:cubicBezTo>
                <a:lnTo>
                  <a:pt x="253131" y="606722"/>
                </a:lnTo>
                <a:cubicBezTo>
                  <a:pt x="239157" y="606722"/>
                  <a:pt x="227854" y="595435"/>
                  <a:pt x="227854" y="581394"/>
                </a:cubicBezTo>
                <a:lnTo>
                  <a:pt x="227854" y="544246"/>
                </a:lnTo>
                <a:cubicBezTo>
                  <a:pt x="213791" y="539802"/>
                  <a:pt x="200084" y="534203"/>
                  <a:pt x="186911" y="527271"/>
                </a:cubicBezTo>
                <a:lnTo>
                  <a:pt x="160566" y="553577"/>
                </a:lnTo>
                <a:cubicBezTo>
                  <a:pt x="150686" y="563442"/>
                  <a:pt x="134665" y="563442"/>
                  <a:pt x="124786" y="553577"/>
                </a:cubicBezTo>
                <a:lnTo>
                  <a:pt x="53225" y="482125"/>
                </a:lnTo>
                <a:cubicBezTo>
                  <a:pt x="43257" y="472260"/>
                  <a:pt x="43257" y="456263"/>
                  <a:pt x="53225" y="446310"/>
                </a:cubicBezTo>
                <a:lnTo>
                  <a:pt x="79482" y="420004"/>
                </a:lnTo>
                <a:cubicBezTo>
                  <a:pt x="72629" y="406940"/>
                  <a:pt x="66932" y="393254"/>
                  <a:pt x="62482" y="379212"/>
                </a:cubicBezTo>
                <a:lnTo>
                  <a:pt x="25278" y="379212"/>
                </a:lnTo>
                <a:cubicBezTo>
                  <a:pt x="11304" y="379212"/>
                  <a:pt x="0" y="367926"/>
                  <a:pt x="0" y="353884"/>
                </a:cubicBezTo>
                <a:lnTo>
                  <a:pt x="0" y="252749"/>
                </a:lnTo>
                <a:cubicBezTo>
                  <a:pt x="0" y="238796"/>
                  <a:pt x="11304" y="227510"/>
                  <a:pt x="25278" y="227510"/>
                </a:cubicBezTo>
                <a:lnTo>
                  <a:pt x="62482" y="227510"/>
                </a:lnTo>
                <a:cubicBezTo>
                  <a:pt x="66932" y="213468"/>
                  <a:pt x="72629" y="199782"/>
                  <a:pt x="79482" y="186629"/>
                </a:cubicBezTo>
                <a:lnTo>
                  <a:pt x="53225" y="160323"/>
                </a:lnTo>
                <a:cubicBezTo>
                  <a:pt x="43257" y="150459"/>
                  <a:pt x="43257" y="134462"/>
                  <a:pt x="53225" y="124597"/>
                </a:cubicBezTo>
                <a:lnTo>
                  <a:pt x="124786" y="53145"/>
                </a:lnTo>
                <a:cubicBezTo>
                  <a:pt x="134665" y="43191"/>
                  <a:pt x="150686" y="43191"/>
                  <a:pt x="160566" y="53145"/>
                </a:cubicBezTo>
                <a:lnTo>
                  <a:pt x="186911" y="79451"/>
                </a:lnTo>
                <a:cubicBezTo>
                  <a:pt x="200084" y="72519"/>
                  <a:pt x="213791" y="66831"/>
                  <a:pt x="227854" y="62387"/>
                </a:cubicBezTo>
                <a:lnTo>
                  <a:pt x="227854" y="25239"/>
                </a:lnTo>
                <a:cubicBezTo>
                  <a:pt x="227854" y="11287"/>
                  <a:pt x="239157" y="0"/>
                  <a:pt x="25313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3" name="ïṧľíďê">
            <a:extLst>
              <a:ext uri="{FF2B5EF4-FFF2-40B4-BE49-F238E27FC236}">
                <a16:creationId xmlns:a16="http://schemas.microsoft.com/office/drawing/2014/main" id="{83AC56C8-BB22-4DB6-8372-AA84DFFA3A81}"/>
              </a:ext>
            </a:extLst>
          </p:cNvPr>
          <p:cNvSpPr/>
          <p:nvPr/>
        </p:nvSpPr>
        <p:spPr bwMode="auto">
          <a:xfrm>
            <a:off x="2670455" y="-803511"/>
            <a:ext cx="192583" cy="192268"/>
          </a:xfrm>
          <a:custGeom>
            <a:avLst/>
            <a:gdLst>
              <a:gd name="connsiteX0" fmla="*/ 380418 w 604181"/>
              <a:gd name="connsiteY0" fmla="*/ 268007 h 603193"/>
              <a:gd name="connsiteX1" fmla="*/ 519220 w 604181"/>
              <a:gd name="connsiteY1" fmla="*/ 339187 h 603193"/>
              <a:gd name="connsiteX2" fmla="*/ 519220 w 604181"/>
              <a:gd name="connsiteY2" fmla="*/ 355820 h 603193"/>
              <a:gd name="connsiteX3" fmla="*/ 380418 w 604181"/>
              <a:gd name="connsiteY3" fmla="*/ 426850 h 603193"/>
              <a:gd name="connsiteX4" fmla="*/ 380418 w 604181"/>
              <a:gd name="connsiteY4" fmla="*/ 406320 h 603193"/>
              <a:gd name="connsiteX5" fmla="*/ 498212 w 604181"/>
              <a:gd name="connsiteY5" fmla="*/ 347728 h 603193"/>
              <a:gd name="connsiteX6" fmla="*/ 498212 w 604181"/>
              <a:gd name="connsiteY6" fmla="*/ 347129 h 603193"/>
              <a:gd name="connsiteX7" fmla="*/ 380418 w 604181"/>
              <a:gd name="connsiteY7" fmla="*/ 288687 h 603193"/>
              <a:gd name="connsiteX8" fmla="*/ 216565 w 604181"/>
              <a:gd name="connsiteY8" fmla="*/ 268007 h 603193"/>
              <a:gd name="connsiteX9" fmla="*/ 216565 w 604181"/>
              <a:gd name="connsiteY9" fmla="*/ 288687 h 603193"/>
              <a:gd name="connsiteX10" fmla="*/ 99664 w 604181"/>
              <a:gd name="connsiteY10" fmla="*/ 347129 h 603193"/>
              <a:gd name="connsiteX11" fmla="*/ 99664 w 604181"/>
              <a:gd name="connsiteY11" fmla="*/ 347728 h 603193"/>
              <a:gd name="connsiteX12" fmla="*/ 216565 w 604181"/>
              <a:gd name="connsiteY12" fmla="*/ 406320 h 603193"/>
              <a:gd name="connsiteX13" fmla="*/ 216565 w 604181"/>
              <a:gd name="connsiteY13" fmla="*/ 426850 h 603193"/>
              <a:gd name="connsiteX14" fmla="*/ 77904 w 604181"/>
              <a:gd name="connsiteY14" fmla="*/ 355521 h 603193"/>
              <a:gd name="connsiteX15" fmla="*/ 77904 w 604181"/>
              <a:gd name="connsiteY15" fmla="*/ 339486 h 603193"/>
              <a:gd name="connsiteX16" fmla="*/ 338273 w 604181"/>
              <a:gd name="connsiteY16" fmla="*/ 222493 h 603193"/>
              <a:gd name="connsiteX17" fmla="*/ 358684 w 604181"/>
              <a:gd name="connsiteY17" fmla="*/ 222493 h 603193"/>
              <a:gd name="connsiteX18" fmla="*/ 253179 w 604181"/>
              <a:gd name="connsiteY18" fmla="*/ 482103 h 603193"/>
              <a:gd name="connsiteX19" fmla="*/ 233219 w 604181"/>
              <a:gd name="connsiteY19" fmla="*/ 482103 h 603193"/>
              <a:gd name="connsiteX20" fmla="*/ 28813 w 604181"/>
              <a:gd name="connsiteY20" fmla="*/ 128849 h 603193"/>
              <a:gd name="connsiteX21" fmla="*/ 28813 w 604181"/>
              <a:gd name="connsiteY21" fmla="*/ 557497 h 603193"/>
              <a:gd name="connsiteX22" fmla="*/ 45921 w 604181"/>
              <a:gd name="connsiteY22" fmla="*/ 574427 h 603193"/>
              <a:gd name="connsiteX23" fmla="*/ 558410 w 604181"/>
              <a:gd name="connsiteY23" fmla="*/ 574427 h 603193"/>
              <a:gd name="connsiteX24" fmla="*/ 575368 w 604181"/>
              <a:gd name="connsiteY24" fmla="*/ 557497 h 603193"/>
              <a:gd name="connsiteX25" fmla="*/ 575368 w 604181"/>
              <a:gd name="connsiteY25" fmla="*/ 128849 h 603193"/>
              <a:gd name="connsiteX26" fmla="*/ 502734 w 604181"/>
              <a:gd name="connsiteY26" fmla="*/ 43149 h 603193"/>
              <a:gd name="connsiteX27" fmla="*/ 502734 w 604181"/>
              <a:gd name="connsiteY27" fmla="*/ 77309 h 603193"/>
              <a:gd name="connsiteX28" fmla="*/ 537100 w 604181"/>
              <a:gd name="connsiteY28" fmla="*/ 77309 h 603193"/>
              <a:gd name="connsiteX29" fmla="*/ 537100 w 604181"/>
              <a:gd name="connsiteY29" fmla="*/ 43149 h 603193"/>
              <a:gd name="connsiteX30" fmla="*/ 423197 w 604181"/>
              <a:gd name="connsiteY30" fmla="*/ 43149 h 603193"/>
              <a:gd name="connsiteX31" fmla="*/ 423197 w 604181"/>
              <a:gd name="connsiteY31" fmla="*/ 77309 h 603193"/>
              <a:gd name="connsiteX32" fmla="*/ 457563 w 604181"/>
              <a:gd name="connsiteY32" fmla="*/ 77309 h 603193"/>
              <a:gd name="connsiteX33" fmla="*/ 457563 w 604181"/>
              <a:gd name="connsiteY33" fmla="*/ 43149 h 603193"/>
              <a:gd name="connsiteX34" fmla="*/ 45921 w 604181"/>
              <a:gd name="connsiteY34" fmla="*/ 0 h 603193"/>
              <a:gd name="connsiteX35" fmla="*/ 558410 w 604181"/>
              <a:gd name="connsiteY35" fmla="*/ 0 h 603193"/>
              <a:gd name="connsiteX36" fmla="*/ 604181 w 604181"/>
              <a:gd name="connsiteY36" fmla="*/ 45846 h 603193"/>
              <a:gd name="connsiteX37" fmla="*/ 604181 w 604181"/>
              <a:gd name="connsiteY37" fmla="*/ 557497 h 603193"/>
              <a:gd name="connsiteX38" fmla="*/ 558410 w 604181"/>
              <a:gd name="connsiteY38" fmla="*/ 603193 h 603193"/>
              <a:gd name="connsiteX39" fmla="*/ 45921 w 604181"/>
              <a:gd name="connsiteY39" fmla="*/ 603193 h 603193"/>
              <a:gd name="connsiteX40" fmla="*/ 0 w 604181"/>
              <a:gd name="connsiteY40" fmla="*/ 557497 h 603193"/>
              <a:gd name="connsiteX41" fmla="*/ 0 w 604181"/>
              <a:gd name="connsiteY41" fmla="*/ 45846 h 603193"/>
              <a:gd name="connsiteX42" fmla="*/ 45921 w 604181"/>
              <a:gd name="connsiteY42" fmla="*/ 0 h 603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04181" h="603193">
                <a:moveTo>
                  <a:pt x="380418" y="268007"/>
                </a:moveTo>
                <a:lnTo>
                  <a:pt x="519220" y="339187"/>
                </a:lnTo>
                <a:lnTo>
                  <a:pt x="519220" y="355820"/>
                </a:lnTo>
                <a:lnTo>
                  <a:pt x="380418" y="426850"/>
                </a:lnTo>
                <a:lnTo>
                  <a:pt x="380418" y="406320"/>
                </a:lnTo>
                <a:lnTo>
                  <a:pt x="498212" y="347728"/>
                </a:lnTo>
                <a:lnTo>
                  <a:pt x="498212" y="347129"/>
                </a:lnTo>
                <a:lnTo>
                  <a:pt x="380418" y="288687"/>
                </a:lnTo>
                <a:close/>
                <a:moveTo>
                  <a:pt x="216565" y="268007"/>
                </a:moveTo>
                <a:lnTo>
                  <a:pt x="216565" y="288687"/>
                </a:lnTo>
                <a:lnTo>
                  <a:pt x="99664" y="347129"/>
                </a:lnTo>
                <a:lnTo>
                  <a:pt x="99664" y="347728"/>
                </a:lnTo>
                <a:lnTo>
                  <a:pt x="216565" y="406320"/>
                </a:lnTo>
                <a:lnTo>
                  <a:pt x="216565" y="426850"/>
                </a:lnTo>
                <a:lnTo>
                  <a:pt x="77904" y="355521"/>
                </a:lnTo>
                <a:lnTo>
                  <a:pt x="77904" y="339486"/>
                </a:lnTo>
                <a:close/>
                <a:moveTo>
                  <a:pt x="338273" y="222493"/>
                </a:moveTo>
                <a:lnTo>
                  <a:pt x="358684" y="222493"/>
                </a:lnTo>
                <a:lnTo>
                  <a:pt x="253179" y="482103"/>
                </a:lnTo>
                <a:lnTo>
                  <a:pt x="233219" y="482103"/>
                </a:lnTo>
                <a:close/>
                <a:moveTo>
                  <a:pt x="28813" y="128849"/>
                </a:moveTo>
                <a:lnTo>
                  <a:pt x="28813" y="557497"/>
                </a:lnTo>
                <a:cubicBezTo>
                  <a:pt x="28813" y="566786"/>
                  <a:pt x="36467" y="574427"/>
                  <a:pt x="45921" y="574427"/>
                </a:cubicBezTo>
                <a:lnTo>
                  <a:pt x="558410" y="574427"/>
                </a:lnTo>
                <a:cubicBezTo>
                  <a:pt x="567714" y="574427"/>
                  <a:pt x="575368" y="566786"/>
                  <a:pt x="575368" y="557497"/>
                </a:cubicBezTo>
                <a:lnTo>
                  <a:pt x="575368" y="128849"/>
                </a:lnTo>
                <a:close/>
                <a:moveTo>
                  <a:pt x="502734" y="43149"/>
                </a:moveTo>
                <a:lnTo>
                  <a:pt x="502734" y="77309"/>
                </a:lnTo>
                <a:lnTo>
                  <a:pt x="537100" y="77309"/>
                </a:lnTo>
                <a:lnTo>
                  <a:pt x="537100" y="43149"/>
                </a:lnTo>
                <a:close/>
                <a:moveTo>
                  <a:pt x="423197" y="43149"/>
                </a:moveTo>
                <a:lnTo>
                  <a:pt x="423197" y="77309"/>
                </a:lnTo>
                <a:lnTo>
                  <a:pt x="457563" y="77309"/>
                </a:lnTo>
                <a:lnTo>
                  <a:pt x="457563" y="43149"/>
                </a:lnTo>
                <a:close/>
                <a:moveTo>
                  <a:pt x="45921" y="0"/>
                </a:moveTo>
                <a:lnTo>
                  <a:pt x="558410" y="0"/>
                </a:lnTo>
                <a:cubicBezTo>
                  <a:pt x="583621" y="0"/>
                  <a:pt x="604181" y="20526"/>
                  <a:pt x="604181" y="45846"/>
                </a:cubicBezTo>
                <a:lnTo>
                  <a:pt x="604181" y="557497"/>
                </a:lnTo>
                <a:cubicBezTo>
                  <a:pt x="604181" y="582667"/>
                  <a:pt x="583621" y="603193"/>
                  <a:pt x="558410" y="603193"/>
                </a:cubicBezTo>
                <a:lnTo>
                  <a:pt x="45921" y="603193"/>
                </a:lnTo>
                <a:cubicBezTo>
                  <a:pt x="20560" y="603193"/>
                  <a:pt x="0" y="582667"/>
                  <a:pt x="0" y="557497"/>
                </a:cubicBezTo>
                <a:lnTo>
                  <a:pt x="0" y="45846"/>
                </a:lnTo>
                <a:cubicBezTo>
                  <a:pt x="0" y="20526"/>
                  <a:pt x="20560" y="0"/>
                  <a:pt x="45921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4" name="îṣḻîḍé">
            <a:extLst>
              <a:ext uri="{FF2B5EF4-FFF2-40B4-BE49-F238E27FC236}">
                <a16:creationId xmlns:a16="http://schemas.microsoft.com/office/drawing/2014/main" id="{716A4AAF-66FE-4462-901E-658C29D84AD8}"/>
              </a:ext>
            </a:extLst>
          </p:cNvPr>
          <p:cNvSpPr/>
          <p:nvPr/>
        </p:nvSpPr>
        <p:spPr bwMode="auto">
          <a:xfrm>
            <a:off x="2395644" y="-475707"/>
            <a:ext cx="192583" cy="192292"/>
          </a:xfrm>
          <a:custGeom>
            <a:avLst/>
            <a:gdLst>
              <a:gd name="T0" fmla="*/ 6624 w 7154"/>
              <a:gd name="T1" fmla="*/ 2037 h 7154"/>
              <a:gd name="T2" fmla="*/ 6106 w 7154"/>
              <a:gd name="T3" fmla="*/ 1048 h 7154"/>
              <a:gd name="T4" fmla="*/ 5117 w 7154"/>
              <a:gd name="T5" fmla="*/ 530 h 7154"/>
              <a:gd name="T6" fmla="*/ 4643 w 7154"/>
              <a:gd name="T7" fmla="*/ 334 h 7154"/>
              <a:gd name="T8" fmla="*/ 3577 w 7154"/>
              <a:gd name="T9" fmla="*/ 0 h 7154"/>
              <a:gd name="T10" fmla="*/ 2511 w 7154"/>
              <a:gd name="T11" fmla="*/ 334 h 7154"/>
              <a:gd name="T12" fmla="*/ 2037 w 7154"/>
              <a:gd name="T13" fmla="*/ 530 h 7154"/>
              <a:gd name="T14" fmla="*/ 1048 w 7154"/>
              <a:gd name="T15" fmla="*/ 1048 h 7154"/>
              <a:gd name="T16" fmla="*/ 530 w 7154"/>
              <a:gd name="T17" fmla="*/ 2037 h 7154"/>
              <a:gd name="T18" fmla="*/ 334 w 7154"/>
              <a:gd name="T19" fmla="*/ 2511 h 7154"/>
              <a:gd name="T20" fmla="*/ 0 w 7154"/>
              <a:gd name="T21" fmla="*/ 3577 h 7154"/>
              <a:gd name="T22" fmla="*/ 334 w 7154"/>
              <a:gd name="T23" fmla="*/ 4643 h 7154"/>
              <a:gd name="T24" fmla="*/ 530 w 7154"/>
              <a:gd name="T25" fmla="*/ 5117 h 7154"/>
              <a:gd name="T26" fmla="*/ 1048 w 7154"/>
              <a:gd name="T27" fmla="*/ 6106 h 7154"/>
              <a:gd name="T28" fmla="*/ 2037 w 7154"/>
              <a:gd name="T29" fmla="*/ 6624 h 7154"/>
              <a:gd name="T30" fmla="*/ 2511 w 7154"/>
              <a:gd name="T31" fmla="*/ 6820 h 7154"/>
              <a:gd name="T32" fmla="*/ 3577 w 7154"/>
              <a:gd name="T33" fmla="*/ 7154 h 7154"/>
              <a:gd name="T34" fmla="*/ 4643 w 7154"/>
              <a:gd name="T35" fmla="*/ 6820 h 7154"/>
              <a:gd name="T36" fmla="*/ 5117 w 7154"/>
              <a:gd name="T37" fmla="*/ 6624 h 7154"/>
              <a:gd name="T38" fmla="*/ 6106 w 7154"/>
              <a:gd name="T39" fmla="*/ 6106 h 7154"/>
              <a:gd name="T40" fmla="*/ 6624 w 7154"/>
              <a:gd name="T41" fmla="*/ 5117 h 7154"/>
              <a:gd name="T42" fmla="*/ 6820 w 7154"/>
              <a:gd name="T43" fmla="*/ 4643 h 7154"/>
              <a:gd name="T44" fmla="*/ 7154 w 7154"/>
              <a:gd name="T45" fmla="*/ 3577 h 7154"/>
              <a:gd name="T46" fmla="*/ 6820 w 7154"/>
              <a:gd name="T47" fmla="*/ 2511 h 7154"/>
              <a:gd name="T48" fmla="*/ 6624 w 7154"/>
              <a:gd name="T49" fmla="*/ 2037 h 7154"/>
              <a:gd name="T50" fmla="*/ 5857 w 7154"/>
              <a:gd name="T51" fmla="*/ 2406 h 7154"/>
              <a:gd name="T52" fmla="*/ 3286 w 7154"/>
              <a:gd name="T53" fmla="*/ 4976 h 7154"/>
              <a:gd name="T54" fmla="*/ 2875 w 7154"/>
              <a:gd name="T55" fmla="*/ 5387 h 7154"/>
              <a:gd name="T56" fmla="*/ 2464 w 7154"/>
              <a:gd name="T57" fmla="*/ 5387 h 7154"/>
              <a:gd name="T58" fmla="*/ 2053 w 7154"/>
              <a:gd name="T59" fmla="*/ 4976 h 7154"/>
              <a:gd name="T60" fmla="*/ 1297 w 7154"/>
              <a:gd name="T61" fmla="*/ 4221 h 7154"/>
              <a:gd name="T62" fmla="*/ 1297 w 7154"/>
              <a:gd name="T63" fmla="*/ 3809 h 7154"/>
              <a:gd name="T64" fmla="*/ 1708 w 7154"/>
              <a:gd name="T65" fmla="*/ 3398 h 7154"/>
              <a:gd name="T66" fmla="*/ 2120 w 7154"/>
              <a:gd name="T67" fmla="*/ 3398 h 7154"/>
              <a:gd name="T68" fmla="*/ 2669 w 7154"/>
              <a:gd name="T69" fmla="*/ 3948 h 7154"/>
              <a:gd name="T70" fmla="*/ 5034 w 7154"/>
              <a:gd name="T71" fmla="*/ 1583 h 7154"/>
              <a:gd name="T72" fmla="*/ 5445 w 7154"/>
              <a:gd name="T73" fmla="*/ 1583 h 7154"/>
              <a:gd name="T74" fmla="*/ 5857 w 7154"/>
              <a:gd name="T75" fmla="*/ 1994 h 7154"/>
              <a:gd name="T76" fmla="*/ 5857 w 7154"/>
              <a:gd name="T77" fmla="*/ 2406 h 7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154" h="7154">
                <a:moveTo>
                  <a:pt x="6624" y="2037"/>
                </a:moveTo>
                <a:cubicBezTo>
                  <a:pt x="6580" y="1703"/>
                  <a:pt x="6403" y="1345"/>
                  <a:pt x="6106" y="1048"/>
                </a:cubicBezTo>
                <a:cubicBezTo>
                  <a:pt x="5809" y="751"/>
                  <a:pt x="5451" y="574"/>
                  <a:pt x="5117" y="530"/>
                </a:cubicBezTo>
                <a:cubicBezTo>
                  <a:pt x="4966" y="510"/>
                  <a:pt x="4764" y="427"/>
                  <a:pt x="4643" y="334"/>
                </a:cubicBezTo>
                <a:cubicBezTo>
                  <a:pt x="4375" y="128"/>
                  <a:pt x="3997" y="0"/>
                  <a:pt x="3577" y="0"/>
                </a:cubicBezTo>
                <a:cubicBezTo>
                  <a:pt x="3157" y="0"/>
                  <a:pt x="2779" y="128"/>
                  <a:pt x="2511" y="334"/>
                </a:cubicBezTo>
                <a:cubicBezTo>
                  <a:pt x="2390" y="427"/>
                  <a:pt x="2188" y="510"/>
                  <a:pt x="2037" y="530"/>
                </a:cubicBezTo>
                <a:cubicBezTo>
                  <a:pt x="1702" y="574"/>
                  <a:pt x="1345" y="751"/>
                  <a:pt x="1048" y="1048"/>
                </a:cubicBezTo>
                <a:cubicBezTo>
                  <a:pt x="751" y="1345"/>
                  <a:pt x="574" y="1703"/>
                  <a:pt x="530" y="2037"/>
                </a:cubicBezTo>
                <a:cubicBezTo>
                  <a:pt x="510" y="2188"/>
                  <a:pt x="427" y="2390"/>
                  <a:pt x="334" y="2511"/>
                </a:cubicBezTo>
                <a:cubicBezTo>
                  <a:pt x="128" y="2779"/>
                  <a:pt x="0" y="3157"/>
                  <a:pt x="0" y="3577"/>
                </a:cubicBezTo>
                <a:cubicBezTo>
                  <a:pt x="0" y="3997"/>
                  <a:pt x="128" y="4375"/>
                  <a:pt x="334" y="4643"/>
                </a:cubicBezTo>
                <a:cubicBezTo>
                  <a:pt x="427" y="4764"/>
                  <a:pt x="510" y="4966"/>
                  <a:pt x="530" y="5117"/>
                </a:cubicBezTo>
                <a:cubicBezTo>
                  <a:pt x="574" y="5451"/>
                  <a:pt x="751" y="5809"/>
                  <a:pt x="1048" y="6106"/>
                </a:cubicBezTo>
                <a:cubicBezTo>
                  <a:pt x="1345" y="6403"/>
                  <a:pt x="1702" y="6580"/>
                  <a:pt x="2037" y="6624"/>
                </a:cubicBezTo>
                <a:cubicBezTo>
                  <a:pt x="2188" y="6644"/>
                  <a:pt x="2390" y="6727"/>
                  <a:pt x="2511" y="6820"/>
                </a:cubicBezTo>
                <a:cubicBezTo>
                  <a:pt x="2779" y="7025"/>
                  <a:pt x="3157" y="7154"/>
                  <a:pt x="3577" y="7154"/>
                </a:cubicBezTo>
                <a:cubicBezTo>
                  <a:pt x="3997" y="7154"/>
                  <a:pt x="4375" y="7025"/>
                  <a:pt x="4643" y="6820"/>
                </a:cubicBezTo>
                <a:cubicBezTo>
                  <a:pt x="4764" y="6727"/>
                  <a:pt x="4966" y="6644"/>
                  <a:pt x="5117" y="6624"/>
                </a:cubicBezTo>
                <a:cubicBezTo>
                  <a:pt x="5451" y="6580"/>
                  <a:pt x="5809" y="6403"/>
                  <a:pt x="6106" y="6106"/>
                </a:cubicBezTo>
                <a:cubicBezTo>
                  <a:pt x="6403" y="5809"/>
                  <a:pt x="6580" y="5451"/>
                  <a:pt x="6624" y="5117"/>
                </a:cubicBezTo>
                <a:cubicBezTo>
                  <a:pt x="6644" y="4966"/>
                  <a:pt x="6727" y="4764"/>
                  <a:pt x="6820" y="4643"/>
                </a:cubicBezTo>
                <a:cubicBezTo>
                  <a:pt x="7026" y="4375"/>
                  <a:pt x="7154" y="3997"/>
                  <a:pt x="7154" y="3577"/>
                </a:cubicBezTo>
                <a:cubicBezTo>
                  <a:pt x="7154" y="3157"/>
                  <a:pt x="7026" y="2779"/>
                  <a:pt x="6820" y="2511"/>
                </a:cubicBezTo>
                <a:cubicBezTo>
                  <a:pt x="6727" y="2390"/>
                  <a:pt x="6644" y="2188"/>
                  <a:pt x="6624" y="2037"/>
                </a:cubicBezTo>
                <a:close/>
                <a:moveTo>
                  <a:pt x="5857" y="2406"/>
                </a:moveTo>
                <a:lnTo>
                  <a:pt x="3286" y="4976"/>
                </a:lnTo>
                <a:lnTo>
                  <a:pt x="2875" y="5387"/>
                </a:lnTo>
                <a:cubicBezTo>
                  <a:pt x="2762" y="5501"/>
                  <a:pt x="2577" y="5501"/>
                  <a:pt x="2464" y="5387"/>
                </a:cubicBezTo>
                <a:lnTo>
                  <a:pt x="2053" y="4976"/>
                </a:lnTo>
                <a:lnTo>
                  <a:pt x="1297" y="4221"/>
                </a:lnTo>
                <a:cubicBezTo>
                  <a:pt x="1183" y="4107"/>
                  <a:pt x="1183" y="3923"/>
                  <a:pt x="1297" y="3809"/>
                </a:cubicBezTo>
                <a:lnTo>
                  <a:pt x="1708" y="3398"/>
                </a:lnTo>
                <a:cubicBezTo>
                  <a:pt x="1822" y="3285"/>
                  <a:pt x="2006" y="3285"/>
                  <a:pt x="2120" y="3398"/>
                </a:cubicBezTo>
                <a:lnTo>
                  <a:pt x="2669" y="3948"/>
                </a:lnTo>
                <a:lnTo>
                  <a:pt x="5034" y="1583"/>
                </a:lnTo>
                <a:cubicBezTo>
                  <a:pt x="5148" y="1470"/>
                  <a:pt x="5332" y="1470"/>
                  <a:pt x="5445" y="1583"/>
                </a:cubicBezTo>
                <a:lnTo>
                  <a:pt x="5857" y="1994"/>
                </a:lnTo>
                <a:cubicBezTo>
                  <a:pt x="5970" y="2108"/>
                  <a:pt x="5970" y="2292"/>
                  <a:pt x="5857" y="2406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5" name="iṧḷiḑé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305066" y="-1144052"/>
            <a:ext cx="1592897" cy="239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按分布模式进行配置</a:t>
            </a:r>
            <a:endParaRPr lang="en-US" altLang="zh-CN" sz="1100" dirty="0"/>
          </a:p>
        </p:txBody>
      </p:sp>
      <p:sp>
        <p:nvSpPr>
          <p:cNvPr id="216" name="îṧḻiḑe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026665" y="-812529"/>
            <a:ext cx="1592897" cy="239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>
                <a:solidFill>
                  <a:schemeClr val="bg1"/>
                </a:solidFill>
              </a:rPr>
              <a:t>运行第一个实例</a:t>
            </a: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17" name="îṣľïd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2748345" y="-481007"/>
            <a:ext cx="1592897" cy="239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开心</a:t>
            </a:r>
            <a:r>
              <a:rPr lang="en-US" altLang="zh-CN" sz="1100" dirty="0" err="1"/>
              <a:t>ing</a:t>
            </a:r>
            <a:r>
              <a:rPr lang="en-US" altLang="zh-CN" sz="1100" dirty="0"/>
              <a:t>~</a:t>
            </a:r>
          </a:p>
        </p:txBody>
      </p:sp>
      <p:sp>
        <p:nvSpPr>
          <p:cNvPr id="218" name="íṧ1îd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583352" y="-1475575"/>
            <a:ext cx="1592897" cy="239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 解压</a:t>
            </a:r>
            <a:endParaRPr lang="en-US" altLang="zh-CN" sz="1100" dirty="0"/>
          </a:p>
        </p:txBody>
      </p:sp>
      <p:sp>
        <p:nvSpPr>
          <p:cNvPr id="219" name="îs1ïḋ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865146" y="-1807098"/>
            <a:ext cx="1592897" cy="239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配置环境变量 使之生效</a:t>
            </a:r>
            <a:endParaRPr lang="en-US" altLang="zh-CN" sz="1100" dirty="0"/>
          </a:p>
        </p:txBody>
      </p:sp>
      <p:sp>
        <p:nvSpPr>
          <p:cNvPr id="220" name="íšliḓ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4143449" y="-2138621"/>
            <a:ext cx="1592897" cy="239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</a:t>
            </a:r>
            <a:r>
              <a:rPr lang="en-US" altLang="zh-CN" sz="1100" dirty="0"/>
              <a:t> </a:t>
            </a:r>
            <a:r>
              <a:rPr lang="zh-CN" altLang="en-US" sz="1100" dirty="0"/>
              <a:t>解压</a:t>
            </a:r>
            <a:endParaRPr lang="en-US" altLang="zh-CN" sz="1100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5D6855CC-0E4D-4FED-BB49-A865D489FA99}"/>
              </a:ext>
            </a:extLst>
          </p:cNvPr>
          <p:cNvSpPr txBox="1"/>
          <p:nvPr/>
        </p:nvSpPr>
        <p:spPr>
          <a:xfrm>
            <a:off x="503436" y="1093044"/>
            <a:ext cx="8137127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dirty="0"/>
          </a:p>
          <a:p>
            <a:endParaRPr lang="en-US" altLang="zh-CN" sz="1200" dirty="0"/>
          </a:p>
          <a:p>
            <a:endParaRPr lang="en-US" altLang="zh-CN" sz="1200" dirty="0"/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aggregatewordcount</a:t>
            </a:r>
            <a:r>
              <a:rPr lang="en-US" altLang="zh-CN" sz="1200" dirty="0"/>
              <a:t>: An Aggregate based map/reduce program that counts the words in the input files.</a:t>
            </a:r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aggregatewordhist</a:t>
            </a:r>
            <a:r>
              <a:rPr lang="en-US" altLang="zh-CN" sz="1200" dirty="0"/>
              <a:t>: An Aggregate based map/reduce program that computes the histogram of the words in the input files.</a:t>
            </a:r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bbp</a:t>
            </a:r>
            <a:r>
              <a:rPr lang="en-US" altLang="zh-CN" sz="1200" dirty="0"/>
              <a:t>: A map/reduce program that uses Bailey-</a:t>
            </a:r>
            <a:r>
              <a:rPr lang="en-US" altLang="zh-CN" sz="1200" dirty="0" err="1"/>
              <a:t>Borwein</a:t>
            </a:r>
            <a:r>
              <a:rPr lang="en-US" altLang="zh-CN" sz="1200" dirty="0"/>
              <a:t>-Plouffe to compute exact digits of Pi.</a:t>
            </a:r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dbcount</a:t>
            </a:r>
            <a:r>
              <a:rPr lang="en-US" altLang="zh-CN" sz="1200" dirty="0"/>
              <a:t>: An example job that count the pageview counts from a database.</a:t>
            </a:r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distbbp</a:t>
            </a:r>
            <a:r>
              <a:rPr lang="en-US" altLang="zh-CN" sz="1200" dirty="0"/>
              <a:t>: A map/reduce program that uses a BBP-type formula to compute exact bits of Pi.</a:t>
            </a:r>
          </a:p>
          <a:p>
            <a:r>
              <a:rPr lang="en-US" altLang="zh-CN" sz="1200" dirty="0"/>
              <a:t>  grep: A map/reduce program that counts the matches of a regex in the input.</a:t>
            </a:r>
          </a:p>
          <a:p>
            <a:r>
              <a:rPr lang="en-US" altLang="zh-CN" sz="1200" dirty="0"/>
              <a:t>  join: A job that effects a join over sorted, equally partitioned datasets</a:t>
            </a:r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multifilewc</a:t>
            </a:r>
            <a:r>
              <a:rPr lang="en-US" altLang="zh-CN" sz="1200" dirty="0"/>
              <a:t>: A job that counts words from several files.</a:t>
            </a:r>
          </a:p>
          <a:p>
            <a:r>
              <a:rPr lang="en-US" altLang="zh-CN" sz="1200" dirty="0"/>
              <a:t>  pentomino: A map/reduce tile laying program to find solutions to pentomino problems.</a:t>
            </a:r>
          </a:p>
          <a:p>
            <a:r>
              <a:rPr lang="en-US" altLang="zh-CN" sz="1200" dirty="0"/>
              <a:t>  pi: A map/reduce program that estimates Pi using a quasi-Monte Carlo method.</a:t>
            </a:r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randomtextwriter</a:t>
            </a:r>
            <a:r>
              <a:rPr lang="en-US" altLang="zh-CN" sz="1200" dirty="0"/>
              <a:t>: A map/reduce program that writes 10GB of random textual data per node.</a:t>
            </a:r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randomwriter</a:t>
            </a:r>
            <a:r>
              <a:rPr lang="en-US" altLang="zh-CN" sz="1200" dirty="0"/>
              <a:t>: A map/reduce program that writes 10GB of random data per node.</a:t>
            </a:r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secondarysort</a:t>
            </a:r>
            <a:r>
              <a:rPr lang="en-US" altLang="zh-CN" sz="1200" dirty="0"/>
              <a:t>: An example defining a secondary sort to the reduce.</a:t>
            </a:r>
          </a:p>
          <a:p>
            <a:r>
              <a:rPr lang="en-US" altLang="zh-CN" sz="1200" dirty="0"/>
              <a:t>  sort: A map/reduce program that sorts the data written by the random writer.</a:t>
            </a:r>
          </a:p>
          <a:p>
            <a:r>
              <a:rPr lang="en-US" altLang="zh-CN" sz="1200" dirty="0"/>
              <a:t>  sudoku: A sudoku solver.</a:t>
            </a:r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teragen</a:t>
            </a:r>
            <a:r>
              <a:rPr lang="en-US" altLang="zh-CN" sz="1200" dirty="0"/>
              <a:t>: Generate data for the </a:t>
            </a:r>
            <a:r>
              <a:rPr lang="en-US" altLang="zh-CN" sz="1200" dirty="0" err="1"/>
              <a:t>terasort</a:t>
            </a:r>
            <a:endParaRPr lang="en-US" altLang="zh-CN" sz="1200" dirty="0"/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terasort</a:t>
            </a:r>
            <a:r>
              <a:rPr lang="en-US" altLang="zh-CN" sz="1200" dirty="0"/>
              <a:t>: Run the </a:t>
            </a:r>
            <a:r>
              <a:rPr lang="en-US" altLang="zh-CN" sz="1200" dirty="0" err="1"/>
              <a:t>terasort</a:t>
            </a:r>
            <a:endParaRPr lang="en-US" altLang="zh-CN" sz="1200" dirty="0"/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teravalidate</a:t>
            </a:r>
            <a:r>
              <a:rPr lang="en-US" altLang="zh-CN" sz="1200" dirty="0"/>
              <a:t>: Checking results of </a:t>
            </a:r>
            <a:r>
              <a:rPr lang="en-US" altLang="zh-CN" sz="1200" dirty="0" err="1"/>
              <a:t>terasort</a:t>
            </a:r>
            <a:endParaRPr lang="en-US" altLang="zh-CN" sz="1200" dirty="0"/>
          </a:p>
          <a:p>
            <a:r>
              <a:rPr lang="en-US" altLang="zh-CN" sz="1200" dirty="0"/>
              <a:t>  wordcount: A map/reduce program that counts the words in the input files.</a:t>
            </a:r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wordmean</a:t>
            </a:r>
            <a:r>
              <a:rPr lang="en-US" altLang="zh-CN" sz="1200" dirty="0"/>
              <a:t>: A map/reduce program that counts the average length of the words in the input files.</a:t>
            </a:r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wordmedian</a:t>
            </a:r>
            <a:r>
              <a:rPr lang="en-US" altLang="zh-CN" sz="1200" dirty="0"/>
              <a:t>: A map/reduce program that counts the median length of the words in the input files.</a:t>
            </a:r>
          </a:p>
          <a:p>
            <a:r>
              <a:rPr lang="en-US" altLang="zh-CN" sz="1200" dirty="0" err="1"/>
              <a:t>wordstandarddeviation</a:t>
            </a:r>
            <a:r>
              <a:rPr lang="en-US" altLang="zh-CN" sz="1200" dirty="0"/>
              <a:t>: A map/reduce program that counts the standard deviation of the length of the words in the input files.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B59A613C-384D-47EE-A42B-0CF55F8483AE}"/>
              </a:ext>
            </a:extLst>
          </p:cNvPr>
          <p:cNvSpPr txBox="1"/>
          <p:nvPr/>
        </p:nvSpPr>
        <p:spPr>
          <a:xfrm>
            <a:off x="502444" y="1093044"/>
            <a:ext cx="81379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d /</a:t>
            </a:r>
            <a:r>
              <a:rPr lang="en-US" altLang="zh-CN" dirty="0" err="1"/>
              <a:t>mnt</a:t>
            </a:r>
            <a:r>
              <a:rPr lang="en-US" altLang="zh-CN" dirty="0"/>
              <a:t>/</a:t>
            </a:r>
            <a:r>
              <a:rPr lang="en-US" altLang="zh-CN" dirty="0" err="1"/>
              <a:t>sda</a:t>
            </a:r>
            <a:r>
              <a:rPr lang="en-US" altLang="zh-CN" dirty="0"/>
              <a:t>/Hadoop</a:t>
            </a:r>
            <a:endParaRPr lang="zh-CN" altLang="zh-CN" dirty="0"/>
          </a:p>
          <a:p>
            <a:r>
              <a:rPr lang="en-US" altLang="zh-CN" dirty="0" err="1"/>
              <a:t>hadoop</a:t>
            </a:r>
            <a:r>
              <a:rPr lang="en-US" altLang="zh-CN" dirty="0"/>
              <a:t> jar share/</a:t>
            </a:r>
            <a:r>
              <a:rPr lang="en-US" altLang="zh-CN" dirty="0" err="1"/>
              <a:t>hadoop</a:t>
            </a:r>
            <a:r>
              <a:rPr lang="en-US" altLang="zh-CN" dirty="0"/>
              <a:t>/</a:t>
            </a:r>
            <a:r>
              <a:rPr lang="en-US" altLang="zh-CN" dirty="0" err="1"/>
              <a:t>mapreduce</a:t>
            </a:r>
            <a:r>
              <a:rPr lang="en-US" altLang="zh-CN" dirty="0"/>
              <a:t>/hadoop-mapreduce-examples-3.1.2.jar </a:t>
            </a:r>
            <a:endParaRPr lang="en-US" altLang="zh-CN" sz="1200" dirty="0"/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77E24135-35E5-4964-9D39-90BEA181E98C}"/>
              </a:ext>
            </a:extLst>
          </p:cNvPr>
          <p:cNvSpPr txBox="1"/>
          <p:nvPr/>
        </p:nvSpPr>
        <p:spPr>
          <a:xfrm>
            <a:off x="-9005689" y="1162293"/>
            <a:ext cx="8137127" cy="4939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1400" dirty="0"/>
          </a:p>
          <a:p>
            <a:endParaRPr lang="en-US" altLang="zh-CN" sz="1050" dirty="0"/>
          </a:p>
          <a:p>
            <a:endParaRPr lang="en-US" altLang="zh-CN" sz="1050" dirty="0"/>
          </a:p>
          <a:p>
            <a:r>
              <a:rPr lang="en-US" altLang="zh-CN" sz="1400" dirty="0"/>
              <a:t>BBP</a:t>
            </a:r>
            <a:r>
              <a:rPr lang="zh-CN" altLang="zh-CN" sz="1400" dirty="0"/>
              <a:t>：一个使用贝利</a:t>
            </a:r>
            <a:r>
              <a:rPr lang="en-US" altLang="zh-CN" sz="1400" dirty="0"/>
              <a:t>·</a:t>
            </a:r>
            <a:r>
              <a:rPr lang="zh-CN" altLang="zh-CN" sz="1400" dirty="0"/>
              <a:t>博文</a:t>
            </a:r>
            <a:r>
              <a:rPr lang="en-US" altLang="zh-CN" sz="1400" dirty="0"/>
              <a:t>·</a:t>
            </a:r>
            <a:r>
              <a:rPr lang="zh-CN" altLang="zh-CN" sz="1400" dirty="0"/>
              <a:t>普洛夫计算圆周率精确数字的</a:t>
            </a:r>
            <a:r>
              <a:rPr lang="en-US" altLang="zh-CN" sz="1400" dirty="0"/>
              <a:t>map/reduce</a:t>
            </a:r>
            <a:r>
              <a:rPr lang="zh-CN" altLang="zh-CN" sz="1400" dirty="0"/>
              <a:t>程序。</a:t>
            </a:r>
            <a:r>
              <a:rPr lang="en-US" altLang="zh-CN" sz="1400" dirty="0"/>
              <a:t>              </a:t>
            </a:r>
          </a:p>
          <a:p>
            <a:r>
              <a:rPr lang="en-US" altLang="zh-CN" sz="1400" dirty="0" err="1"/>
              <a:t>dbcount</a:t>
            </a:r>
            <a:r>
              <a:rPr lang="zh-CN" altLang="zh-CN" sz="1400" dirty="0"/>
              <a:t>：对数据库中的页面视图计数进行计数的示例作业。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 err="1"/>
              <a:t>distbp</a:t>
            </a:r>
            <a:r>
              <a:rPr lang="zh-CN" altLang="zh-CN" sz="1400" dirty="0"/>
              <a:t>：使用</a:t>
            </a:r>
            <a:r>
              <a:rPr lang="en-US" altLang="zh-CN" sz="1400" dirty="0" err="1"/>
              <a:t>bbp</a:t>
            </a:r>
            <a:r>
              <a:rPr lang="zh-CN" altLang="zh-CN" sz="1400" dirty="0"/>
              <a:t>类型公式计算精确的</a:t>
            </a:r>
            <a:r>
              <a:rPr lang="en-US" altLang="zh-CN" sz="1400" dirty="0"/>
              <a:t>pi</a:t>
            </a:r>
            <a:r>
              <a:rPr lang="zh-CN" altLang="zh-CN" sz="1400" dirty="0"/>
              <a:t>位的</a:t>
            </a:r>
            <a:r>
              <a:rPr lang="en-US" altLang="zh-CN" sz="1400" dirty="0"/>
              <a:t>map/reduce</a:t>
            </a:r>
            <a:r>
              <a:rPr lang="zh-CN" altLang="zh-CN" sz="1400" dirty="0"/>
              <a:t>程序。 </a:t>
            </a:r>
            <a:r>
              <a:rPr lang="en-US" altLang="zh-CN" sz="1400" dirty="0"/>
              <a:t>             </a:t>
            </a:r>
            <a:endParaRPr lang="zh-CN" altLang="zh-CN" sz="1400" dirty="0"/>
          </a:p>
          <a:p>
            <a:r>
              <a:rPr lang="en-US" altLang="zh-CN" sz="1400" dirty="0"/>
              <a:t>grep</a:t>
            </a:r>
            <a:r>
              <a:rPr lang="zh-CN" altLang="zh-CN" sz="1400" dirty="0"/>
              <a:t>：一个对输入中正则表达式的匹配进行计数的</a:t>
            </a:r>
            <a:r>
              <a:rPr lang="en-US" altLang="zh-CN" sz="1400" dirty="0"/>
              <a:t>map/reduce</a:t>
            </a:r>
            <a:r>
              <a:rPr lang="zh-CN" altLang="zh-CN" sz="1400" dirty="0"/>
              <a:t>程序。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/>
              <a:t>join</a:t>
            </a:r>
            <a:r>
              <a:rPr lang="zh-CN" altLang="zh-CN" sz="1400" dirty="0"/>
              <a:t>：一个作业，它对排序后的、分区相同的数据集执行</a:t>
            </a:r>
            <a:r>
              <a:rPr lang="en-US" altLang="zh-CN" sz="1400" dirty="0"/>
              <a:t>join</a:t>
            </a:r>
            <a:r>
              <a:rPr lang="zh-CN" altLang="zh-CN" sz="1400" dirty="0"/>
              <a:t>。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 err="1"/>
              <a:t>multifilewc</a:t>
            </a:r>
            <a:r>
              <a:rPr lang="zh-CN" altLang="zh-CN" sz="1400" dirty="0"/>
              <a:t>：从多个文件中统计单词的作业。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/>
              <a:t>Pentomino</a:t>
            </a:r>
            <a:r>
              <a:rPr lang="zh-CN" altLang="zh-CN" sz="1400" dirty="0"/>
              <a:t>：一个</a:t>
            </a:r>
            <a:r>
              <a:rPr lang="en-US" altLang="zh-CN" sz="1400" dirty="0"/>
              <a:t>map/reduce</a:t>
            </a:r>
            <a:r>
              <a:rPr lang="zh-CN" altLang="zh-CN" sz="1400" dirty="0"/>
              <a:t>程序，用于找到解决</a:t>
            </a:r>
            <a:r>
              <a:rPr lang="en-US" altLang="zh-CN" sz="1400" dirty="0"/>
              <a:t>Pentomino</a:t>
            </a:r>
            <a:r>
              <a:rPr lang="zh-CN" altLang="zh-CN" sz="1400" dirty="0"/>
              <a:t>问题的方法。</a:t>
            </a:r>
            <a:r>
              <a:rPr lang="en-US" altLang="zh-CN" sz="1400" dirty="0"/>
              <a:t>              </a:t>
            </a:r>
          </a:p>
          <a:p>
            <a:r>
              <a:rPr lang="en-US" altLang="zh-CN" sz="1400" dirty="0"/>
              <a:t>pi</a:t>
            </a:r>
            <a:r>
              <a:rPr lang="zh-CN" altLang="zh-CN" sz="1400" dirty="0"/>
              <a:t>：使用准蒙特卡罗方法估算</a:t>
            </a:r>
            <a:r>
              <a:rPr lang="en-US" altLang="zh-CN" sz="1400" dirty="0"/>
              <a:t>pi</a:t>
            </a:r>
            <a:r>
              <a:rPr lang="zh-CN" altLang="zh-CN" sz="1400" dirty="0"/>
              <a:t>的</a:t>
            </a:r>
            <a:r>
              <a:rPr lang="en-US" altLang="zh-CN" sz="1400" dirty="0"/>
              <a:t>map/reduce</a:t>
            </a:r>
            <a:r>
              <a:rPr lang="zh-CN" altLang="zh-CN" sz="1400" dirty="0"/>
              <a:t>程序。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 err="1"/>
              <a:t>RandomTextWriter</a:t>
            </a:r>
            <a:r>
              <a:rPr lang="zh-CN" altLang="zh-CN" sz="1400" dirty="0"/>
              <a:t>：一个</a:t>
            </a:r>
            <a:r>
              <a:rPr lang="en-US" altLang="zh-CN" sz="1400" dirty="0"/>
              <a:t>map/reduce</a:t>
            </a:r>
            <a:r>
              <a:rPr lang="zh-CN" altLang="zh-CN" sz="1400" dirty="0"/>
              <a:t>程序，每个节点写入</a:t>
            </a:r>
            <a:r>
              <a:rPr lang="en-US" altLang="zh-CN" sz="1400" dirty="0"/>
              <a:t>10GB</a:t>
            </a:r>
            <a:r>
              <a:rPr lang="zh-CN" altLang="zh-CN" sz="1400" dirty="0"/>
              <a:t>的随机文本数据。</a:t>
            </a:r>
            <a:r>
              <a:rPr lang="en-US" altLang="zh-CN" sz="1400" dirty="0"/>
              <a:t>              </a:t>
            </a:r>
            <a:r>
              <a:rPr lang="en-US" altLang="zh-CN" sz="1400" dirty="0" err="1"/>
              <a:t>RandomWriter</a:t>
            </a:r>
            <a:r>
              <a:rPr lang="zh-CN" altLang="zh-CN" sz="1400" dirty="0"/>
              <a:t>：一个</a:t>
            </a:r>
            <a:r>
              <a:rPr lang="en-US" altLang="zh-CN" sz="1400" dirty="0"/>
              <a:t>map/reduce</a:t>
            </a:r>
            <a:r>
              <a:rPr lang="zh-CN" altLang="zh-CN" sz="1400" dirty="0"/>
              <a:t>程序，每个节点写入</a:t>
            </a:r>
            <a:r>
              <a:rPr lang="en-US" altLang="zh-CN" sz="1400" dirty="0"/>
              <a:t>10GB</a:t>
            </a:r>
            <a:r>
              <a:rPr lang="zh-CN" altLang="zh-CN" sz="1400" dirty="0"/>
              <a:t>的随机数据。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 err="1"/>
              <a:t>secondarysort</a:t>
            </a:r>
            <a:r>
              <a:rPr lang="en-US" altLang="zh-CN" sz="1400" dirty="0"/>
              <a:t>:</a:t>
            </a:r>
            <a:r>
              <a:rPr lang="zh-CN" altLang="zh-CN" sz="1400" dirty="0"/>
              <a:t>：定义</a:t>
            </a:r>
            <a:r>
              <a:rPr lang="en-US" altLang="zh-CN" sz="1400" dirty="0"/>
              <a:t>reduce</a:t>
            </a:r>
            <a:r>
              <a:rPr lang="zh-CN" altLang="zh-CN" sz="1400" dirty="0"/>
              <a:t>的二次排序的示例。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/>
              <a:t>sort</a:t>
            </a:r>
            <a:r>
              <a:rPr lang="zh-CN" altLang="zh-CN" sz="1400" dirty="0"/>
              <a:t>：对随机编写器编写的数据进行排序的</a:t>
            </a:r>
            <a:r>
              <a:rPr lang="en-US" altLang="zh-CN" sz="1400" dirty="0"/>
              <a:t>map/reduce</a:t>
            </a:r>
            <a:r>
              <a:rPr lang="zh-CN" altLang="zh-CN" sz="1400" dirty="0"/>
              <a:t>程序。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/>
              <a:t>sudoku</a:t>
            </a:r>
            <a:r>
              <a:rPr lang="zh-CN" altLang="zh-CN" sz="1400" dirty="0"/>
              <a:t>：数独求解器。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 err="1"/>
              <a:t>teragen</a:t>
            </a:r>
            <a:r>
              <a:rPr lang="zh-CN" altLang="zh-CN" sz="1400" dirty="0"/>
              <a:t>：为</a:t>
            </a:r>
            <a:r>
              <a:rPr lang="en-US" altLang="zh-CN" sz="1400" dirty="0" err="1"/>
              <a:t>terasort</a:t>
            </a:r>
            <a:r>
              <a:rPr lang="zh-CN" altLang="zh-CN" sz="1400" dirty="0"/>
              <a:t>生成数据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 err="1"/>
              <a:t>terasort</a:t>
            </a:r>
            <a:r>
              <a:rPr lang="zh-CN" altLang="zh-CN" sz="1400" dirty="0"/>
              <a:t>：运行</a:t>
            </a:r>
            <a:r>
              <a:rPr lang="en-US" altLang="zh-CN" sz="1400" dirty="0" err="1"/>
              <a:t>terasort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 err="1"/>
              <a:t>TeraValidate</a:t>
            </a:r>
            <a:r>
              <a:rPr lang="en-US" altLang="zh-CN" sz="1400" dirty="0"/>
              <a:t>:</a:t>
            </a:r>
            <a:r>
              <a:rPr lang="zh-CN" altLang="zh-CN" sz="1400" dirty="0"/>
              <a:t>检查</a:t>
            </a:r>
            <a:r>
              <a:rPr lang="en-US" altLang="zh-CN" sz="1400" dirty="0" err="1"/>
              <a:t>TeraSort</a:t>
            </a:r>
            <a:r>
              <a:rPr lang="zh-CN" altLang="zh-CN" sz="1400" dirty="0"/>
              <a:t>的结果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/>
              <a:t>wordcount</a:t>
            </a:r>
            <a:r>
              <a:rPr lang="zh-CN" altLang="zh-CN" sz="1400" dirty="0"/>
              <a:t>：对输入文件中的字进行计数的</a:t>
            </a:r>
            <a:r>
              <a:rPr lang="en-US" altLang="zh-CN" sz="1400" dirty="0"/>
              <a:t>map/reduce</a:t>
            </a:r>
            <a:r>
              <a:rPr lang="zh-CN" altLang="zh-CN" sz="1400" dirty="0"/>
              <a:t>程序。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 err="1"/>
              <a:t>WordMean</a:t>
            </a:r>
            <a:r>
              <a:rPr lang="zh-CN" altLang="zh-CN" sz="1400" dirty="0"/>
              <a:t>：计算输入文件中单词平均长度的</a:t>
            </a:r>
            <a:r>
              <a:rPr lang="en-US" altLang="zh-CN" sz="1400" dirty="0"/>
              <a:t>map/reduce</a:t>
            </a:r>
            <a:r>
              <a:rPr lang="zh-CN" altLang="zh-CN" sz="1400" dirty="0"/>
              <a:t>程序。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 err="1"/>
              <a:t>WordMiddle</a:t>
            </a:r>
            <a:r>
              <a:rPr lang="zh-CN" altLang="zh-CN" sz="1400" dirty="0"/>
              <a:t>：一个计算输入文件中值长度的</a:t>
            </a:r>
            <a:r>
              <a:rPr lang="en-US" altLang="zh-CN" sz="1400" dirty="0"/>
              <a:t>map/reduce</a:t>
            </a:r>
            <a:r>
              <a:rPr lang="zh-CN" altLang="zh-CN" sz="1400" dirty="0"/>
              <a:t>程序。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 err="1"/>
              <a:t>wordstandarddeviation</a:t>
            </a:r>
            <a:r>
              <a:rPr lang="zh-CN" altLang="zh-CN" sz="1400" dirty="0"/>
              <a:t>：对输入文件中单词长度的标准偏差进行计数的</a:t>
            </a:r>
            <a:r>
              <a:rPr lang="en-US" altLang="zh-CN" sz="1400" dirty="0"/>
              <a:t>map/reduce</a:t>
            </a:r>
            <a:r>
              <a:rPr lang="zh-CN" altLang="zh-CN" sz="1400" dirty="0"/>
              <a:t>程序。</a:t>
            </a:r>
          </a:p>
        </p:txBody>
      </p:sp>
    </p:spTree>
    <p:extLst>
      <p:ext uri="{BB962C8B-B14F-4D97-AF65-F5344CB8AC3E}">
        <p14:creationId xmlns:p14="http://schemas.microsoft.com/office/powerpoint/2010/main" val="14987402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Mapredeuce</a:t>
            </a:r>
            <a:r>
              <a:rPr lang="zh-CN" altLang="en-US" dirty="0"/>
              <a:t>中有很多内置的实例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4</a:t>
            </a:fld>
            <a:endParaRPr lang="zh-CN" altLang="en-US"/>
          </a:p>
        </p:txBody>
      </p:sp>
      <p:grpSp>
        <p:nvGrpSpPr>
          <p:cNvPr id="194" name="180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4D56F3B-0686-4E9E-A675-DA7BF2C9F6C2}"/>
              </a:ext>
            </a:extLst>
          </p:cNvPr>
          <p:cNvGrpSpPr>
            <a:grpSpLocks noChangeAspect="1"/>
          </p:cNvGrpSpPr>
          <p:nvPr/>
        </p:nvGrpSpPr>
        <p:grpSpPr>
          <a:xfrm>
            <a:off x="1875381" y="-2403474"/>
            <a:ext cx="5393238" cy="2212975"/>
            <a:chOff x="938530" y="1805421"/>
            <a:chExt cx="10580370" cy="4341379"/>
          </a:xfrm>
        </p:grpSpPr>
        <p:sp>
          <p:nvSpPr>
            <p:cNvPr id="195" name="iṧḻîďè">
              <a:extLst>
                <a:ext uri="{FF2B5EF4-FFF2-40B4-BE49-F238E27FC236}">
                  <a16:creationId xmlns:a16="http://schemas.microsoft.com/office/drawing/2014/main" id="{6FC8272D-4563-47EB-B741-E738A21C2623}"/>
                </a:ext>
              </a:extLst>
            </p:cNvPr>
            <p:cNvSpPr/>
            <p:nvPr/>
          </p:nvSpPr>
          <p:spPr bwMode="auto">
            <a:xfrm>
              <a:off x="5637082" y="5226400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搞定！</a:t>
              </a:r>
              <a:endParaRPr lang="en-US" altLang="zh-CN" b="1" dirty="0"/>
            </a:p>
          </p:txBody>
        </p:sp>
        <p:sp>
          <p:nvSpPr>
            <p:cNvPr id="196" name="îŝḻiḋé">
              <a:extLst>
                <a:ext uri="{FF2B5EF4-FFF2-40B4-BE49-F238E27FC236}">
                  <a16:creationId xmlns:a16="http://schemas.microsoft.com/office/drawing/2014/main" id="{C05C75D7-4258-49B9-958F-F2EEF0B840E0}"/>
                </a:ext>
              </a:extLst>
            </p:cNvPr>
            <p:cNvSpPr/>
            <p:nvPr/>
          </p:nvSpPr>
          <p:spPr bwMode="auto">
            <a:xfrm>
              <a:off x="6176201" y="4576024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>
                  <a:solidFill>
                    <a:schemeClr val="bg1"/>
                  </a:solidFill>
                </a:rPr>
                <a:t>测试</a:t>
              </a:r>
              <a:endParaRPr lang="en-US" altLang="zh-CN" sz="1750" b="1" dirty="0">
                <a:solidFill>
                  <a:schemeClr val="bg1"/>
                </a:solidFill>
              </a:endParaRPr>
            </a:p>
          </p:txBody>
        </p:sp>
        <p:sp>
          <p:nvSpPr>
            <p:cNvPr id="197" name="íṥḷíďê">
              <a:extLst>
                <a:ext uri="{FF2B5EF4-FFF2-40B4-BE49-F238E27FC236}">
                  <a16:creationId xmlns:a16="http://schemas.microsoft.com/office/drawing/2014/main" id="{D4FCC7AE-5767-4EC4-BB68-B94457D3AE6D}"/>
                </a:ext>
              </a:extLst>
            </p:cNvPr>
            <p:cNvSpPr/>
            <p:nvPr/>
          </p:nvSpPr>
          <p:spPr bwMode="auto">
            <a:xfrm>
              <a:off x="6703850" y="3925648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/>
                <a:t>配置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8" name="ïś1ïḓè">
              <a:extLst>
                <a:ext uri="{FF2B5EF4-FFF2-40B4-BE49-F238E27FC236}">
                  <a16:creationId xmlns:a16="http://schemas.microsoft.com/office/drawing/2014/main" id="{F32E844B-E27C-4A92-9B60-95E4AD88D81F}"/>
                </a:ext>
              </a:extLst>
            </p:cNvPr>
            <p:cNvSpPr/>
            <p:nvPr/>
          </p:nvSpPr>
          <p:spPr bwMode="auto">
            <a:xfrm>
              <a:off x="7241823" y="3275272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 dirty="0"/>
                <a:t>安装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9" name="îśļïḍè">
              <a:extLst>
                <a:ext uri="{FF2B5EF4-FFF2-40B4-BE49-F238E27FC236}">
                  <a16:creationId xmlns:a16="http://schemas.microsoft.com/office/drawing/2014/main" id="{F812BB55-77DE-4E23-95E6-156A22FAD363}"/>
                </a:ext>
              </a:extLst>
            </p:cNvPr>
            <p:cNvSpPr/>
            <p:nvPr/>
          </p:nvSpPr>
          <p:spPr bwMode="auto">
            <a:xfrm>
              <a:off x="7743555" y="2624895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配置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0" name="ï$1íḍé">
              <a:extLst>
                <a:ext uri="{FF2B5EF4-FFF2-40B4-BE49-F238E27FC236}">
                  <a16:creationId xmlns:a16="http://schemas.microsoft.com/office/drawing/2014/main" id="{48245F16-84E7-4201-9485-85B5E5B15ECD}"/>
                </a:ext>
              </a:extLst>
            </p:cNvPr>
            <p:cNvSpPr/>
            <p:nvPr/>
          </p:nvSpPr>
          <p:spPr bwMode="auto">
            <a:xfrm>
              <a:off x="8263856" y="1974519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安装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1" name="îṥľïďê">
              <a:extLst>
                <a:ext uri="{FF2B5EF4-FFF2-40B4-BE49-F238E27FC236}">
                  <a16:creationId xmlns:a16="http://schemas.microsoft.com/office/drawing/2014/main" id="{920DFBAA-02E5-4206-86B0-FE10F93A7509}"/>
                </a:ext>
              </a:extLst>
            </p:cNvPr>
            <p:cNvSpPr/>
            <p:nvPr/>
          </p:nvSpPr>
          <p:spPr bwMode="auto">
            <a:xfrm>
              <a:off x="5220497" y="3438015"/>
              <a:ext cx="3741918" cy="1239562"/>
            </a:xfrm>
            <a:custGeom>
              <a:avLst/>
              <a:gdLst>
                <a:gd name="T0" fmla="*/ 179 w 203"/>
                <a:gd name="T1" fmla="*/ 82 h 82"/>
                <a:gd name="T2" fmla="*/ 203 w 203"/>
                <a:gd name="T3" fmla="*/ 29 h 82"/>
                <a:gd name="T4" fmla="*/ 65 w 203"/>
                <a:gd name="T5" fmla="*/ 27 h 82"/>
                <a:gd name="T6" fmla="*/ 59 w 203"/>
                <a:gd name="T7" fmla="*/ 0 h 82"/>
                <a:gd name="T8" fmla="*/ 59 w 203"/>
                <a:gd name="T9" fmla="*/ 0 h 82"/>
                <a:gd name="T10" fmla="*/ 0 w 203"/>
                <a:gd name="T11" fmla="*/ 80 h 82"/>
                <a:gd name="T12" fmla="*/ 61 w 203"/>
                <a:gd name="T13" fmla="*/ 82 h 82"/>
                <a:gd name="T14" fmla="*/ 179 w 203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82">
                  <a:moveTo>
                    <a:pt x="179" y="82"/>
                  </a:moveTo>
                  <a:lnTo>
                    <a:pt x="203" y="29"/>
                  </a:lnTo>
                  <a:lnTo>
                    <a:pt x="65" y="27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0" y="80"/>
                  </a:lnTo>
                  <a:lnTo>
                    <a:pt x="61" y="82"/>
                  </a:lnTo>
                  <a:lnTo>
                    <a:pt x="179" y="8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2" name="i$ḻíḋè">
              <a:extLst>
                <a:ext uri="{FF2B5EF4-FFF2-40B4-BE49-F238E27FC236}">
                  <a16:creationId xmlns:a16="http://schemas.microsoft.com/office/drawing/2014/main" id="{430BE7EB-B6F0-4F05-80EA-1F517165029F}"/>
                </a:ext>
              </a:extLst>
            </p:cNvPr>
            <p:cNvSpPr/>
            <p:nvPr/>
          </p:nvSpPr>
          <p:spPr bwMode="auto">
            <a:xfrm>
              <a:off x="8032938" y="1974519"/>
              <a:ext cx="1398307" cy="247664"/>
            </a:xfrm>
            <a:prstGeom prst="triangle">
              <a:avLst>
                <a:gd name="adj" fmla="val 14726"/>
              </a:avLst>
            </a:pr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3" name="işľiḋe">
              <a:extLst>
                <a:ext uri="{FF2B5EF4-FFF2-40B4-BE49-F238E27FC236}">
                  <a16:creationId xmlns:a16="http://schemas.microsoft.com/office/drawing/2014/main" id="{E4DECB97-43D1-4D26-8C48-41447675AE79}"/>
                </a:ext>
              </a:extLst>
            </p:cNvPr>
            <p:cNvSpPr/>
            <p:nvPr/>
          </p:nvSpPr>
          <p:spPr bwMode="auto">
            <a:xfrm>
              <a:off x="3675422" y="1805421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4" name="iś1íďé">
              <a:extLst>
                <a:ext uri="{FF2B5EF4-FFF2-40B4-BE49-F238E27FC236}">
                  <a16:creationId xmlns:a16="http://schemas.microsoft.com/office/drawing/2014/main" id="{6E7EA96A-F20A-4912-AC31-63A0F19E66DE}"/>
                </a:ext>
              </a:extLst>
            </p:cNvPr>
            <p:cNvSpPr/>
            <p:nvPr/>
          </p:nvSpPr>
          <p:spPr bwMode="auto">
            <a:xfrm>
              <a:off x="3129452" y="2455797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5" name="ïŝlíḋe">
              <a:extLst>
                <a:ext uri="{FF2B5EF4-FFF2-40B4-BE49-F238E27FC236}">
                  <a16:creationId xmlns:a16="http://schemas.microsoft.com/office/drawing/2014/main" id="{66D30D6F-26C9-4C2C-BC01-900AC07DC57E}"/>
                </a:ext>
              </a:extLst>
            </p:cNvPr>
            <p:cNvSpPr/>
            <p:nvPr/>
          </p:nvSpPr>
          <p:spPr bwMode="auto">
            <a:xfrm>
              <a:off x="2576633" y="3106174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6" name="îSliďè">
              <a:extLst>
                <a:ext uri="{FF2B5EF4-FFF2-40B4-BE49-F238E27FC236}">
                  <a16:creationId xmlns:a16="http://schemas.microsoft.com/office/drawing/2014/main" id="{2F6D5554-EACD-4DDD-892F-2E5F97A9C421}"/>
                </a:ext>
              </a:extLst>
            </p:cNvPr>
            <p:cNvSpPr/>
            <p:nvPr/>
          </p:nvSpPr>
          <p:spPr bwMode="auto">
            <a:xfrm>
              <a:off x="2030696" y="3756550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7" name="îSliďé">
              <a:extLst>
                <a:ext uri="{FF2B5EF4-FFF2-40B4-BE49-F238E27FC236}">
                  <a16:creationId xmlns:a16="http://schemas.microsoft.com/office/drawing/2014/main" id="{2E278F3F-C8D8-4E2A-A3EA-29ADCF1A02AA}"/>
                </a:ext>
              </a:extLst>
            </p:cNvPr>
            <p:cNvSpPr/>
            <p:nvPr/>
          </p:nvSpPr>
          <p:spPr bwMode="auto">
            <a:xfrm>
              <a:off x="1484532" y="4406926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8" name="îs1iďé">
              <a:extLst>
                <a:ext uri="{FF2B5EF4-FFF2-40B4-BE49-F238E27FC236}">
                  <a16:creationId xmlns:a16="http://schemas.microsoft.com/office/drawing/2014/main" id="{EB74D0C2-5677-4F3F-A043-44D01A3F3D48}"/>
                </a:ext>
              </a:extLst>
            </p:cNvPr>
            <p:cNvSpPr/>
            <p:nvPr/>
          </p:nvSpPr>
          <p:spPr bwMode="auto">
            <a:xfrm>
              <a:off x="938530" y="5057302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9" name="ïṣḻïḋe">
              <a:extLst>
                <a:ext uri="{FF2B5EF4-FFF2-40B4-BE49-F238E27FC236}">
                  <a16:creationId xmlns:a16="http://schemas.microsoft.com/office/drawing/2014/main" id="{7709F84E-C33F-462F-B538-51CB71C9284E}"/>
                </a:ext>
              </a:extLst>
            </p:cNvPr>
            <p:cNvSpPr/>
            <p:nvPr/>
          </p:nvSpPr>
          <p:spPr bwMode="auto">
            <a:xfrm>
              <a:off x="4585947" y="2371737"/>
              <a:ext cx="377807" cy="377281"/>
            </a:xfrm>
            <a:custGeom>
              <a:avLst/>
              <a:gdLst>
                <a:gd name="T0" fmla="*/ 400 w 11264"/>
                <a:gd name="T1" fmla="*/ 7099 h 11264"/>
                <a:gd name="T2" fmla="*/ 4165 w 11264"/>
                <a:gd name="T3" fmla="*/ 7099 h 11264"/>
                <a:gd name="T4" fmla="*/ 4165 w 11264"/>
                <a:gd name="T5" fmla="*/ 10864 h 11264"/>
                <a:gd name="T6" fmla="*/ 4565 w 11264"/>
                <a:gd name="T7" fmla="*/ 11264 h 11264"/>
                <a:gd name="T8" fmla="*/ 6699 w 11264"/>
                <a:gd name="T9" fmla="*/ 11264 h 11264"/>
                <a:gd name="T10" fmla="*/ 7099 w 11264"/>
                <a:gd name="T11" fmla="*/ 10864 h 11264"/>
                <a:gd name="T12" fmla="*/ 7099 w 11264"/>
                <a:gd name="T13" fmla="*/ 7099 h 11264"/>
                <a:gd name="T14" fmla="*/ 10864 w 11264"/>
                <a:gd name="T15" fmla="*/ 7099 h 11264"/>
                <a:gd name="T16" fmla="*/ 11264 w 11264"/>
                <a:gd name="T17" fmla="*/ 6699 h 11264"/>
                <a:gd name="T18" fmla="*/ 11264 w 11264"/>
                <a:gd name="T19" fmla="*/ 4565 h 11264"/>
                <a:gd name="T20" fmla="*/ 10864 w 11264"/>
                <a:gd name="T21" fmla="*/ 4165 h 11264"/>
                <a:gd name="T22" fmla="*/ 7099 w 11264"/>
                <a:gd name="T23" fmla="*/ 4165 h 11264"/>
                <a:gd name="T24" fmla="*/ 7099 w 11264"/>
                <a:gd name="T25" fmla="*/ 400 h 11264"/>
                <a:gd name="T26" fmla="*/ 6699 w 11264"/>
                <a:gd name="T27" fmla="*/ 0 h 11264"/>
                <a:gd name="T28" fmla="*/ 4565 w 11264"/>
                <a:gd name="T29" fmla="*/ 0 h 11264"/>
                <a:gd name="T30" fmla="*/ 4165 w 11264"/>
                <a:gd name="T31" fmla="*/ 400 h 11264"/>
                <a:gd name="T32" fmla="*/ 4165 w 11264"/>
                <a:gd name="T33" fmla="*/ 4165 h 11264"/>
                <a:gd name="T34" fmla="*/ 400 w 11264"/>
                <a:gd name="T35" fmla="*/ 4165 h 11264"/>
                <a:gd name="T36" fmla="*/ 0 w 11264"/>
                <a:gd name="T37" fmla="*/ 4565 h 11264"/>
                <a:gd name="T38" fmla="*/ 0 w 11264"/>
                <a:gd name="T39" fmla="*/ 6699 h 11264"/>
                <a:gd name="T40" fmla="*/ 400 w 11264"/>
                <a:gd name="T41" fmla="*/ 7099 h 1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64" h="11264">
                  <a:moveTo>
                    <a:pt x="400" y="7099"/>
                  </a:moveTo>
                  <a:lnTo>
                    <a:pt x="4165" y="7099"/>
                  </a:lnTo>
                  <a:lnTo>
                    <a:pt x="4165" y="10864"/>
                  </a:lnTo>
                  <a:cubicBezTo>
                    <a:pt x="4165" y="11085"/>
                    <a:pt x="4344" y="11264"/>
                    <a:pt x="4565" y="11264"/>
                  </a:cubicBezTo>
                  <a:lnTo>
                    <a:pt x="6699" y="11264"/>
                  </a:lnTo>
                  <a:cubicBezTo>
                    <a:pt x="6920" y="11264"/>
                    <a:pt x="7099" y="11085"/>
                    <a:pt x="7099" y="10864"/>
                  </a:cubicBezTo>
                  <a:lnTo>
                    <a:pt x="7099" y="7099"/>
                  </a:lnTo>
                  <a:lnTo>
                    <a:pt x="10864" y="7099"/>
                  </a:lnTo>
                  <a:cubicBezTo>
                    <a:pt x="11085" y="7099"/>
                    <a:pt x="11264" y="6920"/>
                    <a:pt x="11264" y="6699"/>
                  </a:cubicBezTo>
                  <a:lnTo>
                    <a:pt x="11264" y="4565"/>
                  </a:lnTo>
                  <a:cubicBezTo>
                    <a:pt x="11264" y="4344"/>
                    <a:pt x="11085" y="4165"/>
                    <a:pt x="10864" y="4165"/>
                  </a:cubicBezTo>
                  <a:lnTo>
                    <a:pt x="7099" y="4165"/>
                  </a:lnTo>
                  <a:lnTo>
                    <a:pt x="7099" y="400"/>
                  </a:lnTo>
                  <a:cubicBezTo>
                    <a:pt x="7099" y="179"/>
                    <a:pt x="6920" y="0"/>
                    <a:pt x="6699" y="0"/>
                  </a:cubicBezTo>
                  <a:lnTo>
                    <a:pt x="4565" y="0"/>
                  </a:lnTo>
                  <a:cubicBezTo>
                    <a:pt x="4344" y="0"/>
                    <a:pt x="4165" y="179"/>
                    <a:pt x="4165" y="400"/>
                  </a:cubicBezTo>
                  <a:lnTo>
                    <a:pt x="4165" y="4165"/>
                  </a:lnTo>
                  <a:lnTo>
                    <a:pt x="400" y="4165"/>
                  </a:lnTo>
                  <a:cubicBezTo>
                    <a:pt x="179" y="4165"/>
                    <a:pt x="0" y="4344"/>
                    <a:pt x="0" y="4565"/>
                  </a:cubicBezTo>
                  <a:lnTo>
                    <a:pt x="0" y="6699"/>
                  </a:lnTo>
                  <a:cubicBezTo>
                    <a:pt x="0" y="6920"/>
                    <a:pt x="179" y="7099"/>
                    <a:pt x="400" y="709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0" name="îsḷïde">
              <a:extLst>
                <a:ext uri="{FF2B5EF4-FFF2-40B4-BE49-F238E27FC236}">
                  <a16:creationId xmlns:a16="http://schemas.microsoft.com/office/drawing/2014/main" id="{F7027C89-1BCC-4A00-9535-016DE4C49FD7}"/>
                </a:ext>
              </a:extLst>
            </p:cNvPr>
            <p:cNvSpPr/>
            <p:nvPr/>
          </p:nvSpPr>
          <p:spPr bwMode="auto">
            <a:xfrm>
              <a:off x="4069565" y="3014578"/>
              <a:ext cx="369969" cy="377806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  <a:gd name="connsiteX107" fmla="*/ 373273 h 605239"/>
                <a:gd name="connsiteY107" fmla="*/ 373273 h 605239"/>
                <a:gd name="connsiteX108" fmla="*/ 373273 h 605239"/>
                <a:gd name="connsiteY108" fmla="*/ 373273 h 605239"/>
                <a:gd name="connsiteX109" fmla="*/ 373273 h 605239"/>
                <a:gd name="connsiteY109" fmla="*/ 373273 h 605239"/>
                <a:gd name="connsiteX110" fmla="*/ 373273 h 605239"/>
                <a:gd name="connsiteY110" fmla="*/ 373273 h 605239"/>
                <a:gd name="connsiteX111" fmla="*/ 373273 h 605239"/>
                <a:gd name="connsiteY111" fmla="*/ 373273 h 605239"/>
                <a:gd name="connsiteX112" fmla="*/ 373273 h 605239"/>
                <a:gd name="connsiteY112" fmla="*/ 373273 h 605239"/>
                <a:gd name="connsiteX113" fmla="*/ 373273 h 605239"/>
                <a:gd name="connsiteY113" fmla="*/ 373273 h 605239"/>
                <a:gd name="connsiteX114" fmla="*/ 373273 h 605239"/>
                <a:gd name="connsiteY114" fmla="*/ 373273 h 605239"/>
                <a:gd name="connsiteX115" fmla="*/ 373273 h 605239"/>
                <a:gd name="connsiteY115" fmla="*/ 373273 h 605239"/>
                <a:gd name="connsiteX116" fmla="*/ 373273 h 605239"/>
                <a:gd name="connsiteY116" fmla="*/ 373273 h 605239"/>
                <a:gd name="connsiteX117" fmla="*/ 373273 h 605239"/>
                <a:gd name="connsiteY117" fmla="*/ 373273 h 605239"/>
                <a:gd name="connsiteX118" fmla="*/ 373273 h 605239"/>
                <a:gd name="connsiteY118" fmla="*/ 373273 h 605239"/>
                <a:gd name="connsiteX119" fmla="*/ 373273 h 605239"/>
                <a:gd name="connsiteY119" fmla="*/ 373273 h 605239"/>
                <a:gd name="connsiteX120" fmla="*/ 373273 h 605239"/>
                <a:gd name="connsiteY120" fmla="*/ 373273 h 605239"/>
                <a:gd name="connsiteX121" fmla="*/ 373273 h 605239"/>
                <a:gd name="connsiteY121" fmla="*/ 373273 h 605239"/>
                <a:gd name="connsiteX122" fmla="*/ 373273 h 605239"/>
                <a:gd name="connsiteY122" fmla="*/ 373273 h 605239"/>
                <a:gd name="connsiteX123" fmla="*/ 373273 h 605239"/>
                <a:gd name="connsiteY123" fmla="*/ 373273 h 605239"/>
                <a:gd name="connsiteX124" fmla="*/ 373273 h 605239"/>
                <a:gd name="connsiteY124" fmla="*/ 373273 h 605239"/>
                <a:gd name="connsiteX125" fmla="*/ 373273 h 605239"/>
                <a:gd name="connsiteY125" fmla="*/ 373273 h 605239"/>
                <a:gd name="connsiteX126" fmla="*/ 373273 h 605239"/>
                <a:gd name="connsiteY126" fmla="*/ 373273 h 605239"/>
                <a:gd name="connsiteX127" fmla="*/ 373273 h 605239"/>
                <a:gd name="connsiteY127" fmla="*/ 373273 h 605239"/>
                <a:gd name="connsiteX128" fmla="*/ 373273 h 605239"/>
                <a:gd name="connsiteY128" fmla="*/ 373273 h 605239"/>
                <a:gd name="connsiteX129" fmla="*/ 373273 h 605239"/>
                <a:gd name="connsiteY12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593733" h="606309">
                  <a:moveTo>
                    <a:pt x="353250" y="302855"/>
                  </a:moveTo>
                  <a:cubicBezTo>
                    <a:pt x="318468" y="302855"/>
                    <a:pt x="290232" y="331146"/>
                    <a:pt x="290232" y="365879"/>
                  </a:cubicBezTo>
                  <a:cubicBezTo>
                    <a:pt x="290232" y="374189"/>
                    <a:pt x="296964" y="380912"/>
                    <a:pt x="305285" y="380912"/>
                  </a:cubicBezTo>
                  <a:cubicBezTo>
                    <a:pt x="313607" y="380912"/>
                    <a:pt x="320338" y="374189"/>
                    <a:pt x="320338" y="365879"/>
                  </a:cubicBezTo>
                  <a:cubicBezTo>
                    <a:pt x="320338" y="347672"/>
                    <a:pt x="335111" y="333014"/>
                    <a:pt x="353250" y="333014"/>
                  </a:cubicBezTo>
                  <a:cubicBezTo>
                    <a:pt x="361665" y="333014"/>
                    <a:pt x="368397" y="326291"/>
                    <a:pt x="368397" y="317888"/>
                  </a:cubicBezTo>
                  <a:cubicBezTo>
                    <a:pt x="368397" y="309578"/>
                    <a:pt x="361665" y="302855"/>
                    <a:pt x="353250" y="302855"/>
                  </a:cubicBezTo>
                  <a:close/>
                  <a:moveTo>
                    <a:pt x="353250" y="265041"/>
                  </a:moveTo>
                  <a:cubicBezTo>
                    <a:pt x="409163" y="265041"/>
                    <a:pt x="454229" y="310232"/>
                    <a:pt x="454229" y="365879"/>
                  </a:cubicBezTo>
                  <a:cubicBezTo>
                    <a:pt x="454229" y="421527"/>
                    <a:pt x="408976" y="466717"/>
                    <a:pt x="353250" y="466717"/>
                  </a:cubicBezTo>
                  <a:cubicBezTo>
                    <a:pt x="297525" y="466717"/>
                    <a:pt x="252271" y="421527"/>
                    <a:pt x="252271" y="365879"/>
                  </a:cubicBezTo>
                  <a:cubicBezTo>
                    <a:pt x="252271" y="310232"/>
                    <a:pt x="297431" y="265041"/>
                    <a:pt x="353250" y="265041"/>
                  </a:cubicBezTo>
                  <a:close/>
                  <a:moveTo>
                    <a:pt x="427779" y="133781"/>
                  </a:moveTo>
                  <a:cubicBezTo>
                    <a:pt x="432818" y="131960"/>
                    <a:pt x="438547" y="132054"/>
                    <a:pt x="443784" y="134482"/>
                  </a:cubicBezTo>
                  <a:lnTo>
                    <a:pt x="473245" y="148209"/>
                  </a:lnTo>
                  <a:cubicBezTo>
                    <a:pt x="483720" y="153158"/>
                    <a:pt x="488209" y="165671"/>
                    <a:pt x="483346" y="176130"/>
                  </a:cubicBezTo>
                  <a:lnTo>
                    <a:pt x="470252" y="203957"/>
                  </a:lnTo>
                  <a:cubicBezTo>
                    <a:pt x="492231" y="219646"/>
                    <a:pt x="511123" y="240003"/>
                    <a:pt x="525526" y="264095"/>
                  </a:cubicBezTo>
                  <a:lnTo>
                    <a:pt x="554426" y="253636"/>
                  </a:lnTo>
                  <a:cubicBezTo>
                    <a:pt x="565368" y="249714"/>
                    <a:pt x="577340" y="255411"/>
                    <a:pt x="581361" y="266243"/>
                  </a:cubicBezTo>
                  <a:lnTo>
                    <a:pt x="592491" y="296592"/>
                  </a:lnTo>
                  <a:cubicBezTo>
                    <a:pt x="596419" y="307612"/>
                    <a:pt x="590714" y="319564"/>
                    <a:pt x="579865" y="323486"/>
                  </a:cubicBezTo>
                  <a:lnTo>
                    <a:pt x="550965" y="333945"/>
                  </a:lnTo>
                  <a:cubicBezTo>
                    <a:pt x="555455" y="361586"/>
                    <a:pt x="553958" y="389414"/>
                    <a:pt x="547224" y="415561"/>
                  </a:cubicBezTo>
                  <a:lnTo>
                    <a:pt x="575095" y="428634"/>
                  </a:lnTo>
                  <a:cubicBezTo>
                    <a:pt x="585570" y="433490"/>
                    <a:pt x="590059" y="445910"/>
                    <a:pt x="585102" y="456649"/>
                  </a:cubicBezTo>
                  <a:lnTo>
                    <a:pt x="571354" y="485970"/>
                  </a:lnTo>
                  <a:cubicBezTo>
                    <a:pt x="566397" y="496429"/>
                    <a:pt x="553958" y="500911"/>
                    <a:pt x="543483" y="496056"/>
                  </a:cubicBezTo>
                  <a:lnTo>
                    <a:pt x="515238" y="482982"/>
                  </a:lnTo>
                  <a:cubicBezTo>
                    <a:pt x="499526" y="504833"/>
                    <a:pt x="479137" y="523510"/>
                    <a:pt x="455007" y="537704"/>
                  </a:cubicBezTo>
                  <a:lnTo>
                    <a:pt x="465763" y="567026"/>
                  </a:lnTo>
                  <a:cubicBezTo>
                    <a:pt x="469784" y="578045"/>
                    <a:pt x="463986" y="589997"/>
                    <a:pt x="453137" y="593919"/>
                  </a:cubicBezTo>
                  <a:lnTo>
                    <a:pt x="422741" y="605032"/>
                  </a:lnTo>
                  <a:cubicBezTo>
                    <a:pt x="411798" y="609047"/>
                    <a:pt x="399827" y="603258"/>
                    <a:pt x="395805" y="592425"/>
                  </a:cubicBezTo>
                  <a:lnTo>
                    <a:pt x="385050" y="562823"/>
                  </a:lnTo>
                  <a:cubicBezTo>
                    <a:pt x="357646" y="567212"/>
                    <a:pt x="330056" y="565718"/>
                    <a:pt x="304149" y="558995"/>
                  </a:cubicBezTo>
                  <a:lnTo>
                    <a:pt x="290682" y="587756"/>
                  </a:lnTo>
                  <a:cubicBezTo>
                    <a:pt x="285725" y="598215"/>
                    <a:pt x="273192" y="602697"/>
                    <a:pt x="262717" y="597841"/>
                  </a:cubicBezTo>
                  <a:lnTo>
                    <a:pt x="233350" y="584114"/>
                  </a:lnTo>
                  <a:cubicBezTo>
                    <a:pt x="222875" y="579165"/>
                    <a:pt x="218385" y="566652"/>
                    <a:pt x="223249" y="556193"/>
                  </a:cubicBezTo>
                  <a:lnTo>
                    <a:pt x="236810" y="527338"/>
                  </a:lnTo>
                  <a:cubicBezTo>
                    <a:pt x="215112" y="511650"/>
                    <a:pt x="196407" y="491480"/>
                    <a:pt x="182284" y="467668"/>
                  </a:cubicBezTo>
                  <a:lnTo>
                    <a:pt x="152169" y="478687"/>
                  </a:lnTo>
                  <a:cubicBezTo>
                    <a:pt x="141133" y="482609"/>
                    <a:pt x="129161" y="476912"/>
                    <a:pt x="125233" y="466080"/>
                  </a:cubicBezTo>
                  <a:lnTo>
                    <a:pt x="114104" y="435731"/>
                  </a:lnTo>
                  <a:cubicBezTo>
                    <a:pt x="110082" y="424712"/>
                    <a:pt x="115881" y="412759"/>
                    <a:pt x="126730" y="408837"/>
                  </a:cubicBezTo>
                  <a:lnTo>
                    <a:pt x="156845" y="397818"/>
                  </a:lnTo>
                  <a:cubicBezTo>
                    <a:pt x="153852" y="379422"/>
                    <a:pt x="153478" y="361026"/>
                    <a:pt x="155629" y="342910"/>
                  </a:cubicBezTo>
                  <a:lnTo>
                    <a:pt x="158622" y="343097"/>
                  </a:lnTo>
                  <a:cubicBezTo>
                    <a:pt x="181162" y="344030"/>
                    <a:pt x="200522" y="327408"/>
                    <a:pt x="203141" y="305370"/>
                  </a:cubicBezTo>
                  <a:cubicBezTo>
                    <a:pt x="207723" y="303876"/>
                    <a:pt x="212119" y="302195"/>
                    <a:pt x="216515" y="300515"/>
                  </a:cubicBezTo>
                  <a:cubicBezTo>
                    <a:pt x="220349" y="304063"/>
                    <a:pt x="224745" y="306958"/>
                    <a:pt x="229609" y="308919"/>
                  </a:cubicBezTo>
                  <a:cubicBezTo>
                    <a:pt x="219227" y="330957"/>
                    <a:pt x="214831" y="355983"/>
                    <a:pt x="217824" y="381943"/>
                  </a:cubicBezTo>
                  <a:cubicBezTo>
                    <a:pt x="226709" y="456462"/>
                    <a:pt x="294329" y="509876"/>
                    <a:pt x="368963" y="501192"/>
                  </a:cubicBezTo>
                  <a:cubicBezTo>
                    <a:pt x="443691" y="492320"/>
                    <a:pt x="497188" y="424899"/>
                    <a:pt x="488490" y="350287"/>
                  </a:cubicBezTo>
                  <a:cubicBezTo>
                    <a:pt x="479605" y="275675"/>
                    <a:pt x="411985" y="222260"/>
                    <a:pt x="337351" y="231038"/>
                  </a:cubicBezTo>
                  <a:cubicBezTo>
                    <a:pt x="324632" y="232532"/>
                    <a:pt x="312473" y="235707"/>
                    <a:pt x="301156" y="240376"/>
                  </a:cubicBezTo>
                  <a:cubicBezTo>
                    <a:pt x="299660" y="236268"/>
                    <a:pt x="297509" y="232345"/>
                    <a:pt x="294797" y="228890"/>
                  </a:cubicBezTo>
                  <a:cubicBezTo>
                    <a:pt x="297041" y="224688"/>
                    <a:pt x="299005" y="220393"/>
                    <a:pt x="300782" y="216097"/>
                  </a:cubicBezTo>
                  <a:cubicBezTo>
                    <a:pt x="311164" y="215817"/>
                    <a:pt x="320891" y="211802"/>
                    <a:pt x="328466" y="204891"/>
                  </a:cubicBezTo>
                  <a:cubicBezTo>
                    <a:pt x="336977" y="197141"/>
                    <a:pt x="341934" y="186589"/>
                    <a:pt x="342402" y="175103"/>
                  </a:cubicBezTo>
                  <a:lnTo>
                    <a:pt x="342776" y="166978"/>
                  </a:lnTo>
                  <a:cubicBezTo>
                    <a:pt x="363164" y="165764"/>
                    <a:pt x="383460" y="167912"/>
                    <a:pt x="402820" y="172768"/>
                  </a:cubicBezTo>
                  <a:lnTo>
                    <a:pt x="415913" y="144567"/>
                  </a:lnTo>
                  <a:cubicBezTo>
                    <a:pt x="418392" y="139338"/>
                    <a:pt x="422741" y="135602"/>
                    <a:pt x="427779" y="133781"/>
                  </a:cubicBezTo>
                  <a:close/>
                  <a:moveTo>
                    <a:pt x="159906" y="88589"/>
                  </a:moveTo>
                  <a:cubicBezTo>
                    <a:pt x="142487" y="87818"/>
                    <a:pt x="124764" y="93678"/>
                    <a:pt x="110828" y="106378"/>
                  </a:cubicBezTo>
                  <a:cubicBezTo>
                    <a:pt x="96145" y="119731"/>
                    <a:pt x="88663" y="138127"/>
                    <a:pt x="88663" y="156523"/>
                  </a:cubicBezTo>
                  <a:cubicBezTo>
                    <a:pt x="88663" y="172958"/>
                    <a:pt x="94555" y="189393"/>
                    <a:pt x="106526" y="202467"/>
                  </a:cubicBezTo>
                  <a:cubicBezTo>
                    <a:pt x="131965" y="230294"/>
                    <a:pt x="175081" y="232162"/>
                    <a:pt x="202764" y="206762"/>
                  </a:cubicBezTo>
                  <a:cubicBezTo>
                    <a:pt x="217448" y="193409"/>
                    <a:pt x="224930" y="175013"/>
                    <a:pt x="224930" y="156523"/>
                  </a:cubicBezTo>
                  <a:cubicBezTo>
                    <a:pt x="224930" y="140088"/>
                    <a:pt x="219132" y="123653"/>
                    <a:pt x="207160" y="110580"/>
                  </a:cubicBezTo>
                  <a:cubicBezTo>
                    <a:pt x="194441" y="96760"/>
                    <a:pt x="177325" y="89359"/>
                    <a:pt x="159906" y="88589"/>
                  </a:cubicBezTo>
                  <a:close/>
                  <a:moveTo>
                    <a:pt x="153289" y="17"/>
                  </a:moveTo>
                  <a:lnTo>
                    <a:pt x="173678" y="951"/>
                  </a:lnTo>
                  <a:cubicBezTo>
                    <a:pt x="180786" y="1325"/>
                    <a:pt x="186304" y="7114"/>
                    <a:pt x="186304" y="14118"/>
                  </a:cubicBezTo>
                  <a:lnTo>
                    <a:pt x="186304" y="14771"/>
                  </a:lnTo>
                  <a:lnTo>
                    <a:pt x="185462" y="34755"/>
                  </a:lnTo>
                  <a:cubicBezTo>
                    <a:pt x="201923" y="38677"/>
                    <a:pt x="217729" y="45774"/>
                    <a:pt x="231851" y="56232"/>
                  </a:cubicBezTo>
                  <a:lnTo>
                    <a:pt x="246535" y="42786"/>
                  </a:lnTo>
                  <a:cubicBezTo>
                    <a:pt x="251866" y="37930"/>
                    <a:pt x="260283" y="38303"/>
                    <a:pt x="265240" y="43626"/>
                  </a:cubicBezTo>
                  <a:lnTo>
                    <a:pt x="279082" y="58660"/>
                  </a:lnTo>
                  <a:cubicBezTo>
                    <a:pt x="281420" y="61275"/>
                    <a:pt x="282542" y="64450"/>
                    <a:pt x="282542" y="67625"/>
                  </a:cubicBezTo>
                  <a:cubicBezTo>
                    <a:pt x="282542" y="71173"/>
                    <a:pt x="281233" y="74722"/>
                    <a:pt x="278334" y="77337"/>
                  </a:cubicBezTo>
                  <a:lnTo>
                    <a:pt x="263744" y="90690"/>
                  </a:lnTo>
                  <a:cubicBezTo>
                    <a:pt x="273096" y="105537"/>
                    <a:pt x="278988" y="121973"/>
                    <a:pt x="281420" y="138781"/>
                  </a:cubicBezTo>
                  <a:lnTo>
                    <a:pt x="301061" y="139621"/>
                  </a:lnTo>
                  <a:cubicBezTo>
                    <a:pt x="308169" y="139995"/>
                    <a:pt x="313593" y="145878"/>
                    <a:pt x="313593" y="152788"/>
                  </a:cubicBezTo>
                  <a:lnTo>
                    <a:pt x="313593" y="153442"/>
                  </a:lnTo>
                  <a:lnTo>
                    <a:pt x="312751" y="173892"/>
                  </a:lnTo>
                  <a:cubicBezTo>
                    <a:pt x="312377" y="181083"/>
                    <a:pt x="306298" y="186779"/>
                    <a:pt x="298910" y="186405"/>
                  </a:cubicBezTo>
                  <a:lnTo>
                    <a:pt x="279456" y="185565"/>
                  </a:lnTo>
                  <a:cubicBezTo>
                    <a:pt x="275622" y="202093"/>
                    <a:pt x="268327" y="218061"/>
                    <a:pt x="257758" y="232162"/>
                  </a:cubicBezTo>
                  <a:lnTo>
                    <a:pt x="270852" y="246449"/>
                  </a:lnTo>
                  <a:cubicBezTo>
                    <a:pt x="273190" y="249064"/>
                    <a:pt x="274312" y="252145"/>
                    <a:pt x="274312" y="255414"/>
                  </a:cubicBezTo>
                  <a:cubicBezTo>
                    <a:pt x="274312" y="258869"/>
                    <a:pt x="273003" y="262511"/>
                    <a:pt x="270104" y="265126"/>
                  </a:cubicBezTo>
                  <a:lnTo>
                    <a:pt x="255046" y="278946"/>
                  </a:lnTo>
                  <a:cubicBezTo>
                    <a:pt x="249621" y="283802"/>
                    <a:pt x="241297" y="283428"/>
                    <a:pt x="236340" y="278106"/>
                  </a:cubicBezTo>
                  <a:lnTo>
                    <a:pt x="223247" y="263724"/>
                  </a:lnTo>
                  <a:cubicBezTo>
                    <a:pt x="208282" y="272970"/>
                    <a:pt x="191635" y="278853"/>
                    <a:pt x="174800" y="281187"/>
                  </a:cubicBezTo>
                  <a:lnTo>
                    <a:pt x="173958" y="300610"/>
                  </a:lnTo>
                  <a:cubicBezTo>
                    <a:pt x="173584" y="307801"/>
                    <a:pt x="167505" y="313590"/>
                    <a:pt x="160117" y="313217"/>
                  </a:cubicBezTo>
                  <a:lnTo>
                    <a:pt x="139634" y="312283"/>
                  </a:lnTo>
                  <a:cubicBezTo>
                    <a:pt x="132526" y="311909"/>
                    <a:pt x="127102" y="306120"/>
                    <a:pt x="127102" y="299116"/>
                  </a:cubicBezTo>
                  <a:lnTo>
                    <a:pt x="127102" y="298463"/>
                  </a:lnTo>
                  <a:lnTo>
                    <a:pt x="128037" y="279039"/>
                  </a:lnTo>
                  <a:cubicBezTo>
                    <a:pt x="111577" y="275211"/>
                    <a:pt x="95771" y="267834"/>
                    <a:pt x="81648" y="257281"/>
                  </a:cubicBezTo>
                  <a:lnTo>
                    <a:pt x="67058" y="270635"/>
                  </a:lnTo>
                  <a:cubicBezTo>
                    <a:pt x="61727" y="275491"/>
                    <a:pt x="53403" y="275117"/>
                    <a:pt x="48353" y="269701"/>
                  </a:cubicBezTo>
                  <a:lnTo>
                    <a:pt x="34511" y="254667"/>
                  </a:lnTo>
                  <a:cubicBezTo>
                    <a:pt x="32173" y="252052"/>
                    <a:pt x="31051" y="248970"/>
                    <a:pt x="31051" y="245702"/>
                  </a:cubicBezTo>
                  <a:cubicBezTo>
                    <a:pt x="31051" y="242247"/>
                    <a:pt x="32453" y="238605"/>
                    <a:pt x="35259" y="235990"/>
                  </a:cubicBezTo>
                  <a:lnTo>
                    <a:pt x="50036" y="222544"/>
                  </a:lnTo>
                  <a:cubicBezTo>
                    <a:pt x="40777" y="207696"/>
                    <a:pt x="35072" y="191261"/>
                    <a:pt x="32640" y="174639"/>
                  </a:cubicBezTo>
                  <a:lnTo>
                    <a:pt x="12626" y="173705"/>
                  </a:lnTo>
                  <a:cubicBezTo>
                    <a:pt x="5518" y="173332"/>
                    <a:pt x="0" y="167542"/>
                    <a:pt x="0" y="160539"/>
                  </a:cubicBezTo>
                  <a:lnTo>
                    <a:pt x="0" y="159885"/>
                  </a:lnTo>
                  <a:lnTo>
                    <a:pt x="842" y="139621"/>
                  </a:lnTo>
                  <a:cubicBezTo>
                    <a:pt x="1216" y="132431"/>
                    <a:pt x="7388" y="126642"/>
                    <a:pt x="14683" y="127015"/>
                  </a:cubicBezTo>
                  <a:lnTo>
                    <a:pt x="34885" y="127949"/>
                  </a:lnTo>
                  <a:cubicBezTo>
                    <a:pt x="38813" y="111514"/>
                    <a:pt x="46015" y="95826"/>
                    <a:pt x="56490" y="81819"/>
                  </a:cubicBezTo>
                  <a:lnTo>
                    <a:pt x="42741" y="66878"/>
                  </a:lnTo>
                  <a:cubicBezTo>
                    <a:pt x="40403" y="64263"/>
                    <a:pt x="39281" y="61182"/>
                    <a:pt x="39281" y="57913"/>
                  </a:cubicBezTo>
                  <a:cubicBezTo>
                    <a:pt x="39281" y="54458"/>
                    <a:pt x="40684" y="50816"/>
                    <a:pt x="43490" y="48202"/>
                  </a:cubicBezTo>
                  <a:lnTo>
                    <a:pt x="58641" y="34381"/>
                  </a:lnTo>
                  <a:cubicBezTo>
                    <a:pt x="63972" y="29526"/>
                    <a:pt x="72296" y="29899"/>
                    <a:pt x="77346" y="35315"/>
                  </a:cubicBezTo>
                  <a:lnTo>
                    <a:pt x="90627" y="50256"/>
                  </a:lnTo>
                  <a:cubicBezTo>
                    <a:pt x="105591" y="41011"/>
                    <a:pt x="121864" y="35128"/>
                    <a:pt x="138512" y="32794"/>
                  </a:cubicBezTo>
                  <a:lnTo>
                    <a:pt x="139447" y="12624"/>
                  </a:lnTo>
                  <a:cubicBezTo>
                    <a:pt x="139821" y="5433"/>
                    <a:pt x="145901" y="-356"/>
                    <a:pt x="153289" y="17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1" name="îṣḻïḓè">
              <a:extLst>
                <a:ext uri="{FF2B5EF4-FFF2-40B4-BE49-F238E27FC236}">
                  <a16:creationId xmlns:a16="http://schemas.microsoft.com/office/drawing/2014/main" id="{30C8A656-A69C-4844-9B4C-38593487F7D6}"/>
                </a:ext>
              </a:extLst>
            </p:cNvPr>
            <p:cNvSpPr/>
            <p:nvPr/>
          </p:nvSpPr>
          <p:spPr bwMode="auto">
            <a:xfrm>
              <a:off x="3563916" y="3658051"/>
              <a:ext cx="377806" cy="377072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81741" h="580612">
                  <a:moveTo>
                    <a:pt x="291612" y="187916"/>
                  </a:moveTo>
                  <a:cubicBezTo>
                    <a:pt x="304876" y="187916"/>
                    <a:pt x="315648" y="198758"/>
                    <a:pt x="315648" y="212088"/>
                  </a:cubicBezTo>
                  <a:lnTo>
                    <a:pt x="315648" y="491836"/>
                  </a:lnTo>
                  <a:lnTo>
                    <a:pt x="331227" y="473974"/>
                  </a:lnTo>
                  <a:cubicBezTo>
                    <a:pt x="339863" y="463932"/>
                    <a:pt x="355086" y="462866"/>
                    <a:pt x="365145" y="471574"/>
                  </a:cubicBezTo>
                  <a:cubicBezTo>
                    <a:pt x="375116" y="480372"/>
                    <a:pt x="376184" y="495657"/>
                    <a:pt x="367460" y="505699"/>
                  </a:cubicBezTo>
                  <a:lnTo>
                    <a:pt x="309773" y="572348"/>
                  </a:lnTo>
                  <a:cubicBezTo>
                    <a:pt x="305143" y="577502"/>
                    <a:pt x="298556" y="580612"/>
                    <a:pt x="291612" y="580612"/>
                  </a:cubicBezTo>
                  <a:cubicBezTo>
                    <a:pt x="284579" y="580612"/>
                    <a:pt x="278080" y="577680"/>
                    <a:pt x="273451" y="572348"/>
                  </a:cubicBezTo>
                  <a:lnTo>
                    <a:pt x="215764" y="505699"/>
                  </a:lnTo>
                  <a:cubicBezTo>
                    <a:pt x="207039" y="495657"/>
                    <a:pt x="208108" y="480372"/>
                    <a:pt x="218078" y="471574"/>
                  </a:cubicBezTo>
                  <a:cubicBezTo>
                    <a:pt x="228049" y="462866"/>
                    <a:pt x="243272" y="463932"/>
                    <a:pt x="252085" y="473974"/>
                  </a:cubicBezTo>
                  <a:lnTo>
                    <a:pt x="267486" y="491747"/>
                  </a:lnTo>
                  <a:lnTo>
                    <a:pt x="267486" y="212088"/>
                  </a:lnTo>
                  <a:cubicBezTo>
                    <a:pt x="267486" y="198758"/>
                    <a:pt x="278258" y="187916"/>
                    <a:pt x="291612" y="187916"/>
                  </a:cubicBezTo>
                  <a:close/>
                  <a:moveTo>
                    <a:pt x="329499" y="0"/>
                  </a:moveTo>
                  <a:cubicBezTo>
                    <a:pt x="426248" y="0"/>
                    <a:pt x="465322" y="80426"/>
                    <a:pt x="473332" y="108153"/>
                  </a:cubicBezTo>
                  <a:cubicBezTo>
                    <a:pt x="535280" y="120684"/>
                    <a:pt x="581474" y="175693"/>
                    <a:pt x="581741" y="241190"/>
                  </a:cubicBezTo>
                  <a:cubicBezTo>
                    <a:pt x="581741" y="315840"/>
                    <a:pt x="521306" y="376537"/>
                    <a:pt x="446987" y="376537"/>
                  </a:cubicBezTo>
                  <a:lnTo>
                    <a:pt x="372756" y="376537"/>
                  </a:lnTo>
                  <a:cubicBezTo>
                    <a:pt x="359316" y="376537"/>
                    <a:pt x="348546" y="365606"/>
                    <a:pt x="348546" y="352276"/>
                  </a:cubicBezTo>
                  <a:cubicBezTo>
                    <a:pt x="348546" y="338857"/>
                    <a:pt x="359316" y="327926"/>
                    <a:pt x="372756" y="327926"/>
                  </a:cubicBezTo>
                  <a:lnTo>
                    <a:pt x="446987" y="327926"/>
                  </a:lnTo>
                  <a:cubicBezTo>
                    <a:pt x="494605" y="327926"/>
                    <a:pt x="533322" y="289090"/>
                    <a:pt x="533322" y="241190"/>
                  </a:cubicBezTo>
                  <a:cubicBezTo>
                    <a:pt x="533322" y="195334"/>
                    <a:pt x="497720" y="157298"/>
                    <a:pt x="452238" y="154632"/>
                  </a:cubicBezTo>
                  <a:cubicBezTo>
                    <a:pt x="440934" y="153921"/>
                    <a:pt x="431589" y="145478"/>
                    <a:pt x="429809" y="134192"/>
                  </a:cubicBezTo>
                  <a:cubicBezTo>
                    <a:pt x="421709" y="84692"/>
                    <a:pt x="379609" y="48789"/>
                    <a:pt x="329677" y="48789"/>
                  </a:cubicBezTo>
                  <a:cubicBezTo>
                    <a:pt x="279567" y="48789"/>
                    <a:pt x="238001" y="84781"/>
                    <a:pt x="229457" y="134192"/>
                  </a:cubicBezTo>
                  <a:cubicBezTo>
                    <a:pt x="226520" y="151521"/>
                    <a:pt x="212190" y="162807"/>
                    <a:pt x="192964" y="151077"/>
                  </a:cubicBezTo>
                  <a:cubicBezTo>
                    <a:pt x="178011" y="141834"/>
                    <a:pt x="160922" y="136947"/>
                    <a:pt x="143299" y="136947"/>
                  </a:cubicBezTo>
                  <a:cubicBezTo>
                    <a:pt x="90964" y="136947"/>
                    <a:pt x="48419" y="179693"/>
                    <a:pt x="48419" y="232303"/>
                  </a:cubicBezTo>
                  <a:cubicBezTo>
                    <a:pt x="48419" y="284913"/>
                    <a:pt x="90964" y="327748"/>
                    <a:pt x="143299" y="327748"/>
                  </a:cubicBezTo>
                  <a:lnTo>
                    <a:pt x="218776" y="327748"/>
                  </a:lnTo>
                  <a:cubicBezTo>
                    <a:pt x="232216" y="327748"/>
                    <a:pt x="242986" y="338590"/>
                    <a:pt x="242986" y="352009"/>
                  </a:cubicBezTo>
                  <a:cubicBezTo>
                    <a:pt x="242986" y="365429"/>
                    <a:pt x="232216" y="376271"/>
                    <a:pt x="218776" y="376271"/>
                  </a:cubicBezTo>
                  <a:lnTo>
                    <a:pt x="143299" y="376271"/>
                  </a:lnTo>
                  <a:cubicBezTo>
                    <a:pt x="64262" y="376271"/>
                    <a:pt x="0" y="311574"/>
                    <a:pt x="0" y="232214"/>
                  </a:cubicBezTo>
                  <a:cubicBezTo>
                    <a:pt x="0" y="152854"/>
                    <a:pt x="64262" y="88158"/>
                    <a:pt x="143210" y="88158"/>
                  </a:cubicBezTo>
                  <a:cubicBezTo>
                    <a:pt x="159231" y="88158"/>
                    <a:pt x="174896" y="90735"/>
                    <a:pt x="189849" y="95978"/>
                  </a:cubicBezTo>
                  <a:cubicBezTo>
                    <a:pt x="198749" y="73050"/>
                    <a:pt x="238891" y="0"/>
                    <a:pt x="32949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2" name="iş1iḑe">
              <a:extLst>
                <a:ext uri="{FF2B5EF4-FFF2-40B4-BE49-F238E27FC236}">
                  <a16:creationId xmlns:a16="http://schemas.microsoft.com/office/drawing/2014/main" id="{79D5FAF9-096B-4C61-A299-6A26A276E128}"/>
                </a:ext>
              </a:extLst>
            </p:cNvPr>
            <p:cNvSpPr/>
            <p:nvPr/>
          </p:nvSpPr>
          <p:spPr bwMode="auto">
            <a:xfrm>
              <a:off x="3025037" y="4301073"/>
              <a:ext cx="377806" cy="377236"/>
            </a:xfrm>
            <a:custGeom>
              <a:avLst/>
              <a:gdLst>
                <a:gd name="connsiteX0" fmla="*/ 303820 w 607639"/>
                <a:gd name="connsiteY0" fmla="*/ 278099 h 606722"/>
                <a:gd name="connsiteX1" fmla="*/ 329118 w 607639"/>
                <a:gd name="connsiteY1" fmla="*/ 303362 h 606722"/>
                <a:gd name="connsiteX2" fmla="*/ 303820 w 607639"/>
                <a:gd name="connsiteY2" fmla="*/ 328625 h 606722"/>
                <a:gd name="connsiteX3" fmla="*/ 278522 w 607639"/>
                <a:gd name="connsiteY3" fmla="*/ 303362 h 606722"/>
                <a:gd name="connsiteX4" fmla="*/ 303820 w 607639"/>
                <a:gd name="connsiteY4" fmla="*/ 278099 h 606722"/>
                <a:gd name="connsiteX5" fmla="*/ 303775 w 607639"/>
                <a:gd name="connsiteY5" fmla="*/ 252735 h 606722"/>
                <a:gd name="connsiteX6" fmla="*/ 253140 w 607639"/>
                <a:gd name="connsiteY6" fmla="*/ 303317 h 606722"/>
                <a:gd name="connsiteX7" fmla="*/ 303775 w 607639"/>
                <a:gd name="connsiteY7" fmla="*/ 353900 h 606722"/>
                <a:gd name="connsiteX8" fmla="*/ 354410 w 607639"/>
                <a:gd name="connsiteY8" fmla="*/ 303317 h 606722"/>
                <a:gd name="connsiteX9" fmla="*/ 303775 w 607639"/>
                <a:gd name="connsiteY9" fmla="*/ 252735 h 606722"/>
                <a:gd name="connsiteX10" fmla="*/ 303775 w 607639"/>
                <a:gd name="connsiteY10" fmla="*/ 202241 h 606722"/>
                <a:gd name="connsiteX11" fmla="*/ 405045 w 607639"/>
                <a:gd name="connsiteY11" fmla="*/ 303317 h 606722"/>
                <a:gd name="connsiteX12" fmla="*/ 303775 w 607639"/>
                <a:gd name="connsiteY12" fmla="*/ 404482 h 606722"/>
                <a:gd name="connsiteX13" fmla="*/ 202593 w 607639"/>
                <a:gd name="connsiteY13" fmla="*/ 303317 h 606722"/>
                <a:gd name="connsiteX14" fmla="*/ 303775 w 607639"/>
                <a:gd name="connsiteY14" fmla="*/ 202241 h 606722"/>
                <a:gd name="connsiteX15" fmla="*/ 303775 w 607639"/>
                <a:gd name="connsiteY15" fmla="*/ 151703 h 606722"/>
                <a:gd name="connsiteX16" fmla="*/ 151932 w 607639"/>
                <a:gd name="connsiteY16" fmla="*/ 303317 h 606722"/>
                <a:gd name="connsiteX17" fmla="*/ 303775 w 607639"/>
                <a:gd name="connsiteY17" fmla="*/ 455019 h 606722"/>
                <a:gd name="connsiteX18" fmla="*/ 455707 w 607639"/>
                <a:gd name="connsiteY18" fmla="*/ 303317 h 606722"/>
                <a:gd name="connsiteX19" fmla="*/ 303775 w 607639"/>
                <a:gd name="connsiteY19" fmla="*/ 151703 h 606722"/>
                <a:gd name="connsiteX20" fmla="*/ 253131 w 607639"/>
                <a:gd name="connsiteY20" fmla="*/ 0 h 606722"/>
                <a:gd name="connsiteX21" fmla="*/ 354419 w 607639"/>
                <a:gd name="connsiteY21" fmla="*/ 0 h 606722"/>
                <a:gd name="connsiteX22" fmla="*/ 379786 w 607639"/>
                <a:gd name="connsiteY22" fmla="*/ 25239 h 606722"/>
                <a:gd name="connsiteX23" fmla="*/ 379786 w 607639"/>
                <a:gd name="connsiteY23" fmla="*/ 62387 h 606722"/>
                <a:gd name="connsiteX24" fmla="*/ 420639 w 607639"/>
                <a:gd name="connsiteY24" fmla="*/ 79451 h 606722"/>
                <a:gd name="connsiteX25" fmla="*/ 446985 w 607639"/>
                <a:gd name="connsiteY25" fmla="*/ 53145 h 606722"/>
                <a:gd name="connsiteX26" fmla="*/ 482854 w 607639"/>
                <a:gd name="connsiteY26" fmla="*/ 53145 h 606722"/>
                <a:gd name="connsiteX27" fmla="*/ 554414 w 607639"/>
                <a:gd name="connsiteY27" fmla="*/ 124597 h 606722"/>
                <a:gd name="connsiteX28" fmla="*/ 554414 w 607639"/>
                <a:gd name="connsiteY28" fmla="*/ 160323 h 606722"/>
                <a:gd name="connsiteX29" fmla="*/ 528069 w 607639"/>
                <a:gd name="connsiteY29" fmla="*/ 186629 h 606722"/>
                <a:gd name="connsiteX30" fmla="*/ 545158 w 607639"/>
                <a:gd name="connsiteY30" fmla="*/ 227510 h 606722"/>
                <a:gd name="connsiteX31" fmla="*/ 582273 w 607639"/>
                <a:gd name="connsiteY31" fmla="*/ 227510 h 606722"/>
                <a:gd name="connsiteX32" fmla="*/ 607639 w 607639"/>
                <a:gd name="connsiteY32" fmla="*/ 252749 h 606722"/>
                <a:gd name="connsiteX33" fmla="*/ 607639 w 607639"/>
                <a:gd name="connsiteY33" fmla="*/ 353884 h 606722"/>
                <a:gd name="connsiteX34" fmla="*/ 582273 w 607639"/>
                <a:gd name="connsiteY34" fmla="*/ 379212 h 606722"/>
                <a:gd name="connsiteX35" fmla="*/ 545158 w 607639"/>
                <a:gd name="connsiteY35" fmla="*/ 379212 h 606722"/>
                <a:gd name="connsiteX36" fmla="*/ 528069 w 607639"/>
                <a:gd name="connsiteY36" fmla="*/ 420004 h 606722"/>
                <a:gd name="connsiteX37" fmla="*/ 554414 w 607639"/>
                <a:gd name="connsiteY37" fmla="*/ 446310 h 606722"/>
                <a:gd name="connsiteX38" fmla="*/ 554414 w 607639"/>
                <a:gd name="connsiteY38" fmla="*/ 482125 h 606722"/>
                <a:gd name="connsiteX39" fmla="*/ 482854 w 607639"/>
                <a:gd name="connsiteY39" fmla="*/ 553577 h 606722"/>
                <a:gd name="connsiteX40" fmla="*/ 446985 w 607639"/>
                <a:gd name="connsiteY40" fmla="*/ 553577 h 606722"/>
                <a:gd name="connsiteX41" fmla="*/ 420639 w 607639"/>
                <a:gd name="connsiteY41" fmla="*/ 527271 h 606722"/>
                <a:gd name="connsiteX42" fmla="*/ 379786 w 607639"/>
                <a:gd name="connsiteY42" fmla="*/ 544246 h 606722"/>
                <a:gd name="connsiteX43" fmla="*/ 379786 w 607639"/>
                <a:gd name="connsiteY43" fmla="*/ 581394 h 606722"/>
                <a:gd name="connsiteX44" fmla="*/ 354419 w 607639"/>
                <a:gd name="connsiteY44" fmla="*/ 606722 h 606722"/>
                <a:gd name="connsiteX45" fmla="*/ 253131 w 607639"/>
                <a:gd name="connsiteY45" fmla="*/ 606722 h 606722"/>
                <a:gd name="connsiteX46" fmla="*/ 227854 w 607639"/>
                <a:gd name="connsiteY46" fmla="*/ 581394 h 606722"/>
                <a:gd name="connsiteX47" fmla="*/ 227854 w 607639"/>
                <a:gd name="connsiteY47" fmla="*/ 544246 h 606722"/>
                <a:gd name="connsiteX48" fmla="*/ 186911 w 607639"/>
                <a:gd name="connsiteY48" fmla="*/ 527271 h 606722"/>
                <a:gd name="connsiteX49" fmla="*/ 160566 w 607639"/>
                <a:gd name="connsiteY49" fmla="*/ 553577 h 606722"/>
                <a:gd name="connsiteX50" fmla="*/ 124786 w 607639"/>
                <a:gd name="connsiteY50" fmla="*/ 553577 h 606722"/>
                <a:gd name="connsiteX51" fmla="*/ 53225 w 607639"/>
                <a:gd name="connsiteY51" fmla="*/ 482125 h 606722"/>
                <a:gd name="connsiteX52" fmla="*/ 53225 w 607639"/>
                <a:gd name="connsiteY52" fmla="*/ 446310 h 606722"/>
                <a:gd name="connsiteX53" fmla="*/ 79482 w 607639"/>
                <a:gd name="connsiteY53" fmla="*/ 420004 h 606722"/>
                <a:gd name="connsiteX54" fmla="*/ 62482 w 607639"/>
                <a:gd name="connsiteY54" fmla="*/ 379212 h 606722"/>
                <a:gd name="connsiteX55" fmla="*/ 25278 w 607639"/>
                <a:gd name="connsiteY55" fmla="*/ 379212 h 606722"/>
                <a:gd name="connsiteX56" fmla="*/ 0 w 607639"/>
                <a:gd name="connsiteY56" fmla="*/ 353884 h 606722"/>
                <a:gd name="connsiteX57" fmla="*/ 0 w 607639"/>
                <a:gd name="connsiteY57" fmla="*/ 252749 h 606722"/>
                <a:gd name="connsiteX58" fmla="*/ 25278 w 607639"/>
                <a:gd name="connsiteY58" fmla="*/ 227510 h 606722"/>
                <a:gd name="connsiteX59" fmla="*/ 62482 w 607639"/>
                <a:gd name="connsiteY59" fmla="*/ 227510 h 606722"/>
                <a:gd name="connsiteX60" fmla="*/ 79482 w 607639"/>
                <a:gd name="connsiteY60" fmla="*/ 186629 h 606722"/>
                <a:gd name="connsiteX61" fmla="*/ 53225 w 607639"/>
                <a:gd name="connsiteY61" fmla="*/ 160323 h 606722"/>
                <a:gd name="connsiteX62" fmla="*/ 53225 w 607639"/>
                <a:gd name="connsiteY62" fmla="*/ 124597 h 606722"/>
                <a:gd name="connsiteX63" fmla="*/ 124786 w 607639"/>
                <a:gd name="connsiteY63" fmla="*/ 53145 h 606722"/>
                <a:gd name="connsiteX64" fmla="*/ 160566 w 607639"/>
                <a:gd name="connsiteY64" fmla="*/ 53145 h 606722"/>
                <a:gd name="connsiteX65" fmla="*/ 186911 w 607639"/>
                <a:gd name="connsiteY65" fmla="*/ 79451 h 606722"/>
                <a:gd name="connsiteX66" fmla="*/ 227854 w 607639"/>
                <a:gd name="connsiteY66" fmla="*/ 62387 h 606722"/>
                <a:gd name="connsiteX67" fmla="*/ 227854 w 607639"/>
                <a:gd name="connsiteY67" fmla="*/ 25239 h 606722"/>
                <a:gd name="connsiteX68" fmla="*/ 253131 w 607639"/>
                <a:gd name="connsiteY68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607639" h="606722">
                  <a:moveTo>
                    <a:pt x="303820" y="278099"/>
                  </a:moveTo>
                  <a:cubicBezTo>
                    <a:pt x="317792" y="278099"/>
                    <a:pt x="329118" y="289410"/>
                    <a:pt x="329118" y="303362"/>
                  </a:cubicBezTo>
                  <a:cubicBezTo>
                    <a:pt x="329118" y="317314"/>
                    <a:pt x="317792" y="328625"/>
                    <a:pt x="303820" y="328625"/>
                  </a:cubicBezTo>
                  <a:cubicBezTo>
                    <a:pt x="289848" y="328625"/>
                    <a:pt x="278522" y="317314"/>
                    <a:pt x="278522" y="303362"/>
                  </a:cubicBezTo>
                  <a:cubicBezTo>
                    <a:pt x="278522" y="289410"/>
                    <a:pt x="289848" y="278099"/>
                    <a:pt x="303820" y="278099"/>
                  </a:cubicBezTo>
                  <a:close/>
                  <a:moveTo>
                    <a:pt x="303775" y="252735"/>
                  </a:moveTo>
                  <a:cubicBezTo>
                    <a:pt x="275921" y="252735"/>
                    <a:pt x="253140" y="275492"/>
                    <a:pt x="253140" y="303317"/>
                  </a:cubicBezTo>
                  <a:cubicBezTo>
                    <a:pt x="253140" y="331231"/>
                    <a:pt x="275921" y="353900"/>
                    <a:pt x="303775" y="353900"/>
                  </a:cubicBezTo>
                  <a:cubicBezTo>
                    <a:pt x="331718" y="353900"/>
                    <a:pt x="354410" y="331231"/>
                    <a:pt x="354410" y="303317"/>
                  </a:cubicBezTo>
                  <a:cubicBezTo>
                    <a:pt x="354410" y="275492"/>
                    <a:pt x="331718" y="252735"/>
                    <a:pt x="303775" y="252735"/>
                  </a:cubicBezTo>
                  <a:close/>
                  <a:moveTo>
                    <a:pt x="303775" y="202241"/>
                  </a:moveTo>
                  <a:cubicBezTo>
                    <a:pt x="359660" y="202241"/>
                    <a:pt x="405045" y="247579"/>
                    <a:pt x="405045" y="303317"/>
                  </a:cubicBezTo>
                  <a:cubicBezTo>
                    <a:pt x="405045" y="359144"/>
                    <a:pt x="359660" y="404482"/>
                    <a:pt x="303775" y="404482"/>
                  </a:cubicBezTo>
                  <a:cubicBezTo>
                    <a:pt x="247978" y="404482"/>
                    <a:pt x="202593" y="359144"/>
                    <a:pt x="202593" y="303317"/>
                  </a:cubicBezTo>
                  <a:cubicBezTo>
                    <a:pt x="202593" y="247579"/>
                    <a:pt x="247978" y="202241"/>
                    <a:pt x="303775" y="202241"/>
                  </a:cubicBezTo>
                  <a:close/>
                  <a:moveTo>
                    <a:pt x="303775" y="151703"/>
                  </a:moveTo>
                  <a:cubicBezTo>
                    <a:pt x="220021" y="151703"/>
                    <a:pt x="151932" y="219689"/>
                    <a:pt x="151932" y="303317"/>
                  </a:cubicBezTo>
                  <a:cubicBezTo>
                    <a:pt x="151932" y="387033"/>
                    <a:pt x="220021" y="455019"/>
                    <a:pt x="303775" y="455019"/>
                  </a:cubicBezTo>
                  <a:cubicBezTo>
                    <a:pt x="387618" y="455019"/>
                    <a:pt x="455707" y="387033"/>
                    <a:pt x="455707" y="303317"/>
                  </a:cubicBezTo>
                  <a:cubicBezTo>
                    <a:pt x="455707" y="219689"/>
                    <a:pt x="387618" y="151703"/>
                    <a:pt x="303775" y="151703"/>
                  </a:cubicBezTo>
                  <a:close/>
                  <a:moveTo>
                    <a:pt x="253131" y="0"/>
                  </a:moveTo>
                  <a:lnTo>
                    <a:pt x="354419" y="0"/>
                  </a:lnTo>
                  <a:cubicBezTo>
                    <a:pt x="368482" y="0"/>
                    <a:pt x="379786" y="11287"/>
                    <a:pt x="379786" y="25239"/>
                  </a:cubicBezTo>
                  <a:lnTo>
                    <a:pt x="379786" y="62387"/>
                  </a:lnTo>
                  <a:cubicBezTo>
                    <a:pt x="393849" y="66831"/>
                    <a:pt x="407555" y="72519"/>
                    <a:pt x="420639" y="79451"/>
                  </a:cubicBezTo>
                  <a:lnTo>
                    <a:pt x="446985" y="53145"/>
                  </a:lnTo>
                  <a:cubicBezTo>
                    <a:pt x="456953" y="43191"/>
                    <a:pt x="472974" y="43191"/>
                    <a:pt x="482854" y="53145"/>
                  </a:cubicBezTo>
                  <a:lnTo>
                    <a:pt x="554414" y="124597"/>
                  </a:lnTo>
                  <a:cubicBezTo>
                    <a:pt x="564294" y="134462"/>
                    <a:pt x="564294" y="150459"/>
                    <a:pt x="554414" y="160323"/>
                  </a:cubicBezTo>
                  <a:lnTo>
                    <a:pt x="528069" y="186629"/>
                  </a:lnTo>
                  <a:cubicBezTo>
                    <a:pt x="535011" y="199782"/>
                    <a:pt x="540707" y="213468"/>
                    <a:pt x="545158" y="227510"/>
                  </a:cubicBezTo>
                  <a:lnTo>
                    <a:pt x="582273" y="227510"/>
                  </a:lnTo>
                  <a:cubicBezTo>
                    <a:pt x="596336" y="227510"/>
                    <a:pt x="607639" y="238796"/>
                    <a:pt x="607639" y="252749"/>
                  </a:cubicBezTo>
                  <a:lnTo>
                    <a:pt x="607639" y="353884"/>
                  </a:lnTo>
                  <a:cubicBezTo>
                    <a:pt x="607639" y="367926"/>
                    <a:pt x="596247" y="379212"/>
                    <a:pt x="582273" y="379212"/>
                  </a:cubicBezTo>
                  <a:lnTo>
                    <a:pt x="545158" y="379212"/>
                  </a:lnTo>
                  <a:cubicBezTo>
                    <a:pt x="540707" y="393254"/>
                    <a:pt x="535011" y="406940"/>
                    <a:pt x="528069" y="420004"/>
                  </a:cubicBezTo>
                  <a:lnTo>
                    <a:pt x="554414" y="446310"/>
                  </a:lnTo>
                  <a:cubicBezTo>
                    <a:pt x="564294" y="456263"/>
                    <a:pt x="564294" y="472260"/>
                    <a:pt x="554414" y="482125"/>
                  </a:cubicBezTo>
                  <a:lnTo>
                    <a:pt x="482854" y="553577"/>
                  </a:lnTo>
                  <a:cubicBezTo>
                    <a:pt x="472974" y="563442"/>
                    <a:pt x="456953" y="563442"/>
                    <a:pt x="446985" y="553577"/>
                  </a:cubicBezTo>
                  <a:lnTo>
                    <a:pt x="420639" y="527271"/>
                  </a:lnTo>
                  <a:cubicBezTo>
                    <a:pt x="407555" y="534203"/>
                    <a:pt x="393849" y="539802"/>
                    <a:pt x="379786" y="544246"/>
                  </a:cubicBezTo>
                  <a:lnTo>
                    <a:pt x="379786" y="581394"/>
                  </a:lnTo>
                  <a:cubicBezTo>
                    <a:pt x="379786" y="595435"/>
                    <a:pt x="368393" y="606722"/>
                    <a:pt x="354419" y="606722"/>
                  </a:cubicBezTo>
                  <a:lnTo>
                    <a:pt x="253131" y="606722"/>
                  </a:lnTo>
                  <a:cubicBezTo>
                    <a:pt x="239157" y="606722"/>
                    <a:pt x="227854" y="595435"/>
                    <a:pt x="227854" y="581394"/>
                  </a:cubicBezTo>
                  <a:lnTo>
                    <a:pt x="227854" y="544246"/>
                  </a:lnTo>
                  <a:cubicBezTo>
                    <a:pt x="213791" y="539802"/>
                    <a:pt x="200084" y="534203"/>
                    <a:pt x="186911" y="527271"/>
                  </a:cubicBezTo>
                  <a:lnTo>
                    <a:pt x="160566" y="553577"/>
                  </a:lnTo>
                  <a:cubicBezTo>
                    <a:pt x="150686" y="563442"/>
                    <a:pt x="134665" y="563442"/>
                    <a:pt x="124786" y="553577"/>
                  </a:cubicBezTo>
                  <a:lnTo>
                    <a:pt x="53225" y="482125"/>
                  </a:lnTo>
                  <a:cubicBezTo>
                    <a:pt x="43257" y="472260"/>
                    <a:pt x="43257" y="456263"/>
                    <a:pt x="53225" y="446310"/>
                  </a:cubicBezTo>
                  <a:lnTo>
                    <a:pt x="79482" y="420004"/>
                  </a:lnTo>
                  <a:cubicBezTo>
                    <a:pt x="72629" y="406940"/>
                    <a:pt x="66932" y="393254"/>
                    <a:pt x="62482" y="379212"/>
                  </a:cubicBezTo>
                  <a:lnTo>
                    <a:pt x="25278" y="379212"/>
                  </a:lnTo>
                  <a:cubicBezTo>
                    <a:pt x="11304" y="379212"/>
                    <a:pt x="0" y="367926"/>
                    <a:pt x="0" y="353884"/>
                  </a:cubicBezTo>
                  <a:lnTo>
                    <a:pt x="0" y="252749"/>
                  </a:lnTo>
                  <a:cubicBezTo>
                    <a:pt x="0" y="238796"/>
                    <a:pt x="11304" y="227510"/>
                    <a:pt x="25278" y="227510"/>
                  </a:cubicBezTo>
                  <a:lnTo>
                    <a:pt x="62482" y="227510"/>
                  </a:lnTo>
                  <a:cubicBezTo>
                    <a:pt x="66932" y="213468"/>
                    <a:pt x="72629" y="199782"/>
                    <a:pt x="79482" y="186629"/>
                  </a:cubicBezTo>
                  <a:lnTo>
                    <a:pt x="53225" y="160323"/>
                  </a:lnTo>
                  <a:cubicBezTo>
                    <a:pt x="43257" y="150459"/>
                    <a:pt x="43257" y="134462"/>
                    <a:pt x="53225" y="124597"/>
                  </a:cubicBezTo>
                  <a:lnTo>
                    <a:pt x="124786" y="53145"/>
                  </a:lnTo>
                  <a:cubicBezTo>
                    <a:pt x="134665" y="43191"/>
                    <a:pt x="150686" y="43191"/>
                    <a:pt x="160566" y="53145"/>
                  </a:cubicBezTo>
                  <a:lnTo>
                    <a:pt x="186911" y="79451"/>
                  </a:lnTo>
                  <a:cubicBezTo>
                    <a:pt x="200084" y="72519"/>
                    <a:pt x="213791" y="66831"/>
                    <a:pt x="227854" y="62387"/>
                  </a:cubicBezTo>
                  <a:lnTo>
                    <a:pt x="227854" y="25239"/>
                  </a:lnTo>
                  <a:cubicBezTo>
                    <a:pt x="227854" y="11287"/>
                    <a:pt x="239157" y="0"/>
                    <a:pt x="253131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3" name="ïṧľíďê">
              <a:extLst>
                <a:ext uri="{FF2B5EF4-FFF2-40B4-BE49-F238E27FC236}">
                  <a16:creationId xmlns:a16="http://schemas.microsoft.com/office/drawing/2014/main" id="{83AC56C8-BB22-4DB6-8372-AA84DFFA3A81}"/>
                </a:ext>
              </a:extLst>
            </p:cNvPr>
            <p:cNvSpPr/>
            <p:nvPr/>
          </p:nvSpPr>
          <p:spPr bwMode="auto">
            <a:xfrm>
              <a:off x="2498293" y="4944202"/>
              <a:ext cx="377806" cy="377188"/>
            </a:xfrm>
            <a:custGeom>
              <a:avLst/>
              <a:gdLst>
                <a:gd name="connsiteX0" fmla="*/ 380418 w 604181"/>
                <a:gd name="connsiteY0" fmla="*/ 268007 h 603193"/>
                <a:gd name="connsiteX1" fmla="*/ 519220 w 604181"/>
                <a:gd name="connsiteY1" fmla="*/ 339187 h 603193"/>
                <a:gd name="connsiteX2" fmla="*/ 519220 w 604181"/>
                <a:gd name="connsiteY2" fmla="*/ 355820 h 603193"/>
                <a:gd name="connsiteX3" fmla="*/ 380418 w 604181"/>
                <a:gd name="connsiteY3" fmla="*/ 426850 h 603193"/>
                <a:gd name="connsiteX4" fmla="*/ 380418 w 604181"/>
                <a:gd name="connsiteY4" fmla="*/ 406320 h 603193"/>
                <a:gd name="connsiteX5" fmla="*/ 498212 w 604181"/>
                <a:gd name="connsiteY5" fmla="*/ 347728 h 603193"/>
                <a:gd name="connsiteX6" fmla="*/ 498212 w 604181"/>
                <a:gd name="connsiteY6" fmla="*/ 347129 h 603193"/>
                <a:gd name="connsiteX7" fmla="*/ 380418 w 604181"/>
                <a:gd name="connsiteY7" fmla="*/ 288687 h 603193"/>
                <a:gd name="connsiteX8" fmla="*/ 216565 w 604181"/>
                <a:gd name="connsiteY8" fmla="*/ 268007 h 603193"/>
                <a:gd name="connsiteX9" fmla="*/ 216565 w 604181"/>
                <a:gd name="connsiteY9" fmla="*/ 288687 h 603193"/>
                <a:gd name="connsiteX10" fmla="*/ 99664 w 604181"/>
                <a:gd name="connsiteY10" fmla="*/ 347129 h 603193"/>
                <a:gd name="connsiteX11" fmla="*/ 99664 w 604181"/>
                <a:gd name="connsiteY11" fmla="*/ 347728 h 603193"/>
                <a:gd name="connsiteX12" fmla="*/ 216565 w 604181"/>
                <a:gd name="connsiteY12" fmla="*/ 406320 h 603193"/>
                <a:gd name="connsiteX13" fmla="*/ 216565 w 604181"/>
                <a:gd name="connsiteY13" fmla="*/ 426850 h 603193"/>
                <a:gd name="connsiteX14" fmla="*/ 77904 w 604181"/>
                <a:gd name="connsiteY14" fmla="*/ 355521 h 603193"/>
                <a:gd name="connsiteX15" fmla="*/ 77904 w 604181"/>
                <a:gd name="connsiteY15" fmla="*/ 339486 h 603193"/>
                <a:gd name="connsiteX16" fmla="*/ 338273 w 604181"/>
                <a:gd name="connsiteY16" fmla="*/ 222493 h 603193"/>
                <a:gd name="connsiteX17" fmla="*/ 358684 w 604181"/>
                <a:gd name="connsiteY17" fmla="*/ 222493 h 603193"/>
                <a:gd name="connsiteX18" fmla="*/ 253179 w 604181"/>
                <a:gd name="connsiteY18" fmla="*/ 482103 h 603193"/>
                <a:gd name="connsiteX19" fmla="*/ 233219 w 604181"/>
                <a:gd name="connsiteY19" fmla="*/ 482103 h 603193"/>
                <a:gd name="connsiteX20" fmla="*/ 28813 w 604181"/>
                <a:gd name="connsiteY20" fmla="*/ 128849 h 603193"/>
                <a:gd name="connsiteX21" fmla="*/ 28813 w 604181"/>
                <a:gd name="connsiteY21" fmla="*/ 557497 h 603193"/>
                <a:gd name="connsiteX22" fmla="*/ 45921 w 604181"/>
                <a:gd name="connsiteY22" fmla="*/ 574427 h 603193"/>
                <a:gd name="connsiteX23" fmla="*/ 558410 w 604181"/>
                <a:gd name="connsiteY23" fmla="*/ 574427 h 603193"/>
                <a:gd name="connsiteX24" fmla="*/ 575368 w 604181"/>
                <a:gd name="connsiteY24" fmla="*/ 557497 h 603193"/>
                <a:gd name="connsiteX25" fmla="*/ 575368 w 604181"/>
                <a:gd name="connsiteY25" fmla="*/ 128849 h 603193"/>
                <a:gd name="connsiteX26" fmla="*/ 502734 w 604181"/>
                <a:gd name="connsiteY26" fmla="*/ 43149 h 603193"/>
                <a:gd name="connsiteX27" fmla="*/ 502734 w 604181"/>
                <a:gd name="connsiteY27" fmla="*/ 77309 h 603193"/>
                <a:gd name="connsiteX28" fmla="*/ 537100 w 604181"/>
                <a:gd name="connsiteY28" fmla="*/ 77309 h 603193"/>
                <a:gd name="connsiteX29" fmla="*/ 537100 w 604181"/>
                <a:gd name="connsiteY29" fmla="*/ 43149 h 603193"/>
                <a:gd name="connsiteX30" fmla="*/ 423197 w 604181"/>
                <a:gd name="connsiteY30" fmla="*/ 43149 h 603193"/>
                <a:gd name="connsiteX31" fmla="*/ 423197 w 604181"/>
                <a:gd name="connsiteY31" fmla="*/ 77309 h 603193"/>
                <a:gd name="connsiteX32" fmla="*/ 457563 w 604181"/>
                <a:gd name="connsiteY32" fmla="*/ 77309 h 603193"/>
                <a:gd name="connsiteX33" fmla="*/ 457563 w 604181"/>
                <a:gd name="connsiteY33" fmla="*/ 43149 h 603193"/>
                <a:gd name="connsiteX34" fmla="*/ 45921 w 604181"/>
                <a:gd name="connsiteY34" fmla="*/ 0 h 603193"/>
                <a:gd name="connsiteX35" fmla="*/ 558410 w 604181"/>
                <a:gd name="connsiteY35" fmla="*/ 0 h 603193"/>
                <a:gd name="connsiteX36" fmla="*/ 604181 w 604181"/>
                <a:gd name="connsiteY36" fmla="*/ 45846 h 603193"/>
                <a:gd name="connsiteX37" fmla="*/ 604181 w 604181"/>
                <a:gd name="connsiteY37" fmla="*/ 557497 h 603193"/>
                <a:gd name="connsiteX38" fmla="*/ 558410 w 604181"/>
                <a:gd name="connsiteY38" fmla="*/ 603193 h 603193"/>
                <a:gd name="connsiteX39" fmla="*/ 45921 w 604181"/>
                <a:gd name="connsiteY39" fmla="*/ 603193 h 603193"/>
                <a:gd name="connsiteX40" fmla="*/ 0 w 604181"/>
                <a:gd name="connsiteY40" fmla="*/ 557497 h 603193"/>
                <a:gd name="connsiteX41" fmla="*/ 0 w 604181"/>
                <a:gd name="connsiteY41" fmla="*/ 45846 h 603193"/>
                <a:gd name="connsiteX42" fmla="*/ 45921 w 604181"/>
                <a:gd name="connsiteY42" fmla="*/ 0 h 603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04181" h="603193">
                  <a:moveTo>
                    <a:pt x="380418" y="268007"/>
                  </a:moveTo>
                  <a:lnTo>
                    <a:pt x="519220" y="339187"/>
                  </a:lnTo>
                  <a:lnTo>
                    <a:pt x="519220" y="355820"/>
                  </a:lnTo>
                  <a:lnTo>
                    <a:pt x="380418" y="426850"/>
                  </a:lnTo>
                  <a:lnTo>
                    <a:pt x="380418" y="406320"/>
                  </a:lnTo>
                  <a:lnTo>
                    <a:pt x="498212" y="347728"/>
                  </a:lnTo>
                  <a:lnTo>
                    <a:pt x="498212" y="347129"/>
                  </a:lnTo>
                  <a:lnTo>
                    <a:pt x="380418" y="288687"/>
                  </a:lnTo>
                  <a:close/>
                  <a:moveTo>
                    <a:pt x="216565" y="268007"/>
                  </a:moveTo>
                  <a:lnTo>
                    <a:pt x="216565" y="288687"/>
                  </a:lnTo>
                  <a:lnTo>
                    <a:pt x="99664" y="347129"/>
                  </a:lnTo>
                  <a:lnTo>
                    <a:pt x="99664" y="347728"/>
                  </a:lnTo>
                  <a:lnTo>
                    <a:pt x="216565" y="406320"/>
                  </a:lnTo>
                  <a:lnTo>
                    <a:pt x="216565" y="426850"/>
                  </a:lnTo>
                  <a:lnTo>
                    <a:pt x="77904" y="355521"/>
                  </a:lnTo>
                  <a:lnTo>
                    <a:pt x="77904" y="339486"/>
                  </a:lnTo>
                  <a:close/>
                  <a:moveTo>
                    <a:pt x="338273" y="222493"/>
                  </a:moveTo>
                  <a:lnTo>
                    <a:pt x="358684" y="222493"/>
                  </a:lnTo>
                  <a:lnTo>
                    <a:pt x="253179" y="482103"/>
                  </a:lnTo>
                  <a:lnTo>
                    <a:pt x="233219" y="482103"/>
                  </a:lnTo>
                  <a:close/>
                  <a:moveTo>
                    <a:pt x="28813" y="128849"/>
                  </a:moveTo>
                  <a:lnTo>
                    <a:pt x="28813" y="557497"/>
                  </a:lnTo>
                  <a:cubicBezTo>
                    <a:pt x="28813" y="566786"/>
                    <a:pt x="36467" y="574427"/>
                    <a:pt x="45921" y="574427"/>
                  </a:cubicBezTo>
                  <a:lnTo>
                    <a:pt x="558410" y="574427"/>
                  </a:lnTo>
                  <a:cubicBezTo>
                    <a:pt x="567714" y="574427"/>
                    <a:pt x="575368" y="566786"/>
                    <a:pt x="575368" y="557497"/>
                  </a:cubicBezTo>
                  <a:lnTo>
                    <a:pt x="575368" y="128849"/>
                  </a:lnTo>
                  <a:close/>
                  <a:moveTo>
                    <a:pt x="502734" y="43149"/>
                  </a:moveTo>
                  <a:lnTo>
                    <a:pt x="502734" y="77309"/>
                  </a:lnTo>
                  <a:lnTo>
                    <a:pt x="537100" y="77309"/>
                  </a:lnTo>
                  <a:lnTo>
                    <a:pt x="537100" y="43149"/>
                  </a:lnTo>
                  <a:close/>
                  <a:moveTo>
                    <a:pt x="423197" y="43149"/>
                  </a:moveTo>
                  <a:lnTo>
                    <a:pt x="423197" y="77309"/>
                  </a:lnTo>
                  <a:lnTo>
                    <a:pt x="457563" y="77309"/>
                  </a:lnTo>
                  <a:lnTo>
                    <a:pt x="457563" y="43149"/>
                  </a:lnTo>
                  <a:close/>
                  <a:moveTo>
                    <a:pt x="45921" y="0"/>
                  </a:moveTo>
                  <a:lnTo>
                    <a:pt x="558410" y="0"/>
                  </a:lnTo>
                  <a:cubicBezTo>
                    <a:pt x="583621" y="0"/>
                    <a:pt x="604181" y="20526"/>
                    <a:pt x="604181" y="45846"/>
                  </a:cubicBezTo>
                  <a:lnTo>
                    <a:pt x="604181" y="557497"/>
                  </a:lnTo>
                  <a:cubicBezTo>
                    <a:pt x="604181" y="582667"/>
                    <a:pt x="583621" y="603193"/>
                    <a:pt x="558410" y="603193"/>
                  </a:cubicBezTo>
                  <a:lnTo>
                    <a:pt x="45921" y="603193"/>
                  </a:lnTo>
                  <a:cubicBezTo>
                    <a:pt x="20560" y="603193"/>
                    <a:pt x="0" y="582667"/>
                    <a:pt x="0" y="557497"/>
                  </a:cubicBezTo>
                  <a:lnTo>
                    <a:pt x="0" y="45846"/>
                  </a:lnTo>
                  <a:cubicBezTo>
                    <a:pt x="0" y="20526"/>
                    <a:pt x="20560" y="0"/>
                    <a:pt x="45921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4" name="îṣḻîḍé">
              <a:extLst>
                <a:ext uri="{FF2B5EF4-FFF2-40B4-BE49-F238E27FC236}">
                  <a16:creationId xmlns:a16="http://schemas.microsoft.com/office/drawing/2014/main" id="{716A4AAF-66FE-4462-901E-658C29D84AD8}"/>
                </a:ext>
              </a:extLst>
            </p:cNvPr>
            <p:cNvSpPr/>
            <p:nvPr/>
          </p:nvSpPr>
          <p:spPr bwMode="auto">
            <a:xfrm>
              <a:off x="1959174" y="5587283"/>
              <a:ext cx="377806" cy="377235"/>
            </a:xfrm>
            <a:custGeom>
              <a:avLst/>
              <a:gdLst>
                <a:gd name="T0" fmla="*/ 6624 w 7154"/>
                <a:gd name="T1" fmla="*/ 2037 h 7154"/>
                <a:gd name="T2" fmla="*/ 6106 w 7154"/>
                <a:gd name="T3" fmla="*/ 1048 h 7154"/>
                <a:gd name="T4" fmla="*/ 5117 w 7154"/>
                <a:gd name="T5" fmla="*/ 530 h 7154"/>
                <a:gd name="T6" fmla="*/ 4643 w 7154"/>
                <a:gd name="T7" fmla="*/ 334 h 7154"/>
                <a:gd name="T8" fmla="*/ 3577 w 7154"/>
                <a:gd name="T9" fmla="*/ 0 h 7154"/>
                <a:gd name="T10" fmla="*/ 2511 w 7154"/>
                <a:gd name="T11" fmla="*/ 334 h 7154"/>
                <a:gd name="T12" fmla="*/ 2037 w 7154"/>
                <a:gd name="T13" fmla="*/ 530 h 7154"/>
                <a:gd name="T14" fmla="*/ 1048 w 7154"/>
                <a:gd name="T15" fmla="*/ 1048 h 7154"/>
                <a:gd name="T16" fmla="*/ 530 w 7154"/>
                <a:gd name="T17" fmla="*/ 2037 h 7154"/>
                <a:gd name="T18" fmla="*/ 334 w 7154"/>
                <a:gd name="T19" fmla="*/ 2511 h 7154"/>
                <a:gd name="T20" fmla="*/ 0 w 7154"/>
                <a:gd name="T21" fmla="*/ 3577 h 7154"/>
                <a:gd name="T22" fmla="*/ 334 w 7154"/>
                <a:gd name="T23" fmla="*/ 4643 h 7154"/>
                <a:gd name="T24" fmla="*/ 530 w 7154"/>
                <a:gd name="T25" fmla="*/ 5117 h 7154"/>
                <a:gd name="T26" fmla="*/ 1048 w 7154"/>
                <a:gd name="T27" fmla="*/ 6106 h 7154"/>
                <a:gd name="T28" fmla="*/ 2037 w 7154"/>
                <a:gd name="T29" fmla="*/ 6624 h 7154"/>
                <a:gd name="T30" fmla="*/ 2511 w 7154"/>
                <a:gd name="T31" fmla="*/ 6820 h 7154"/>
                <a:gd name="T32" fmla="*/ 3577 w 7154"/>
                <a:gd name="T33" fmla="*/ 7154 h 7154"/>
                <a:gd name="T34" fmla="*/ 4643 w 7154"/>
                <a:gd name="T35" fmla="*/ 6820 h 7154"/>
                <a:gd name="T36" fmla="*/ 5117 w 7154"/>
                <a:gd name="T37" fmla="*/ 6624 h 7154"/>
                <a:gd name="T38" fmla="*/ 6106 w 7154"/>
                <a:gd name="T39" fmla="*/ 6106 h 7154"/>
                <a:gd name="T40" fmla="*/ 6624 w 7154"/>
                <a:gd name="T41" fmla="*/ 5117 h 7154"/>
                <a:gd name="T42" fmla="*/ 6820 w 7154"/>
                <a:gd name="T43" fmla="*/ 4643 h 7154"/>
                <a:gd name="T44" fmla="*/ 7154 w 7154"/>
                <a:gd name="T45" fmla="*/ 3577 h 7154"/>
                <a:gd name="T46" fmla="*/ 6820 w 7154"/>
                <a:gd name="T47" fmla="*/ 2511 h 7154"/>
                <a:gd name="T48" fmla="*/ 6624 w 7154"/>
                <a:gd name="T49" fmla="*/ 2037 h 7154"/>
                <a:gd name="T50" fmla="*/ 5857 w 7154"/>
                <a:gd name="T51" fmla="*/ 2406 h 7154"/>
                <a:gd name="T52" fmla="*/ 3286 w 7154"/>
                <a:gd name="T53" fmla="*/ 4976 h 7154"/>
                <a:gd name="T54" fmla="*/ 2875 w 7154"/>
                <a:gd name="T55" fmla="*/ 5387 h 7154"/>
                <a:gd name="T56" fmla="*/ 2464 w 7154"/>
                <a:gd name="T57" fmla="*/ 5387 h 7154"/>
                <a:gd name="T58" fmla="*/ 2053 w 7154"/>
                <a:gd name="T59" fmla="*/ 4976 h 7154"/>
                <a:gd name="T60" fmla="*/ 1297 w 7154"/>
                <a:gd name="T61" fmla="*/ 4221 h 7154"/>
                <a:gd name="T62" fmla="*/ 1297 w 7154"/>
                <a:gd name="T63" fmla="*/ 3809 h 7154"/>
                <a:gd name="T64" fmla="*/ 1708 w 7154"/>
                <a:gd name="T65" fmla="*/ 3398 h 7154"/>
                <a:gd name="T66" fmla="*/ 2120 w 7154"/>
                <a:gd name="T67" fmla="*/ 3398 h 7154"/>
                <a:gd name="T68" fmla="*/ 2669 w 7154"/>
                <a:gd name="T69" fmla="*/ 3948 h 7154"/>
                <a:gd name="T70" fmla="*/ 5034 w 7154"/>
                <a:gd name="T71" fmla="*/ 1583 h 7154"/>
                <a:gd name="T72" fmla="*/ 5445 w 7154"/>
                <a:gd name="T73" fmla="*/ 1583 h 7154"/>
                <a:gd name="T74" fmla="*/ 5857 w 7154"/>
                <a:gd name="T75" fmla="*/ 1994 h 7154"/>
                <a:gd name="T76" fmla="*/ 5857 w 7154"/>
                <a:gd name="T77" fmla="*/ 2406 h 7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154" h="7154">
                  <a:moveTo>
                    <a:pt x="6624" y="2037"/>
                  </a:moveTo>
                  <a:cubicBezTo>
                    <a:pt x="6580" y="1703"/>
                    <a:pt x="6403" y="1345"/>
                    <a:pt x="6106" y="1048"/>
                  </a:cubicBezTo>
                  <a:cubicBezTo>
                    <a:pt x="5809" y="751"/>
                    <a:pt x="5451" y="574"/>
                    <a:pt x="5117" y="530"/>
                  </a:cubicBezTo>
                  <a:cubicBezTo>
                    <a:pt x="4966" y="510"/>
                    <a:pt x="4764" y="427"/>
                    <a:pt x="4643" y="334"/>
                  </a:cubicBezTo>
                  <a:cubicBezTo>
                    <a:pt x="4375" y="128"/>
                    <a:pt x="3997" y="0"/>
                    <a:pt x="3577" y="0"/>
                  </a:cubicBezTo>
                  <a:cubicBezTo>
                    <a:pt x="3157" y="0"/>
                    <a:pt x="2779" y="128"/>
                    <a:pt x="2511" y="334"/>
                  </a:cubicBezTo>
                  <a:cubicBezTo>
                    <a:pt x="2390" y="427"/>
                    <a:pt x="2188" y="510"/>
                    <a:pt x="2037" y="530"/>
                  </a:cubicBezTo>
                  <a:cubicBezTo>
                    <a:pt x="1702" y="574"/>
                    <a:pt x="1345" y="751"/>
                    <a:pt x="1048" y="1048"/>
                  </a:cubicBezTo>
                  <a:cubicBezTo>
                    <a:pt x="751" y="1345"/>
                    <a:pt x="574" y="1703"/>
                    <a:pt x="530" y="2037"/>
                  </a:cubicBezTo>
                  <a:cubicBezTo>
                    <a:pt x="510" y="2188"/>
                    <a:pt x="427" y="2390"/>
                    <a:pt x="334" y="2511"/>
                  </a:cubicBezTo>
                  <a:cubicBezTo>
                    <a:pt x="128" y="2779"/>
                    <a:pt x="0" y="3157"/>
                    <a:pt x="0" y="3577"/>
                  </a:cubicBezTo>
                  <a:cubicBezTo>
                    <a:pt x="0" y="3997"/>
                    <a:pt x="128" y="4375"/>
                    <a:pt x="334" y="4643"/>
                  </a:cubicBezTo>
                  <a:cubicBezTo>
                    <a:pt x="427" y="4764"/>
                    <a:pt x="510" y="4966"/>
                    <a:pt x="530" y="5117"/>
                  </a:cubicBezTo>
                  <a:cubicBezTo>
                    <a:pt x="574" y="5451"/>
                    <a:pt x="751" y="5809"/>
                    <a:pt x="1048" y="6106"/>
                  </a:cubicBezTo>
                  <a:cubicBezTo>
                    <a:pt x="1345" y="6403"/>
                    <a:pt x="1702" y="6580"/>
                    <a:pt x="2037" y="6624"/>
                  </a:cubicBezTo>
                  <a:cubicBezTo>
                    <a:pt x="2188" y="6644"/>
                    <a:pt x="2390" y="6727"/>
                    <a:pt x="2511" y="6820"/>
                  </a:cubicBezTo>
                  <a:cubicBezTo>
                    <a:pt x="2779" y="7025"/>
                    <a:pt x="3157" y="7154"/>
                    <a:pt x="3577" y="7154"/>
                  </a:cubicBezTo>
                  <a:cubicBezTo>
                    <a:pt x="3997" y="7154"/>
                    <a:pt x="4375" y="7025"/>
                    <a:pt x="4643" y="6820"/>
                  </a:cubicBezTo>
                  <a:cubicBezTo>
                    <a:pt x="4764" y="6727"/>
                    <a:pt x="4966" y="6644"/>
                    <a:pt x="5117" y="6624"/>
                  </a:cubicBezTo>
                  <a:cubicBezTo>
                    <a:pt x="5451" y="6580"/>
                    <a:pt x="5809" y="6403"/>
                    <a:pt x="6106" y="6106"/>
                  </a:cubicBezTo>
                  <a:cubicBezTo>
                    <a:pt x="6403" y="5809"/>
                    <a:pt x="6580" y="5451"/>
                    <a:pt x="6624" y="5117"/>
                  </a:cubicBezTo>
                  <a:cubicBezTo>
                    <a:pt x="6644" y="4966"/>
                    <a:pt x="6727" y="4764"/>
                    <a:pt x="6820" y="4643"/>
                  </a:cubicBezTo>
                  <a:cubicBezTo>
                    <a:pt x="7026" y="4375"/>
                    <a:pt x="7154" y="3997"/>
                    <a:pt x="7154" y="3577"/>
                  </a:cubicBezTo>
                  <a:cubicBezTo>
                    <a:pt x="7154" y="3157"/>
                    <a:pt x="7026" y="2779"/>
                    <a:pt x="6820" y="2511"/>
                  </a:cubicBezTo>
                  <a:cubicBezTo>
                    <a:pt x="6727" y="2390"/>
                    <a:pt x="6644" y="2188"/>
                    <a:pt x="6624" y="2037"/>
                  </a:cubicBezTo>
                  <a:close/>
                  <a:moveTo>
                    <a:pt x="5857" y="2406"/>
                  </a:moveTo>
                  <a:lnTo>
                    <a:pt x="3286" y="4976"/>
                  </a:lnTo>
                  <a:lnTo>
                    <a:pt x="2875" y="5387"/>
                  </a:lnTo>
                  <a:cubicBezTo>
                    <a:pt x="2762" y="5501"/>
                    <a:pt x="2577" y="5501"/>
                    <a:pt x="2464" y="5387"/>
                  </a:cubicBezTo>
                  <a:lnTo>
                    <a:pt x="2053" y="4976"/>
                  </a:lnTo>
                  <a:lnTo>
                    <a:pt x="1297" y="4221"/>
                  </a:lnTo>
                  <a:cubicBezTo>
                    <a:pt x="1183" y="4107"/>
                    <a:pt x="1183" y="3923"/>
                    <a:pt x="1297" y="3809"/>
                  </a:cubicBezTo>
                  <a:lnTo>
                    <a:pt x="1708" y="3398"/>
                  </a:lnTo>
                  <a:cubicBezTo>
                    <a:pt x="1822" y="3285"/>
                    <a:pt x="2006" y="3285"/>
                    <a:pt x="2120" y="3398"/>
                  </a:cubicBezTo>
                  <a:lnTo>
                    <a:pt x="2669" y="3948"/>
                  </a:lnTo>
                  <a:lnTo>
                    <a:pt x="5034" y="1583"/>
                  </a:lnTo>
                  <a:cubicBezTo>
                    <a:pt x="5148" y="1470"/>
                    <a:pt x="5332" y="1470"/>
                    <a:pt x="5445" y="1583"/>
                  </a:cubicBezTo>
                  <a:lnTo>
                    <a:pt x="5857" y="1994"/>
                  </a:lnTo>
                  <a:cubicBezTo>
                    <a:pt x="5970" y="2108"/>
                    <a:pt x="5970" y="2292"/>
                    <a:pt x="5857" y="2406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5" name="iṧḷiḑé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743264" y="4276135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按分布模式进行配置</a:t>
              </a:r>
              <a:endParaRPr lang="en-US" altLang="zh-CN" sz="1100" dirty="0"/>
            </a:p>
          </p:txBody>
        </p:sp>
        <p:sp>
          <p:nvSpPr>
            <p:cNvPr id="216" name="îṧḻiḑe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197100" y="4926511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>
                  <a:solidFill>
                    <a:schemeClr val="bg1"/>
                  </a:solidFill>
                </a:rPr>
                <a:t>运行第一个实例</a:t>
              </a: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17" name="îṣľïd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2651098" y="5576887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开心</a:t>
              </a:r>
              <a:r>
                <a:rPr lang="en-US" altLang="zh-CN" sz="1100" dirty="0" err="1"/>
                <a:t>ing</a:t>
              </a:r>
              <a:r>
                <a:rPr lang="en-US" altLang="zh-CN" sz="1100" dirty="0"/>
                <a:t>~</a:t>
              </a:r>
            </a:p>
          </p:txBody>
        </p:sp>
        <p:sp>
          <p:nvSpPr>
            <p:cNvPr id="218" name="íṧ1îd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289201" y="3625759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 解压</a:t>
              </a:r>
              <a:endParaRPr lang="en-US" altLang="zh-CN" sz="1100" dirty="0"/>
            </a:p>
          </p:txBody>
        </p:sp>
        <p:sp>
          <p:nvSpPr>
            <p:cNvPr id="219" name="îs1ïḋ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842020" y="2975382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配置环境变量 使之生效</a:t>
              </a:r>
              <a:endParaRPr lang="en-US" altLang="zh-CN" sz="1100" dirty="0"/>
            </a:p>
          </p:txBody>
        </p:sp>
        <p:sp>
          <p:nvSpPr>
            <p:cNvPr id="220" name="íšliḓ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5387990" y="2325006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</a:t>
              </a:r>
              <a:r>
                <a:rPr lang="en-US" altLang="zh-CN" sz="1100" dirty="0"/>
                <a:t> </a:t>
              </a:r>
              <a:r>
                <a:rPr lang="zh-CN" altLang="en-US" sz="1100" dirty="0"/>
                <a:t>解压</a:t>
              </a:r>
              <a:endParaRPr lang="en-US" altLang="zh-CN" sz="1100" dirty="0"/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5D6855CC-0E4D-4FED-BB49-A865D489FA99}"/>
              </a:ext>
            </a:extLst>
          </p:cNvPr>
          <p:cNvSpPr txBox="1"/>
          <p:nvPr/>
        </p:nvSpPr>
        <p:spPr>
          <a:xfrm>
            <a:off x="10228461" y="1093044"/>
            <a:ext cx="8137127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dirty="0"/>
          </a:p>
          <a:p>
            <a:endParaRPr lang="en-US" altLang="zh-CN" sz="1200" dirty="0"/>
          </a:p>
          <a:p>
            <a:endParaRPr lang="en-US" altLang="zh-CN" sz="1200" dirty="0"/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aggregatewordcount</a:t>
            </a:r>
            <a:r>
              <a:rPr lang="en-US" altLang="zh-CN" sz="1200" dirty="0"/>
              <a:t>: An Aggregate based map/reduce program that counts the words in the input files.</a:t>
            </a:r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aggregatewordhist</a:t>
            </a:r>
            <a:r>
              <a:rPr lang="en-US" altLang="zh-CN" sz="1200" dirty="0"/>
              <a:t>: An Aggregate based map/reduce program that computes the histogram of the words in the input files.</a:t>
            </a:r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bbp</a:t>
            </a:r>
            <a:r>
              <a:rPr lang="en-US" altLang="zh-CN" sz="1200" dirty="0"/>
              <a:t>: A map/reduce program that uses Bailey-</a:t>
            </a:r>
            <a:r>
              <a:rPr lang="en-US" altLang="zh-CN" sz="1200" dirty="0" err="1"/>
              <a:t>Borwein</a:t>
            </a:r>
            <a:r>
              <a:rPr lang="en-US" altLang="zh-CN" sz="1200" dirty="0"/>
              <a:t>-Plouffe to compute exact digits of Pi.</a:t>
            </a:r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dbcount</a:t>
            </a:r>
            <a:r>
              <a:rPr lang="en-US" altLang="zh-CN" sz="1200" dirty="0"/>
              <a:t>: An example job that count the pageview counts from a database.</a:t>
            </a:r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distbbp</a:t>
            </a:r>
            <a:r>
              <a:rPr lang="en-US" altLang="zh-CN" sz="1200" dirty="0"/>
              <a:t>: A map/reduce program that uses a BBP-type formula to compute exact bits of Pi.</a:t>
            </a:r>
          </a:p>
          <a:p>
            <a:r>
              <a:rPr lang="en-US" altLang="zh-CN" sz="1200" dirty="0"/>
              <a:t>  grep: A map/reduce program that counts the matches of a regex in the input.</a:t>
            </a:r>
          </a:p>
          <a:p>
            <a:r>
              <a:rPr lang="en-US" altLang="zh-CN" sz="1200" dirty="0"/>
              <a:t>  join: A job that effects a join over sorted, equally partitioned datasets</a:t>
            </a:r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multifilewc</a:t>
            </a:r>
            <a:r>
              <a:rPr lang="en-US" altLang="zh-CN" sz="1200" dirty="0"/>
              <a:t>: A job that counts words from several files.</a:t>
            </a:r>
          </a:p>
          <a:p>
            <a:r>
              <a:rPr lang="en-US" altLang="zh-CN" sz="1200" dirty="0"/>
              <a:t>  pentomino: A map/reduce tile laying program to find solutions to pentomino problems.</a:t>
            </a:r>
          </a:p>
          <a:p>
            <a:r>
              <a:rPr lang="en-US" altLang="zh-CN" sz="1200" dirty="0"/>
              <a:t>  pi: A map/reduce program that estimates Pi using a quasi-Monte Carlo method.</a:t>
            </a:r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randomtextwriter</a:t>
            </a:r>
            <a:r>
              <a:rPr lang="en-US" altLang="zh-CN" sz="1200" dirty="0"/>
              <a:t>: A map/reduce program that writes 10GB of random textual data per node.</a:t>
            </a:r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randomwriter</a:t>
            </a:r>
            <a:r>
              <a:rPr lang="en-US" altLang="zh-CN" sz="1200" dirty="0"/>
              <a:t>: A map/reduce program that writes 10GB of random data per node.</a:t>
            </a:r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secondarysort</a:t>
            </a:r>
            <a:r>
              <a:rPr lang="en-US" altLang="zh-CN" sz="1200" dirty="0"/>
              <a:t>: An example defining a secondary sort to the reduce.</a:t>
            </a:r>
          </a:p>
          <a:p>
            <a:r>
              <a:rPr lang="en-US" altLang="zh-CN" sz="1200" dirty="0"/>
              <a:t>  sort: A map/reduce program that sorts the data written by the random writer.</a:t>
            </a:r>
          </a:p>
          <a:p>
            <a:r>
              <a:rPr lang="en-US" altLang="zh-CN" sz="1200" dirty="0"/>
              <a:t>  sudoku: A sudoku solver.</a:t>
            </a:r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teragen</a:t>
            </a:r>
            <a:r>
              <a:rPr lang="en-US" altLang="zh-CN" sz="1200" dirty="0"/>
              <a:t>: Generate data for the </a:t>
            </a:r>
            <a:r>
              <a:rPr lang="en-US" altLang="zh-CN" sz="1200" dirty="0" err="1"/>
              <a:t>terasort</a:t>
            </a:r>
            <a:endParaRPr lang="en-US" altLang="zh-CN" sz="1200" dirty="0"/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terasort</a:t>
            </a:r>
            <a:r>
              <a:rPr lang="en-US" altLang="zh-CN" sz="1200" dirty="0"/>
              <a:t>: Run the </a:t>
            </a:r>
            <a:r>
              <a:rPr lang="en-US" altLang="zh-CN" sz="1200" dirty="0" err="1"/>
              <a:t>terasort</a:t>
            </a:r>
            <a:endParaRPr lang="en-US" altLang="zh-CN" sz="1200" dirty="0"/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teravalidate</a:t>
            </a:r>
            <a:r>
              <a:rPr lang="en-US" altLang="zh-CN" sz="1200" dirty="0"/>
              <a:t>: Checking results of </a:t>
            </a:r>
            <a:r>
              <a:rPr lang="en-US" altLang="zh-CN" sz="1200" dirty="0" err="1"/>
              <a:t>terasort</a:t>
            </a:r>
            <a:endParaRPr lang="en-US" altLang="zh-CN" sz="1200" dirty="0"/>
          </a:p>
          <a:p>
            <a:r>
              <a:rPr lang="en-US" altLang="zh-CN" sz="1200" dirty="0"/>
              <a:t>  wordcount: A map/reduce program that counts the words in the input files.</a:t>
            </a:r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wordmean</a:t>
            </a:r>
            <a:r>
              <a:rPr lang="en-US" altLang="zh-CN" sz="1200" dirty="0"/>
              <a:t>: A map/reduce program that counts the average length of the words in the input files.</a:t>
            </a:r>
          </a:p>
          <a:p>
            <a:r>
              <a:rPr lang="en-US" altLang="zh-CN" sz="1200" dirty="0"/>
              <a:t>  </a:t>
            </a:r>
            <a:r>
              <a:rPr lang="en-US" altLang="zh-CN" sz="1200" dirty="0" err="1"/>
              <a:t>wordmedian</a:t>
            </a:r>
            <a:r>
              <a:rPr lang="en-US" altLang="zh-CN" sz="1200" dirty="0"/>
              <a:t>: A map/reduce program that counts the median length of the words in the input files.</a:t>
            </a:r>
          </a:p>
          <a:p>
            <a:r>
              <a:rPr lang="en-US" altLang="zh-CN" sz="1200" dirty="0" err="1"/>
              <a:t>wordstandarddeviation</a:t>
            </a:r>
            <a:r>
              <a:rPr lang="en-US" altLang="zh-CN" sz="1200" dirty="0"/>
              <a:t>: A map/reduce program that counts the standard deviation of the length of the words in the input files.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B59A613C-384D-47EE-A42B-0CF55F8483AE}"/>
              </a:ext>
            </a:extLst>
          </p:cNvPr>
          <p:cNvSpPr txBox="1"/>
          <p:nvPr/>
        </p:nvSpPr>
        <p:spPr>
          <a:xfrm>
            <a:off x="502444" y="1093044"/>
            <a:ext cx="81379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d /</a:t>
            </a:r>
            <a:r>
              <a:rPr lang="en-US" altLang="zh-CN" dirty="0" err="1"/>
              <a:t>mnt</a:t>
            </a:r>
            <a:r>
              <a:rPr lang="en-US" altLang="zh-CN" dirty="0"/>
              <a:t>/</a:t>
            </a:r>
            <a:r>
              <a:rPr lang="en-US" altLang="zh-CN" dirty="0" err="1"/>
              <a:t>sda</a:t>
            </a:r>
            <a:r>
              <a:rPr lang="en-US" altLang="zh-CN" dirty="0"/>
              <a:t>/Hadoop</a:t>
            </a:r>
            <a:endParaRPr lang="zh-CN" altLang="zh-CN" dirty="0"/>
          </a:p>
          <a:p>
            <a:r>
              <a:rPr lang="en-US" altLang="zh-CN" dirty="0" err="1"/>
              <a:t>hadoop</a:t>
            </a:r>
            <a:r>
              <a:rPr lang="en-US" altLang="zh-CN" dirty="0"/>
              <a:t> jar share/</a:t>
            </a:r>
            <a:r>
              <a:rPr lang="en-US" altLang="zh-CN" dirty="0" err="1"/>
              <a:t>hadoop</a:t>
            </a:r>
            <a:r>
              <a:rPr lang="en-US" altLang="zh-CN" dirty="0"/>
              <a:t>/</a:t>
            </a:r>
            <a:r>
              <a:rPr lang="en-US" altLang="zh-CN" dirty="0" err="1"/>
              <a:t>mapreduce</a:t>
            </a:r>
            <a:r>
              <a:rPr lang="en-US" altLang="zh-CN" dirty="0"/>
              <a:t>/hadoop-mapreduce-examples-3.1.2.jar </a:t>
            </a:r>
            <a:endParaRPr lang="en-US" altLang="zh-CN" sz="1200" dirty="0"/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01A0F46B-7DE4-4C70-A6D7-B798A6C48B6B}"/>
              </a:ext>
            </a:extLst>
          </p:cNvPr>
          <p:cNvSpPr txBox="1"/>
          <p:nvPr/>
        </p:nvSpPr>
        <p:spPr>
          <a:xfrm>
            <a:off x="503436" y="1162293"/>
            <a:ext cx="8137127" cy="4939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1400" dirty="0"/>
          </a:p>
          <a:p>
            <a:endParaRPr lang="en-US" altLang="zh-CN" sz="1050" dirty="0"/>
          </a:p>
          <a:p>
            <a:endParaRPr lang="en-US" altLang="zh-CN" sz="1050" dirty="0"/>
          </a:p>
          <a:p>
            <a:r>
              <a:rPr lang="en-US" altLang="zh-CN" sz="1400" dirty="0"/>
              <a:t>BBP</a:t>
            </a:r>
            <a:r>
              <a:rPr lang="zh-CN" altLang="zh-CN" sz="1400" dirty="0"/>
              <a:t>：一个使用贝利</a:t>
            </a:r>
            <a:r>
              <a:rPr lang="en-US" altLang="zh-CN" sz="1400" dirty="0"/>
              <a:t>·</a:t>
            </a:r>
            <a:r>
              <a:rPr lang="zh-CN" altLang="zh-CN" sz="1400" dirty="0"/>
              <a:t>博文</a:t>
            </a:r>
            <a:r>
              <a:rPr lang="en-US" altLang="zh-CN" sz="1400" dirty="0"/>
              <a:t>·</a:t>
            </a:r>
            <a:r>
              <a:rPr lang="zh-CN" altLang="zh-CN" sz="1400" dirty="0"/>
              <a:t>普洛夫计算圆周率精确数字的</a:t>
            </a:r>
            <a:r>
              <a:rPr lang="en-US" altLang="zh-CN" sz="1400" dirty="0"/>
              <a:t>map/reduce</a:t>
            </a:r>
            <a:r>
              <a:rPr lang="zh-CN" altLang="zh-CN" sz="1400" dirty="0"/>
              <a:t>程序。</a:t>
            </a:r>
            <a:r>
              <a:rPr lang="en-US" altLang="zh-CN" sz="1400" dirty="0"/>
              <a:t>              </a:t>
            </a:r>
          </a:p>
          <a:p>
            <a:r>
              <a:rPr lang="en-US" altLang="zh-CN" sz="1400" dirty="0" err="1"/>
              <a:t>dbcount</a:t>
            </a:r>
            <a:r>
              <a:rPr lang="zh-CN" altLang="zh-CN" sz="1400" dirty="0"/>
              <a:t>：对数据库中的页面视图计数进行计数的示例作业。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 err="1"/>
              <a:t>distbp</a:t>
            </a:r>
            <a:r>
              <a:rPr lang="zh-CN" altLang="zh-CN" sz="1400" dirty="0"/>
              <a:t>：使用</a:t>
            </a:r>
            <a:r>
              <a:rPr lang="en-US" altLang="zh-CN" sz="1400" dirty="0" err="1"/>
              <a:t>bbp</a:t>
            </a:r>
            <a:r>
              <a:rPr lang="zh-CN" altLang="zh-CN" sz="1400" dirty="0"/>
              <a:t>类型公式计算精确的</a:t>
            </a:r>
            <a:r>
              <a:rPr lang="en-US" altLang="zh-CN" sz="1400" dirty="0"/>
              <a:t>pi</a:t>
            </a:r>
            <a:r>
              <a:rPr lang="zh-CN" altLang="zh-CN" sz="1400" dirty="0"/>
              <a:t>位的</a:t>
            </a:r>
            <a:r>
              <a:rPr lang="en-US" altLang="zh-CN" sz="1400" dirty="0"/>
              <a:t>map/reduce</a:t>
            </a:r>
            <a:r>
              <a:rPr lang="zh-CN" altLang="zh-CN" sz="1400" dirty="0"/>
              <a:t>程序。 </a:t>
            </a:r>
            <a:r>
              <a:rPr lang="en-US" altLang="zh-CN" sz="1400" dirty="0"/>
              <a:t>             </a:t>
            </a:r>
            <a:endParaRPr lang="zh-CN" altLang="zh-CN" sz="1400" dirty="0"/>
          </a:p>
          <a:p>
            <a:r>
              <a:rPr lang="en-US" altLang="zh-CN" sz="1400" dirty="0"/>
              <a:t>grep</a:t>
            </a:r>
            <a:r>
              <a:rPr lang="zh-CN" altLang="zh-CN" sz="1400" dirty="0"/>
              <a:t>：一个对输入中正则表达式的匹配进行计数的</a:t>
            </a:r>
            <a:r>
              <a:rPr lang="en-US" altLang="zh-CN" sz="1400" dirty="0"/>
              <a:t>map/reduce</a:t>
            </a:r>
            <a:r>
              <a:rPr lang="zh-CN" altLang="zh-CN" sz="1400" dirty="0"/>
              <a:t>程序。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/>
              <a:t>join</a:t>
            </a:r>
            <a:r>
              <a:rPr lang="zh-CN" altLang="zh-CN" sz="1400" dirty="0"/>
              <a:t>：一个作业，它对排序后的、分区相同的数据集执行</a:t>
            </a:r>
            <a:r>
              <a:rPr lang="en-US" altLang="zh-CN" sz="1400" dirty="0"/>
              <a:t>join</a:t>
            </a:r>
            <a:r>
              <a:rPr lang="zh-CN" altLang="zh-CN" sz="1400" dirty="0"/>
              <a:t>。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 err="1"/>
              <a:t>multifilewc</a:t>
            </a:r>
            <a:r>
              <a:rPr lang="zh-CN" altLang="zh-CN" sz="1400" dirty="0"/>
              <a:t>：从多个文件中统计单词的作业。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/>
              <a:t>Pentomino</a:t>
            </a:r>
            <a:r>
              <a:rPr lang="zh-CN" altLang="zh-CN" sz="1400" dirty="0"/>
              <a:t>：一个</a:t>
            </a:r>
            <a:r>
              <a:rPr lang="en-US" altLang="zh-CN" sz="1400" dirty="0"/>
              <a:t>map/reduce</a:t>
            </a:r>
            <a:r>
              <a:rPr lang="zh-CN" altLang="zh-CN" sz="1400" dirty="0"/>
              <a:t>程序，用于找到解决</a:t>
            </a:r>
            <a:r>
              <a:rPr lang="en-US" altLang="zh-CN" sz="1400" dirty="0"/>
              <a:t>Pentomino</a:t>
            </a:r>
            <a:r>
              <a:rPr lang="zh-CN" altLang="zh-CN" sz="1400" dirty="0"/>
              <a:t>问题的方法。</a:t>
            </a:r>
            <a:r>
              <a:rPr lang="en-US" altLang="zh-CN" sz="1400" dirty="0"/>
              <a:t>              </a:t>
            </a:r>
          </a:p>
          <a:p>
            <a:r>
              <a:rPr lang="en-US" altLang="zh-CN" sz="1400" dirty="0"/>
              <a:t>pi</a:t>
            </a:r>
            <a:r>
              <a:rPr lang="zh-CN" altLang="zh-CN" sz="1400" dirty="0"/>
              <a:t>：使用准蒙特卡罗方法估算</a:t>
            </a:r>
            <a:r>
              <a:rPr lang="en-US" altLang="zh-CN" sz="1400" dirty="0"/>
              <a:t>pi</a:t>
            </a:r>
            <a:r>
              <a:rPr lang="zh-CN" altLang="zh-CN" sz="1400" dirty="0"/>
              <a:t>的</a:t>
            </a:r>
            <a:r>
              <a:rPr lang="en-US" altLang="zh-CN" sz="1400" dirty="0"/>
              <a:t>map/reduce</a:t>
            </a:r>
            <a:r>
              <a:rPr lang="zh-CN" altLang="zh-CN" sz="1400" dirty="0"/>
              <a:t>程序。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 err="1"/>
              <a:t>RandomTextWriter</a:t>
            </a:r>
            <a:r>
              <a:rPr lang="zh-CN" altLang="zh-CN" sz="1400" dirty="0"/>
              <a:t>：一个</a:t>
            </a:r>
            <a:r>
              <a:rPr lang="en-US" altLang="zh-CN" sz="1400" dirty="0"/>
              <a:t>map/reduce</a:t>
            </a:r>
            <a:r>
              <a:rPr lang="zh-CN" altLang="zh-CN" sz="1400" dirty="0"/>
              <a:t>程序，每个节点写入</a:t>
            </a:r>
            <a:r>
              <a:rPr lang="en-US" altLang="zh-CN" sz="1400" dirty="0"/>
              <a:t>10GB</a:t>
            </a:r>
            <a:r>
              <a:rPr lang="zh-CN" altLang="zh-CN" sz="1400" dirty="0"/>
              <a:t>的随机文本数据。</a:t>
            </a:r>
            <a:r>
              <a:rPr lang="en-US" altLang="zh-CN" sz="1400" dirty="0"/>
              <a:t>              </a:t>
            </a:r>
            <a:r>
              <a:rPr lang="en-US" altLang="zh-CN" sz="1400" dirty="0" err="1"/>
              <a:t>RandomWriter</a:t>
            </a:r>
            <a:r>
              <a:rPr lang="zh-CN" altLang="zh-CN" sz="1400" dirty="0"/>
              <a:t>：一个</a:t>
            </a:r>
            <a:r>
              <a:rPr lang="en-US" altLang="zh-CN" sz="1400" dirty="0"/>
              <a:t>map/reduce</a:t>
            </a:r>
            <a:r>
              <a:rPr lang="zh-CN" altLang="zh-CN" sz="1400" dirty="0"/>
              <a:t>程序，每个节点写入</a:t>
            </a:r>
            <a:r>
              <a:rPr lang="en-US" altLang="zh-CN" sz="1400" dirty="0"/>
              <a:t>10GB</a:t>
            </a:r>
            <a:r>
              <a:rPr lang="zh-CN" altLang="zh-CN" sz="1400" dirty="0"/>
              <a:t>的随机数据。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 err="1"/>
              <a:t>secondarysort</a:t>
            </a:r>
            <a:r>
              <a:rPr lang="en-US" altLang="zh-CN" sz="1400" dirty="0"/>
              <a:t>:</a:t>
            </a:r>
            <a:r>
              <a:rPr lang="zh-CN" altLang="zh-CN" sz="1400" dirty="0"/>
              <a:t>：定义</a:t>
            </a:r>
            <a:r>
              <a:rPr lang="en-US" altLang="zh-CN" sz="1400" dirty="0"/>
              <a:t>reduce</a:t>
            </a:r>
            <a:r>
              <a:rPr lang="zh-CN" altLang="zh-CN" sz="1400" dirty="0"/>
              <a:t>的二次排序的示例。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/>
              <a:t>sort</a:t>
            </a:r>
            <a:r>
              <a:rPr lang="zh-CN" altLang="zh-CN" sz="1400" dirty="0"/>
              <a:t>：对随机编写器编写的数据进行排序的</a:t>
            </a:r>
            <a:r>
              <a:rPr lang="en-US" altLang="zh-CN" sz="1400" dirty="0"/>
              <a:t>map/reduce</a:t>
            </a:r>
            <a:r>
              <a:rPr lang="zh-CN" altLang="zh-CN" sz="1400" dirty="0"/>
              <a:t>程序。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/>
              <a:t>sudoku</a:t>
            </a:r>
            <a:r>
              <a:rPr lang="zh-CN" altLang="zh-CN" sz="1400" dirty="0"/>
              <a:t>：数独求解器。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 err="1"/>
              <a:t>teragen</a:t>
            </a:r>
            <a:r>
              <a:rPr lang="zh-CN" altLang="zh-CN" sz="1400" dirty="0"/>
              <a:t>：为</a:t>
            </a:r>
            <a:r>
              <a:rPr lang="en-US" altLang="zh-CN" sz="1400" dirty="0" err="1"/>
              <a:t>terasort</a:t>
            </a:r>
            <a:r>
              <a:rPr lang="zh-CN" altLang="zh-CN" sz="1400" dirty="0"/>
              <a:t>生成数据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 err="1"/>
              <a:t>terasort</a:t>
            </a:r>
            <a:r>
              <a:rPr lang="zh-CN" altLang="zh-CN" sz="1400" dirty="0"/>
              <a:t>：运行</a:t>
            </a:r>
            <a:r>
              <a:rPr lang="en-US" altLang="zh-CN" sz="1400" dirty="0" err="1"/>
              <a:t>terasort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 err="1"/>
              <a:t>TeraValidate</a:t>
            </a:r>
            <a:r>
              <a:rPr lang="en-US" altLang="zh-CN" sz="1400" dirty="0"/>
              <a:t>:</a:t>
            </a:r>
            <a:r>
              <a:rPr lang="zh-CN" altLang="zh-CN" sz="1400" dirty="0"/>
              <a:t>检查</a:t>
            </a:r>
            <a:r>
              <a:rPr lang="en-US" altLang="zh-CN" sz="1400" dirty="0" err="1"/>
              <a:t>TeraSort</a:t>
            </a:r>
            <a:r>
              <a:rPr lang="zh-CN" altLang="zh-CN" sz="1400" dirty="0"/>
              <a:t>的结果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/>
              <a:t>wordcount</a:t>
            </a:r>
            <a:r>
              <a:rPr lang="zh-CN" altLang="zh-CN" sz="1400" dirty="0"/>
              <a:t>：对输入文件中的字进行计数的</a:t>
            </a:r>
            <a:r>
              <a:rPr lang="en-US" altLang="zh-CN" sz="1400" dirty="0"/>
              <a:t>map/reduce</a:t>
            </a:r>
            <a:r>
              <a:rPr lang="zh-CN" altLang="zh-CN" sz="1400" dirty="0"/>
              <a:t>程序。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 err="1"/>
              <a:t>WordMean</a:t>
            </a:r>
            <a:r>
              <a:rPr lang="zh-CN" altLang="zh-CN" sz="1400" dirty="0"/>
              <a:t>：计算输入文件中单词平均长度的</a:t>
            </a:r>
            <a:r>
              <a:rPr lang="en-US" altLang="zh-CN" sz="1400" dirty="0"/>
              <a:t>map/reduce</a:t>
            </a:r>
            <a:r>
              <a:rPr lang="zh-CN" altLang="zh-CN" sz="1400" dirty="0"/>
              <a:t>程序。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 err="1"/>
              <a:t>WordMiddle</a:t>
            </a:r>
            <a:r>
              <a:rPr lang="zh-CN" altLang="zh-CN" sz="1400" dirty="0"/>
              <a:t>：一个计算输入文件中值长度的</a:t>
            </a:r>
            <a:r>
              <a:rPr lang="en-US" altLang="zh-CN" sz="1400" dirty="0"/>
              <a:t>map/reduce</a:t>
            </a:r>
            <a:r>
              <a:rPr lang="zh-CN" altLang="zh-CN" sz="1400" dirty="0"/>
              <a:t>程序。</a:t>
            </a:r>
            <a:r>
              <a:rPr lang="en-US" altLang="zh-CN" sz="1400" dirty="0"/>
              <a:t>              </a:t>
            </a:r>
            <a:endParaRPr lang="zh-CN" altLang="zh-CN" sz="1400" dirty="0"/>
          </a:p>
          <a:p>
            <a:r>
              <a:rPr lang="en-US" altLang="zh-CN" sz="1400" dirty="0" err="1"/>
              <a:t>wordstandarddeviation</a:t>
            </a:r>
            <a:r>
              <a:rPr lang="zh-CN" altLang="zh-CN" sz="1400" dirty="0"/>
              <a:t>：对输入文件中单词长度的标准偏差进行计数的</a:t>
            </a:r>
            <a:r>
              <a:rPr lang="en-US" altLang="zh-CN" sz="1400" dirty="0"/>
              <a:t>map/reduce</a:t>
            </a:r>
            <a:r>
              <a:rPr lang="zh-CN" altLang="zh-CN" sz="1400" dirty="0"/>
              <a:t>程序。</a:t>
            </a:r>
          </a:p>
        </p:txBody>
      </p:sp>
    </p:spTree>
    <p:extLst>
      <p:ext uri="{BB962C8B-B14F-4D97-AF65-F5344CB8AC3E}">
        <p14:creationId xmlns:p14="http://schemas.microsoft.com/office/powerpoint/2010/main" val="4857432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202360"/>
            <a:ext cx="8137922" cy="1028699"/>
          </a:xfrm>
        </p:spPr>
        <p:txBody>
          <a:bodyPr/>
          <a:lstStyle/>
          <a:p>
            <a:r>
              <a:rPr lang="en-US" altLang="zh-CN" dirty="0" err="1"/>
              <a:t>Mapredeuce</a:t>
            </a:r>
            <a:r>
              <a:rPr lang="zh-CN" altLang="en-US" dirty="0"/>
              <a:t>中有很多内置的实例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5</a:t>
            </a:fld>
            <a:endParaRPr lang="zh-CN" altLang="en-US"/>
          </a:p>
        </p:txBody>
      </p:sp>
      <p:grpSp>
        <p:nvGrpSpPr>
          <p:cNvPr id="194" name="180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4D56F3B-0686-4E9E-A675-DA7BF2C9F6C2}"/>
              </a:ext>
            </a:extLst>
          </p:cNvPr>
          <p:cNvGrpSpPr>
            <a:grpSpLocks noChangeAspect="1"/>
          </p:cNvGrpSpPr>
          <p:nvPr/>
        </p:nvGrpSpPr>
        <p:grpSpPr>
          <a:xfrm>
            <a:off x="1875381" y="-1403349"/>
            <a:ext cx="5393238" cy="2212975"/>
            <a:chOff x="938530" y="1805421"/>
            <a:chExt cx="10580370" cy="4341379"/>
          </a:xfrm>
        </p:grpSpPr>
        <p:sp>
          <p:nvSpPr>
            <p:cNvPr id="195" name="iṧḻîďè">
              <a:extLst>
                <a:ext uri="{FF2B5EF4-FFF2-40B4-BE49-F238E27FC236}">
                  <a16:creationId xmlns:a16="http://schemas.microsoft.com/office/drawing/2014/main" id="{6FC8272D-4563-47EB-B741-E738A21C2623}"/>
                </a:ext>
              </a:extLst>
            </p:cNvPr>
            <p:cNvSpPr/>
            <p:nvPr/>
          </p:nvSpPr>
          <p:spPr bwMode="auto">
            <a:xfrm>
              <a:off x="5637082" y="5226400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搞定！</a:t>
              </a:r>
              <a:endParaRPr lang="en-US" altLang="zh-CN" b="1" dirty="0"/>
            </a:p>
          </p:txBody>
        </p:sp>
        <p:sp>
          <p:nvSpPr>
            <p:cNvPr id="196" name="îŝḻiḋé">
              <a:extLst>
                <a:ext uri="{FF2B5EF4-FFF2-40B4-BE49-F238E27FC236}">
                  <a16:creationId xmlns:a16="http://schemas.microsoft.com/office/drawing/2014/main" id="{C05C75D7-4258-49B9-958F-F2EEF0B840E0}"/>
                </a:ext>
              </a:extLst>
            </p:cNvPr>
            <p:cNvSpPr/>
            <p:nvPr/>
          </p:nvSpPr>
          <p:spPr bwMode="auto">
            <a:xfrm>
              <a:off x="6176201" y="4576024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>
                  <a:solidFill>
                    <a:schemeClr val="bg1"/>
                  </a:solidFill>
                </a:rPr>
                <a:t>测试</a:t>
              </a:r>
              <a:endParaRPr lang="en-US" altLang="zh-CN" sz="1750" b="1" dirty="0">
                <a:solidFill>
                  <a:schemeClr val="bg1"/>
                </a:solidFill>
              </a:endParaRPr>
            </a:p>
          </p:txBody>
        </p:sp>
        <p:sp>
          <p:nvSpPr>
            <p:cNvPr id="197" name="íṥḷíďê">
              <a:extLst>
                <a:ext uri="{FF2B5EF4-FFF2-40B4-BE49-F238E27FC236}">
                  <a16:creationId xmlns:a16="http://schemas.microsoft.com/office/drawing/2014/main" id="{D4FCC7AE-5767-4EC4-BB68-B94457D3AE6D}"/>
                </a:ext>
              </a:extLst>
            </p:cNvPr>
            <p:cNvSpPr/>
            <p:nvPr/>
          </p:nvSpPr>
          <p:spPr bwMode="auto">
            <a:xfrm>
              <a:off x="6703850" y="3925648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/>
                <a:t>配置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8" name="ïś1ïḓè">
              <a:extLst>
                <a:ext uri="{FF2B5EF4-FFF2-40B4-BE49-F238E27FC236}">
                  <a16:creationId xmlns:a16="http://schemas.microsoft.com/office/drawing/2014/main" id="{F32E844B-E27C-4A92-9B60-95E4AD88D81F}"/>
                </a:ext>
              </a:extLst>
            </p:cNvPr>
            <p:cNvSpPr/>
            <p:nvPr/>
          </p:nvSpPr>
          <p:spPr bwMode="auto">
            <a:xfrm>
              <a:off x="7241823" y="3275272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 dirty="0"/>
                <a:t>安装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9" name="îśļïḍè">
              <a:extLst>
                <a:ext uri="{FF2B5EF4-FFF2-40B4-BE49-F238E27FC236}">
                  <a16:creationId xmlns:a16="http://schemas.microsoft.com/office/drawing/2014/main" id="{F812BB55-77DE-4E23-95E6-156A22FAD363}"/>
                </a:ext>
              </a:extLst>
            </p:cNvPr>
            <p:cNvSpPr/>
            <p:nvPr/>
          </p:nvSpPr>
          <p:spPr bwMode="auto">
            <a:xfrm>
              <a:off x="7743555" y="2624895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配置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0" name="ï$1íḍé">
              <a:extLst>
                <a:ext uri="{FF2B5EF4-FFF2-40B4-BE49-F238E27FC236}">
                  <a16:creationId xmlns:a16="http://schemas.microsoft.com/office/drawing/2014/main" id="{48245F16-84E7-4201-9485-85B5E5B15ECD}"/>
                </a:ext>
              </a:extLst>
            </p:cNvPr>
            <p:cNvSpPr/>
            <p:nvPr/>
          </p:nvSpPr>
          <p:spPr bwMode="auto">
            <a:xfrm>
              <a:off x="8263856" y="1974519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安装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1" name="îṥľïďê">
              <a:extLst>
                <a:ext uri="{FF2B5EF4-FFF2-40B4-BE49-F238E27FC236}">
                  <a16:creationId xmlns:a16="http://schemas.microsoft.com/office/drawing/2014/main" id="{920DFBAA-02E5-4206-86B0-FE10F93A7509}"/>
                </a:ext>
              </a:extLst>
            </p:cNvPr>
            <p:cNvSpPr/>
            <p:nvPr/>
          </p:nvSpPr>
          <p:spPr bwMode="auto">
            <a:xfrm>
              <a:off x="5220497" y="3438015"/>
              <a:ext cx="3741918" cy="1239562"/>
            </a:xfrm>
            <a:custGeom>
              <a:avLst/>
              <a:gdLst>
                <a:gd name="T0" fmla="*/ 179 w 203"/>
                <a:gd name="T1" fmla="*/ 82 h 82"/>
                <a:gd name="T2" fmla="*/ 203 w 203"/>
                <a:gd name="T3" fmla="*/ 29 h 82"/>
                <a:gd name="T4" fmla="*/ 65 w 203"/>
                <a:gd name="T5" fmla="*/ 27 h 82"/>
                <a:gd name="T6" fmla="*/ 59 w 203"/>
                <a:gd name="T7" fmla="*/ 0 h 82"/>
                <a:gd name="T8" fmla="*/ 59 w 203"/>
                <a:gd name="T9" fmla="*/ 0 h 82"/>
                <a:gd name="T10" fmla="*/ 0 w 203"/>
                <a:gd name="T11" fmla="*/ 80 h 82"/>
                <a:gd name="T12" fmla="*/ 61 w 203"/>
                <a:gd name="T13" fmla="*/ 82 h 82"/>
                <a:gd name="T14" fmla="*/ 179 w 203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82">
                  <a:moveTo>
                    <a:pt x="179" y="82"/>
                  </a:moveTo>
                  <a:lnTo>
                    <a:pt x="203" y="29"/>
                  </a:lnTo>
                  <a:lnTo>
                    <a:pt x="65" y="27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0" y="80"/>
                  </a:lnTo>
                  <a:lnTo>
                    <a:pt x="61" y="82"/>
                  </a:lnTo>
                  <a:lnTo>
                    <a:pt x="179" y="8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2" name="i$ḻíḋè">
              <a:extLst>
                <a:ext uri="{FF2B5EF4-FFF2-40B4-BE49-F238E27FC236}">
                  <a16:creationId xmlns:a16="http://schemas.microsoft.com/office/drawing/2014/main" id="{430BE7EB-B6F0-4F05-80EA-1F517165029F}"/>
                </a:ext>
              </a:extLst>
            </p:cNvPr>
            <p:cNvSpPr/>
            <p:nvPr/>
          </p:nvSpPr>
          <p:spPr bwMode="auto">
            <a:xfrm>
              <a:off x="8032938" y="1974519"/>
              <a:ext cx="1398307" cy="247664"/>
            </a:xfrm>
            <a:prstGeom prst="triangle">
              <a:avLst>
                <a:gd name="adj" fmla="val 14726"/>
              </a:avLst>
            </a:pr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3" name="işľiḋe">
              <a:extLst>
                <a:ext uri="{FF2B5EF4-FFF2-40B4-BE49-F238E27FC236}">
                  <a16:creationId xmlns:a16="http://schemas.microsoft.com/office/drawing/2014/main" id="{E4DECB97-43D1-4D26-8C48-41447675AE79}"/>
                </a:ext>
              </a:extLst>
            </p:cNvPr>
            <p:cNvSpPr/>
            <p:nvPr/>
          </p:nvSpPr>
          <p:spPr bwMode="auto">
            <a:xfrm>
              <a:off x="3675422" y="1805421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4" name="iś1íďé">
              <a:extLst>
                <a:ext uri="{FF2B5EF4-FFF2-40B4-BE49-F238E27FC236}">
                  <a16:creationId xmlns:a16="http://schemas.microsoft.com/office/drawing/2014/main" id="{6E7EA96A-F20A-4912-AC31-63A0F19E66DE}"/>
                </a:ext>
              </a:extLst>
            </p:cNvPr>
            <p:cNvSpPr/>
            <p:nvPr/>
          </p:nvSpPr>
          <p:spPr bwMode="auto">
            <a:xfrm>
              <a:off x="3129452" y="2455797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5" name="ïŝlíḋe">
              <a:extLst>
                <a:ext uri="{FF2B5EF4-FFF2-40B4-BE49-F238E27FC236}">
                  <a16:creationId xmlns:a16="http://schemas.microsoft.com/office/drawing/2014/main" id="{66D30D6F-26C9-4C2C-BC01-900AC07DC57E}"/>
                </a:ext>
              </a:extLst>
            </p:cNvPr>
            <p:cNvSpPr/>
            <p:nvPr/>
          </p:nvSpPr>
          <p:spPr bwMode="auto">
            <a:xfrm>
              <a:off x="2576633" y="3106174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6" name="îSliďè">
              <a:extLst>
                <a:ext uri="{FF2B5EF4-FFF2-40B4-BE49-F238E27FC236}">
                  <a16:creationId xmlns:a16="http://schemas.microsoft.com/office/drawing/2014/main" id="{2F6D5554-EACD-4DDD-892F-2E5F97A9C421}"/>
                </a:ext>
              </a:extLst>
            </p:cNvPr>
            <p:cNvSpPr/>
            <p:nvPr/>
          </p:nvSpPr>
          <p:spPr bwMode="auto">
            <a:xfrm>
              <a:off x="2030696" y="3756550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7" name="îSliďé">
              <a:extLst>
                <a:ext uri="{FF2B5EF4-FFF2-40B4-BE49-F238E27FC236}">
                  <a16:creationId xmlns:a16="http://schemas.microsoft.com/office/drawing/2014/main" id="{2E278F3F-C8D8-4E2A-A3EA-29ADCF1A02AA}"/>
                </a:ext>
              </a:extLst>
            </p:cNvPr>
            <p:cNvSpPr/>
            <p:nvPr/>
          </p:nvSpPr>
          <p:spPr bwMode="auto">
            <a:xfrm>
              <a:off x="1484532" y="4406926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8" name="îs1iďé">
              <a:extLst>
                <a:ext uri="{FF2B5EF4-FFF2-40B4-BE49-F238E27FC236}">
                  <a16:creationId xmlns:a16="http://schemas.microsoft.com/office/drawing/2014/main" id="{EB74D0C2-5677-4F3F-A043-44D01A3F3D48}"/>
                </a:ext>
              </a:extLst>
            </p:cNvPr>
            <p:cNvSpPr/>
            <p:nvPr/>
          </p:nvSpPr>
          <p:spPr bwMode="auto">
            <a:xfrm>
              <a:off x="938530" y="5057302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9" name="ïṣḻïḋe">
              <a:extLst>
                <a:ext uri="{FF2B5EF4-FFF2-40B4-BE49-F238E27FC236}">
                  <a16:creationId xmlns:a16="http://schemas.microsoft.com/office/drawing/2014/main" id="{7709F84E-C33F-462F-B538-51CB71C9284E}"/>
                </a:ext>
              </a:extLst>
            </p:cNvPr>
            <p:cNvSpPr/>
            <p:nvPr/>
          </p:nvSpPr>
          <p:spPr bwMode="auto">
            <a:xfrm>
              <a:off x="4585947" y="2371737"/>
              <a:ext cx="377807" cy="377281"/>
            </a:xfrm>
            <a:custGeom>
              <a:avLst/>
              <a:gdLst>
                <a:gd name="T0" fmla="*/ 400 w 11264"/>
                <a:gd name="T1" fmla="*/ 7099 h 11264"/>
                <a:gd name="T2" fmla="*/ 4165 w 11264"/>
                <a:gd name="T3" fmla="*/ 7099 h 11264"/>
                <a:gd name="T4" fmla="*/ 4165 w 11264"/>
                <a:gd name="T5" fmla="*/ 10864 h 11264"/>
                <a:gd name="T6" fmla="*/ 4565 w 11264"/>
                <a:gd name="T7" fmla="*/ 11264 h 11264"/>
                <a:gd name="T8" fmla="*/ 6699 w 11264"/>
                <a:gd name="T9" fmla="*/ 11264 h 11264"/>
                <a:gd name="T10" fmla="*/ 7099 w 11264"/>
                <a:gd name="T11" fmla="*/ 10864 h 11264"/>
                <a:gd name="T12" fmla="*/ 7099 w 11264"/>
                <a:gd name="T13" fmla="*/ 7099 h 11264"/>
                <a:gd name="T14" fmla="*/ 10864 w 11264"/>
                <a:gd name="T15" fmla="*/ 7099 h 11264"/>
                <a:gd name="T16" fmla="*/ 11264 w 11264"/>
                <a:gd name="T17" fmla="*/ 6699 h 11264"/>
                <a:gd name="T18" fmla="*/ 11264 w 11264"/>
                <a:gd name="T19" fmla="*/ 4565 h 11264"/>
                <a:gd name="T20" fmla="*/ 10864 w 11264"/>
                <a:gd name="T21" fmla="*/ 4165 h 11264"/>
                <a:gd name="T22" fmla="*/ 7099 w 11264"/>
                <a:gd name="T23" fmla="*/ 4165 h 11264"/>
                <a:gd name="T24" fmla="*/ 7099 w 11264"/>
                <a:gd name="T25" fmla="*/ 400 h 11264"/>
                <a:gd name="T26" fmla="*/ 6699 w 11264"/>
                <a:gd name="T27" fmla="*/ 0 h 11264"/>
                <a:gd name="T28" fmla="*/ 4565 w 11264"/>
                <a:gd name="T29" fmla="*/ 0 h 11264"/>
                <a:gd name="T30" fmla="*/ 4165 w 11264"/>
                <a:gd name="T31" fmla="*/ 400 h 11264"/>
                <a:gd name="T32" fmla="*/ 4165 w 11264"/>
                <a:gd name="T33" fmla="*/ 4165 h 11264"/>
                <a:gd name="T34" fmla="*/ 400 w 11264"/>
                <a:gd name="T35" fmla="*/ 4165 h 11264"/>
                <a:gd name="T36" fmla="*/ 0 w 11264"/>
                <a:gd name="T37" fmla="*/ 4565 h 11264"/>
                <a:gd name="T38" fmla="*/ 0 w 11264"/>
                <a:gd name="T39" fmla="*/ 6699 h 11264"/>
                <a:gd name="T40" fmla="*/ 400 w 11264"/>
                <a:gd name="T41" fmla="*/ 7099 h 1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64" h="11264">
                  <a:moveTo>
                    <a:pt x="400" y="7099"/>
                  </a:moveTo>
                  <a:lnTo>
                    <a:pt x="4165" y="7099"/>
                  </a:lnTo>
                  <a:lnTo>
                    <a:pt x="4165" y="10864"/>
                  </a:lnTo>
                  <a:cubicBezTo>
                    <a:pt x="4165" y="11085"/>
                    <a:pt x="4344" y="11264"/>
                    <a:pt x="4565" y="11264"/>
                  </a:cubicBezTo>
                  <a:lnTo>
                    <a:pt x="6699" y="11264"/>
                  </a:lnTo>
                  <a:cubicBezTo>
                    <a:pt x="6920" y="11264"/>
                    <a:pt x="7099" y="11085"/>
                    <a:pt x="7099" y="10864"/>
                  </a:cubicBezTo>
                  <a:lnTo>
                    <a:pt x="7099" y="7099"/>
                  </a:lnTo>
                  <a:lnTo>
                    <a:pt x="10864" y="7099"/>
                  </a:lnTo>
                  <a:cubicBezTo>
                    <a:pt x="11085" y="7099"/>
                    <a:pt x="11264" y="6920"/>
                    <a:pt x="11264" y="6699"/>
                  </a:cubicBezTo>
                  <a:lnTo>
                    <a:pt x="11264" y="4565"/>
                  </a:lnTo>
                  <a:cubicBezTo>
                    <a:pt x="11264" y="4344"/>
                    <a:pt x="11085" y="4165"/>
                    <a:pt x="10864" y="4165"/>
                  </a:cubicBezTo>
                  <a:lnTo>
                    <a:pt x="7099" y="4165"/>
                  </a:lnTo>
                  <a:lnTo>
                    <a:pt x="7099" y="400"/>
                  </a:lnTo>
                  <a:cubicBezTo>
                    <a:pt x="7099" y="179"/>
                    <a:pt x="6920" y="0"/>
                    <a:pt x="6699" y="0"/>
                  </a:cubicBezTo>
                  <a:lnTo>
                    <a:pt x="4565" y="0"/>
                  </a:lnTo>
                  <a:cubicBezTo>
                    <a:pt x="4344" y="0"/>
                    <a:pt x="4165" y="179"/>
                    <a:pt x="4165" y="400"/>
                  </a:cubicBezTo>
                  <a:lnTo>
                    <a:pt x="4165" y="4165"/>
                  </a:lnTo>
                  <a:lnTo>
                    <a:pt x="400" y="4165"/>
                  </a:lnTo>
                  <a:cubicBezTo>
                    <a:pt x="179" y="4165"/>
                    <a:pt x="0" y="4344"/>
                    <a:pt x="0" y="4565"/>
                  </a:cubicBezTo>
                  <a:lnTo>
                    <a:pt x="0" y="6699"/>
                  </a:lnTo>
                  <a:cubicBezTo>
                    <a:pt x="0" y="6920"/>
                    <a:pt x="179" y="7099"/>
                    <a:pt x="400" y="709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0" name="îsḷïde">
              <a:extLst>
                <a:ext uri="{FF2B5EF4-FFF2-40B4-BE49-F238E27FC236}">
                  <a16:creationId xmlns:a16="http://schemas.microsoft.com/office/drawing/2014/main" id="{F7027C89-1BCC-4A00-9535-016DE4C49FD7}"/>
                </a:ext>
              </a:extLst>
            </p:cNvPr>
            <p:cNvSpPr/>
            <p:nvPr/>
          </p:nvSpPr>
          <p:spPr bwMode="auto">
            <a:xfrm>
              <a:off x="4069565" y="3014578"/>
              <a:ext cx="369969" cy="377806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  <a:gd name="connsiteX107" fmla="*/ 373273 h 605239"/>
                <a:gd name="connsiteY107" fmla="*/ 373273 h 605239"/>
                <a:gd name="connsiteX108" fmla="*/ 373273 h 605239"/>
                <a:gd name="connsiteY108" fmla="*/ 373273 h 605239"/>
                <a:gd name="connsiteX109" fmla="*/ 373273 h 605239"/>
                <a:gd name="connsiteY109" fmla="*/ 373273 h 605239"/>
                <a:gd name="connsiteX110" fmla="*/ 373273 h 605239"/>
                <a:gd name="connsiteY110" fmla="*/ 373273 h 605239"/>
                <a:gd name="connsiteX111" fmla="*/ 373273 h 605239"/>
                <a:gd name="connsiteY111" fmla="*/ 373273 h 605239"/>
                <a:gd name="connsiteX112" fmla="*/ 373273 h 605239"/>
                <a:gd name="connsiteY112" fmla="*/ 373273 h 605239"/>
                <a:gd name="connsiteX113" fmla="*/ 373273 h 605239"/>
                <a:gd name="connsiteY113" fmla="*/ 373273 h 605239"/>
                <a:gd name="connsiteX114" fmla="*/ 373273 h 605239"/>
                <a:gd name="connsiteY114" fmla="*/ 373273 h 605239"/>
                <a:gd name="connsiteX115" fmla="*/ 373273 h 605239"/>
                <a:gd name="connsiteY115" fmla="*/ 373273 h 605239"/>
                <a:gd name="connsiteX116" fmla="*/ 373273 h 605239"/>
                <a:gd name="connsiteY116" fmla="*/ 373273 h 605239"/>
                <a:gd name="connsiteX117" fmla="*/ 373273 h 605239"/>
                <a:gd name="connsiteY117" fmla="*/ 373273 h 605239"/>
                <a:gd name="connsiteX118" fmla="*/ 373273 h 605239"/>
                <a:gd name="connsiteY118" fmla="*/ 373273 h 605239"/>
                <a:gd name="connsiteX119" fmla="*/ 373273 h 605239"/>
                <a:gd name="connsiteY119" fmla="*/ 373273 h 605239"/>
                <a:gd name="connsiteX120" fmla="*/ 373273 h 605239"/>
                <a:gd name="connsiteY120" fmla="*/ 373273 h 605239"/>
                <a:gd name="connsiteX121" fmla="*/ 373273 h 605239"/>
                <a:gd name="connsiteY121" fmla="*/ 373273 h 605239"/>
                <a:gd name="connsiteX122" fmla="*/ 373273 h 605239"/>
                <a:gd name="connsiteY122" fmla="*/ 373273 h 605239"/>
                <a:gd name="connsiteX123" fmla="*/ 373273 h 605239"/>
                <a:gd name="connsiteY123" fmla="*/ 373273 h 605239"/>
                <a:gd name="connsiteX124" fmla="*/ 373273 h 605239"/>
                <a:gd name="connsiteY124" fmla="*/ 373273 h 605239"/>
                <a:gd name="connsiteX125" fmla="*/ 373273 h 605239"/>
                <a:gd name="connsiteY125" fmla="*/ 373273 h 605239"/>
                <a:gd name="connsiteX126" fmla="*/ 373273 h 605239"/>
                <a:gd name="connsiteY126" fmla="*/ 373273 h 605239"/>
                <a:gd name="connsiteX127" fmla="*/ 373273 h 605239"/>
                <a:gd name="connsiteY127" fmla="*/ 373273 h 605239"/>
                <a:gd name="connsiteX128" fmla="*/ 373273 h 605239"/>
                <a:gd name="connsiteY128" fmla="*/ 373273 h 605239"/>
                <a:gd name="connsiteX129" fmla="*/ 373273 h 605239"/>
                <a:gd name="connsiteY12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593733" h="606309">
                  <a:moveTo>
                    <a:pt x="353250" y="302855"/>
                  </a:moveTo>
                  <a:cubicBezTo>
                    <a:pt x="318468" y="302855"/>
                    <a:pt x="290232" y="331146"/>
                    <a:pt x="290232" y="365879"/>
                  </a:cubicBezTo>
                  <a:cubicBezTo>
                    <a:pt x="290232" y="374189"/>
                    <a:pt x="296964" y="380912"/>
                    <a:pt x="305285" y="380912"/>
                  </a:cubicBezTo>
                  <a:cubicBezTo>
                    <a:pt x="313607" y="380912"/>
                    <a:pt x="320338" y="374189"/>
                    <a:pt x="320338" y="365879"/>
                  </a:cubicBezTo>
                  <a:cubicBezTo>
                    <a:pt x="320338" y="347672"/>
                    <a:pt x="335111" y="333014"/>
                    <a:pt x="353250" y="333014"/>
                  </a:cubicBezTo>
                  <a:cubicBezTo>
                    <a:pt x="361665" y="333014"/>
                    <a:pt x="368397" y="326291"/>
                    <a:pt x="368397" y="317888"/>
                  </a:cubicBezTo>
                  <a:cubicBezTo>
                    <a:pt x="368397" y="309578"/>
                    <a:pt x="361665" y="302855"/>
                    <a:pt x="353250" y="302855"/>
                  </a:cubicBezTo>
                  <a:close/>
                  <a:moveTo>
                    <a:pt x="353250" y="265041"/>
                  </a:moveTo>
                  <a:cubicBezTo>
                    <a:pt x="409163" y="265041"/>
                    <a:pt x="454229" y="310232"/>
                    <a:pt x="454229" y="365879"/>
                  </a:cubicBezTo>
                  <a:cubicBezTo>
                    <a:pt x="454229" y="421527"/>
                    <a:pt x="408976" y="466717"/>
                    <a:pt x="353250" y="466717"/>
                  </a:cubicBezTo>
                  <a:cubicBezTo>
                    <a:pt x="297525" y="466717"/>
                    <a:pt x="252271" y="421527"/>
                    <a:pt x="252271" y="365879"/>
                  </a:cubicBezTo>
                  <a:cubicBezTo>
                    <a:pt x="252271" y="310232"/>
                    <a:pt x="297431" y="265041"/>
                    <a:pt x="353250" y="265041"/>
                  </a:cubicBezTo>
                  <a:close/>
                  <a:moveTo>
                    <a:pt x="427779" y="133781"/>
                  </a:moveTo>
                  <a:cubicBezTo>
                    <a:pt x="432818" y="131960"/>
                    <a:pt x="438547" y="132054"/>
                    <a:pt x="443784" y="134482"/>
                  </a:cubicBezTo>
                  <a:lnTo>
                    <a:pt x="473245" y="148209"/>
                  </a:lnTo>
                  <a:cubicBezTo>
                    <a:pt x="483720" y="153158"/>
                    <a:pt x="488209" y="165671"/>
                    <a:pt x="483346" y="176130"/>
                  </a:cubicBezTo>
                  <a:lnTo>
                    <a:pt x="470252" y="203957"/>
                  </a:lnTo>
                  <a:cubicBezTo>
                    <a:pt x="492231" y="219646"/>
                    <a:pt x="511123" y="240003"/>
                    <a:pt x="525526" y="264095"/>
                  </a:cubicBezTo>
                  <a:lnTo>
                    <a:pt x="554426" y="253636"/>
                  </a:lnTo>
                  <a:cubicBezTo>
                    <a:pt x="565368" y="249714"/>
                    <a:pt x="577340" y="255411"/>
                    <a:pt x="581361" y="266243"/>
                  </a:cubicBezTo>
                  <a:lnTo>
                    <a:pt x="592491" y="296592"/>
                  </a:lnTo>
                  <a:cubicBezTo>
                    <a:pt x="596419" y="307612"/>
                    <a:pt x="590714" y="319564"/>
                    <a:pt x="579865" y="323486"/>
                  </a:cubicBezTo>
                  <a:lnTo>
                    <a:pt x="550965" y="333945"/>
                  </a:lnTo>
                  <a:cubicBezTo>
                    <a:pt x="555455" y="361586"/>
                    <a:pt x="553958" y="389414"/>
                    <a:pt x="547224" y="415561"/>
                  </a:cubicBezTo>
                  <a:lnTo>
                    <a:pt x="575095" y="428634"/>
                  </a:lnTo>
                  <a:cubicBezTo>
                    <a:pt x="585570" y="433490"/>
                    <a:pt x="590059" y="445910"/>
                    <a:pt x="585102" y="456649"/>
                  </a:cubicBezTo>
                  <a:lnTo>
                    <a:pt x="571354" y="485970"/>
                  </a:lnTo>
                  <a:cubicBezTo>
                    <a:pt x="566397" y="496429"/>
                    <a:pt x="553958" y="500911"/>
                    <a:pt x="543483" y="496056"/>
                  </a:cubicBezTo>
                  <a:lnTo>
                    <a:pt x="515238" y="482982"/>
                  </a:lnTo>
                  <a:cubicBezTo>
                    <a:pt x="499526" y="504833"/>
                    <a:pt x="479137" y="523510"/>
                    <a:pt x="455007" y="537704"/>
                  </a:cubicBezTo>
                  <a:lnTo>
                    <a:pt x="465763" y="567026"/>
                  </a:lnTo>
                  <a:cubicBezTo>
                    <a:pt x="469784" y="578045"/>
                    <a:pt x="463986" y="589997"/>
                    <a:pt x="453137" y="593919"/>
                  </a:cubicBezTo>
                  <a:lnTo>
                    <a:pt x="422741" y="605032"/>
                  </a:lnTo>
                  <a:cubicBezTo>
                    <a:pt x="411798" y="609047"/>
                    <a:pt x="399827" y="603258"/>
                    <a:pt x="395805" y="592425"/>
                  </a:cubicBezTo>
                  <a:lnTo>
                    <a:pt x="385050" y="562823"/>
                  </a:lnTo>
                  <a:cubicBezTo>
                    <a:pt x="357646" y="567212"/>
                    <a:pt x="330056" y="565718"/>
                    <a:pt x="304149" y="558995"/>
                  </a:cubicBezTo>
                  <a:lnTo>
                    <a:pt x="290682" y="587756"/>
                  </a:lnTo>
                  <a:cubicBezTo>
                    <a:pt x="285725" y="598215"/>
                    <a:pt x="273192" y="602697"/>
                    <a:pt x="262717" y="597841"/>
                  </a:cubicBezTo>
                  <a:lnTo>
                    <a:pt x="233350" y="584114"/>
                  </a:lnTo>
                  <a:cubicBezTo>
                    <a:pt x="222875" y="579165"/>
                    <a:pt x="218385" y="566652"/>
                    <a:pt x="223249" y="556193"/>
                  </a:cubicBezTo>
                  <a:lnTo>
                    <a:pt x="236810" y="527338"/>
                  </a:lnTo>
                  <a:cubicBezTo>
                    <a:pt x="215112" y="511650"/>
                    <a:pt x="196407" y="491480"/>
                    <a:pt x="182284" y="467668"/>
                  </a:cubicBezTo>
                  <a:lnTo>
                    <a:pt x="152169" y="478687"/>
                  </a:lnTo>
                  <a:cubicBezTo>
                    <a:pt x="141133" y="482609"/>
                    <a:pt x="129161" y="476912"/>
                    <a:pt x="125233" y="466080"/>
                  </a:cubicBezTo>
                  <a:lnTo>
                    <a:pt x="114104" y="435731"/>
                  </a:lnTo>
                  <a:cubicBezTo>
                    <a:pt x="110082" y="424712"/>
                    <a:pt x="115881" y="412759"/>
                    <a:pt x="126730" y="408837"/>
                  </a:cubicBezTo>
                  <a:lnTo>
                    <a:pt x="156845" y="397818"/>
                  </a:lnTo>
                  <a:cubicBezTo>
                    <a:pt x="153852" y="379422"/>
                    <a:pt x="153478" y="361026"/>
                    <a:pt x="155629" y="342910"/>
                  </a:cubicBezTo>
                  <a:lnTo>
                    <a:pt x="158622" y="343097"/>
                  </a:lnTo>
                  <a:cubicBezTo>
                    <a:pt x="181162" y="344030"/>
                    <a:pt x="200522" y="327408"/>
                    <a:pt x="203141" y="305370"/>
                  </a:cubicBezTo>
                  <a:cubicBezTo>
                    <a:pt x="207723" y="303876"/>
                    <a:pt x="212119" y="302195"/>
                    <a:pt x="216515" y="300515"/>
                  </a:cubicBezTo>
                  <a:cubicBezTo>
                    <a:pt x="220349" y="304063"/>
                    <a:pt x="224745" y="306958"/>
                    <a:pt x="229609" y="308919"/>
                  </a:cubicBezTo>
                  <a:cubicBezTo>
                    <a:pt x="219227" y="330957"/>
                    <a:pt x="214831" y="355983"/>
                    <a:pt x="217824" y="381943"/>
                  </a:cubicBezTo>
                  <a:cubicBezTo>
                    <a:pt x="226709" y="456462"/>
                    <a:pt x="294329" y="509876"/>
                    <a:pt x="368963" y="501192"/>
                  </a:cubicBezTo>
                  <a:cubicBezTo>
                    <a:pt x="443691" y="492320"/>
                    <a:pt x="497188" y="424899"/>
                    <a:pt x="488490" y="350287"/>
                  </a:cubicBezTo>
                  <a:cubicBezTo>
                    <a:pt x="479605" y="275675"/>
                    <a:pt x="411985" y="222260"/>
                    <a:pt x="337351" y="231038"/>
                  </a:cubicBezTo>
                  <a:cubicBezTo>
                    <a:pt x="324632" y="232532"/>
                    <a:pt x="312473" y="235707"/>
                    <a:pt x="301156" y="240376"/>
                  </a:cubicBezTo>
                  <a:cubicBezTo>
                    <a:pt x="299660" y="236268"/>
                    <a:pt x="297509" y="232345"/>
                    <a:pt x="294797" y="228890"/>
                  </a:cubicBezTo>
                  <a:cubicBezTo>
                    <a:pt x="297041" y="224688"/>
                    <a:pt x="299005" y="220393"/>
                    <a:pt x="300782" y="216097"/>
                  </a:cubicBezTo>
                  <a:cubicBezTo>
                    <a:pt x="311164" y="215817"/>
                    <a:pt x="320891" y="211802"/>
                    <a:pt x="328466" y="204891"/>
                  </a:cubicBezTo>
                  <a:cubicBezTo>
                    <a:pt x="336977" y="197141"/>
                    <a:pt x="341934" y="186589"/>
                    <a:pt x="342402" y="175103"/>
                  </a:cubicBezTo>
                  <a:lnTo>
                    <a:pt x="342776" y="166978"/>
                  </a:lnTo>
                  <a:cubicBezTo>
                    <a:pt x="363164" y="165764"/>
                    <a:pt x="383460" y="167912"/>
                    <a:pt x="402820" y="172768"/>
                  </a:cubicBezTo>
                  <a:lnTo>
                    <a:pt x="415913" y="144567"/>
                  </a:lnTo>
                  <a:cubicBezTo>
                    <a:pt x="418392" y="139338"/>
                    <a:pt x="422741" y="135602"/>
                    <a:pt x="427779" y="133781"/>
                  </a:cubicBezTo>
                  <a:close/>
                  <a:moveTo>
                    <a:pt x="159906" y="88589"/>
                  </a:moveTo>
                  <a:cubicBezTo>
                    <a:pt x="142487" y="87818"/>
                    <a:pt x="124764" y="93678"/>
                    <a:pt x="110828" y="106378"/>
                  </a:cubicBezTo>
                  <a:cubicBezTo>
                    <a:pt x="96145" y="119731"/>
                    <a:pt x="88663" y="138127"/>
                    <a:pt x="88663" y="156523"/>
                  </a:cubicBezTo>
                  <a:cubicBezTo>
                    <a:pt x="88663" y="172958"/>
                    <a:pt x="94555" y="189393"/>
                    <a:pt x="106526" y="202467"/>
                  </a:cubicBezTo>
                  <a:cubicBezTo>
                    <a:pt x="131965" y="230294"/>
                    <a:pt x="175081" y="232162"/>
                    <a:pt x="202764" y="206762"/>
                  </a:cubicBezTo>
                  <a:cubicBezTo>
                    <a:pt x="217448" y="193409"/>
                    <a:pt x="224930" y="175013"/>
                    <a:pt x="224930" y="156523"/>
                  </a:cubicBezTo>
                  <a:cubicBezTo>
                    <a:pt x="224930" y="140088"/>
                    <a:pt x="219132" y="123653"/>
                    <a:pt x="207160" y="110580"/>
                  </a:cubicBezTo>
                  <a:cubicBezTo>
                    <a:pt x="194441" y="96760"/>
                    <a:pt x="177325" y="89359"/>
                    <a:pt x="159906" y="88589"/>
                  </a:cubicBezTo>
                  <a:close/>
                  <a:moveTo>
                    <a:pt x="153289" y="17"/>
                  </a:moveTo>
                  <a:lnTo>
                    <a:pt x="173678" y="951"/>
                  </a:lnTo>
                  <a:cubicBezTo>
                    <a:pt x="180786" y="1325"/>
                    <a:pt x="186304" y="7114"/>
                    <a:pt x="186304" y="14118"/>
                  </a:cubicBezTo>
                  <a:lnTo>
                    <a:pt x="186304" y="14771"/>
                  </a:lnTo>
                  <a:lnTo>
                    <a:pt x="185462" y="34755"/>
                  </a:lnTo>
                  <a:cubicBezTo>
                    <a:pt x="201923" y="38677"/>
                    <a:pt x="217729" y="45774"/>
                    <a:pt x="231851" y="56232"/>
                  </a:cubicBezTo>
                  <a:lnTo>
                    <a:pt x="246535" y="42786"/>
                  </a:lnTo>
                  <a:cubicBezTo>
                    <a:pt x="251866" y="37930"/>
                    <a:pt x="260283" y="38303"/>
                    <a:pt x="265240" y="43626"/>
                  </a:cubicBezTo>
                  <a:lnTo>
                    <a:pt x="279082" y="58660"/>
                  </a:lnTo>
                  <a:cubicBezTo>
                    <a:pt x="281420" y="61275"/>
                    <a:pt x="282542" y="64450"/>
                    <a:pt x="282542" y="67625"/>
                  </a:cubicBezTo>
                  <a:cubicBezTo>
                    <a:pt x="282542" y="71173"/>
                    <a:pt x="281233" y="74722"/>
                    <a:pt x="278334" y="77337"/>
                  </a:cubicBezTo>
                  <a:lnTo>
                    <a:pt x="263744" y="90690"/>
                  </a:lnTo>
                  <a:cubicBezTo>
                    <a:pt x="273096" y="105537"/>
                    <a:pt x="278988" y="121973"/>
                    <a:pt x="281420" y="138781"/>
                  </a:cubicBezTo>
                  <a:lnTo>
                    <a:pt x="301061" y="139621"/>
                  </a:lnTo>
                  <a:cubicBezTo>
                    <a:pt x="308169" y="139995"/>
                    <a:pt x="313593" y="145878"/>
                    <a:pt x="313593" y="152788"/>
                  </a:cubicBezTo>
                  <a:lnTo>
                    <a:pt x="313593" y="153442"/>
                  </a:lnTo>
                  <a:lnTo>
                    <a:pt x="312751" y="173892"/>
                  </a:lnTo>
                  <a:cubicBezTo>
                    <a:pt x="312377" y="181083"/>
                    <a:pt x="306298" y="186779"/>
                    <a:pt x="298910" y="186405"/>
                  </a:cubicBezTo>
                  <a:lnTo>
                    <a:pt x="279456" y="185565"/>
                  </a:lnTo>
                  <a:cubicBezTo>
                    <a:pt x="275622" y="202093"/>
                    <a:pt x="268327" y="218061"/>
                    <a:pt x="257758" y="232162"/>
                  </a:cubicBezTo>
                  <a:lnTo>
                    <a:pt x="270852" y="246449"/>
                  </a:lnTo>
                  <a:cubicBezTo>
                    <a:pt x="273190" y="249064"/>
                    <a:pt x="274312" y="252145"/>
                    <a:pt x="274312" y="255414"/>
                  </a:cubicBezTo>
                  <a:cubicBezTo>
                    <a:pt x="274312" y="258869"/>
                    <a:pt x="273003" y="262511"/>
                    <a:pt x="270104" y="265126"/>
                  </a:cubicBezTo>
                  <a:lnTo>
                    <a:pt x="255046" y="278946"/>
                  </a:lnTo>
                  <a:cubicBezTo>
                    <a:pt x="249621" y="283802"/>
                    <a:pt x="241297" y="283428"/>
                    <a:pt x="236340" y="278106"/>
                  </a:cubicBezTo>
                  <a:lnTo>
                    <a:pt x="223247" y="263724"/>
                  </a:lnTo>
                  <a:cubicBezTo>
                    <a:pt x="208282" y="272970"/>
                    <a:pt x="191635" y="278853"/>
                    <a:pt x="174800" y="281187"/>
                  </a:cubicBezTo>
                  <a:lnTo>
                    <a:pt x="173958" y="300610"/>
                  </a:lnTo>
                  <a:cubicBezTo>
                    <a:pt x="173584" y="307801"/>
                    <a:pt x="167505" y="313590"/>
                    <a:pt x="160117" y="313217"/>
                  </a:cubicBezTo>
                  <a:lnTo>
                    <a:pt x="139634" y="312283"/>
                  </a:lnTo>
                  <a:cubicBezTo>
                    <a:pt x="132526" y="311909"/>
                    <a:pt x="127102" y="306120"/>
                    <a:pt x="127102" y="299116"/>
                  </a:cubicBezTo>
                  <a:lnTo>
                    <a:pt x="127102" y="298463"/>
                  </a:lnTo>
                  <a:lnTo>
                    <a:pt x="128037" y="279039"/>
                  </a:lnTo>
                  <a:cubicBezTo>
                    <a:pt x="111577" y="275211"/>
                    <a:pt x="95771" y="267834"/>
                    <a:pt x="81648" y="257281"/>
                  </a:cubicBezTo>
                  <a:lnTo>
                    <a:pt x="67058" y="270635"/>
                  </a:lnTo>
                  <a:cubicBezTo>
                    <a:pt x="61727" y="275491"/>
                    <a:pt x="53403" y="275117"/>
                    <a:pt x="48353" y="269701"/>
                  </a:cubicBezTo>
                  <a:lnTo>
                    <a:pt x="34511" y="254667"/>
                  </a:lnTo>
                  <a:cubicBezTo>
                    <a:pt x="32173" y="252052"/>
                    <a:pt x="31051" y="248970"/>
                    <a:pt x="31051" y="245702"/>
                  </a:cubicBezTo>
                  <a:cubicBezTo>
                    <a:pt x="31051" y="242247"/>
                    <a:pt x="32453" y="238605"/>
                    <a:pt x="35259" y="235990"/>
                  </a:cubicBezTo>
                  <a:lnTo>
                    <a:pt x="50036" y="222544"/>
                  </a:lnTo>
                  <a:cubicBezTo>
                    <a:pt x="40777" y="207696"/>
                    <a:pt x="35072" y="191261"/>
                    <a:pt x="32640" y="174639"/>
                  </a:cubicBezTo>
                  <a:lnTo>
                    <a:pt x="12626" y="173705"/>
                  </a:lnTo>
                  <a:cubicBezTo>
                    <a:pt x="5518" y="173332"/>
                    <a:pt x="0" y="167542"/>
                    <a:pt x="0" y="160539"/>
                  </a:cubicBezTo>
                  <a:lnTo>
                    <a:pt x="0" y="159885"/>
                  </a:lnTo>
                  <a:lnTo>
                    <a:pt x="842" y="139621"/>
                  </a:lnTo>
                  <a:cubicBezTo>
                    <a:pt x="1216" y="132431"/>
                    <a:pt x="7388" y="126642"/>
                    <a:pt x="14683" y="127015"/>
                  </a:cubicBezTo>
                  <a:lnTo>
                    <a:pt x="34885" y="127949"/>
                  </a:lnTo>
                  <a:cubicBezTo>
                    <a:pt x="38813" y="111514"/>
                    <a:pt x="46015" y="95826"/>
                    <a:pt x="56490" y="81819"/>
                  </a:cubicBezTo>
                  <a:lnTo>
                    <a:pt x="42741" y="66878"/>
                  </a:lnTo>
                  <a:cubicBezTo>
                    <a:pt x="40403" y="64263"/>
                    <a:pt x="39281" y="61182"/>
                    <a:pt x="39281" y="57913"/>
                  </a:cubicBezTo>
                  <a:cubicBezTo>
                    <a:pt x="39281" y="54458"/>
                    <a:pt x="40684" y="50816"/>
                    <a:pt x="43490" y="48202"/>
                  </a:cubicBezTo>
                  <a:lnTo>
                    <a:pt x="58641" y="34381"/>
                  </a:lnTo>
                  <a:cubicBezTo>
                    <a:pt x="63972" y="29526"/>
                    <a:pt x="72296" y="29899"/>
                    <a:pt x="77346" y="35315"/>
                  </a:cubicBezTo>
                  <a:lnTo>
                    <a:pt x="90627" y="50256"/>
                  </a:lnTo>
                  <a:cubicBezTo>
                    <a:pt x="105591" y="41011"/>
                    <a:pt x="121864" y="35128"/>
                    <a:pt x="138512" y="32794"/>
                  </a:cubicBezTo>
                  <a:lnTo>
                    <a:pt x="139447" y="12624"/>
                  </a:lnTo>
                  <a:cubicBezTo>
                    <a:pt x="139821" y="5433"/>
                    <a:pt x="145901" y="-356"/>
                    <a:pt x="153289" y="17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1" name="îṣḻïḓè">
              <a:extLst>
                <a:ext uri="{FF2B5EF4-FFF2-40B4-BE49-F238E27FC236}">
                  <a16:creationId xmlns:a16="http://schemas.microsoft.com/office/drawing/2014/main" id="{30C8A656-A69C-4844-9B4C-38593487F7D6}"/>
                </a:ext>
              </a:extLst>
            </p:cNvPr>
            <p:cNvSpPr/>
            <p:nvPr/>
          </p:nvSpPr>
          <p:spPr bwMode="auto">
            <a:xfrm>
              <a:off x="3563916" y="3658051"/>
              <a:ext cx="377806" cy="377072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81741" h="580612">
                  <a:moveTo>
                    <a:pt x="291612" y="187916"/>
                  </a:moveTo>
                  <a:cubicBezTo>
                    <a:pt x="304876" y="187916"/>
                    <a:pt x="315648" y="198758"/>
                    <a:pt x="315648" y="212088"/>
                  </a:cubicBezTo>
                  <a:lnTo>
                    <a:pt x="315648" y="491836"/>
                  </a:lnTo>
                  <a:lnTo>
                    <a:pt x="331227" y="473974"/>
                  </a:lnTo>
                  <a:cubicBezTo>
                    <a:pt x="339863" y="463932"/>
                    <a:pt x="355086" y="462866"/>
                    <a:pt x="365145" y="471574"/>
                  </a:cubicBezTo>
                  <a:cubicBezTo>
                    <a:pt x="375116" y="480372"/>
                    <a:pt x="376184" y="495657"/>
                    <a:pt x="367460" y="505699"/>
                  </a:cubicBezTo>
                  <a:lnTo>
                    <a:pt x="309773" y="572348"/>
                  </a:lnTo>
                  <a:cubicBezTo>
                    <a:pt x="305143" y="577502"/>
                    <a:pt x="298556" y="580612"/>
                    <a:pt x="291612" y="580612"/>
                  </a:cubicBezTo>
                  <a:cubicBezTo>
                    <a:pt x="284579" y="580612"/>
                    <a:pt x="278080" y="577680"/>
                    <a:pt x="273451" y="572348"/>
                  </a:cubicBezTo>
                  <a:lnTo>
                    <a:pt x="215764" y="505699"/>
                  </a:lnTo>
                  <a:cubicBezTo>
                    <a:pt x="207039" y="495657"/>
                    <a:pt x="208108" y="480372"/>
                    <a:pt x="218078" y="471574"/>
                  </a:cubicBezTo>
                  <a:cubicBezTo>
                    <a:pt x="228049" y="462866"/>
                    <a:pt x="243272" y="463932"/>
                    <a:pt x="252085" y="473974"/>
                  </a:cubicBezTo>
                  <a:lnTo>
                    <a:pt x="267486" y="491747"/>
                  </a:lnTo>
                  <a:lnTo>
                    <a:pt x="267486" y="212088"/>
                  </a:lnTo>
                  <a:cubicBezTo>
                    <a:pt x="267486" y="198758"/>
                    <a:pt x="278258" y="187916"/>
                    <a:pt x="291612" y="187916"/>
                  </a:cubicBezTo>
                  <a:close/>
                  <a:moveTo>
                    <a:pt x="329499" y="0"/>
                  </a:moveTo>
                  <a:cubicBezTo>
                    <a:pt x="426248" y="0"/>
                    <a:pt x="465322" y="80426"/>
                    <a:pt x="473332" y="108153"/>
                  </a:cubicBezTo>
                  <a:cubicBezTo>
                    <a:pt x="535280" y="120684"/>
                    <a:pt x="581474" y="175693"/>
                    <a:pt x="581741" y="241190"/>
                  </a:cubicBezTo>
                  <a:cubicBezTo>
                    <a:pt x="581741" y="315840"/>
                    <a:pt x="521306" y="376537"/>
                    <a:pt x="446987" y="376537"/>
                  </a:cubicBezTo>
                  <a:lnTo>
                    <a:pt x="372756" y="376537"/>
                  </a:lnTo>
                  <a:cubicBezTo>
                    <a:pt x="359316" y="376537"/>
                    <a:pt x="348546" y="365606"/>
                    <a:pt x="348546" y="352276"/>
                  </a:cubicBezTo>
                  <a:cubicBezTo>
                    <a:pt x="348546" y="338857"/>
                    <a:pt x="359316" y="327926"/>
                    <a:pt x="372756" y="327926"/>
                  </a:cubicBezTo>
                  <a:lnTo>
                    <a:pt x="446987" y="327926"/>
                  </a:lnTo>
                  <a:cubicBezTo>
                    <a:pt x="494605" y="327926"/>
                    <a:pt x="533322" y="289090"/>
                    <a:pt x="533322" y="241190"/>
                  </a:cubicBezTo>
                  <a:cubicBezTo>
                    <a:pt x="533322" y="195334"/>
                    <a:pt x="497720" y="157298"/>
                    <a:pt x="452238" y="154632"/>
                  </a:cubicBezTo>
                  <a:cubicBezTo>
                    <a:pt x="440934" y="153921"/>
                    <a:pt x="431589" y="145478"/>
                    <a:pt x="429809" y="134192"/>
                  </a:cubicBezTo>
                  <a:cubicBezTo>
                    <a:pt x="421709" y="84692"/>
                    <a:pt x="379609" y="48789"/>
                    <a:pt x="329677" y="48789"/>
                  </a:cubicBezTo>
                  <a:cubicBezTo>
                    <a:pt x="279567" y="48789"/>
                    <a:pt x="238001" y="84781"/>
                    <a:pt x="229457" y="134192"/>
                  </a:cubicBezTo>
                  <a:cubicBezTo>
                    <a:pt x="226520" y="151521"/>
                    <a:pt x="212190" y="162807"/>
                    <a:pt x="192964" y="151077"/>
                  </a:cubicBezTo>
                  <a:cubicBezTo>
                    <a:pt x="178011" y="141834"/>
                    <a:pt x="160922" y="136947"/>
                    <a:pt x="143299" y="136947"/>
                  </a:cubicBezTo>
                  <a:cubicBezTo>
                    <a:pt x="90964" y="136947"/>
                    <a:pt x="48419" y="179693"/>
                    <a:pt x="48419" y="232303"/>
                  </a:cubicBezTo>
                  <a:cubicBezTo>
                    <a:pt x="48419" y="284913"/>
                    <a:pt x="90964" y="327748"/>
                    <a:pt x="143299" y="327748"/>
                  </a:cubicBezTo>
                  <a:lnTo>
                    <a:pt x="218776" y="327748"/>
                  </a:lnTo>
                  <a:cubicBezTo>
                    <a:pt x="232216" y="327748"/>
                    <a:pt x="242986" y="338590"/>
                    <a:pt x="242986" y="352009"/>
                  </a:cubicBezTo>
                  <a:cubicBezTo>
                    <a:pt x="242986" y="365429"/>
                    <a:pt x="232216" y="376271"/>
                    <a:pt x="218776" y="376271"/>
                  </a:cubicBezTo>
                  <a:lnTo>
                    <a:pt x="143299" y="376271"/>
                  </a:lnTo>
                  <a:cubicBezTo>
                    <a:pt x="64262" y="376271"/>
                    <a:pt x="0" y="311574"/>
                    <a:pt x="0" y="232214"/>
                  </a:cubicBezTo>
                  <a:cubicBezTo>
                    <a:pt x="0" y="152854"/>
                    <a:pt x="64262" y="88158"/>
                    <a:pt x="143210" y="88158"/>
                  </a:cubicBezTo>
                  <a:cubicBezTo>
                    <a:pt x="159231" y="88158"/>
                    <a:pt x="174896" y="90735"/>
                    <a:pt x="189849" y="95978"/>
                  </a:cubicBezTo>
                  <a:cubicBezTo>
                    <a:pt x="198749" y="73050"/>
                    <a:pt x="238891" y="0"/>
                    <a:pt x="32949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2" name="iş1iḑe">
              <a:extLst>
                <a:ext uri="{FF2B5EF4-FFF2-40B4-BE49-F238E27FC236}">
                  <a16:creationId xmlns:a16="http://schemas.microsoft.com/office/drawing/2014/main" id="{79D5FAF9-096B-4C61-A299-6A26A276E128}"/>
                </a:ext>
              </a:extLst>
            </p:cNvPr>
            <p:cNvSpPr/>
            <p:nvPr/>
          </p:nvSpPr>
          <p:spPr bwMode="auto">
            <a:xfrm>
              <a:off x="3025037" y="4301073"/>
              <a:ext cx="377806" cy="377236"/>
            </a:xfrm>
            <a:custGeom>
              <a:avLst/>
              <a:gdLst>
                <a:gd name="connsiteX0" fmla="*/ 303820 w 607639"/>
                <a:gd name="connsiteY0" fmla="*/ 278099 h 606722"/>
                <a:gd name="connsiteX1" fmla="*/ 329118 w 607639"/>
                <a:gd name="connsiteY1" fmla="*/ 303362 h 606722"/>
                <a:gd name="connsiteX2" fmla="*/ 303820 w 607639"/>
                <a:gd name="connsiteY2" fmla="*/ 328625 h 606722"/>
                <a:gd name="connsiteX3" fmla="*/ 278522 w 607639"/>
                <a:gd name="connsiteY3" fmla="*/ 303362 h 606722"/>
                <a:gd name="connsiteX4" fmla="*/ 303820 w 607639"/>
                <a:gd name="connsiteY4" fmla="*/ 278099 h 606722"/>
                <a:gd name="connsiteX5" fmla="*/ 303775 w 607639"/>
                <a:gd name="connsiteY5" fmla="*/ 252735 h 606722"/>
                <a:gd name="connsiteX6" fmla="*/ 253140 w 607639"/>
                <a:gd name="connsiteY6" fmla="*/ 303317 h 606722"/>
                <a:gd name="connsiteX7" fmla="*/ 303775 w 607639"/>
                <a:gd name="connsiteY7" fmla="*/ 353900 h 606722"/>
                <a:gd name="connsiteX8" fmla="*/ 354410 w 607639"/>
                <a:gd name="connsiteY8" fmla="*/ 303317 h 606722"/>
                <a:gd name="connsiteX9" fmla="*/ 303775 w 607639"/>
                <a:gd name="connsiteY9" fmla="*/ 252735 h 606722"/>
                <a:gd name="connsiteX10" fmla="*/ 303775 w 607639"/>
                <a:gd name="connsiteY10" fmla="*/ 202241 h 606722"/>
                <a:gd name="connsiteX11" fmla="*/ 405045 w 607639"/>
                <a:gd name="connsiteY11" fmla="*/ 303317 h 606722"/>
                <a:gd name="connsiteX12" fmla="*/ 303775 w 607639"/>
                <a:gd name="connsiteY12" fmla="*/ 404482 h 606722"/>
                <a:gd name="connsiteX13" fmla="*/ 202593 w 607639"/>
                <a:gd name="connsiteY13" fmla="*/ 303317 h 606722"/>
                <a:gd name="connsiteX14" fmla="*/ 303775 w 607639"/>
                <a:gd name="connsiteY14" fmla="*/ 202241 h 606722"/>
                <a:gd name="connsiteX15" fmla="*/ 303775 w 607639"/>
                <a:gd name="connsiteY15" fmla="*/ 151703 h 606722"/>
                <a:gd name="connsiteX16" fmla="*/ 151932 w 607639"/>
                <a:gd name="connsiteY16" fmla="*/ 303317 h 606722"/>
                <a:gd name="connsiteX17" fmla="*/ 303775 w 607639"/>
                <a:gd name="connsiteY17" fmla="*/ 455019 h 606722"/>
                <a:gd name="connsiteX18" fmla="*/ 455707 w 607639"/>
                <a:gd name="connsiteY18" fmla="*/ 303317 h 606722"/>
                <a:gd name="connsiteX19" fmla="*/ 303775 w 607639"/>
                <a:gd name="connsiteY19" fmla="*/ 151703 h 606722"/>
                <a:gd name="connsiteX20" fmla="*/ 253131 w 607639"/>
                <a:gd name="connsiteY20" fmla="*/ 0 h 606722"/>
                <a:gd name="connsiteX21" fmla="*/ 354419 w 607639"/>
                <a:gd name="connsiteY21" fmla="*/ 0 h 606722"/>
                <a:gd name="connsiteX22" fmla="*/ 379786 w 607639"/>
                <a:gd name="connsiteY22" fmla="*/ 25239 h 606722"/>
                <a:gd name="connsiteX23" fmla="*/ 379786 w 607639"/>
                <a:gd name="connsiteY23" fmla="*/ 62387 h 606722"/>
                <a:gd name="connsiteX24" fmla="*/ 420639 w 607639"/>
                <a:gd name="connsiteY24" fmla="*/ 79451 h 606722"/>
                <a:gd name="connsiteX25" fmla="*/ 446985 w 607639"/>
                <a:gd name="connsiteY25" fmla="*/ 53145 h 606722"/>
                <a:gd name="connsiteX26" fmla="*/ 482854 w 607639"/>
                <a:gd name="connsiteY26" fmla="*/ 53145 h 606722"/>
                <a:gd name="connsiteX27" fmla="*/ 554414 w 607639"/>
                <a:gd name="connsiteY27" fmla="*/ 124597 h 606722"/>
                <a:gd name="connsiteX28" fmla="*/ 554414 w 607639"/>
                <a:gd name="connsiteY28" fmla="*/ 160323 h 606722"/>
                <a:gd name="connsiteX29" fmla="*/ 528069 w 607639"/>
                <a:gd name="connsiteY29" fmla="*/ 186629 h 606722"/>
                <a:gd name="connsiteX30" fmla="*/ 545158 w 607639"/>
                <a:gd name="connsiteY30" fmla="*/ 227510 h 606722"/>
                <a:gd name="connsiteX31" fmla="*/ 582273 w 607639"/>
                <a:gd name="connsiteY31" fmla="*/ 227510 h 606722"/>
                <a:gd name="connsiteX32" fmla="*/ 607639 w 607639"/>
                <a:gd name="connsiteY32" fmla="*/ 252749 h 606722"/>
                <a:gd name="connsiteX33" fmla="*/ 607639 w 607639"/>
                <a:gd name="connsiteY33" fmla="*/ 353884 h 606722"/>
                <a:gd name="connsiteX34" fmla="*/ 582273 w 607639"/>
                <a:gd name="connsiteY34" fmla="*/ 379212 h 606722"/>
                <a:gd name="connsiteX35" fmla="*/ 545158 w 607639"/>
                <a:gd name="connsiteY35" fmla="*/ 379212 h 606722"/>
                <a:gd name="connsiteX36" fmla="*/ 528069 w 607639"/>
                <a:gd name="connsiteY36" fmla="*/ 420004 h 606722"/>
                <a:gd name="connsiteX37" fmla="*/ 554414 w 607639"/>
                <a:gd name="connsiteY37" fmla="*/ 446310 h 606722"/>
                <a:gd name="connsiteX38" fmla="*/ 554414 w 607639"/>
                <a:gd name="connsiteY38" fmla="*/ 482125 h 606722"/>
                <a:gd name="connsiteX39" fmla="*/ 482854 w 607639"/>
                <a:gd name="connsiteY39" fmla="*/ 553577 h 606722"/>
                <a:gd name="connsiteX40" fmla="*/ 446985 w 607639"/>
                <a:gd name="connsiteY40" fmla="*/ 553577 h 606722"/>
                <a:gd name="connsiteX41" fmla="*/ 420639 w 607639"/>
                <a:gd name="connsiteY41" fmla="*/ 527271 h 606722"/>
                <a:gd name="connsiteX42" fmla="*/ 379786 w 607639"/>
                <a:gd name="connsiteY42" fmla="*/ 544246 h 606722"/>
                <a:gd name="connsiteX43" fmla="*/ 379786 w 607639"/>
                <a:gd name="connsiteY43" fmla="*/ 581394 h 606722"/>
                <a:gd name="connsiteX44" fmla="*/ 354419 w 607639"/>
                <a:gd name="connsiteY44" fmla="*/ 606722 h 606722"/>
                <a:gd name="connsiteX45" fmla="*/ 253131 w 607639"/>
                <a:gd name="connsiteY45" fmla="*/ 606722 h 606722"/>
                <a:gd name="connsiteX46" fmla="*/ 227854 w 607639"/>
                <a:gd name="connsiteY46" fmla="*/ 581394 h 606722"/>
                <a:gd name="connsiteX47" fmla="*/ 227854 w 607639"/>
                <a:gd name="connsiteY47" fmla="*/ 544246 h 606722"/>
                <a:gd name="connsiteX48" fmla="*/ 186911 w 607639"/>
                <a:gd name="connsiteY48" fmla="*/ 527271 h 606722"/>
                <a:gd name="connsiteX49" fmla="*/ 160566 w 607639"/>
                <a:gd name="connsiteY49" fmla="*/ 553577 h 606722"/>
                <a:gd name="connsiteX50" fmla="*/ 124786 w 607639"/>
                <a:gd name="connsiteY50" fmla="*/ 553577 h 606722"/>
                <a:gd name="connsiteX51" fmla="*/ 53225 w 607639"/>
                <a:gd name="connsiteY51" fmla="*/ 482125 h 606722"/>
                <a:gd name="connsiteX52" fmla="*/ 53225 w 607639"/>
                <a:gd name="connsiteY52" fmla="*/ 446310 h 606722"/>
                <a:gd name="connsiteX53" fmla="*/ 79482 w 607639"/>
                <a:gd name="connsiteY53" fmla="*/ 420004 h 606722"/>
                <a:gd name="connsiteX54" fmla="*/ 62482 w 607639"/>
                <a:gd name="connsiteY54" fmla="*/ 379212 h 606722"/>
                <a:gd name="connsiteX55" fmla="*/ 25278 w 607639"/>
                <a:gd name="connsiteY55" fmla="*/ 379212 h 606722"/>
                <a:gd name="connsiteX56" fmla="*/ 0 w 607639"/>
                <a:gd name="connsiteY56" fmla="*/ 353884 h 606722"/>
                <a:gd name="connsiteX57" fmla="*/ 0 w 607639"/>
                <a:gd name="connsiteY57" fmla="*/ 252749 h 606722"/>
                <a:gd name="connsiteX58" fmla="*/ 25278 w 607639"/>
                <a:gd name="connsiteY58" fmla="*/ 227510 h 606722"/>
                <a:gd name="connsiteX59" fmla="*/ 62482 w 607639"/>
                <a:gd name="connsiteY59" fmla="*/ 227510 h 606722"/>
                <a:gd name="connsiteX60" fmla="*/ 79482 w 607639"/>
                <a:gd name="connsiteY60" fmla="*/ 186629 h 606722"/>
                <a:gd name="connsiteX61" fmla="*/ 53225 w 607639"/>
                <a:gd name="connsiteY61" fmla="*/ 160323 h 606722"/>
                <a:gd name="connsiteX62" fmla="*/ 53225 w 607639"/>
                <a:gd name="connsiteY62" fmla="*/ 124597 h 606722"/>
                <a:gd name="connsiteX63" fmla="*/ 124786 w 607639"/>
                <a:gd name="connsiteY63" fmla="*/ 53145 h 606722"/>
                <a:gd name="connsiteX64" fmla="*/ 160566 w 607639"/>
                <a:gd name="connsiteY64" fmla="*/ 53145 h 606722"/>
                <a:gd name="connsiteX65" fmla="*/ 186911 w 607639"/>
                <a:gd name="connsiteY65" fmla="*/ 79451 h 606722"/>
                <a:gd name="connsiteX66" fmla="*/ 227854 w 607639"/>
                <a:gd name="connsiteY66" fmla="*/ 62387 h 606722"/>
                <a:gd name="connsiteX67" fmla="*/ 227854 w 607639"/>
                <a:gd name="connsiteY67" fmla="*/ 25239 h 606722"/>
                <a:gd name="connsiteX68" fmla="*/ 253131 w 607639"/>
                <a:gd name="connsiteY68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607639" h="606722">
                  <a:moveTo>
                    <a:pt x="303820" y="278099"/>
                  </a:moveTo>
                  <a:cubicBezTo>
                    <a:pt x="317792" y="278099"/>
                    <a:pt x="329118" y="289410"/>
                    <a:pt x="329118" y="303362"/>
                  </a:cubicBezTo>
                  <a:cubicBezTo>
                    <a:pt x="329118" y="317314"/>
                    <a:pt x="317792" y="328625"/>
                    <a:pt x="303820" y="328625"/>
                  </a:cubicBezTo>
                  <a:cubicBezTo>
                    <a:pt x="289848" y="328625"/>
                    <a:pt x="278522" y="317314"/>
                    <a:pt x="278522" y="303362"/>
                  </a:cubicBezTo>
                  <a:cubicBezTo>
                    <a:pt x="278522" y="289410"/>
                    <a:pt x="289848" y="278099"/>
                    <a:pt x="303820" y="278099"/>
                  </a:cubicBezTo>
                  <a:close/>
                  <a:moveTo>
                    <a:pt x="303775" y="252735"/>
                  </a:moveTo>
                  <a:cubicBezTo>
                    <a:pt x="275921" y="252735"/>
                    <a:pt x="253140" y="275492"/>
                    <a:pt x="253140" y="303317"/>
                  </a:cubicBezTo>
                  <a:cubicBezTo>
                    <a:pt x="253140" y="331231"/>
                    <a:pt x="275921" y="353900"/>
                    <a:pt x="303775" y="353900"/>
                  </a:cubicBezTo>
                  <a:cubicBezTo>
                    <a:pt x="331718" y="353900"/>
                    <a:pt x="354410" y="331231"/>
                    <a:pt x="354410" y="303317"/>
                  </a:cubicBezTo>
                  <a:cubicBezTo>
                    <a:pt x="354410" y="275492"/>
                    <a:pt x="331718" y="252735"/>
                    <a:pt x="303775" y="252735"/>
                  </a:cubicBezTo>
                  <a:close/>
                  <a:moveTo>
                    <a:pt x="303775" y="202241"/>
                  </a:moveTo>
                  <a:cubicBezTo>
                    <a:pt x="359660" y="202241"/>
                    <a:pt x="405045" y="247579"/>
                    <a:pt x="405045" y="303317"/>
                  </a:cubicBezTo>
                  <a:cubicBezTo>
                    <a:pt x="405045" y="359144"/>
                    <a:pt x="359660" y="404482"/>
                    <a:pt x="303775" y="404482"/>
                  </a:cubicBezTo>
                  <a:cubicBezTo>
                    <a:pt x="247978" y="404482"/>
                    <a:pt x="202593" y="359144"/>
                    <a:pt x="202593" y="303317"/>
                  </a:cubicBezTo>
                  <a:cubicBezTo>
                    <a:pt x="202593" y="247579"/>
                    <a:pt x="247978" y="202241"/>
                    <a:pt x="303775" y="202241"/>
                  </a:cubicBezTo>
                  <a:close/>
                  <a:moveTo>
                    <a:pt x="303775" y="151703"/>
                  </a:moveTo>
                  <a:cubicBezTo>
                    <a:pt x="220021" y="151703"/>
                    <a:pt x="151932" y="219689"/>
                    <a:pt x="151932" y="303317"/>
                  </a:cubicBezTo>
                  <a:cubicBezTo>
                    <a:pt x="151932" y="387033"/>
                    <a:pt x="220021" y="455019"/>
                    <a:pt x="303775" y="455019"/>
                  </a:cubicBezTo>
                  <a:cubicBezTo>
                    <a:pt x="387618" y="455019"/>
                    <a:pt x="455707" y="387033"/>
                    <a:pt x="455707" y="303317"/>
                  </a:cubicBezTo>
                  <a:cubicBezTo>
                    <a:pt x="455707" y="219689"/>
                    <a:pt x="387618" y="151703"/>
                    <a:pt x="303775" y="151703"/>
                  </a:cubicBezTo>
                  <a:close/>
                  <a:moveTo>
                    <a:pt x="253131" y="0"/>
                  </a:moveTo>
                  <a:lnTo>
                    <a:pt x="354419" y="0"/>
                  </a:lnTo>
                  <a:cubicBezTo>
                    <a:pt x="368482" y="0"/>
                    <a:pt x="379786" y="11287"/>
                    <a:pt x="379786" y="25239"/>
                  </a:cubicBezTo>
                  <a:lnTo>
                    <a:pt x="379786" y="62387"/>
                  </a:lnTo>
                  <a:cubicBezTo>
                    <a:pt x="393849" y="66831"/>
                    <a:pt x="407555" y="72519"/>
                    <a:pt x="420639" y="79451"/>
                  </a:cubicBezTo>
                  <a:lnTo>
                    <a:pt x="446985" y="53145"/>
                  </a:lnTo>
                  <a:cubicBezTo>
                    <a:pt x="456953" y="43191"/>
                    <a:pt x="472974" y="43191"/>
                    <a:pt x="482854" y="53145"/>
                  </a:cubicBezTo>
                  <a:lnTo>
                    <a:pt x="554414" y="124597"/>
                  </a:lnTo>
                  <a:cubicBezTo>
                    <a:pt x="564294" y="134462"/>
                    <a:pt x="564294" y="150459"/>
                    <a:pt x="554414" y="160323"/>
                  </a:cubicBezTo>
                  <a:lnTo>
                    <a:pt x="528069" y="186629"/>
                  </a:lnTo>
                  <a:cubicBezTo>
                    <a:pt x="535011" y="199782"/>
                    <a:pt x="540707" y="213468"/>
                    <a:pt x="545158" y="227510"/>
                  </a:cubicBezTo>
                  <a:lnTo>
                    <a:pt x="582273" y="227510"/>
                  </a:lnTo>
                  <a:cubicBezTo>
                    <a:pt x="596336" y="227510"/>
                    <a:pt x="607639" y="238796"/>
                    <a:pt x="607639" y="252749"/>
                  </a:cubicBezTo>
                  <a:lnTo>
                    <a:pt x="607639" y="353884"/>
                  </a:lnTo>
                  <a:cubicBezTo>
                    <a:pt x="607639" y="367926"/>
                    <a:pt x="596247" y="379212"/>
                    <a:pt x="582273" y="379212"/>
                  </a:cubicBezTo>
                  <a:lnTo>
                    <a:pt x="545158" y="379212"/>
                  </a:lnTo>
                  <a:cubicBezTo>
                    <a:pt x="540707" y="393254"/>
                    <a:pt x="535011" y="406940"/>
                    <a:pt x="528069" y="420004"/>
                  </a:cubicBezTo>
                  <a:lnTo>
                    <a:pt x="554414" y="446310"/>
                  </a:lnTo>
                  <a:cubicBezTo>
                    <a:pt x="564294" y="456263"/>
                    <a:pt x="564294" y="472260"/>
                    <a:pt x="554414" y="482125"/>
                  </a:cubicBezTo>
                  <a:lnTo>
                    <a:pt x="482854" y="553577"/>
                  </a:lnTo>
                  <a:cubicBezTo>
                    <a:pt x="472974" y="563442"/>
                    <a:pt x="456953" y="563442"/>
                    <a:pt x="446985" y="553577"/>
                  </a:cubicBezTo>
                  <a:lnTo>
                    <a:pt x="420639" y="527271"/>
                  </a:lnTo>
                  <a:cubicBezTo>
                    <a:pt x="407555" y="534203"/>
                    <a:pt x="393849" y="539802"/>
                    <a:pt x="379786" y="544246"/>
                  </a:cubicBezTo>
                  <a:lnTo>
                    <a:pt x="379786" y="581394"/>
                  </a:lnTo>
                  <a:cubicBezTo>
                    <a:pt x="379786" y="595435"/>
                    <a:pt x="368393" y="606722"/>
                    <a:pt x="354419" y="606722"/>
                  </a:cubicBezTo>
                  <a:lnTo>
                    <a:pt x="253131" y="606722"/>
                  </a:lnTo>
                  <a:cubicBezTo>
                    <a:pt x="239157" y="606722"/>
                    <a:pt x="227854" y="595435"/>
                    <a:pt x="227854" y="581394"/>
                  </a:cubicBezTo>
                  <a:lnTo>
                    <a:pt x="227854" y="544246"/>
                  </a:lnTo>
                  <a:cubicBezTo>
                    <a:pt x="213791" y="539802"/>
                    <a:pt x="200084" y="534203"/>
                    <a:pt x="186911" y="527271"/>
                  </a:cubicBezTo>
                  <a:lnTo>
                    <a:pt x="160566" y="553577"/>
                  </a:lnTo>
                  <a:cubicBezTo>
                    <a:pt x="150686" y="563442"/>
                    <a:pt x="134665" y="563442"/>
                    <a:pt x="124786" y="553577"/>
                  </a:cubicBezTo>
                  <a:lnTo>
                    <a:pt x="53225" y="482125"/>
                  </a:lnTo>
                  <a:cubicBezTo>
                    <a:pt x="43257" y="472260"/>
                    <a:pt x="43257" y="456263"/>
                    <a:pt x="53225" y="446310"/>
                  </a:cubicBezTo>
                  <a:lnTo>
                    <a:pt x="79482" y="420004"/>
                  </a:lnTo>
                  <a:cubicBezTo>
                    <a:pt x="72629" y="406940"/>
                    <a:pt x="66932" y="393254"/>
                    <a:pt x="62482" y="379212"/>
                  </a:cubicBezTo>
                  <a:lnTo>
                    <a:pt x="25278" y="379212"/>
                  </a:lnTo>
                  <a:cubicBezTo>
                    <a:pt x="11304" y="379212"/>
                    <a:pt x="0" y="367926"/>
                    <a:pt x="0" y="353884"/>
                  </a:cubicBezTo>
                  <a:lnTo>
                    <a:pt x="0" y="252749"/>
                  </a:lnTo>
                  <a:cubicBezTo>
                    <a:pt x="0" y="238796"/>
                    <a:pt x="11304" y="227510"/>
                    <a:pt x="25278" y="227510"/>
                  </a:cubicBezTo>
                  <a:lnTo>
                    <a:pt x="62482" y="227510"/>
                  </a:lnTo>
                  <a:cubicBezTo>
                    <a:pt x="66932" y="213468"/>
                    <a:pt x="72629" y="199782"/>
                    <a:pt x="79482" y="186629"/>
                  </a:cubicBezTo>
                  <a:lnTo>
                    <a:pt x="53225" y="160323"/>
                  </a:lnTo>
                  <a:cubicBezTo>
                    <a:pt x="43257" y="150459"/>
                    <a:pt x="43257" y="134462"/>
                    <a:pt x="53225" y="124597"/>
                  </a:cubicBezTo>
                  <a:lnTo>
                    <a:pt x="124786" y="53145"/>
                  </a:lnTo>
                  <a:cubicBezTo>
                    <a:pt x="134665" y="43191"/>
                    <a:pt x="150686" y="43191"/>
                    <a:pt x="160566" y="53145"/>
                  </a:cubicBezTo>
                  <a:lnTo>
                    <a:pt x="186911" y="79451"/>
                  </a:lnTo>
                  <a:cubicBezTo>
                    <a:pt x="200084" y="72519"/>
                    <a:pt x="213791" y="66831"/>
                    <a:pt x="227854" y="62387"/>
                  </a:cubicBezTo>
                  <a:lnTo>
                    <a:pt x="227854" y="25239"/>
                  </a:lnTo>
                  <a:cubicBezTo>
                    <a:pt x="227854" y="11287"/>
                    <a:pt x="239157" y="0"/>
                    <a:pt x="253131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3" name="ïṧľíďê">
              <a:extLst>
                <a:ext uri="{FF2B5EF4-FFF2-40B4-BE49-F238E27FC236}">
                  <a16:creationId xmlns:a16="http://schemas.microsoft.com/office/drawing/2014/main" id="{83AC56C8-BB22-4DB6-8372-AA84DFFA3A81}"/>
                </a:ext>
              </a:extLst>
            </p:cNvPr>
            <p:cNvSpPr/>
            <p:nvPr/>
          </p:nvSpPr>
          <p:spPr bwMode="auto">
            <a:xfrm>
              <a:off x="2498293" y="4944202"/>
              <a:ext cx="377806" cy="377188"/>
            </a:xfrm>
            <a:custGeom>
              <a:avLst/>
              <a:gdLst>
                <a:gd name="connsiteX0" fmla="*/ 380418 w 604181"/>
                <a:gd name="connsiteY0" fmla="*/ 268007 h 603193"/>
                <a:gd name="connsiteX1" fmla="*/ 519220 w 604181"/>
                <a:gd name="connsiteY1" fmla="*/ 339187 h 603193"/>
                <a:gd name="connsiteX2" fmla="*/ 519220 w 604181"/>
                <a:gd name="connsiteY2" fmla="*/ 355820 h 603193"/>
                <a:gd name="connsiteX3" fmla="*/ 380418 w 604181"/>
                <a:gd name="connsiteY3" fmla="*/ 426850 h 603193"/>
                <a:gd name="connsiteX4" fmla="*/ 380418 w 604181"/>
                <a:gd name="connsiteY4" fmla="*/ 406320 h 603193"/>
                <a:gd name="connsiteX5" fmla="*/ 498212 w 604181"/>
                <a:gd name="connsiteY5" fmla="*/ 347728 h 603193"/>
                <a:gd name="connsiteX6" fmla="*/ 498212 w 604181"/>
                <a:gd name="connsiteY6" fmla="*/ 347129 h 603193"/>
                <a:gd name="connsiteX7" fmla="*/ 380418 w 604181"/>
                <a:gd name="connsiteY7" fmla="*/ 288687 h 603193"/>
                <a:gd name="connsiteX8" fmla="*/ 216565 w 604181"/>
                <a:gd name="connsiteY8" fmla="*/ 268007 h 603193"/>
                <a:gd name="connsiteX9" fmla="*/ 216565 w 604181"/>
                <a:gd name="connsiteY9" fmla="*/ 288687 h 603193"/>
                <a:gd name="connsiteX10" fmla="*/ 99664 w 604181"/>
                <a:gd name="connsiteY10" fmla="*/ 347129 h 603193"/>
                <a:gd name="connsiteX11" fmla="*/ 99664 w 604181"/>
                <a:gd name="connsiteY11" fmla="*/ 347728 h 603193"/>
                <a:gd name="connsiteX12" fmla="*/ 216565 w 604181"/>
                <a:gd name="connsiteY12" fmla="*/ 406320 h 603193"/>
                <a:gd name="connsiteX13" fmla="*/ 216565 w 604181"/>
                <a:gd name="connsiteY13" fmla="*/ 426850 h 603193"/>
                <a:gd name="connsiteX14" fmla="*/ 77904 w 604181"/>
                <a:gd name="connsiteY14" fmla="*/ 355521 h 603193"/>
                <a:gd name="connsiteX15" fmla="*/ 77904 w 604181"/>
                <a:gd name="connsiteY15" fmla="*/ 339486 h 603193"/>
                <a:gd name="connsiteX16" fmla="*/ 338273 w 604181"/>
                <a:gd name="connsiteY16" fmla="*/ 222493 h 603193"/>
                <a:gd name="connsiteX17" fmla="*/ 358684 w 604181"/>
                <a:gd name="connsiteY17" fmla="*/ 222493 h 603193"/>
                <a:gd name="connsiteX18" fmla="*/ 253179 w 604181"/>
                <a:gd name="connsiteY18" fmla="*/ 482103 h 603193"/>
                <a:gd name="connsiteX19" fmla="*/ 233219 w 604181"/>
                <a:gd name="connsiteY19" fmla="*/ 482103 h 603193"/>
                <a:gd name="connsiteX20" fmla="*/ 28813 w 604181"/>
                <a:gd name="connsiteY20" fmla="*/ 128849 h 603193"/>
                <a:gd name="connsiteX21" fmla="*/ 28813 w 604181"/>
                <a:gd name="connsiteY21" fmla="*/ 557497 h 603193"/>
                <a:gd name="connsiteX22" fmla="*/ 45921 w 604181"/>
                <a:gd name="connsiteY22" fmla="*/ 574427 h 603193"/>
                <a:gd name="connsiteX23" fmla="*/ 558410 w 604181"/>
                <a:gd name="connsiteY23" fmla="*/ 574427 h 603193"/>
                <a:gd name="connsiteX24" fmla="*/ 575368 w 604181"/>
                <a:gd name="connsiteY24" fmla="*/ 557497 h 603193"/>
                <a:gd name="connsiteX25" fmla="*/ 575368 w 604181"/>
                <a:gd name="connsiteY25" fmla="*/ 128849 h 603193"/>
                <a:gd name="connsiteX26" fmla="*/ 502734 w 604181"/>
                <a:gd name="connsiteY26" fmla="*/ 43149 h 603193"/>
                <a:gd name="connsiteX27" fmla="*/ 502734 w 604181"/>
                <a:gd name="connsiteY27" fmla="*/ 77309 h 603193"/>
                <a:gd name="connsiteX28" fmla="*/ 537100 w 604181"/>
                <a:gd name="connsiteY28" fmla="*/ 77309 h 603193"/>
                <a:gd name="connsiteX29" fmla="*/ 537100 w 604181"/>
                <a:gd name="connsiteY29" fmla="*/ 43149 h 603193"/>
                <a:gd name="connsiteX30" fmla="*/ 423197 w 604181"/>
                <a:gd name="connsiteY30" fmla="*/ 43149 h 603193"/>
                <a:gd name="connsiteX31" fmla="*/ 423197 w 604181"/>
                <a:gd name="connsiteY31" fmla="*/ 77309 h 603193"/>
                <a:gd name="connsiteX32" fmla="*/ 457563 w 604181"/>
                <a:gd name="connsiteY32" fmla="*/ 77309 h 603193"/>
                <a:gd name="connsiteX33" fmla="*/ 457563 w 604181"/>
                <a:gd name="connsiteY33" fmla="*/ 43149 h 603193"/>
                <a:gd name="connsiteX34" fmla="*/ 45921 w 604181"/>
                <a:gd name="connsiteY34" fmla="*/ 0 h 603193"/>
                <a:gd name="connsiteX35" fmla="*/ 558410 w 604181"/>
                <a:gd name="connsiteY35" fmla="*/ 0 h 603193"/>
                <a:gd name="connsiteX36" fmla="*/ 604181 w 604181"/>
                <a:gd name="connsiteY36" fmla="*/ 45846 h 603193"/>
                <a:gd name="connsiteX37" fmla="*/ 604181 w 604181"/>
                <a:gd name="connsiteY37" fmla="*/ 557497 h 603193"/>
                <a:gd name="connsiteX38" fmla="*/ 558410 w 604181"/>
                <a:gd name="connsiteY38" fmla="*/ 603193 h 603193"/>
                <a:gd name="connsiteX39" fmla="*/ 45921 w 604181"/>
                <a:gd name="connsiteY39" fmla="*/ 603193 h 603193"/>
                <a:gd name="connsiteX40" fmla="*/ 0 w 604181"/>
                <a:gd name="connsiteY40" fmla="*/ 557497 h 603193"/>
                <a:gd name="connsiteX41" fmla="*/ 0 w 604181"/>
                <a:gd name="connsiteY41" fmla="*/ 45846 h 603193"/>
                <a:gd name="connsiteX42" fmla="*/ 45921 w 604181"/>
                <a:gd name="connsiteY42" fmla="*/ 0 h 603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04181" h="603193">
                  <a:moveTo>
                    <a:pt x="380418" y="268007"/>
                  </a:moveTo>
                  <a:lnTo>
                    <a:pt x="519220" y="339187"/>
                  </a:lnTo>
                  <a:lnTo>
                    <a:pt x="519220" y="355820"/>
                  </a:lnTo>
                  <a:lnTo>
                    <a:pt x="380418" y="426850"/>
                  </a:lnTo>
                  <a:lnTo>
                    <a:pt x="380418" y="406320"/>
                  </a:lnTo>
                  <a:lnTo>
                    <a:pt x="498212" y="347728"/>
                  </a:lnTo>
                  <a:lnTo>
                    <a:pt x="498212" y="347129"/>
                  </a:lnTo>
                  <a:lnTo>
                    <a:pt x="380418" y="288687"/>
                  </a:lnTo>
                  <a:close/>
                  <a:moveTo>
                    <a:pt x="216565" y="268007"/>
                  </a:moveTo>
                  <a:lnTo>
                    <a:pt x="216565" y="288687"/>
                  </a:lnTo>
                  <a:lnTo>
                    <a:pt x="99664" y="347129"/>
                  </a:lnTo>
                  <a:lnTo>
                    <a:pt x="99664" y="347728"/>
                  </a:lnTo>
                  <a:lnTo>
                    <a:pt x="216565" y="406320"/>
                  </a:lnTo>
                  <a:lnTo>
                    <a:pt x="216565" y="426850"/>
                  </a:lnTo>
                  <a:lnTo>
                    <a:pt x="77904" y="355521"/>
                  </a:lnTo>
                  <a:lnTo>
                    <a:pt x="77904" y="339486"/>
                  </a:lnTo>
                  <a:close/>
                  <a:moveTo>
                    <a:pt x="338273" y="222493"/>
                  </a:moveTo>
                  <a:lnTo>
                    <a:pt x="358684" y="222493"/>
                  </a:lnTo>
                  <a:lnTo>
                    <a:pt x="253179" y="482103"/>
                  </a:lnTo>
                  <a:lnTo>
                    <a:pt x="233219" y="482103"/>
                  </a:lnTo>
                  <a:close/>
                  <a:moveTo>
                    <a:pt x="28813" y="128849"/>
                  </a:moveTo>
                  <a:lnTo>
                    <a:pt x="28813" y="557497"/>
                  </a:lnTo>
                  <a:cubicBezTo>
                    <a:pt x="28813" y="566786"/>
                    <a:pt x="36467" y="574427"/>
                    <a:pt x="45921" y="574427"/>
                  </a:cubicBezTo>
                  <a:lnTo>
                    <a:pt x="558410" y="574427"/>
                  </a:lnTo>
                  <a:cubicBezTo>
                    <a:pt x="567714" y="574427"/>
                    <a:pt x="575368" y="566786"/>
                    <a:pt x="575368" y="557497"/>
                  </a:cubicBezTo>
                  <a:lnTo>
                    <a:pt x="575368" y="128849"/>
                  </a:lnTo>
                  <a:close/>
                  <a:moveTo>
                    <a:pt x="502734" y="43149"/>
                  </a:moveTo>
                  <a:lnTo>
                    <a:pt x="502734" y="77309"/>
                  </a:lnTo>
                  <a:lnTo>
                    <a:pt x="537100" y="77309"/>
                  </a:lnTo>
                  <a:lnTo>
                    <a:pt x="537100" y="43149"/>
                  </a:lnTo>
                  <a:close/>
                  <a:moveTo>
                    <a:pt x="423197" y="43149"/>
                  </a:moveTo>
                  <a:lnTo>
                    <a:pt x="423197" y="77309"/>
                  </a:lnTo>
                  <a:lnTo>
                    <a:pt x="457563" y="77309"/>
                  </a:lnTo>
                  <a:lnTo>
                    <a:pt x="457563" y="43149"/>
                  </a:lnTo>
                  <a:close/>
                  <a:moveTo>
                    <a:pt x="45921" y="0"/>
                  </a:moveTo>
                  <a:lnTo>
                    <a:pt x="558410" y="0"/>
                  </a:lnTo>
                  <a:cubicBezTo>
                    <a:pt x="583621" y="0"/>
                    <a:pt x="604181" y="20526"/>
                    <a:pt x="604181" y="45846"/>
                  </a:cubicBezTo>
                  <a:lnTo>
                    <a:pt x="604181" y="557497"/>
                  </a:lnTo>
                  <a:cubicBezTo>
                    <a:pt x="604181" y="582667"/>
                    <a:pt x="583621" y="603193"/>
                    <a:pt x="558410" y="603193"/>
                  </a:cubicBezTo>
                  <a:lnTo>
                    <a:pt x="45921" y="603193"/>
                  </a:lnTo>
                  <a:cubicBezTo>
                    <a:pt x="20560" y="603193"/>
                    <a:pt x="0" y="582667"/>
                    <a:pt x="0" y="557497"/>
                  </a:cubicBezTo>
                  <a:lnTo>
                    <a:pt x="0" y="45846"/>
                  </a:lnTo>
                  <a:cubicBezTo>
                    <a:pt x="0" y="20526"/>
                    <a:pt x="20560" y="0"/>
                    <a:pt x="45921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4" name="îṣḻîḍé">
              <a:extLst>
                <a:ext uri="{FF2B5EF4-FFF2-40B4-BE49-F238E27FC236}">
                  <a16:creationId xmlns:a16="http://schemas.microsoft.com/office/drawing/2014/main" id="{716A4AAF-66FE-4462-901E-658C29D84AD8}"/>
                </a:ext>
              </a:extLst>
            </p:cNvPr>
            <p:cNvSpPr/>
            <p:nvPr/>
          </p:nvSpPr>
          <p:spPr bwMode="auto">
            <a:xfrm>
              <a:off x="1959174" y="5587283"/>
              <a:ext cx="377806" cy="377235"/>
            </a:xfrm>
            <a:custGeom>
              <a:avLst/>
              <a:gdLst>
                <a:gd name="T0" fmla="*/ 6624 w 7154"/>
                <a:gd name="T1" fmla="*/ 2037 h 7154"/>
                <a:gd name="T2" fmla="*/ 6106 w 7154"/>
                <a:gd name="T3" fmla="*/ 1048 h 7154"/>
                <a:gd name="T4" fmla="*/ 5117 w 7154"/>
                <a:gd name="T5" fmla="*/ 530 h 7154"/>
                <a:gd name="T6" fmla="*/ 4643 w 7154"/>
                <a:gd name="T7" fmla="*/ 334 h 7154"/>
                <a:gd name="T8" fmla="*/ 3577 w 7154"/>
                <a:gd name="T9" fmla="*/ 0 h 7154"/>
                <a:gd name="T10" fmla="*/ 2511 w 7154"/>
                <a:gd name="T11" fmla="*/ 334 h 7154"/>
                <a:gd name="T12" fmla="*/ 2037 w 7154"/>
                <a:gd name="T13" fmla="*/ 530 h 7154"/>
                <a:gd name="T14" fmla="*/ 1048 w 7154"/>
                <a:gd name="T15" fmla="*/ 1048 h 7154"/>
                <a:gd name="T16" fmla="*/ 530 w 7154"/>
                <a:gd name="T17" fmla="*/ 2037 h 7154"/>
                <a:gd name="T18" fmla="*/ 334 w 7154"/>
                <a:gd name="T19" fmla="*/ 2511 h 7154"/>
                <a:gd name="T20" fmla="*/ 0 w 7154"/>
                <a:gd name="T21" fmla="*/ 3577 h 7154"/>
                <a:gd name="T22" fmla="*/ 334 w 7154"/>
                <a:gd name="T23" fmla="*/ 4643 h 7154"/>
                <a:gd name="T24" fmla="*/ 530 w 7154"/>
                <a:gd name="T25" fmla="*/ 5117 h 7154"/>
                <a:gd name="T26" fmla="*/ 1048 w 7154"/>
                <a:gd name="T27" fmla="*/ 6106 h 7154"/>
                <a:gd name="T28" fmla="*/ 2037 w 7154"/>
                <a:gd name="T29" fmla="*/ 6624 h 7154"/>
                <a:gd name="T30" fmla="*/ 2511 w 7154"/>
                <a:gd name="T31" fmla="*/ 6820 h 7154"/>
                <a:gd name="T32" fmla="*/ 3577 w 7154"/>
                <a:gd name="T33" fmla="*/ 7154 h 7154"/>
                <a:gd name="T34" fmla="*/ 4643 w 7154"/>
                <a:gd name="T35" fmla="*/ 6820 h 7154"/>
                <a:gd name="T36" fmla="*/ 5117 w 7154"/>
                <a:gd name="T37" fmla="*/ 6624 h 7154"/>
                <a:gd name="T38" fmla="*/ 6106 w 7154"/>
                <a:gd name="T39" fmla="*/ 6106 h 7154"/>
                <a:gd name="T40" fmla="*/ 6624 w 7154"/>
                <a:gd name="T41" fmla="*/ 5117 h 7154"/>
                <a:gd name="T42" fmla="*/ 6820 w 7154"/>
                <a:gd name="T43" fmla="*/ 4643 h 7154"/>
                <a:gd name="T44" fmla="*/ 7154 w 7154"/>
                <a:gd name="T45" fmla="*/ 3577 h 7154"/>
                <a:gd name="T46" fmla="*/ 6820 w 7154"/>
                <a:gd name="T47" fmla="*/ 2511 h 7154"/>
                <a:gd name="T48" fmla="*/ 6624 w 7154"/>
                <a:gd name="T49" fmla="*/ 2037 h 7154"/>
                <a:gd name="T50" fmla="*/ 5857 w 7154"/>
                <a:gd name="T51" fmla="*/ 2406 h 7154"/>
                <a:gd name="T52" fmla="*/ 3286 w 7154"/>
                <a:gd name="T53" fmla="*/ 4976 h 7154"/>
                <a:gd name="T54" fmla="*/ 2875 w 7154"/>
                <a:gd name="T55" fmla="*/ 5387 h 7154"/>
                <a:gd name="T56" fmla="*/ 2464 w 7154"/>
                <a:gd name="T57" fmla="*/ 5387 h 7154"/>
                <a:gd name="T58" fmla="*/ 2053 w 7154"/>
                <a:gd name="T59" fmla="*/ 4976 h 7154"/>
                <a:gd name="T60" fmla="*/ 1297 w 7154"/>
                <a:gd name="T61" fmla="*/ 4221 h 7154"/>
                <a:gd name="T62" fmla="*/ 1297 w 7154"/>
                <a:gd name="T63" fmla="*/ 3809 h 7154"/>
                <a:gd name="T64" fmla="*/ 1708 w 7154"/>
                <a:gd name="T65" fmla="*/ 3398 h 7154"/>
                <a:gd name="T66" fmla="*/ 2120 w 7154"/>
                <a:gd name="T67" fmla="*/ 3398 h 7154"/>
                <a:gd name="T68" fmla="*/ 2669 w 7154"/>
                <a:gd name="T69" fmla="*/ 3948 h 7154"/>
                <a:gd name="T70" fmla="*/ 5034 w 7154"/>
                <a:gd name="T71" fmla="*/ 1583 h 7154"/>
                <a:gd name="T72" fmla="*/ 5445 w 7154"/>
                <a:gd name="T73" fmla="*/ 1583 h 7154"/>
                <a:gd name="T74" fmla="*/ 5857 w 7154"/>
                <a:gd name="T75" fmla="*/ 1994 h 7154"/>
                <a:gd name="T76" fmla="*/ 5857 w 7154"/>
                <a:gd name="T77" fmla="*/ 2406 h 7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154" h="7154">
                  <a:moveTo>
                    <a:pt x="6624" y="2037"/>
                  </a:moveTo>
                  <a:cubicBezTo>
                    <a:pt x="6580" y="1703"/>
                    <a:pt x="6403" y="1345"/>
                    <a:pt x="6106" y="1048"/>
                  </a:cubicBezTo>
                  <a:cubicBezTo>
                    <a:pt x="5809" y="751"/>
                    <a:pt x="5451" y="574"/>
                    <a:pt x="5117" y="530"/>
                  </a:cubicBezTo>
                  <a:cubicBezTo>
                    <a:pt x="4966" y="510"/>
                    <a:pt x="4764" y="427"/>
                    <a:pt x="4643" y="334"/>
                  </a:cubicBezTo>
                  <a:cubicBezTo>
                    <a:pt x="4375" y="128"/>
                    <a:pt x="3997" y="0"/>
                    <a:pt x="3577" y="0"/>
                  </a:cubicBezTo>
                  <a:cubicBezTo>
                    <a:pt x="3157" y="0"/>
                    <a:pt x="2779" y="128"/>
                    <a:pt x="2511" y="334"/>
                  </a:cubicBezTo>
                  <a:cubicBezTo>
                    <a:pt x="2390" y="427"/>
                    <a:pt x="2188" y="510"/>
                    <a:pt x="2037" y="530"/>
                  </a:cubicBezTo>
                  <a:cubicBezTo>
                    <a:pt x="1702" y="574"/>
                    <a:pt x="1345" y="751"/>
                    <a:pt x="1048" y="1048"/>
                  </a:cubicBezTo>
                  <a:cubicBezTo>
                    <a:pt x="751" y="1345"/>
                    <a:pt x="574" y="1703"/>
                    <a:pt x="530" y="2037"/>
                  </a:cubicBezTo>
                  <a:cubicBezTo>
                    <a:pt x="510" y="2188"/>
                    <a:pt x="427" y="2390"/>
                    <a:pt x="334" y="2511"/>
                  </a:cubicBezTo>
                  <a:cubicBezTo>
                    <a:pt x="128" y="2779"/>
                    <a:pt x="0" y="3157"/>
                    <a:pt x="0" y="3577"/>
                  </a:cubicBezTo>
                  <a:cubicBezTo>
                    <a:pt x="0" y="3997"/>
                    <a:pt x="128" y="4375"/>
                    <a:pt x="334" y="4643"/>
                  </a:cubicBezTo>
                  <a:cubicBezTo>
                    <a:pt x="427" y="4764"/>
                    <a:pt x="510" y="4966"/>
                    <a:pt x="530" y="5117"/>
                  </a:cubicBezTo>
                  <a:cubicBezTo>
                    <a:pt x="574" y="5451"/>
                    <a:pt x="751" y="5809"/>
                    <a:pt x="1048" y="6106"/>
                  </a:cubicBezTo>
                  <a:cubicBezTo>
                    <a:pt x="1345" y="6403"/>
                    <a:pt x="1702" y="6580"/>
                    <a:pt x="2037" y="6624"/>
                  </a:cubicBezTo>
                  <a:cubicBezTo>
                    <a:pt x="2188" y="6644"/>
                    <a:pt x="2390" y="6727"/>
                    <a:pt x="2511" y="6820"/>
                  </a:cubicBezTo>
                  <a:cubicBezTo>
                    <a:pt x="2779" y="7025"/>
                    <a:pt x="3157" y="7154"/>
                    <a:pt x="3577" y="7154"/>
                  </a:cubicBezTo>
                  <a:cubicBezTo>
                    <a:pt x="3997" y="7154"/>
                    <a:pt x="4375" y="7025"/>
                    <a:pt x="4643" y="6820"/>
                  </a:cubicBezTo>
                  <a:cubicBezTo>
                    <a:pt x="4764" y="6727"/>
                    <a:pt x="4966" y="6644"/>
                    <a:pt x="5117" y="6624"/>
                  </a:cubicBezTo>
                  <a:cubicBezTo>
                    <a:pt x="5451" y="6580"/>
                    <a:pt x="5809" y="6403"/>
                    <a:pt x="6106" y="6106"/>
                  </a:cubicBezTo>
                  <a:cubicBezTo>
                    <a:pt x="6403" y="5809"/>
                    <a:pt x="6580" y="5451"/>
                    <a:pt x="6624" y="5117"/>
                  </a:cubicBezTo>
                  <a:cubicBezTo>
                    <a:pt x="6644" y="4966"/>
                    <a:pt x="6727" y="4764"/>
                    <a:pt x="6820" y="4643"/>
                  </a:cubicBezTo>
                  <a:cubicBezTo>
                    <a:pt x="7026" y="4375"/>
                    <a:pt x="7154" y="3997"/>
                    <a:pt x="7154" y="3577"/>
                  </a:cubicBezTo>
                  <a:cubicBezTo>
                    <a:pt x="7154" y="3157"/>
                    <a:pt x="7026" y="2779"/>
                    <a:pt x="6820" y="2511"/>
                  </a:cubicBezTo>
                  <a:cubicBezTo>
                    <a:pt x="6727" y="2390"/>
                    <a:pt x="6644" y="2188"/>
                    <a:pt x="6624" y="2037"/>
                  </a:cubicBezTo>
                  <a:close/>
                  <a:moveTo>
                    <a:pt x="5857" y="2406"/>
                  </a:moveTo>
                  <a:lnTo>
                    <a:pt x="3286" y="4976"/>
                  </a:lnTo>
                  <a:lnTo>
                    <a:pt x="2875" y="5387"/>
                  </a:lnTo>
                  <a:cubicBezTo>
                    <a:pt x="2762" y="5501"/>
                    <a:pt x="2577" y="5501"/>
                    <a:pt x="2464" y="5387"/>
                  </a:cubicBezTo>
                  <a:lnTo>
                    <a:pt x="2053" y="4976"/>
                  </a:lnTo>
                  <a:lnTo>
                    <a:pt x="1297" y="4221"/>
                  </a:lnTo>
                  <a:cubicBezTo>
                    <a:pt x="1183" y="4107"/>
                    <a:pt x="1183" y="3923"/>
                    <a:pt x="1297" y="3809"/>
                  </a:cubicBezTo>
                  <a:lnTo>
                    <a:pt x="1708" y="3398"/>
                  </a:lnTo>
                  <a:cubicBezTo>
                    <a:pt x="1822" y="3285"/>
                    <a:pt x="2006" y="3285"/>
                    <a:pt x="2120" y="3398"/>
                  </a:cubicBezTo>
                  <a:lnTo>
                    <a:pt x="2669" y="3948"/>
                  </a:lnTo>
                  <a:lnTo>
                    <a:pt x="5034" y="1583"/>
                  </a:lnTo>
                  <a:cubicBezTo>
                    <a:pt x="5148" y="1470"/>
                    <a:pt x="5332" y="1470"/>
                    <a:pt x="5445" y="1583"/>
                  </a:cubicBezTo>
                  <a:lnTo>
                    <a:pt x="5857" y="1994"/>
                  </a:lnTo>
                  <a:cubicBezTo>
                    <a:pt x="5970" y="2108"/>
                    <a:pt x="5970" y="2292"/>
                    <a:pt x="5857" y="2406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5" name="iṧḷiḑé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743264" y="4276135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按分布模式进行配置</a:t>
              </a:r>
              <a:endParaRPr lang="en-US" altLang="zh-CN" sz="1100" dirty="0"/>
            </a:p>
          </p:txBody>
        </p:sp>
        <p:sp>
          <p:nvSpPr>
            <p:cNvPr id="216" name="îṧḻiḑe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197100" y="4926511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>
                  <a:solidFill>
                    <a:schemeClr val="bg1"/>
                  </a:solidFill>
                </a:rPr>
                <a:t>运行第一个实例</a:t>
              </a: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17" name="îṣľïd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2651098" y="5576887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开心</a:t>
              </a:r>
              <a:r>
                <a:rPr lang="en-US" altLang="zh-CN" sz="1100" dirty="0" err="1"/>
                <a:t>ing</a:t>
              </a:r>
              <a:r>
                <a:rPr lang="en-US" altLang="zh-CN" sz="1100" dirty="0"/>
                <a:t>~</a:t>
              </a:r>
            </a:p>
          </p:txBody>
        </p:sp>
        <p:sp>
          <p:nvSpPr>
            <p:cNvPr id="218" name="íṧ1îd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289201" y="3625759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 解压</a:t>
              </a:r>
              <a:endParaRPr lang="en-US" altLang="zh-CN" sz="1100" dirty="0"/>
            </a:p>
          </p:txBody>
        </p:sp>
        <p:sp>
          <p:nvSpPr>
            <p:cNvPr id="219" name="îs1ïḋ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842020" y="2975382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配置环境变量 使之生效</a:t>
              </a:r>
              <a:endParaRPr lang="en-US" altLang="zh-CN" sz="1100" dirty="0"/>
            </a:p>
          </p:txBody>
        </p:sp>
        <p:sp>
          <p:nvSpPr>
            <p:cNvPr id="220" name="íšliḓ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5387990" y="2325006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</a:t>
              </a:r>
              <a:r>
                <a:rPr lang="en-US" altLang="zh-CN" sz="1100" dirty="0"/>
                <a:t> </a:t>
              </a:r>
              <a:r>
                <a:rPr lang="zh-CN" altLang="en-US" sz="1100" dirty="0"/>
                <a:t>解压</a:t>
              </a:r>
              <a:endParaRPr lang="en-US" altLang="zh-CN" sz="1100" dirty="0"/>
            </a:p>
          </p:txBody>
        </p:sp>
      </p:grpSp>
      <p:grpSp>
        <p:nvGrpSpPr>
          <p:cNvPr id="40" name="组合 39">
            <a:extLst>
              <a:ext uri="{FF2B5EF4-FFF2-40B4-BE49-F238E27FC236}">
                <a16:creationId xmlns:a16="http://schemas.microsoft.com/office/drawing/2014/main" id="{B96E670B-4D38-4165-8B23-29F67664C5CB}"/>
              </a:ext>
            </a:extLst>
          </p:cNvPr>
          <p:cNvGrpSpPr/>
          <p:nvPr/>
        </p:nvGrpSpPr>
        <p:grpSpPr>
          <a:xfrm>
            <a:off x="1092994" y="1284288"/>
            <a:ext cx="0" cy="0"/>
            <a:chOff x="1092994" y="1284288"/>
            <a:chExt cx="6958012" cy="4695825"/>
          </a:xfrm>
        </p:grpSpPr>
        <p:pic>
          <p:nvPicPr>
            <p:cNvPr id="41" name="Picture 1" descr="L:\Water\Documents\Tencent Files\1106367305\Image\C2C\S_~PNJLRA$(`BM~E~CRVP@6.jpg">
              <a:extLst>
                <a:ext uri="{FF2B5EF4-FFF2-40B4-BE49-F238E27FC236}">
                  <a16:creationId xmlns:a16="http://schemas.microsoft.com/office/drawing/2014/main" id="{423B5275-9693-4207-A552-62F7583AD1F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r:link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12"/>
            <a:stretch>
              <a:fillRect/>
            </a:stretch>
          </p:blipFill>
          <p:spPr bwMode="auto">
            <a:xfrm>
              <a:off x="1092994" y="1284288"/>
              <a:ext cx="6958012" cy="46958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20D82678-4CBD-4F23-A8F0-13F05DF7CCD8}"/>
                </a:ext>
              </a:extLst>
            </p:cNvPr>
            <p:cNvSpPr/>
            <p:nvPr/>
          </p:nvSpPr>
          <p:spPr>
            <a:xfrm>
              <a:off x="1092994" y="2047875"/>
              <a:ext cx="6958012" cy="3932238"/>
            </a:xfrm>
            <a:prstGeom prst="rect">
              <a:avLst/>
            </a:prstGeom>
            <a:solidFill>
              <a:srgbClr val="2D0A2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77" name="25585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38F4A066-E10F-44BE-965D-0E93F22A5713}"/>
              </a:ext>
            </a:extLst>
          </p:cNvPr>
          <p:cNvGrpSpPr>
            <a:grpSpLocks noChangeAspect="1"/>
          </p:cNvGrpSpPr>
          <p:nvPr/>
        </p:nvGrpSpPr>
        <p:grpSpPr>
          <a:xfrm>
            <a:off x="502061" y="1808162"/>
            <a:ext cx="8139878" cy="3648078"/>
            <a:chOff x="665729" y="1130300"/>
            <a:chExt cx="10853171" cy="4864100"/>
          </a:xfrm>
        </p:grpSpPr>
        <p:sp>
          <p:nvSpPr>
            <p:cNvPr id="78" name="î$1idé">
              <a:extLst>
                <a:ext uri="{FF2B5EF4-FFF2-40B4-BE49-F238E27FC236}">
                  <a16:creationId xmlns:a16="http://schemas.microsoft.com/office/drawing/2014/main" id="{6AF955FD-A37C-4EBF-B73D-52E703EDA735}"/>
                </a:ext>
              </a:extLst>
            </p:cNvPr>
            <p:cNvSpPr txBox="1"/>
            <p:nvPr/>
          </p:nvSpPr>
          <p:spPr>
            <a:xfrm>
              <a:off x="6299202" y="1130300"/>
              <a:ext cx="5219698" cy="60484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SzPct val="25000"/>
              </a:pPr>
              <a:endParaRPr lang="en-US" sz="2000" b="1" dirty="0"/>
            </a:p>
          </p:txBody>
        </p:sp>
        <p:sp>
          <p:nvSpPr>
            <p:cNvPr id="79" name="îşľîďe">
              <a:extLst>
                <a:ext uri="{FF2B5EF4-FFF2-40B4-BE49-F238E27FC236}">
                  <a16:creationId xmlns:a16="http://schemas.microsoft.com/office/drawing/2014/main" id="{3F0BB4A5-5EE2-46D6-9775-C2936DF3ABE9}"/>
                </a:ext>
              </a:extLst>
            </p:cNvPr>
            <p:cNvSpPr/>
            <p:nvPr/>
          </p:nvSpPr>
          <p:spPr bwMode="auto">
            <a:xfrm>
              <a:off x="7364161" y="1591075"/>
              <a:ext cx="1254242" cy="1658266"/>
            </a:xfrm>
            <a:custGeom>
              <a:avLst/>
              <a:gdLst>
                <a:gd name="T0" fmla="*/ 43 w 143"/>
                <a:gd name="T1" fmla="*/ 74 h 189"/>
                <a:gd name="T2" fmla="*/ 65 w 143"/>
                <a:gd name="T3" fmla="*/ 95 h 189"/>
                <a:gd name="T4" fmla="*/ 43 w 143"/>
                <a:gd name="T5" fmla="*/ 115 h 189"/>
                <a:gd name="T6" fmla="*/ 43 w 143"/>
                <a:gd name="T7" fmla="*/ 189 h 189"/>
                <a:gd name="T8" fmla="*/ 143 w 143"/>
                <a:gd name="T9" fmla="*/ 95 h 189"/>
                <a:gd name="T10" fmla="*/ 43 w 143"/>
                <a:gd name="T11" fmla="*/ 0 h 189"/>
                <a:gd name="T12" fmla="*/ 0 w 143"/>
                <a:gd name="T13" fmla="*/ 0 h 189"/>
                <a:gd name="T14" fmla="*/ 46 w 143"/>
                <a:gd name="T15" fmla="*/ 37 h 189"/>
                <a:gd name="T16" fmla="*/ 0 w 143"/>
                <a:gd name="T17" fmla="*/ 74 h 189"/>
                <a:gd name="T18" fmla="*/ 43 w 143"/>
                <a:gd name="T19" fmla="*/ 7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89">
                  <a:moveTo>
                    <a:pt x="43" y="74"/>
                  </a:moveTo>
                  <a:cubicBezTo>
                    <a:pt x="55" y="74"/>
                    <a:pt x="65" y="83"/>
                    <a:pt x="65" y="95"/>
                  </a:cubicBezTo>
                  <a:cubicBezTo>
                    <a:pt x="65" y="106"/>
                    <a:pt x="55" y="115"/>
                    <a:pt x="43" y="115"/>
                  </a:cubicBezTo>
                  <a:cubicBezTo>
                    <a:pt x="43" y="189"/>
                    <a:pt x="43" y="189"/>
                    <a:pt x="43" y="189"/>
                  </a:cubicBezTo>
                  <a:cubicBezTo>
                    <a:pt x="98" y="189"/>
                    <a:pt x="143" y="147"/>
                    <a:pt x="143" y="95"/>
                  </a:cubicBezTo>
                  <a:cubicBezTo>
                    <a:pt x="143" y="42"/>
                    <a:pt x="98" y="0"/>
                    <a:pt x="4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0" y="74"/>
                    <a:pt x="0" y="74"/>
                    <a:pt x="0" y="74"/>
                  </a:cubicBezTo>
                  <a:lnTo>
                    <a:pt x="43" y="7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th-TH"/>
            </a:p>
          </p:txBody>
        </p:sp>
        <p:sp>
          <p:nvSpPr>
            <p:cNvPr id="80" name="ïṡľiḍe">
              <a:extLst>
                <a:ext uri="{FF2B5EF4-FFF2-40B4-BE49-F238E27FC236}">
                  <a16:creationId xmlns:a16="http://schemas.microsoft.com/office/drawing/2014/main" id="{362FCD30-4ADD-473B-B57F-78DE57664C5F}"/>
                </a:ext>
              </a:extLst>
            </p:cNvPr>
            <p:cNvSpPr/>
            <p:nvPr/>
          </p:nvSpPr>
          <p:spPr bwMode="auto">
            <a:xfrm>
              <a:off x="3573598" y="2599868"/>
              <a:ext cx="1079644" cy="1658266"/>
            </a:xfrm>
            <a:custGeom>
              <a:avLst/>
              <a:gdLst>
                <a:gd name="T0" fmla="*/ 93 w 123"/>
                <a:gd name="T1" fmla="*/ 189 h 189"/>
                <a:gd name="T2" fmla="*/ 93 w 123"/>
                <a:gd name="T3" fmla="*/ 114 h 189"/>
                <a:gd name="T4" fmla="*/ 78 w 123"/>
                <a:gd name="T5" fmla="*/ 95 h 189"/>
                <a:gd name="T6" fmla="*/ 100 w 123"/>
                <a:gd name="T7" fmla="*/ 74 h 189"/>
                <a:gd name="T8" fmla="*/ 123 w 123"/>
                <a:gd name="T9" fmla="*/ 74 h 189"/>
                <a:gd name="T10" fmla="*/ 76 w 123"/>
                <a:gd name="T11" fmla="*/ 37 h 189"/>
                <a:gd name="T12" fmla="*/ 123 w 123"/>
                <a:gd name="T13" fmla="*/ 0 h 189"/>
                <a:gd name="T14" fmla="*/ 100 w 123"/>
                <a:gd name="T15" fmla="*/ 0 h 189"/>
                <a:gd name="T16" fmla="*/ 0 w 123"/>
                <a:gd name="T17" fmla="*/ 95 h 189"/>
                <a:gd name="T18" fmla="*/ 93 w 123"/>
                <a:gd name="T19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3" h="189">
                  <a:moveTo>
                    <a:pt x="93" y="189"/>
                  </a:moveTo>
                  <a:cubicBezTo>
                    <a:pt x="93" y="114"/>
                    <a:pt x="93" y="114"/>
                    <a:pt x="93" y="114"/>
                  </a:cubicBezTo>
                  <a:cubicBezTo>
                    <a:pt x="84" y="111"/>
                    <a:pt x="78" y="103"/>
                    <a:pt x="78" y="95"/>
                  </a:cubicBezTo>
                  <a:cubicBezTo>
                    <a:pt x="78" y="83"/>
                    <a:pt x="88" y="74"/>
                    <a:pt x="100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76" y="37"/>
                    <a:pt x="76" y="37"/>
                    <a:pt x="76" y="37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45" y="0"/>
                    <a:pt x="0" y="42"/>
                    <a:pt x="0" y="95"/>
                  </a:cubicBezTo>
                  <a:cubicBezTo>
                    <a:pt x="0" y="144"/>
                    <a:pt x="41" y="185"/>
                    <a:pt x="93" y="189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th-TH"/>
            </a:p>
          </p:txBody>
        </p:sp>
        <p:sp>
          <p:nvSpPr>
            <p:cNvPr id="81" name="ïṡľïḍe">
              <a:extLst>
                <a:ext uri="{FF2B5EF4-FFF2-40B4-BE49-F238E27FC236}">
                  <a16:creationId xmlns:a16="http://schemas.microsoft.com/office/drawing/2014/main" id="{90C5E247-CB49-4C41-A058-737679A444C9}"/>
                </a:ext>
              </a:extLst>
            </p:cNvPr>
            <p:cNvSpPr/>
            <p:nvPr/>
          </p:nvSpPr>
          <p:spPr bwMode="auto">
            <a:xfrm>
              <a:off x="7364161" y="3626373"/>
              <a:ext cx="1254242" cy="1657423"/>
            </a:xfrm>
            <a:custGeom>
              <a:avLst/>
              <a:gdLst>
                <a:gd name="T0" fmla="*/ 43 w 143"/>
                <a:gd name="T1" fmla="*/ 0 h 189"/>
                <a:gd name="T2" fmla="*/ 0 w 143"/>
                <a:gd name="T3" fmla="*/ 0 h 189"/>
                <a:gd name="T4" fmla="*/ 46 w 143"/>
                <a:gd name="T5" fmla="*/ 37 h 189"/>
                <a:gd name="T6" fmla="*/ 0 w 143"/>
                <a:gd name="T7" fmla="*/ 74 h 189"/>
                <a:gd name="T8" fmla="*/ 43 w 143"/>
                <a:gd name="T9" fmla="*/ 74 h 189"/>
                <a:gd name="T10" fmla="*/ 65 w 143"/>
                <a:gd name="T11" fmla="*/ 94 h 189"/>
                <a:gd name="T12" fmla="*/ 43 w 143"/>
                <a:gd name="T13" fmla="*/ 115 h 189"/>
                <a:gd name="T14" fmla="*/ 32 w 143"/>
                <a:gd name="T15" fmla="*/ 115 h 189"/>
                <a:gd name="T16" fmla="*/ 32 w 143"/>
                <a:gd name="T17" fmla="*/ 189 h 189"/>
                <a:gd name="T18" fmla="*/ 43 w 143"/>
                <a:gd name="T19" fmla="*/ 189 h 189"/>
                <a:gd name="T20" fmla="*/ 143 w 143"/>
                <a:gd name="T21" fmla="*/ 94 h 189"/>
                <a:gd name="T22" fmla="*/ 43 w 143"/>
                <a:gd name="T23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3" h="189">
                  <a:moveTo>
                    <a:pt x="4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55" y="74"/>
                    <a:pt x="65" y="83"/>
                    <a:pt x="65" y="94"/>
                  </a:cubicBezTo>
                  <a:cubicBezTo>
                    <a:pt x="65" y="106"/>
                    <a:pt x="55" y="115"/>
                    <a:pt x="43" y="115"/>
                  </a:cubicBezTo>
                  <a:cubicBezTo>
                    <a:pt x="32" y="115"/>
                    <a:pt x="32" y="115"/>
                    <a:pt x="32" y="115"/>
                  </a:cubicBezTo>
                  <a:cubicBezTo>
                    <a:pt x="32" y="189"/>
                    <a:pt x="32" y="189"/>
                    <a:pt x="32" y="189"/>
                  </a:cubicBezTo>
                  <a:cubicBezTo>
                    <a:pt x="43" y="189"/>
                    <a:pt x="43" y="189"/>
                    <a:pt x="43" y="189"/>
                  </a:cubicBezTo>
                  <a:cubicBezTo>
                    <a:pt x="98" y="189"/>
                    <a:pt x="143" y="146"/>
                    <a:pt x="143" y="94"/>
                  </a:cubicBezTo>
                  <a:cubicBezTo>
                    <a:pt x="143" y="42"/>
                    <a:pt x="98" y="0"/>
                    <a:pt x="43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th-TH"/>
            </a:p>
          </p:txBody>
        </p:sp>
        <p:sp>
          <p:nvSpPr>
            <p:cNvPr id="82" name="išlîḍe">
              <a:extLst>
                <a:ext uri="{FF2B5EF4-FFF2-40B4-BE49-F238E27FC236}">
                  <a16:creationId xmlns:a16="http://schemas.microsoft.com/office/drawing/2014/main" id="{EA76A3D9-4A71-4591-9784-E80B7BEEE770}"/>
                </a:ext>
              </a:extLst>
            </p:cNvPr>
            <p:cNvSpPr/>
            <p:nvPr/>
          </p:nvSpPr>
          <p:spPr bwMode="auto">
            <a:xfrm>
              <a:off x="4301514" y="1538780"/>
              <a:ext cx="3378105" cy="754064"/>
            </a:xfrm>
            <a:custGeom>
              <a:avLst/>
              <a:gdLst>
                <a:gd name="T0" fmla="*/ 4005 w 4005"/>
                <a:gd name="T1" fmla="*/ 447 h 894"/>
                <a:gd name="T2" fmla="*/ 3454 w 4005"/>
                <a:gd name="T3" fmla="*/ 0 h 894"/>
                <a:gd name="T4" fmla="*/ 3454 w 4005"/>
                <a:gd name="T5" fmla="*/ 62 h 894"/>
                <a:gd name="T6" fmla="*/ 0 w 4005"/>
                <a:gd name="T7" fmla="*/ 62 h 894"/>
                <a:gd name="T8" fmla="*/ 0 w 4005"/>
                <a:gd name="T9" fmla="*/ 832 h 894"/>
                <a:gd name="T10" fmla="*/ 3454 w 4005"/>
                <a:gd name="T11" fmla="*/ 832 h 894"/>
                <a:gd name="T12" fmla="*/ 3454 w 4005"/>
                <a:gd name="T13" fmla="*/ 894 h 894"/>
                <a:gd name="T14" fmla="*/ 4005 w 4005"/>
                <a:gd name="T15" fmla="*/ 447 h 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05" h="894">
                  <a:moveTo>
                    <a:pt x="4005" y="447"/>
                  </a:moveTo>
                  <a:lnTo>
                    <a:pt x="3454" y="0"/>
                  </a:lnTo>
                  <a:lnTo>
                    <a:pt x="3454" y="62"/>
                  </a:lnTo>
                  <a:lnTo>
                    <a:pt x="0" y="62"/>
                  </a:lnTo>
                  <a:lnTo>
                    <a:pt x="0" y="832"/>
                  </a:lnTo>
                  <a:lnTo>
                    <a:pt x="3454" y="832"/>
                  </a:lnTo>
                  <a:lnTo>
                    <a:pt x="3454" y="894"/>
                  </a:lnTo>
                  <a:lnTo>
                    <a:pt x="4005" y="44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th-TH"/>
            </a:p>
          </p:txBody>
        </p:sp>
        <p:sp>
          <p:nvSpPr>
            <p:cNvPr id="83" name="ísḻiḍê">
              <a:extLst>
                <a:ext uri="{FF2B5EF4-FFF2-40B4-BE49-F238E27FC236}">
                  <a16:creationId xmlns:a16="http://schemas.microsoft.com/office/drawing/2014/main" id="{3BE5C3DA-9830-4EA5-8852-A42D56AC94AE}"/>
                </a:ext>
              </a:extLst>
            </p:cNvPr>
            <p:cNvSpPr/>
            <p:nvPr/>
          </p:nvSpPr>
          <p:spPr bwMode="auto">
            <a:xfrm>
              <a:off x="4328504" y="2547572"/>
              <a:ext cx="3324967" cy="754064"/>
            </a:xfrm>
            <a:custGeom>
              <a:avLst/>
              <a:gdLst>
                <a:gd name="T0" fmla="*/ 561 w 3942"/>
                <a:gd name="T1" fmla="*/ 0 h 894"/>
                <a:gd name="T2" fmla="*/ 0 w 3942"/>
                <a:gd name="T3" fmla="*/ 447 h 894"/>
                <a:gd name="T4" fmla="*/ 561 w 3942"/>
                <a:gd name="T5" fmla="*/ 894 h 894"/>
                <a:gd name="T6" fmla="*/ 561 w 3942"/>
                <a:gd name="T7" fmla="*/ 832 h 894"/>
                <a:gd name="T8" fmla="*/ 3942 w 3942"/>
                <a:gd name="T9" fmla="*/ 832 h 894"/>
                <a:gd name="T10" fmla="*/ 3942 w 3942"/>
                <a:gd name="T11" fmla="*/ 62 h 894"/>
                <a:gd name="T12" fmla="*/ 561 w 3942"/>
                <a:gd name="T13" fmla="*/ 62 h 894"/>
                <a:gd name="T14" fmla="*/ 561 w 3942"/>
                <a:gd name="T15" fmla="*/ 0 h 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42" h="894">
                  <a:moveTo>
                    <a:pt x="561" y="0"/>
                  </a:moveTo>
                  <a:lnTo>
                    <a:pt x="0" y="447"/>
                  </a:lnTo>
                  <a:lnTo>
                    <a:pt x="561" y="894"/>
                  </a:lnTo>
                  <a:lnTo>
                    <a:pt x="561" y="832"/>
                  </a:lnTo>
                  <a:lnTo>
                    <a:pt x="3942" y="832"/>
                  </a:lnTo>
                  <a:lnTo>
                    <a:pt x="3942" y="62"/>
                  </a:lnTo>
                  <a:lnTo>
                    <a:pt x="561" y="62"/>
                  </a:lnTo>
                  <a:lnTo>
                    <a:pt x="56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th-TH"/>
            </a:p>
          </p:txBody>
        </p:sp>
        <p:sp>
          <p:nvSpPr>
            <p:cNvPr id="84" name="îš1îḓé">
              <a:extLst>
                <a:ext uri="{FF2B5EF4-FFF2-40B4-BE49-F238E27FC236}">
                  <a16:creationId xmlns:a16="http://schemas.microsoft.com/office/drawing/2014/main" id="{8B46D48A-C45F-4571-99BF-B7D08A9FF079}"/>
                </a:ext>
              </a:extLst>
            </p:cNvPr>
            <p:cNvSpPr/>
            <p:nvPr/>
          </p:nvSpPr>
          <p:spPr bwMode="auto">
            <a:xfrm>
              <a:off x="4460087" y="3556365"/>
              <a:ext cx="3219532" cy="754064"/>
            </a:xfrm>
            <a:custGeom>
              <a:avLst/>
              <a:gdLst>
                <a:gd name="T0" fmla="*/ 3817 w 3817"/>
                <a:gd name="T1" fmla="*/ 447 h 894"/>
                <a:gd name="T2" fmla="*/ 3266 w 3817"/>
                <a:gd name="T3" fmla="*/ 0 h 894"/>
                <a:gd name="T4" fmla="*/ 3266 w 3817"/>
                <a:gd name="T5" fmla="*/ 62 h 894"/>
                <a:gd name="T6" fmla="*/ 0 w 3817"/>
                <a:gd name="T7" fmla="*/ 62 h 894"/>
                <a:gd name="T8" fmla="*/ 0 w 3817"/>
                <a:gd name="T9" fmla="*/ 832 h 894"/>
                <a:gd name="T10" fmla="*/ 3266 w 3817"/>
                <a:gd name="T11" fmla="*/ 832 h 894"/>
                <a:gd name="T12" fmla="*/ 3266 w 3817"/>
                <a:gd name="T13" fmla="*/ 894 h 894"/>
                <a:gd name="T14" fmla="*/ 3817 w 3817"/>
                <a:gd name="T15" fmla="*/ 447 h 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17" h="894">
                  <a:moveTo>
                    <a:pt x="3817" y="447"/>
                  </a:moveTo>
                  <a:lnTo>
                    <a:pt x="3266" y="0"/>
                  </a:lnTo>
                  <a:lnTo>
                    <a:pt x="3266" y="62"/>
                  </a:lnTo>
                  <a:lnTo>
                    <a:pt x="0" y="62"/>
                  </a:lnTo>
                  <a:lnTo>
                    <a:pt x="0" y="832"/>
                  </a:lnTo>
                  <a:lnTo>
                    <a:pt x="3266" y="832"/>
                  </a:lnTo>
                  <a:lnTo>
                    <a:pt x="3266" y="894"/>
                  </a:lnTo>
                  <a:lnTo>
                    <a:pt x="3817" y="447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th-TH"/>
            </a:p>
          </p:txBody>
        </p:sp>
        <p:sp>
          <p:nvSpPr>
            <p:cNvPr id="85" name="ïśļide">
              <a:extLst>
                <a:ext uri="{FF2B5EF4-FFF2-40B4-BE49-F238E27FC236}">
                  <a16:creationId xmlns:a16="http://schemas.microsoft.com/office/drawing/2014/main" id="{F4699D7E-BC92-4635-B0E0-CDE7392CADC6}"/>
                </a:ext>
              </a:extLst>
            </p:cNvPr>
            <p:cNvSpPr/>
            <p:nvPr/>
          </p:nvSpPr>
          <p:spPr bwMode="auto">
            <a:xfrm>
              <a:off x="4275366" y="4565157"/>
              <a:ext cx="3272671" cy="754064"/>
            </a:xfrm>
            <a:custGeom>
              <a:avLst/>
              <a:gdLst>
                <a:gd name="T0" fmla="*/ 562 w 3880"/>
                <a:gd name="T1" fmla="*/ 0 h 894"/>
                <a:gd name="T2" fmla="*/ 0 w 3880"/>
                <a:gd name="T3" fmla="*/ 447 h 894"/>
                <a:gd name="T4" fmla="*/ 562 w 3880"/>
                <a:gd name="T5" fmla="*/ 894 h 894"/>
                <a:gd name="T6" fmla="*/ 562 w 3880"/>
                <a:gd name="T7" fmla="*/ 831 h 894"/>
                <a:gd name="T8" fmla="*/ 3880 w 3880"/>
                <a:gd name="T9" fmla="*/ 831 h 894"/>
                <a:gd name="T10" fmla="*/ 3880 w 3880"/>
                <a:gd name="T11" fmla="*/ 62 h 894"/>
                <a:gd name="T12" fmla="*/ 562 w 3880"/>
                <a:gd name="T13" fmla="*/ 62 h 894"/>
                <a:gd name="T14" fmla="*/ 562 w 3880"/>
                <a:gd name="T15" fmla="*/ 0 h 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80" h="894">
                  <a:moveTo>
                    <a:pt x="562" y="0"/>
                  </a:moveTo>
                  <a:lnTo>
                    <a:pt x="0" y="447"/>
                  </a:lnTo>
                  <a:lnTo>
                    <a:pt x="562" y="894"/>
                  </a:lnTo>
                  <a:lnTo>
                    <a:pt x="562" y="831"/>
                  </a:lnTo>
                  <a:lnTo>
                    <a:pt x="3880" y="831"/>
                  </a:lnTo>
                  <a:lnTo>
                    <a:pt x="3880" y="62"/>
                  </a:lnTo>
                  <a:lnTo>
                    <a:pt x="562" y="62"/>
                  </a:lnTo>
                  <a:lnTo>
                    <a:pt x="562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th-TH"/>
            </a:p>
          </p:txBody>
        </p:sp>
        <p:sp>
          <p:nvSpPr>
            <p:cNvPr id="86" name="islidè">
              <a:extLst>
                <a:ext uri="{FF2B5EF4-FFF2-40B4-BE49-F238E27FC236}">
                  <a16:creationId xmlns:a16="http://schemas.microsoft.com/office/drawing/2014/main" id="{F214C5B0-901C-4F5D-8A31-D9B9C615590C}"/>
                </a:ext>
              </a:extLst>
            </p:cNvPr>
            <p:cNvSpPr/>
            <p:nvPr/>
          </p:nvSpPr>
          <p:spPr>
            <a:xfrm>
              <a:off x="4305300" y="1600199"/>
              <a:ext cx="2882900" cy="635001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000" b="1" dirty="0">
                  <a:solidFill>
                    <a:schemeClr val="bg1"/>
                  </a:solidFill>
                </a:rPr>
                <a:t>放入文件</a:t>
              </a:r>
            </a:p>
          </p:txBody>
        </p:sp>
        <p:sp>
          <p:nvSpPr>
            <p:cNvPr id="87" name="îṣḷiďe">
              <a:extLst>
                <a:ext uri="{FF2B5EF4-FFF2-40B4-BE49-F238E27FC236}">
                  <a16:creationId xmlns:a16="http://schemas.microsoft.com/office/drawing/2014/main" id="{0BF60261-CA0A-4B8A-8FAF-8347CB35D7F7}"/>
                </a:ext>
              </a:extLst>
            </p:cNvPr>
            <p:cNvSpPr/>
            <p:nvPr/>
          </p:nvSpPr>
          <p:spPr>
            <a:xfrm>
              <a:off x="4770571" y="2607103"/>
              <a:ext cx="2882900" cy="635001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000" b="1" dirty="0">
                  <a:solidFill>
                    <a:schemeClr val="bg1"/>
                  </a:solidFill>
                </a:rPr>
                <a:t>等待。。。</a:t>
              </a:r>
            </a:p>
          </p:txBody>
        </p:sp>
        <p:sp>
          <p:nvSpPr>
            <p:cNvPr id="88" name="îSľíḋê">
              <a:extLst>
                <a:ext uri="{FF2B5EF4-FFF2-40B4-BE49-F238E27FC236}">
                  <a16:creationId xmlns:a16="http://schemas.microsoft.com/office/drawing/2014/main" id="{8CCD0E15-CDFB-4CCA-93DA-ABB3934A263D}"/>
                </a:ext>
              </a:extLst>
            </p:cNvPr>
            <p:cNvSpPr/>
            <p:nvPr/>
          </p:nvSpPr>
          <p:spPr>
            <a:xfrm>
              <a:off x="4460087" y="3608659"/>
              <a:ext cx="2882900" cy="635001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000" b="1" dirty="0">
                  <a:solidFill>
                    <a:schemeClr val="bg1"/>
                  </a:solidFill>
                </a:rPr>
                <a:t>运行下一个示例？</a:t>
              </a:r>
            </a:p>
          </p:txBody>
        </p:sp>
        <p:sp>
          <p:nvSpPr>
            <p:cNvPr id="89" name="íš1îḍé">
              <a:extLst>
                <a:ext uri="{FF2B5EF4-FFF2-40B4-BE49-F238E27FC236}">
                  <a16:creationId xmlns:a16="http://schemas.microsoft.com/office/drawing/2014/main" id="{2FF74FEA-A9DE-4C78-AAFC-C088B0393C11}"/>
                </a:ext>
              </a:extLst>
            </p:cNvPr>
            <p:cNvSpPr/>
            <p:nvPr/>
          </p:nvSpPr>
          <p:spPr>
            <a:xfrm>
              <a:off x="4665138" y="4611625"/>
              <a:ext cx="2882900" cy="635001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000" b="1" dirty="0">
                  <a:solidFill>
                    <a:schemeClr val="bg1"/>
                  </a:solidFill>
                </a:rPr>
                <a:t>。。。</a:t>
              </a:r>
            </a:p>
          </p:txBody>
        </p:sp>
        <p:grpSp>
          <p:nvGrpSpPr>
            <p:cNvPr id="90" name="ïšlíḍè">
              <a:extLst>
                <a:ext uri="{FF2B5EF4-FFF2-40B4-BE49-F238E27FC236}">
                  <a16:creationId xmlns:a16="http://schemas.microsoft.com/office/drawing/2014/main" id="{EEA52047-FE23-435F-9DDE-239B77D806AB}"/>
                </a:ext>
              </a:extLst>
            </p:cNvPr>
            <p:cNvGrpSpPr/>
            <p:nvPr/>
          </p:nvGrpSpPr>
          <p:grpSpPr>
            <a:xfrm>
              <a:off x="665729" y="1247642"/>
              <a:ext cx="2623571" cy="4746758"/>
              <a:chOff x="665729" y="1247642"/>
              <a:chExt cx="2623571" cy="4746758"/>
            </a:xfrm>
          </p:grpSpPr>
          <p:cxnSp>
            <p:nvCxnSpPr>
              <p:cNvPr id="104" name="直接连接符 103">
                <a:extLst>
                  <a:ext uri="{FF2B5EF4-FFF2-40B4-BE49-F238E27FC236}">
                    <a16:creationId xmlns:a16="http://schemas.microsoft.com/office/drawing/2014/main" id="{105D08B8-865D-4763-8955-1B4A3CCCAF84}"/>
                  </a:ext>
                </a:extLst>
              </p:cNvPr>
              <p:cNvCxnSpPr/>
              <p:nvPr/>
            </p:nvCxnSpPr>
            <p:spPr>
              <a:xfrm>
                <a:off x="669925" y="3473973"/>
                <a:ext cx="2619375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prstDash val="dash"/>
                <a:round/>
                <a:headEnd type="oval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05" name="îšļîdê">
                <a:extLst>
                  <a:ext uri="{FF2B5EF4-FFF2-40B4-BE49-F238E27FC236}">
                    <a16:creationId xmlns:a16="http://schemas.microsoft.com/office/drawing/2014/main" id="{50370903-FE47-4784-96DC-BFA359606200}"/>
                  </a:ext>
                </a:extLst>
              </p:cNvPr>
              <p:cNvGrpSpPr/>
              <p:nvPr/>
            </p:nvGrpSpPr>
            <p:grpSpPr>
              <a:xfrm>
                <a:off x="665729" y="2281160"/>
                <a:ext cx="2434088" cy="1071640"/>
                <a:chOff x="2082804" y="1329817"/>
                <a:chExt cx="2334087" cy="1071640"/>
              </a:xfrm>
            </p:grpSpPr>
            <p:sp>
              <p:nvSpPr>
                <p:cNvPr id="115" name="iSļïde">
                  <a:extLst>
                    <a:ext uri="{FF2B5EF4-FFF2-40B4-BE49-F238E27FC236}">
                      <a16:creationId xmlns:a16="http://schemas.microsoft.com/office/drawing/2014/main" id="{F82FCBF0-FE8F-421E-BB84-E1C682BAF52C}"/>
                    </a:ext>
                  </a:extLst>
                </p:cNvPr>
                <p:cNvSpPr txBox="1"/>
                <p:nvPr/>
              </p:nvSpPr>
              <p:spPr>
                <a:xfrm>
                  <a:off x="2082804" y="1677152"/>
                  <a:ext cx="2334087" cy="724305"/>
                </a:xfrm>
                <a:prstGeom prst="rect">
                  <a:avLst/>
                </a:prstGeom>
                <a:noFill/>
              </p:spPr>
              <p:txBody>
                <a:bodyPr wrap="square" lIns="144000" tIns="0" rIns="144000" bIns="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 algn="ctr" defTabSz="914400">
                    <a:lnSpc>
                      <a:spcPct val="120000"/>
                    </a:lnSpc>
                    <a:spcBef>
                      <a:spcPct val="0"/>
                    </a:spcBef>
                    <a:defRPr/>
                  </a:pPr>
                  <a:r>
                    <a:rPr lang="en-US" altLang="zh-CN" sz="1100" dirty="0" err="1">
                      <a:solidFill>
                        <a:schemeClr val="dk1">
                          <a:lumMod val="100000"/>
                        </a:schemeClr>
                      </a:solidFill>
                    </a:rPr>
                    <a:t>mkdir</a:t>
                  </a:r>
                  <a:r>
                    <a:rPr lang="en-US" altLang="zh-CN" sz="1100" dirty="0">
                      <a:solidFill>
                        <a:schemeClr val="dk1">
                          <a:lumMod val="100000"/>
                        </a:schemeClr>
                      </a:solidFill>
                    </a:rPr>
                    <a:t> input</a:t>
                  </a:r>
                </a:p>
                <a:p>
                  <a:pPr lvl="0" algn="ctr" defTabSz="914400">
                    <a:lnSpc>
                      <a:spcPct val="120000"/>
                    </a:lnSpc>
                    <a:spcBef>
                      <a:spcPct val="0"/>
                    </a:spcBef>
                    <a:defRPr/>
                  </a:pPr>
                  <a:r>
                    <a:rPr lang="zh-CN" altLang="en-US" sz="1100" dirty="0">
                      <a:solidFill>
                        <a:schemeClr val="dk1">
                          <a:lumMod val="100000"/>
                        </a:schemeClr>
                      </a:solidFill>
                    </a:rPr>
                    <a:t>一般创建在</a:t>
                  </a:r>
                  <a:r>
                    <a:rPr lang="en-US" altLang="zh-CN" sz="1100" dirty="0" err="1">
                      <a:solidFill>
                        <a:schemeClr val="dk1">
                          <a:lumMod val="100000"/>
                        </a:schemeClr>
                      </a:solidFill>
                    </a:rPr>
                    <a:t>hadoop</a:t>
                  </a:r>
                  <a:r>
                    <a:rPr lang="zh-CN" altLang="en-US" sz="1100" dirty="0">
                      <a:solidFill>
                        <a:schemeClr val="dk1">
                          <a:lumMod val="100000"/>
                        </a:schemeClr>
                      </a:solidFill>
                    </a:rPr>
                    <a:t>下</a:t>
                  </a:r>
                </a:p>
              </p:txBody>
            </p:sp>
            <p:sp>
              <p:nvSpPr>
                <p:cNvPr id="116" name="îşḷiḑè">
                  <a:extLst>
                    <a:ext uri="{FF2B5EF4-FFF2-40B4-BE49-F238E27FC236}">
                      <a16:creationId xmlns:a16="http://schemas.microsoft.com/office/drawing/2014/main" id="{21F14BC9-69B5-4382-BB01-62AD00D333DE}"/>
                    </a:ext>
                  </a:extLst>
                </p:cNvPr>
                <p:cNvSpPr/>
                <p:nvPr/>
              </p:nvSpPr>
              <p:spPr>
                <a:xfrm>
                  <a:off x="2082804" y="1329817"/>
                  <a:ext cx="2334087" cy="335557"/>
                </a:xfrm>
                <a:prstGeom prst="rect">
                  <a:avLst/>
                </a:prstGeom>
              </p:spPr>
              <p:txBody>
                <a:bodyPr wrap="none" lIns="144000" tIns="0" rIns="144000" bIns="0" anchor="t" anchorCtr="0">
                  <a:normAutofit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zh-CN" altLang="en-US" b="1" dirty="0"/>
                    <a:t>建立</a:t>
                  </a:r>
                  <a:r>
                    <a:rPr lang="en-US" altLang="zh-CN" b="1" dirty="0"/>
                    <a:t>input</a:t>
                  </a:r>
                  <a:r>
                    <a:rPr lang="zh-CN" altLang="en-US" b="1" dirty="0"/>
                    <a:t>文件夹</a:t>
                  </a:r>
                </a:p>
              </p:txBody>
            </p:sp>
          </p:grpSp>
          <p:grpSp>
            <p:nvGrpSpPr>
              <p:cNvPr id="106" name="íṧḻiḓé">
                <a:extLst>
                  <a:ext uri="{FF2B5EF4-FFF2-40B4-BE49-F238E27FC236}">
                    <a16:creationId xmlns:a16="http://schemas.microsoft.com/office/drawing/2014/main" id="{382EE415-007D-4126-A6CC-B1C39C55E604}"/>
                  </a:ext>
                </a:extLst>
              </p:cNvPr>
              <p:cNvGrpSpPr/>
              <p:nvPr/>
            </p:nvGrpSpPr>
            <p:grpSpPr>
              <a:xfrm>
                <a:off x="1471472" y="1247642"/>
                <a:ext cx="822599" cy="822598"/>
                <a:chOff x="1471472" y="2647236"/>
                <a:chExt cx="822599" cy="822598"/>
              </a:xfrm>
            </p:grpSpPr>
            <p:sp>
              <p:nvSpPr>
                <p:cNvPr id="113" name="ïśḻîḍé">
                  <a:extLst>
                    <a:ext uri="{FF2B5EF4-FFF2-40B4-BE49-F238E27FC236}">
                      <a16:creationId xmlns:a16="http://schemas.microsoft.com/office/drawing/2014/main" id="{969568BC-F6E9-4F06-9C9F-D8576AF7406D}"/>
                    </a:ext>
                  </a:extLst>
                </p:cNvPr>
                <p:cNvSpPr/>
                <p:nvPr/>
              </p:nvSpPr>
              <p:spPr>
                <a:xfrm>
                  <a:off x="1471472" y="2647236"/>
                  <a:ext cx="822599" cy="822598"/>
                </a:xfrm>
                <a:prstGeom prst="ellipse">
                  <a:avLst/>
                </a:prstGeom>
                <a:solidFill>
                  <a:schemeClr val="accent1"/>
                </a:solidFill>
                <a:ln w="571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dirty="0"/>
                </a:p>
              </p:txBody>
            </p:sp>
            <p:sp>
              <p:nvSpPr>
                <p:cNvPr id="114" name="iŝḻïdé">
                  <a:extLst>
                    <a:ext uri="{FF2B5EF4-FFF2-40B4-BE49-F238E27FC236}">
                      <a16:creationId xmlns:a16="http://schemas.microsoft.com/office/drawing/2014/main" id="{615CA6BD-AB4A-4E38-A5A8-7D83434ABD1C}"/>
                    </a:ext>
                  </a:extLst>
                </p:cNvPr>
                <p:cNvSpPr/>
                <p:nvPr/>
              </p:nvSpPr>
              <p:spPr bwMode="auto">
                <a:xfrm>
                  <a:off x="1670570" y="2814062"/>
                  <a:ext cx="424401" cy="488946"/>
                </a:xfrm>
                <a:custGeom>
                  <a:avLst/>
                  <a:gdLst>
                    <a:gd name="connsiteX0" fmla="*/ 373273 h 605239"/>
                    <a:gd name="connsiteY0" fmla="*/ 373273 h 605239"/>
                    <a:gd name="connsiteX1" fmla="*/ 373273 h 605239"/>
                    <a:gd name="connsiteY1" fmla="*/ 373273 h 605239"/>
                    <a:gd name="connsiteX2" fmla="*/ 373273 h 605239"/>
                    <a:gd name="connsiteY2" fmla="*/ 373273 h 605239"/>
                    <a:gd name="connsiteX3" fmla="*/ 373273 h 605239"/>
                    <a:gd name="connsiteY3" fmla="*/ 373273 h 605239"/>
                    <a:gd name="connsiteX4" fmla="*/ 373273 h 605239"/>
                    <a:gd name="connsiteY4" fmla="*/ 373273 h 605239"/>
                    <a:gd name="connsiteX5" fmla="*/ 373273 h 605239"/>
                    <a:gd name="connsiteY5" fmla="*/ 373273 h 605239"/>
                    <a:gd name="connsiteX6" fmla="*/ 373273 h 605239"/>
                    <a:gd name="connsiteY6" fmla="*/ 373273 h 605239"/>
                    <a:gd name="connsiteX7" fmla="*/ 373273 h 605239"/>
                    <a:gd name="connsiteY7" fmla="*/ 373273 h 605239"/>
                    <a:gd name="connsiteX8" fmla="*/ 373273 h 605239"/>
                    <a:gd name="connsiteY8" fmla="*/ 373273 h 605239"/>
                    <a:gd name="connsiteX9" fmla="*/ 373273 h 605239"/>
                    <a:gd name="connsiteY9" fmla="*/ 373273 h 605239"/>
                    <a:gd name="connsiteX10" fmla="*/ 373273 h 605239"/>
                    <a:gd name="connsiteY10" fmla="*/ 373273 h 605239"/>
                    <a:gd name="connsiteX11" fmla="*/ 373273 h 605239"/>
                    <a:gd name="connsiteY11" fmla="*/ 373273 h 605239"/>
                    <a:gd name="connsiteX12" fmla="*/ 373273 h 605239"/>
                    <a:gd name="connsiteY12" fmla="*/ 373273 h 605239"/>
                    <a:gd name="connsiteX13" fmla="*/ 373273 h 605239"/>
                    <a:gd name="connsiteY13" fmla="*/ 373273 h 605239"/>
                    <a:gd name="connsiteX14" fmla="*/ 373273 h 605239"/>
                    <a:gd name="connsiteY14" fmla="*/ 373273 h 605239"/>
                    <a:gd name="connsiteX15" fmla="*/ 373273 h 605239"/>
                    <a:gd name="connsiteY15" fmla="*/ 373273 h 605239"/>
                    <a:gd name="connsiteX16" fmla="*/ 373273 h 605239"/>
                    <a:gd name="connsiteY16" fmla="*/ 373273 h 605239"/>
                    <a:gd name="connsiteX17" fmla="*/ 373273 h 605239"/>
                    <a:gd name="connsiteY17" fmla="*/ 373273 h 605239"/>
                    <a:gd name="connsiteX18" fmla="*/ 373273 h 605239"/>
                    <a:gd name="connsiteY18" fmla="*/ 373273 h 605239"/>
                    <a:gd name="connsiteX19" fmla="*/ 373273 h 605239"/>
                    <a:gd name="connsiteY19" fmla="*/ 373273 h 605239"/>
                    <a:gd name="connsiteX20" fmla="*/ 373273 h 605239"/>
                    <a:gd name="connsiteY20" fmla="*/ 373273 h 605239"/>
                    <a:gd name="connsiteX21" fmla="*/ 373273 h 605239"/>
                    <a:gd name="connsiteY21" fmla="*/ 373273 h 605239"/>
                    <a:gd name="connsiteX22" fmla="*/ 373273 h 605239"/>
                    <a:gd name="connsiteY22" fmla="*/ 373273 h 605239"/>
                    <a:gd name="connsiteX23" fmla="*/ 373273 h 605239"/>
                    <a:gd name="connsiteY23" fmla="*/ 373273 h 605239"/>
                    <a:gd name="connsiteX24" fmla="*/ 373273 h 605239"/>
                    <a:gd name="connsiteY24" fmla="*/ 373273 h 605239"/>
                    <a:gd name="connsiteX25" fmla="*/ 373273 h 605239"/>
                    <a:gd name="connsiteY25" fmla="*/ 373273 h 605239"/>
                    <a:gd name="connsiteX26" fmla="*/ 373273 h 605239"/>
                    <a:gd name="connsiteY26" fmla="*/ 373273 h 605239"/>
                    <a:gd name="connsiteX27" fmla="*/ 373273 h 605239"/>
                    <a:gd name="connsiteY27" fmla="*/ 373273 h 605239"/>
                    <a:gd name="connsiteX28" fmla="*/ 373273 h 605239"/>
                    <a:gd name="connsiteY28" fmla="*/ 373273 h 605239"/>
                    <a:gd name="connsiteX29" fmla="*/ 373273 h 605239"/>
                    <a:gd name="connsiteY29" fmla="*/ 373273 h 605239"/>
                    <a:gd name="connsiteX30" fmla="*/ 373273 h 605239"/>
                    <a:gd name="connsiteY30" fmla="*/ 373273 h 605239"/>
                    <a:gd name="connsiteX31" fmla="*/ 373273 h 605239"/>
                    <a:gd name="connsiteY31" fmla="*/ 373273 h 605239"/>
                    <a:gd name="connsiteX32" fmla="*/ 373273 h 605239"/>
                    <a:gd name="connsiteY32" fmla="*/ 373273 h 605239"/>
                    <a:gd name="connsiteX33" fmla="*/ 373273 h 605239"/>
                    <a:gd name="connsiteY33" fmla="*/ 373273 h 605239"/>
                    <a:gd name="connsiteX34" fmla="*/ 373273 h 605239"/>
                    <a:gd name="connsiteY34" fmla="*/ 373273 h 605239"/>
                    <a:gd name="connsiteX35" fmla="*/ 373273 h 605239"/>
                    <a:gd name="connsiteY35" fmla="*/ 373273 h 605239"/>
                    <a:gd name="connsiteX36" fmla="*/ 373273 h 605239"/>
                    <a:gd name="connsiteY36" fmla="*/ 373273 h 605239"/>
                    <a:gd name="connsiteX37" fmla="*/ 373273 h 605239"/>
                    <a:gd name="connsiteY37" fmla="*/ 373273 h 605239"/>
                    <a:gd name="connsiteX38" fmla="*/ 373273 h 605239"/>
                    <a:gd name="connsiteY38" fmla="*/ 373273 h 605239"/>
                    <a:gd name="connsiteX39" fmla="*/ 373273 h 605239"/>
                    <a:gd name="connsiteY39" fmla="*/ 373273 h 605239"/>
                    <a:gd name="connsiteX40" fmla="*/ 373273 h 605239"/>
                    <a:gd name="connsiteY40" fmla="*/ 373273 h 605239"/>
                    <a:gd name="connsiteX41" fmla="*/ 373273 h 605239"/>
                    <a:gd name="connsiteY41" fmla="*/ 373273 h 605239"/>
                    <a:gd name="connsiteX42" fmla="*/ 373273 h 605239"/>
                    <a:gd name="connsiteY42" fmla="*/ 373273 h 605239"/>
                    <a:gd name="connsiteX43" fmla="*/ 373273 h 605239"/>
                    <a:gd name="connsiteY43" fmla="*/ 373273 h 605239"/>
                    <a:gd name="connsiteX44" fmla="*/ 373273 h 605239"/>
                    <a:gd name="connsiteY44" fmla="*/ 373273 h 605239"/>
                    <a:gd name="connsiteX45" fmla="*/ 373273 h 605239"/>
                    <a:gd name="connsiteY45" fmla="*/ 373273 h 605239"/>
                    <a:gd name="connsiteX46" fmla="*/ 373273 h 605239"/>
                    <a:gd name="connsiteY46" fmla="*/ 373273 h 605239"/>
                    <a:gd name="connsiteX47" fmla="*/ 373273 h 605239"/>
                    <a:gd name="connsiteY47" fmla="*/ 373273 h 605239"/>
                    <a:gd name="connsiteX48" fmla="*/ 373273 h 605239"/>
                    <a:gd name="connsiteY48" fmla="*/ 373273 h 605239"/>
                    <a:gd name="connsiteX49" fmla="*/ 373273 h 605239"/>
                    <a:gd name="connsiteY49" fmla="*/ 373273 h 605239"/>
                    <a:gd name="connsiteX50" fmla="*/ 373273 h 605239"/>
                    <a:gd name="connsiteY50" fmla="*/ 373273 h 605239"/>
                    <a:gd name="connsiteX51" fmla="*/ 373273 h 605239"/>
                    <a:gd name="connsiteY51" fmla="*/ 373273 h 605239"/>
                    <a:gd name="connsiteX52" fmla="*/ 373273 h 605239"/>
                    <a:gd name="connsiteY52" fmla="*/ 373273 h 605239"/>
                    <a:gd name="connsiteX53" fmla="*/ 373273 h 605239"/>
                    <a:gd name="connsiteY53" fmla="*/ 373273 h 605239"/>
                    <a:gd name="connsiteX54" fmla="*/ 373273 h 605239"/>
                    <a:gd name="connsiteY54" fmla="*/ 373273 h 605239"/>
                    <a:gd name="connsiteX55" fmla="*/ 373273 h 605239"/>
                    <a:gd name="connsiteY55" fmla="*/ 373273 h 605239"/>
                    <a:gd name="connsiteX56" fmla="*/ 373273 h 605239"/>
                    <a:gd name="connsiteY56" fmla="*/ 373273 h 605239"/>
                    <a:gd name="connsiteX57" fmla="*/ 373273 h 605239"/>
                    <a:gd name="connsiteY57" fmla="*/ 373273 h 605239"/>
                    <a:gd name="connsiteX58" fmla="*/ 373273 h 605239"/>
                    <a:gd name="connsiteY58" fmla="*/ 373273 h 605239"/>
                    <a:gd name="connsiteX59" fmla="*/ 373273 h 605239"/>
                    <a:gd name="connsiteY59" fmla="*/ 373273 h 605239"/>
                    <a:gd name="connsiteX60" fmla="*/ 373273 h 605239"/>
                    <a:gd name="connsiteY60" fmla="*/ 373273 h 605239"/>
                    <a:gd name="connsiteX61" fmla="*/ 373273 h 605239"/>
                    <a:gd name="connsiteY61" fmla="*/ 373273 h 605239"/>
                    <a:gd name="connsiteX62" fmla="*/ 373273 h 605239"/>
                    <a:gd name="connsiteY62" fmla="*/ 373273 h 605239"/>
                    <a:gd name="connsiteX63" fmla="*/ 373273 h 605239"/>
                    <a:gd name="connsiteY63" fmla="*/ 373273 h 605239"/>
                    <a:gd name="connsiteX64" fmla="*/ 373273 h 605239"/>
                    <a:gd name="connsiteY64" fmla="*/ 373273 h 605239"/>
                    <a:gd name="connsiteX65" fmla="*/ 373273 h 605239"/>
                    <a:gd name="connsiteY65" fmla="*/ 373273 h 605239"/>
                    <a:gd name="connsiteX66" fmla="*/ 373273 h 605239"/>
                    <a:gd name="connsiteY66" fmla="*/ 373273 h 605239"/>
                    <a:gd name="connsiteX67" fmla="*/ 373273 h 605239"/>
                    <a:gd name="connsiteY67" fmla="*/ 373273 h 605239"/>
                    <a:gd name="connsiteX68" fmla="*/ 373273 h 605239"/>
                    <a:gd name="connsiteY68" fmla="*/ 373273 h 605239"/>
                    <a:gd name="connsiteX69" fmla="*/ 373273 h 605239"/>
                    <a:gd name="connsiteY69" fmla="*/ 373273 h 605239"/>
                    <a:gd name="connsiteX70" fmla="*/ 373273 h 605239"/>
                    <a:gd name="connsiteY70" fmla="*/ 373273 h 605239"/>
                    <a:gd name="connsiteX71" fmla="*/ 373273 h 605239"/>
                    <a:gd name="connsiteY71" fmla="*/ 373273 h 605239"/>
                    <a:gd name="connsiteX72" fmla="*/ 373273 h 605239"/>
                    <a:gd name="connsiteY72" fmla="*/ 373273 h 605239"/>
                    <a:gd name="connsiteX73" fmla="*/ 373273 h 605239"/>
                    <a:gd name="connsiteY73" fmla="*/ 373273 h 605239"/>
                    <a:gd name="connsiteX74" fmla="*/ 373273 h 605239"/>
                    <a:gd name="connsiteY74" fmla="*/ 373273 h 605239"/>
                    <a:gd name="connsiteX75" fmla="*/ 373273 h 605239"/>
                    <a:gd name="connsiteY75" fmla="*/ 373273 h 605239"/>
                    <a:gd name="connsiteX76" fmla="*/ 373273 h 605239"/>
                    <a:gd name="connsiteY76" fmla="*/ 373273 h 605239"/>
                    <a:gd name="connsiteX77" fmla="*/ 373273 h 605239"/>
                    <a:gd name="connsiteY77" fmla="*/ 373273 h 605239"/>
                    <a:gd name="connsiteX78" fmla="*/ 373273 h 605239"/>
                    <a:gd name="connsiteY78" fmla="*/ 373273 h 605239"/>
                    <a:gd name="connsiteX79" fmla="*/ 373273 h 605239"/>
                    <a:gd name="connsiteY79" fmla="*/ 373273 h 605239"/>
                    <a:gd name="connsiteX80" fmla="*/ 373273 h 605239"/>
                    <a:gd name="connsiteY80" fmla="*/ 373273 h 605239"/>
                    <a:gd name="connsiteX81" fmla="*/ 373273 h 605239"/>
                    <a:gd name="connsiteY81" fmla="*/ 373273 h 605239"/>
                    <a:gd name="connsiteX82" fmla="*/ 373273 h 605239"/>
                    <a:gd name="connsiteY82" fmla="*/ 373273 h 605239"/>
                    <a:gd name="connsiteX83" fmla="*/ 373273 h 605239"/>
                    <a:gd name="connsiteY83" fmla="*/ 373273 h 605239"/>
                    <a:gd name="connsiteX84" fmla="*/ 373273 h 605239"/>
                    <a:gd name="connsiteY84" fmla="*/ 373273 h 605239"/>
                    <a:gd name="connsiteX85" fmla="*/ 373273 h 605239"/>
                    <a:gd name="connsiteY85" fmla="*/ 373273 h 605239"/>
                    <a:gd name="connsiteX86" fmla="*/ 373273 h 605239"/>
                    <a:gd name="connsiteY86" fmla="*/ 373273 h 605239"/>
                    <a:gd name="connsiteX87" fmla="*/ 373273 h 605239"/>
                    <a:gd name="connsiteY87" fmla="*/ 373273 h 605239"/>
                    <a:gd name="connsiteX88" fmla="*/ 373273 h 605239"/>
                    <a:gd name="connsiteY88" fmla="*/ 373273 h 605239"/>
                    <a:gd name="connsiteX89" fmla="*/ 373273 h 605239"/>
                    <a:gd name="connsiteY89" fmla="*/ 373273 h 605239"/>
                    <a:gd name="connsiteX90" fmla="*/ 373273 h 605239"/>
                    <a:gd name="connsiteY90" fmla="*/ 373273 h 605239"/>
                    <a:gd name="connsiteX91" fmla="*/ 373273 h 605239"/>
                    <a:gd name="connsiteY91" fmla="*/ 373273 h 605239"/>
                    <a:gd name="connsiteX92" fmla="*/ 373273 h 605239"/>
                    <a:gd name="connsiteY92" fmla="*/ 373273 h 605239"/>
                    <a:gd name="connsiteX93" fmla="*/ 373273 h 605239"/>
                    <a:gd name="connsiteY93" fmla="*/ 373273 h 605239"/>
                    <a:gd name="connsiteX94" fmla="*/ 373273 h 605239"/>
                    <a:gd name="connsiteY94" fmla="*/ 373273 h 605239"/>
                    <a:gd name="connsiteX95" fmla="*/ 373273 h 605239"/>
                    <a:gd name="connsiteY95" fmla="*/ 373273 h 605239"/>
                    <a:gd name="connsiteX96" fmla="*/ 373273 h 605239"/>
                    <a:gd name="connsiteY96" fmla="*/ 373273 h 605239"/>
                    <a:gd name="connsiteX97" fmla="*/ 373273 h 605239"/>
                    <a:gd name="connsiteY97" fmla="*/ 373273 h 605239"/>
                    <a:gd name="connsiteX98" fmla="*/ 373273 h 605239"/>
                    <a:gd name="connsiteY98" fmla="*/ 373273 h 605239"/>
                    <a:gd name="connsiteX99" fmla="*/ 373273 h 605239"/>
                    <a:gd name="connsiteY99" fmla="*/ 373273 h 605239"/>
                    <a:gd name="connsiteX100" fmla="*/ 373273 h 605239"/>
                    <a:gd name="connsiteY100" fmla="*/ 373273 h 605239"/>
                    <a:gd name="connsiteX101" fmla="*/ 373273 h 605239"/>
                    <a:gd name="connsiteY101" fmla="*/ 373273 h 605239"/>
                    <a:gd name="connsiteX102" fmla="*/ 373273 h 605239"/>
                    <a:gd name="connsiteY102" fmla="*/ 373273 h 605239"/>
                    <a:gd name="connsiteX103" fmla="*/ 373273 h 605239"/>
                    <a:gd name="connsiteY103" fmla="*/ 373273 h 605239"/>
                    <a:gd name="connsiteX104" fmla="*/ 373273 h 605239"/>
                    <a:gd name="connsiteY104" fmla="*/ 373273 h 605239"/>
                    <a:gd name="connsiteX105" fmla="*/ 373273 h 605239"/>
                    <a:gd name="connsiteY105" fmla="*/ 373273 h 605239"/>
                    <a:gd name="connsiteX106" fmla="*/ 373273 h 605239"/>
                    <a:gd name="connsiteY106" fmla="*/ 373273 h 605239"/>
                    <a:gd name="connsiteX107" fmla="*/ 373273 h 605239"/>
                    <a:gd name="connsiteY107" fmla="*/ 373273 h 605239"/>
                    <a:gd name="connsiteX108" fmla="*/ 373273 h 605239"/>
                    <a:gd name="connsiteY108" fmla="*/ 373273 h 605239"/>
                    <a:gd name="connsiteX109" fmla="*/ 373273 h 605239"/>
                    <a:gd name="connsiteY109" fmla="*/ 373273 h 605239"/>
                    <a:gd name="connsiteX110" fmla="*/ 373273 h 605239"/>
                    <a:gd name="connsiteY110" fmla="*/ 373273 h 605239"/>
                    <a:gd name="connsiteX111" fmla="*/ 373273 h 605239"/>
                    <a:gd name="connsiteY111" fmla="*/ 373273 h 605239"/>
                    <a:gd name="connsiteX112" fmla="*/ 373273 h 605239"/>
                    <a:gd name="connsiteY112" fmla="*/ 373273 h 605239"/>
                    <a:gd name="connsiteX113" fmla="*/ 373273 h 605239"/>
                    <a:gd name="connsiteY113" fmla="*/ 373273 h 605239"/>
                    <a:gd name="connsiteX114" fmla="*/ 373273 h 605239"/>
                    <a:gd name="connsiteY114" fmla="*/ 373273 h 605239"/>
                    <a:gd name="connsiteX115" fmla="*/ 373273 h 605239"/>
                    <a:gd name="connsiteY115" fmla="*/ 373273 h 605239"/>
                    <a:gd name="connsiteX116" fmla="*/ 373273 h 605239"/>
                    <a:gd name="connsiteY116" fmla="*/ 373273 h 605239"/>
                    <a:gd name="connsiteX117" fmla="*/ 373273 h 605239"/>
                    <a:gd name="connsiteY117" fmla="*/ 373273 h 605239"/>
                    <a:gd name="connsiteX118" fmla="*/ 373273 h 605239"/>
                    <a:gd name="connsiteY118" fmla="*/ 373273 h 605239"/>
                    <a:gd name="connsiteX119" fmla="*/ 373273 h 605239"/>
                    <a:gd name="connsiteY119" fmla="*/ 373273 h 605239"/>
                    <a:gd name="connsiteX120" fmla="*/ 373273 h 605239"/>
                    <a:gd name="connsiteY120" fmla="*/ 373273 h 605239"/>
                    <a:gd name="connsiteX121" fmla="*/ 373273 h 605239"/>
                    <a:gd name="connsiteY121" fmla="*/ 373273 h 605239"/>
                    <a:gd name="connsiteX122" fmla="*/ 373273 h 605239"/>
                    <a:gd name="connsiteY122" fmla="*/ 373273 h 605239"/>
                    <a:gd name="connsiteX123" fmla="*/ 373273 h 605239"/>
                    <a:gd name="connsiteY123" fmla="*/ 373273 h 605239"/>
                    <a:gd name="connsiteX124" fmla="*/ 373273 h 605239"/>
                    <a:gd name="connsiteY124" fmla="*/ 373273 h 605239"/>
                    <a:gd name="connsiteX125" fmla="*/ 373273 h 605239"/>
                    <a:gd name="connsiteY125" fmla="*/ 373273 h 605239"/>
                    <a:gd name="connsiteX126" fmla="*/ 373273 h 605239"/>
                    <a:gd name="connsiteY126" fmla="*/ 373273 h 605239"/>
                    <a:gd name="connsiteX127" fmla="*/ 373273 h 605239"/>
                    <a:gd name="connsiteY127" fmla="*/ 373273 h 605239"/>
                    <a:gd name="connsiteX128" fmla="*/ 373273 h 605239"/>
                    <a:gd name="connsiteY128" fmla="*/ 373273 h 605239"/>
                    <a:gd name="connsiteX129" fmla="*/ 373273 h 605239"/>
                    <a:gd name="connsiteY129" fmla="*/ 373273 h 605239"/>
                    <a:gd name="connsiteX130" fmla="*/ 373273 h 605239"/>
                    <a:gd name="connsiteY130" fmla="*/ 373273 h 605239"/>
                    <a:gd name="connsiteX131" fmla="*/ 373273 h 605239"/>
                    <a:gd name="connsiteY131" fmla="*/ 373273 h 605239"/>
                    <a:gd name="connsiteX132" fmla="*/ 373273 h 605239"/>
                    <a:gd name="connsiteY132" fmla="*/ 373273 h 605239"/>
                    <a:gd name="connsiteX133" fmla="*/ 373273 h 605239"/>
                    <a:gd name="connsiteY133" fmla="*/ 373273 h 605239"/>
                    <a:gd name="connsiteX134" fmla="*/ 373273 h 605239"/>
                    <a:gd name="connsiteY134" fmla="*/ 373273 h 605239"/>
                    <a:gd name="connsiteX135" fmla="*/ 373273 h 605239"/>
                    <a:gd name="connsiteY135" fmla="*/ 373273 h 605239"/>
                    <a:gd name="connsiteX136" fmla="*/ 373273 h 605239"/>
                    <a:gd name="connsiteY136" fmla="*/ 373273 h 605239"/>
                    <a:gd name="connsiteX137" fmla="*/ 373273 h 605239"/>
                    <a:gd name="connsiteY137" fmla="*/ 373273 h 605239"/>
                    <a:gd name="connsiteX138" fmla="*/ 373273 h 605239"/>
                    <a:gd name="connsiteY138" fmla="*/ 373273 h 605239"/>
                    <a:gd name="connsiteX139" fmla="*/ 373273 h 605239"/>
                    <a:gd name="connsiteY139" fmla="*/ 373273 h 605239"/>
                    <a:gd name="connsiteX140" fmla="*/ 373273 h 605239"/>
                    <a:gd name="connsiteY140" fmla="*/ 373273 h 605239"/>
                    <a:gd name="connsiteX141" fmla="*/ 373273 h 605239"/>
                    <a:gd name="connsiteY141" fmla="*/ 373273 h 605239"/>
                    <a:gd name="connsiteX142" fmla="*/ 373273 h 605239"/>
                    <a:gd name="connsiteY142" fmla="*/ 373273 h 605239"/>
                    <a:gd name="connsiteX143" fmla="*/ 373273 h 605239"/>
                    <a:gd name="connsiteY143" fmla="*/ 373273 h 605239"/>
                    <a:gd name="connsiteX144" fmla="*/ 373273 h 605239"/>
                    <a:gd name="connsiteY144" fmla="*/ 373273 h 605239"/>
                    <a:gd name="connsiteX145" fmla="*/ 373273 h 605239"/>
                    <a:gd name="connsiteY145" fmla="*/ 373273 h 605239"/>
                    <a:gd name="connsiteX146" fmla="*/ 373273 h 605239"/>
                    <a:gd name="connsiteY146" fmla="*/ 373273 h 605239"/>
                    <a:gd name="connsiteX147" fmla="*/ 373273 h 605239"/>
                    <a:gd name="connsiteY147" fmla="*/ 373273 h 605239"/>
                    <a:gd name="connsiteX148" fmla="*/ 373273 h 605239"/>
                    <a:gd name="connsiteY148" fmla="*/ 373273 h 605239"/>
                    <a:gd name="connsiteX149" fmla="*/ 373273 h 605239"/>
                    <a:gd name="connsiteY149" fmla="*/ 373273 h 605239"/>
                    <a:gd name="connsiteX150" fmla="*/ 373273 h 605239"/>
                    <a:gd name="connsiteY150" fmla="*/ 373273 h 605239"/>
                    <a:gd name="connsiteX151" fmla="*/ 373273 h 605239"/>
                    <a:gd name="connsiteY151" fmla="*/ 373273 h 605239"/>
                    <a:gd name="connsiteX152" fmla="*/ 373273 h 605239"/>
                    <a:gd name="connsiteY152" fmla="*/ 373273 h 605239"/>
                    <a:gd name="connsiteX153" fmla="*/ 373273 h 605239"/>
                    <a:gd name="connsiteY153" fmla="*/ 373273 h 605239"/>
                    <a:gd name="connsiteX154" fmla="*/ 373273 h 605239"/>
                    <a:gd name="connsiteY154" fmla="*/ 373273 h 605239"/>
                    <a:gd name="connsiteX155" fmla="*/ 373273 h 605239"/>
                    <a:gd name="connsiteY155" fmla="*/ 373273 h 605239"/>
                    <a:gd name="connsiteX156" fmla="*/ 373273 h 605239"/>
                    <a:gd name="connsiteY156" fmla="*/ 373273 h 605239"/>
                    <a:gd name="connsiteX157" fmla="*/ 373273 h 605239"/>
                    <a:gd name="connsiteY157" fmla="*/ 373273 h 605239"/>
                    <a:gd name="connsiteX158" fmla="*/ 373273 h 605239"/>
                    <a:gd name="connsiteY158" fmla="*/ 373273 h 605239"/>
                    <a:gd name="connsiteX159" fmla="*/ 373273 h 605239"/>
                    <a:gd name="connsiteY159" fmla="*/ 373273 h 605239"/>
                    <a:gd name="connsiteX160" fmla="*/ 373273 h 605239"/>
                    <a:gd name="connsiteY160" fmla="*/ 373273 h 605239"/>
                    <a:gd name="connsiteX161" fmla="*/ 373273 h 605239"/>
                    <a:gd name="connsiteY161" fmla="*/ 373273 h 605239"/>
                    <a:gd name="connsiteX162" fmla="*/ 373273 h 605239"/>
                    <a:gd name="connsiteY162" fmla="*/ 373273 h 605239"/>
                    <a:gd name="connsiteX163" fmla="*/ 373273 h 605239"/>
                    <a:gd name="connsiteY163" fmla="*/ 373273 h 605239"/>
                    <a:gd name="connsiteX164" fmla="*/ 373273 h 605239"/>
                    <a:gd name="connsiteY164" fmla="*/ 373273 h 605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</a:cxnLst>
                  <a:rect l="l" t="t" r="r" b="b"/>
                  <a:pathLst>
                    <a:path w="526630" h="606722">
                      <a:moveTo>
                        <a:pt x="202571" y="485320"/>
                      </a:moveTo>
                      <a:cubicBezTo>
                        <a:pt x="180587" y="485320"/>
                        <a:pt x="162074" y="504783"/>
                        <a:pt x="162074" y="527802"/>
                      </a:cubicBezTo>
                      <a:lnTo>
                        <a:pt x="162074" y="586459"/>
                      </a:lnTo>
                      <a:lnTo>
                        <a:pt x="182278" y="586459"/>
                      </a:lnTo>
                      <a:lnTo>
                        <a:pt x="182278" y="527802"/>
                      </a:lnTo>
                      <a:cubicBezTo>
                        <a:pt x="182278" y="516159"/>
                        <a:pt x="191890" y="505583"/>
                        <a:pt x="202571" y="505583"/>
                      </a:cubicBezTo>
                      <a:cubicBezTo>
                        <a:pt x="213162" y="505583"/>
                        <a:pt x="222774" y="516159"/>
                        <a:pt x="222774" y="527802"/>
                      </a:cubicBezTo>
                      <a:lnTo>
                        <a:pt x="222774" y="586459"/>
                      </a:lnTo>
                      <a:lnTo>
                        <a:pt x="243067" y="586459"/>
                      </a:lnTo>
                      <a:lnTo>
                        <a:pt x="243067" y="527802"/>
                      </a:lnTo>
                      <a:cubicBezTo>
                        <a:pt x="243067" y="516159"/>
                        <a:pt x="252679" y="505583"/>
                        <a:pt x="263271" y="505583"/>
                      </a:cubicBezTo>
                      <a:cubicBezTo>
                        <a:pt x="273862" y="505583"/>
                        <a:pt x="283563" y="516159"/>
                        <a:pt x="283563" y="527802"/>
                      </a:cubicBezTo>
                      <a:lnTo>
                        <a:pt x="283563" y="586459"/>
                      </a:lnTo>
                      <a:lnTo>
                        <a:pt x="303767" y="586459"/>
                      </a:lnTo>
                      <a:lnTo>
                        <a:pt x="303767" y="527802"/>
                      </a:lnTo>
                      <a:cubicBezTo>
                        <a:pt x="303767" y="516159"/>
                        <a:pt x="313468" y="505583"/>
                        <a:pt x="324060" y="505583"/>
                      </a:cubicBezTo>
                      <a:cubicBezTo>
                        <a:pt x="334651" y="505583"/>
                        <a:pt x="344352" y="516159"/>
                        <a:pt x="344352" y="527802"/>
                      </a:cubicBezTo>
                      <a:lnTo>
                        <a:pt x="344352" y="586459"/>
                      </a:lnTo>
                      <a:lnTo>
                        <a:pt x="364556" y="586459"/>
                      </a:lnTo>
                      <a:lnTo>
                        <a:pt x="364556" y="527802"/>
                      </a:lnTo>
                      <a:cubicBezTo>
                        <a:pt x="364556" y="504783"/>
                        <a:pt x="346043" y="485320"/>
                        <a:pt x="324060" y="485320"/>
                      </a:cubicBezTo>
                      <a:cubicBezTo>
                        <a:pt x="312044" y="485320"/>
                        <a:pt x="301186" y="491274"/>
                        <a:pt x="293710" y="500340"/>
                      </a:cubicBezTo>
                      <a:cubicBezTo>
                        <a:pt x="286144" y="491274"/>
                        <a:pt x="275286" y="485320"/>
                        <a:pt x="263271" y="485320"/>
                      </a:cubicBezTo>
                      <a:cubicBezTo>
                        <a:pt x="251255" y="485320"/>
                        <a:pt x="240397" y="491274"/>
                        <a:pt x="232921" y="500340"/>
                      </a:cubicBezTo>
                      <a:cubicBezTo>
                        <a:pt x="225445" y="491274"/>
                        <a:pt x="214586" y="485320"/>
                        <a:pt x="202571" y="485320"/>
                      </a:cubicBezTo>
                      <a:close/>
                      <a:moveTo>
                        <a:pt x="131635" y="374138"/>
                      </a:moveTo>
                      <a:lnTo>
                        <a:pt x="172132" y="374138"/>
                      </a:lnTo>
                      <a:lnTo>
                        <a:pt x="172132" y="424708"/>
                      </a:lnTo>
                      <a:lnTo>
                        <a:pt x="192424" y="424708"/>
                      </a:lnTo>
                      <a:lnTo>
                        <a:pt x="192424" y="374138"/>
                      </a:lnTo>
                      <a:lnTo>
                        <a:pt x="212628" y="374138"/>
                      </a:lnTo>
                      <a:lnTo>
                        <a:pt x="212628" y="424708"/>
                      </a:lnTo>
                      <a:lnTo>
                        <a:pt x="232921" y="424708"/>
                      </a:lnTo>
                      <a:lnTo>
                        <a:pt x="232921" y="374138"/>
                      </a:lnTo>
                      <a:lnTo>
                        <a:pt x="253213" y="374138"/>
                      </a:lnTo>
                      <a:lnTo>
                        <a:pt x="253213" y="424708"/>
                      </a:lnTo>
                      <a:lnTo>
                        <a:pt x="273417" y="424708"/>
                      </a:lnTo>
                      <a:lnTo>
                        <a:pt x="273417" y="374138"/>
                      </a:lnTo>
                      <a:lnTo>
                        <a:pt x="293710" y="374138"/>
                      </a:lnTo>
                      <a:lnTo>
                        <a:pt x="293710" y="424708"/>
                      </a:lnTo>
                      <a:lnTo>
                        <a:pt x="313913" y="424708"/>
                      </a:lnTo>
                      <a:lnTo>
                        <a:pt x="313913" y="374138"/>
                      </a:lnTo>
                      <a:lnTo>
                        <a:pt x="334206" y="374138"/>
                      </a:lnTo>
                      <a:lnTo>
                        <a:pt x="334206" y="424708"/>
                      </a:lnTo>
                      <a:lnTo>
                        <a:pt x="354410" y="424708"/>
                      </a:lnTo>
                      <a:lnTo>
                        <a:pt x="354410" y="374138"/>
                      </a:lnTo>
                      <a:lnTo>
                        <a:pt x="394906" y="374138"/>
                      </a:lnTo>
                      <a:lnTo>
                        <a:pt x="394906" y="424708"/>
                      </a:lnTo>
                      <a:lnTo>
                        <a:pt x="445549" y="424708"/>
                      </a:lnTo>
                      <a:cubicBezTo>
                        <a:pt x="451156" y="424708"/>
                        <a:pt x="455695" y="429240"/>
                        <a:pt x="455695" y="434750"/>
                      </a:cubicBezTo>
                      <a:lnTo>
                        <a:pt x="455695" y="485320"/>
                      </a:lnTo>
                      <a:lnTo>
                        <a:pt x="486045" y="485320"/>
                      </a:lnTo>
                      <a:cubicBezTo>
                        <a:pt x="491652" y="485320"/>
                        <a:pt x="496191" y="489852"/>
                        <a:pt x="496191" y="495452"/>
                      </a:cubicBezTo>
                      <a:lnTo>
                        <a:pt x="496191" y="586459"/>
                      </a:lnTo>
                      <a:lnTo>
                        <a:pt x="516484" y="586459"/>
                      </a:lnTo>
                      <a:cubicBezTo>
                        <a:pt x="522091" y="586459"/>
                        <a:pt x="526630" y="590991"/>
                        <a:pt x="526630" y="596590"/>
                      </a:cubicBezTo>
                      <a:cubicBezTo>
                        <a:pt x="526630" y="602190"/>
                        <a:pt x="522091" y="606722"/>
                        <a:pt x="516484" y="606722"/>
                      </a:cubicBezTo>
                      <a:lnTo>
                        <a:pt x="486045" y="606722"/>
                      </a:lnTo>
                      <a:lnTo>
                        <a:pt x="384849" y="606722"/>
                      </a:lnTo>
                      <a:lnTo>
                        <a:pt x="354410" y="606722"/>
                      </a:lnTo>
                      <a:lnTo>
                        <a:pt x="172132" y="606722"/>
                      </a:lnTo>
                      <a:lnTo>
                        <a:pt x="141782" y="606722"/>
                      </a:lnTo>
                      <a:lnTo>
                        <a:pt x="40496" y="606722"/>
                      </a:lnTo>
                      <a:lnTo>
                        <a:pt x="10146" y="606722"/>
                      </a:lnTo>
                      <a:cubicBezTo>
                        <a:pt x="4539" y="606722"/>
                        <a:pt x="0" y="602190"/>
                        <a:pt x="0" y="596590"/>
                      </a:cubicBezTo>
                      <a:cubicBezTo>
                        <a:pt x="0" y="590991"/>
                        <a:pt x="4539" y="586459"/>
                        <a:pt x="10146" y="586459"/>
                      </a:cubicBezTo>
                      <a:lnTo>
                        <a:pt x="30350" y="586459"/>
                      </a:lnTo>
                      <a:lnTo>
                        <a:pt x="30350" y="495452"/>
                      </a:lnTo>
                      <a:cubicBezTo>
                        <a:pt x="30350" y="489852"/>
                        <a:pt x="34889" y="485320"/>
                        <a:pt x="40496" y="485320"/>
                      </a:cubicBezTo>
                      <a:lnTo>
                        <a:pt x="70935" y="485320"/>
                      </a:lnTo>
                      <a:lnTo>
                        <a:pt x="70935" y="434750"/>
                      </a:lnTo>
                      <a:cubicBezTo>
                        <a:pt x="70935" y="429240"/>
                        <a:pt x="75474" y="424708"/>
                        <a:pt x="80992" y="424708"/>
                      </a:cubicBezTo>
                      <a:lnTo>
                        <a:pt x="131635" y="424708"/>
                      </a:lnTo>
                      <a:close/>
                      <a:moveTo>
                        <a:pt x="354380" y="293270"/>
                      </a:moveTo>
                      <a:lnTo>
                        <a:pt x="394885" y="293270"/>
                      </a:lnTo>
                      <a:lnTo>
                        <a:pt x="394885" y="353886"/>
                      </a:lnTo>
                      <a:lnTo>
                        <a:pt x="354380" y="353886"/>
                      </a:lnTo>
                      <a:close/>
                      <a:moveTo>
                        <a:pt x="313875" y="293270"/>
                      </a:moveTo>
                      <a:lnTo>
                        <a:pt x="334198" y="293270"/>
                      </a:lnTo>
                      <a:lnTo>
                        <a:pt x="334198" y="353886"/>
                      </a:lnTo>
                      <a:lnTo>
                        <a:pt x="313875" y="353886"/>
                      </a:lnTo>
                      <a:close/>
                      <a:moveTo>
                        <a:pt x="273441" y="293270"/>
                      </a:moveTo>
                      <a:lnTo>
                        <a:pt x="293693" y="293270"/>
                      </a:lnTo>
                      <a:lnTo>
                        <a:pt x="293693" y="353886"/>
                      </a:lnTo>
                      <a:lnTo>
                        <a:pt x="273441" y="353886"/>
                      </a:lnTo>
                      <a:close/>
                      <a:moveTo>
                        <a:pt x="232937" y="293270"/>
                      </a:moveTo>
                      <a:lnTo>
                        <a:pt x="253189" y="293270"/>
                      </a:lnTo>
                      <a:lnTo>
                        <a:pt x="253189" y="353886"/>
                      </a:lnTo>
                      <a:lnTo>
                        <a:pt x="232937" y="353886"/>
                      </a:lnTo>
                      <a:close/>
                      <a:moveTo>
                        <a:pt x="192432" y="293270"/>
                      </a:moveTo>
                      <a:lnTo>
                        <a:pt x="212614" y="293270"/>
                      </a:lnTo>
                      <a:lnTo>
                        <a:pt x="212614" y="353886"/>
                      </a:lnTo>
                      <a:lnTo>
                        <a:pt x="192432" y="353886"/>
                      </a:lnTo>
                      <a:close/>
                      <a:moveTo>
                        <a:pt x="131605" y="293270"/>
                      </a:moveTo>
                      <a:lnTo>
                        <a:pt x="172110" y="293270"/>
                      </a:lnTo>
                      <a:lnTo>
                        <a:pt x="172110" y="353886"/>
                      </a:lnTo>
                      <a:lnTo>
                        <a:pt x="131605" y="353886"/>
                      </a:lnTo>
                      <a:close/>
                      <a:moveTo>
                        <a:pt x="354380" y="192150"/>
                      </a:moveTo>
                      <a:lnTo>
                        <a:pt x="394885" y="192150"/>
                      </a:lnTo>
                      <a:lnTo>
                        <a:pt x="394885" y="273018"/>
                      </a:lnTo>
                      <a:lnTo>
                        <a:pt x="354380" y="273018"/>
                      </a:lnTo>
                      <a:close/>
                      <a:moveTo>
                        <a:pt x="313875" y="192150"/>
                      </a:moveTo>
                      <a:lnTo>
                        <a:pt x="334198" y="192150"/>
                      </a:lnTo>
                      <a:lnTo>
                        <a:pt x="334198" y="273018"/>
                      </a:lnTo>
                      <a:lnTo>
                        <a:pt x="313875" y="273018"/>
                      </a:lnTo>
                      <a:close/>
                      <a:moveTo>
                        <a:pt x="273441" y="192150"/>
                      </a:moveTo>
                      <a:lnTo>
                        <a:pt x="293693" y="192150"/>
                      </a:lnTo>
                      <a:lnTo>
                        <a:pt x="293693" y="273018"/>
                      </a:lnTo>
                      <a:lnTo>
                        <a:pt x="273441" y="273018"/>
                      </a:lnTo>
                      <a:close/>
                      <a:moveTo>
                        <a:pt x="232937" y="192150"/>
                      </a:moveTo>
                      <a:lnTo>
                        <a:pt x="253189" y="192150"/>
                      </a:lnTo>
                      <a:lnTo>
                        <a:pt x="253189" y="273018"/>
                      </a:lnTo>
                      <a:lnTo>
                        <a:pt x="232937" y="273018"/>
                      </a:lnTo>
                      <a:close/>
                      <a:moveTo>
                        <a:pt x="192432" y="192150"/>
                      </a:moveTo>
                      <a:lnTo>
                        <a:pt x="212614" y="192150"/>
                      </a:lnTo>
                      <a:lnTo>
                        <a:pt x="212614" y="273018"/>
                      </a:lnTo>
                      <a:lnTo>
                        <a:pt x="192432" y="273018"/>
                      </a:lnTo>
                      <a:close/>
                      <a:moveTo>
                        <a:pt x="131605" y="192150"/>
                      </a:moveTo>
                      <a:lnTo>
                        <a:pt x="172110" y="192150"/>
                      </a:lnTo>
                      <a:lnTo>
                        <a:pt x="172110" y="273018"/>
                      </a:lnTo>
                      <a:lnTo>
                        <a:pt x="131605" y="273018"/>
                      </a:lnTo>
                      <a:close/>
                      <a:moveTo>
                        <a:pt x="263245" y="0"/>
                      </a:moveTo>
                      <a:cubicBezTo>
                        <a:pt x="268853" y="0"/>
                        <a:pt x="273392" y="4533"/>
                        <a:pt x="273392" y="10133"/>
                      </a:cubicBezTo>
                      <a:lnTo>
                        <a:pt x="273392" y="40441"/>
                      </a:lnTo>
                      <a:lnTo>
                        <a:pt x="324036" y="40441"/>
                      </a:lnTo>
                      <a:cubicBezTo>
                        <a:pt x="329644" y="40441"/>
                        <a:pt x="334183" y="44974"/>
                        <a:pt x="334183" y="50574"/>
                      </a:cubicBezTo>
                      <a:lnTo>
                        <a:pt x="334183" y="80883"/>
                      </a:lnTo>
                      <a:lnTo>
                        <a:pt x="364534" y="80883"/>
                      </a:lnTo>
                      <a:cubicBezTo>
                        <a:pt x="370142" y="80883"/>
                        <a:pt x="374681" y="85416"/>
                        <a:pt x="374681" y="91015"/>
                      </a:cubicBezTo>
                      <a:lnTo>
                        <a:pt x="374681" y="121324"/>
                      </a:lnTo>
                      <a:lnTo>
                        <a:pt x="384828" y="121324"/>
                      </a:lnTo>
                      <a:cubicBezTo>
                        <a:pt x="390346" y="121324"/>
                        <a:pt x="394885" y="125857"/>
                        <a:pt x="394885" y="131457"/>
                      </a:cubicBezTo>
                      <a:lnTo>
                        <a:pt x="394885" y="171898"/>
                      </a:lnTo>
                      <a:lnTo>
                        <a:pt x="354387" y="171898"/>
                      </a:lnTo>
                      <a:lnTo>
                        <a:pt x="354387" y="141589"/>
                      </a:lnTo>
                      <a:lnTo>
                        <a:pt x="334183" y="141589"/>
                      </a:lnTo>
                      <a:lnTo>
                        <a:pt x="334183" y="171898"/>
                      </a:lnTo>
                      <a:lnTo>
                        <a:pt x="313890" y="171898"/>
                      </a:lnTo>
                      <a:lnTo>
                        <a:pt x="313890" y="141589"/>
                      </a:lnTo>
                      <a:lnTo>
                        <a:pt x="293685" y="141589"/>
                      </a:lnTo>
                      <a:lnTo>
                        <a:pt x="293685" y="171898"/>
                      </a:lnTo>
                      <a:lnTo>
                        <a:pt x="273392" y="171898"/>
                      </a:lnTo>
                      <a:lnTo>
                        <a:pt x="273392" y="141589"/>
                      </a:lnTo>
                      <a:lnTo>
                        <a:pt x="253188" y="141589"/>
                      </a:lnTo>
                      <a:lnTo>
                        <a:pt x="253188" y="171898"/>
                      </a:lnTo>
                      <a:lnTo>
                        <a:pt x="232894" y="171898"/>
                      </a:lnTo>
                      <a:lnTo>
                        <a:pt x="232894" y="141589"/>
                      </a:lnTo>
                      <a:lnTo>
                        <a:pt x="212601" y="141589"/>
                      </a:lnTo>
                      <a:lnTo>
                        <a:pt x="212601" y="171898"/>
                      </a:lnTo>
                      <a:lnTo>
                        <a:pt x="192396" y="171898"/>
                      </a:lnTo>
                      <a:lnTo>
                        <a:pt x="192396" y="141589"/>
                      </a:lnTo>
                      <a:lnTo>
                        <a:pt x="172103" y="141589"/>
                      </a:lnTo>
                      <a:lnTo>
                        <a:pt x="172103" y="171898"/>
                      </a:lnTo>
                      <a:lnTo>
                        <a:pt x="131605" y="171898"/>
                      </a:lnTo>
                      <a:lnTo>
                        <a:pt x="131605" y="131457"/>
                      </a:lnTo>
                      <a:cubicBezTo>
                        <a:pt x="131605" y="125857"/>
                        <a:pt x="136145" y="121324"/>
                        <a:pt x="141752" y="121324"/>
                      </a:cubicBezTo>
                      <a:lnTo>
                        <a:pt x="151899" y="121324"/>
                      </a:lnTo>
                      <a:lnTo>
                        <a:pt x="151899" y="91015"/>
                      </a:lnTo>
                      <a:cubicBezTo>
                        <a:pt x="151899" y="85416"/>
                        <a:pt x="156438" y="80883"/>
                        <a:pt x="162045" y="80883"/>
                      </a:cubicBezTo>
                      <a:lnTo>
                        <a:pt x="192396" y="80883"/>
                      </a:lnTo>
                      <a:lnTo>
                        <a:pt x="192396" y="50574"/>
                      </a:lnTo>
                      <a:cubicBezTo>
                        <a:pt x="192396" y="44974"/>
                        <a:pt x="196936" y="40441"/>
                        <a:pt x="202543" y="40441"/>
                      </a:cubicBezTo>
                      <a:lnTo>
                        <a:pt x="253188" y="40441"/>
                      </a:lnTo>
                      <a:lnTo>
                        <a:pt x="253188" y="10133"/>
                      </a:lnTo>
                      <a:cubicBezTo>
                        <a:pt x="253188" y="4533"/>
                        <a:pt x="257727" y="0"/>
                        <a:pt x="263245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107" name="î$ḻïḓé">
                <a:extLst>
                  <a:ext uri="{FF2B5EF4-FFF2-40B4-BE49-F238E27FC236}">
                    <a16:creationId xmlns:a16="http://schemas.microsoft.com/office/drawing/2014/main" id="{FFFF777D-D96B-4C6E-8ED9-776162421A19}"/>
                  </a:ext>
                </a:extLst>
              </p:cNvPr>
              <p:cNvGrpSpPr/>
              <p:nvPr/>
            </p:nvGrpSpPr>
            <p:grpSpPr>
              <a:xfrm>
                <a:off x="665729" y="4922760"/>
                <a:ext cx="2434088" cy="1071640"/>
                <a:chOff x="2082804" y="1329817"/>
                <a:chExt cx="2334087" cy="1071640"/>
              </a:xfrm>
            </p:grpSpPr>
            <p:sp>
              <p:nvSpPr>
                <p:cNvPr id="111" name="iṩ1îďe">
                  <a:extLst>
                    <a:ext uri="{FF2B5EF4-FFF2-40B4-BE49-F238E27FC236}">
                      <a16:creationId xmlns:a16="http://schemas.microsoft.com/office/drawing/2014/main" id="{948A1FDF-0B85-48E3-9098-B322A62A0933}"/>
                    </a:ext>
                  </a:extLst>
                </p:cNvPr>
                <p:cNvSpPr txBox="1"/>
                <p:nvPr/>
              </p:nvSpPr>
              <p:spPr>
                <a:xfrm>
                  <a:off x="2082804" y="1677152"/>
                  <a:ext cx="2334087" cy="724305"/>
                </a:xfrm>
                <a:prstGeom prst="rect">
                  <a:avLst/>
                </a:prstGeom>
                <a:noFill/>
              </p:spPr>
              <p:txBody>
                <a:bodyPr wrap="square" lIns="144000" tIns="0" rIns="144000" bIns="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 algn="ctr" defTabSz="914400">
                    <a:lnSpc>
                      <a:spcPct val="120000"/>
                    </a:lnSpc>
                    <a:spcBef>
                      <a:spcPct val="0"/>
                    </a:spcBef>
                    <a:defRPr/>
                  </a:pPr>
                  <a:r>
                    <a:rPr lang="en-US" altLang="zh-CN" sz="1100" dirty="0">
                      <a:solidFill>
                        <a:schemeClr val="dk1">
                          <a:lumMod val="100000"/>
                        </a:schemeClr>
                      </a:solidFill>
                    </a:rPr>
                    <a:t>cat output/*</a:t>
                  </a:r>
                </a:p>
                <a:p>
                  <a:pPr lvl="0" algn="ctr" defTabSz="914400">
                    <a:lnSpc>
                      <a:spcPct val="120000"/>
                    </a:lnSpc>
                    <a:spcBef>
                      <a:spcPct val="0"/>
                    </a:spcBef>
                    <a:defRPr/>
                  </a:pPr>
                  <a:r>
                    <a:rPr lang="en-US" altLang="zh-CN" sz="1100" dirty="0">
                      <a:solidFill>
                        <a:schemeClr val="dk1">
                          <a:lumMod val="100000"/>
                        </a:schemeClr>
                      </a:solidFill>
                    </a:rPr>
                    <a:t>output</a:t>
                  </a:r>
                  <a:r>
                    <a:rPr lang="zh-CN" altLang="en-US" sz="1100" dirty="0">
                      <a:solidFill>
                        <a:schemeClr val="dk1">
                          <a:lumMod val="100000"/>
                        </a:schemeClr>
                      </a:solidFill>
                    </a:rPr>
                    <a:t>不需要自己建立</a:t>
                  </a:r>
                </a:p>
              </p:txBody>
            </p:sp>
            <p:sp>
              <p:nvSpPr>
                <p:cNvPr id="112" name="ïṥḷîďe">
                  <a:extLst>
                    <a:ext uri="{FF2B5EF4-FFF2-40B4-BE49-F238E27FC236}">
                      <a16:creationId xmlns:a16="http://schemas.microsoft.com/office/drawing/2014/main" id="{4EFBEFFD-B5C0-4242-BADF-4E0CA5ACA8AF}"/>
                    </a:ext>
                  </a:extLst>
                </p:cNvPr>
                <p:cNvSpPr/>
                <p:nvPr/>
              </p:nvSpPr>
              <p:spPr>
                <a:xfrm>
                  <a:off x="2082804" y="1329817"/>
                  <a:ext cx="2334087" cy="335557"/>
                </a:xfrm>
                <a:prstGeom prst="rect">
                  <a:avLst/>
                </a:prstGeom>
              </p:spPr>
              <p:txBody>
                <a:bodyPr wrap="none" lIns="144000" tIns="0" rIns="144000" bIns="0" anchor="t" anchorCtr="0">
                  <a:normAutofit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zh-CN" altLang="en-US" b="1" dirty="0"/>
                    <a:t>查看运行结果</a:t>
                  </a:r>
                </a:p>
              </p:txBody>
            </p:sp>
          </p:grpSp>
          <p:grpSp>
            <p:nvGrpSpPr>
              <p:cNvPr id="108" name="iŝ1ïďè">
                <a:extLst>
                  <a:ext uri="{FF2B5EF4-FFF2-40B4-BE49-F238E27FC236}">
                    <a16:creationId xmlns:a16="http://schemas.microsoft.com/office/drawing/2014/main" id="{C3A1AD39-C033-4F53-ACA5-8023DBEB43CA}"/>
                  </a:ext>
                </a:extLst>
              </p:cNvPr>
              <p:cNvGrpSpPr/>
              <p:nvPr/>
            </p:nvGrpSpPr>
            <p:grpSpPr>
              <a:xfrm>
                <a:off x="1471472" y="3889242"/>
                <a:ext cx="822599" cy="822598"/>
                <a:chOff x="1471472" y="2647236"/>
                <a:chExt cx="822599" cy="822598"/>
              </a:xfrm>
            </p:grpSpPr>
            <p:sp>
              <p:nvSpPr>
                <p:cNvPr id="109" name="îŝļíḍe">
                  <a:extLst>
                    <a:ext uri="{FF2B5EF4-FFF2-40B4-BE49-F238E27FC236}">
                      <a16:creationId xmlns:a16="http://schemas.microsoft.com/office/drawing/2014/main" id="{8669B0ED-8034-4A47-8F0C-D059B4CC7B87}"/>
                    </a:ext>
                  </a:extLst>
                </p:cNvPr>
                <p:cNvSpPr/>
                <p:nvPr/>
              </p:nvSpPr>
              <p:spPr>
                <a:xfrm>
                  <a:off x="1471472" y="2647236"/>
                  <a:ext cx="822599" cy="822598"/>
                </a:xfrm>
                <a:prstGeom prst="ellipse">
                  <a:avLst/>
                </a:prstGeom>
                <a:solidFill>
                  <a:schemeClr val="accent3"/>
                </a:solidFill>
                <a:ln w="571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dirty="0"/>
                </a:p>
              </p:txBody>
            </p:sp>
            <p:sp>
              <p:nvSpPr>
                <p:cNvPr id="110" name="íṡľiḍê">
                  <a:extLst>
                    <a:ext uri="{FF2B5EF4-FFF2-40B4-BE49-F238E27FC236}">
                      <a16:creationId xmlns:a16="http://schemas.microsoft.com/office/drawing/2014/main" id="{C5638D1A-E6D0-4201-8C60-B8EFF3EB7F37}"/>
                    </a:ext>
                  </a:extLst>
                </p:cNvPr>
                <p:cNvSpPr/>
                <p:nvPr/>
              </p:nvSpPr>
              <p:spPr bwMode="auto">
                <a:xfrm>
                  <a:off x="1638297" y="2822206"/>
                  <a:ext cx="488946" cy="472655"/>
                </a:xfrm>
                <a:custGeom>
                  <a:avLst/>
                  <a:gdLst>
                    <a:gd name="T0" fmla="*/ 3079 w 3534"/>
                    <a:gd name="T1" fmla="*/ 342 h 3421"/>
                    <a:gd name="T2" fmla="*/ 2254 w 3534"/>
                    <a:gd name="T3" fmla="*/ 0 h 3421"/>
                    <a:gd name="T4" fmla="*/ 1428 w 3534"/>
                    <a:gd name="T5" fmla="*/ 342 h 3421"/>
                    <a:gd name="T6" fmla="*/ 1086 w 3534"/>
                    <a:gd name="T7" fmla="*/ 1167 h 3421"/>
                    <a:gd name="T8" fmla="*/ 1179 w 3534"/>
                    <a:gd name="T9" fmla="*/ 1625 h 3421"/>
                    <a:gd name="T10" fmla="*/ 0 w 3534"/>
                    <a:gd name="T11" fmla="*/ 2803 h 3421"/>
                    <a:gd name="T12" fmla="*/ 618 w 3534"/>
                    <a:gd name="T13" fmla="*/ 3421 h 3421"/>
                    <a:gd name="T14" fmla="*/ 1797 w 3534"/>
                    <a:gd name="T15" fmla="*/ 2242 h 3421"/>
                    <a:gd name="T16" fmla="*/ 2254 w 3534"/>
                    <a:gd name="T17" fmla="*/ 2335 h 3421"/>
                    <a:gd name="T18" fmla="*/ 3079 w 3534"/>
                    <a:gd name="T19" fmla="*/ 1993 h 3421"/>
                    <a:gd name="T20" fmla="*/ 3079 w 3534"/>
                    <a:gd name="T21" fmla="*/ 342 h 3421"/>
                    <a:gd name="T22" fmla="*/ 3079 w 3534"/>
                    <a:gd name="T23" fmla="*/ 342 h 3421"/>
                    <a:gd name="T24" fmla="*/ 2938 w 3534"/>
                    <a:gd name="T25" fmla="*/ 1851 h 3421"/>
                    <a:gd name="T26" fmla="*/ 2254 w 3534"/>
                    <a:gd name="T27" fmla="*/ 2135 h 3421"/>
                    <a:gd name="T28" fmla="*/ 1762 w 3534"/>
                    <a:gd name="T29" fmla="*/ 2001 h 3421"/>
                    <a:gd name="T30" fmla="*/ 1695 w 3534"/>
                    <a:gd name="T31" fmla="*/ 1961 h 3421"/>
                    <a:gd name="T32" fmla="*/ 1473 w 3534"/>
                    <a:gd name="T33" fmla="*/ 2183 h 3421"/>
                    <a:gd name="T34" fmla="*/ 1523 w 3534"/>
                    <a:gd name="T35" fmla="*/ 2233 h 3421"/>
                    <a:gd name="T36" fmla="*/ 618 w 3534"/>
                    <a:gd name="T37" fmla="*/ 3138 h 3421"/>
                    <a:gd name="T38" fmla="*/ 283 w 3534"/>
                    <a:gd name="T39" fmla="*/ 2803 h 3421"/>
                    <a:gd name="T40" fmla="*/ 1188 w 3534"/>
                    <a:gd name="T41" fmla="*/ 1898 h 3421"/>
                    <a:gd name="T42" fmla="*/ 1238 w 3534"/>
                    <a:gd name="T43" fmla="*/ 1948 h 3421"/>
                    <a:gd name="T44" fmla="*/ 1460 w 3534"/>
                    <a:gd name="T45" fmla="*/ 1726 h 3421"/>
                    <a:gd name="T46" fmla="*/ 1420 w 3534"/>
                    <a:gd name="T47" fmla="*/ 1659 h 3421"/>
                    <a:gd name="T48" fmla="*/ 1286 w 3534"/>
                    <a:gd name="T49" fmla="*/ 1167 h 3421"/>
                    <a:gd name="T50" fmla="*/ 1570 w 3534"/>
                    <a:gd name="T51" fmla="*/ 483 h 3421"/>
                    <a:gd name="T52" fmla="*/ 2254 w 3534"/>
                    <a:gd name="T53" fmla="*/ 200 h 3421"/>
                    <a:gd name="T54" fmla="*/ 2938 w 3534"/>
                    <a:gd name="T55" fmla="*/ 483 h 3421"/>
                    <a:gd name="T56" fmla="*/ 2938 w 3534"/>
                    <a:gd name="T57" fmla="*/ 1851 h 3421"/>
                    <a:gd name="T58" fmla="*/ 2254 w 3534"/>
                    <a:gd name="T59" fmla="*/ 474 h 3421"/>
                    <a:gd name="T60" fmla="*/ 2744 w 3534"/>
                    <a:gd name="T61" fmla="*/ 677 h 3421"/>
                    <a:gd name="T62" fmla="*/ 2602 w 3534"/>
                    <a:gd name="T63" fmla="*/ 819 h 3421"/>
                    <a:gd name="T64" fmla="*/ 2571 w 3534"/>
                    <a:gd name="T65" fmla="*/ 790 h 3421"/>
                    <a:gd name="T66" fmla="*/ 2254 w 3534"/>
                    <a:gd name="T67" fmla="*/ 674 h 3421"/>
                    <a:gd name="T68" fmla="*/ 1905 w 3534"/>
                    <a:gd name="T69" fmla="*/ 819 h 3421"/>
                    <a:gd name="T70" fmla="*/ 1762 w 3534"/>
                    <a:gd name="T71" fmla="*/ 1125 h 3421"/>
                    <a:gd name="T72" fmla="*/ 1761 w 3534"/>
                    <a:gd name="T73" fmla="*/ 1167 h 3421"/>
                    <a:gd name="T74" fmla="*/ 1561 w 3534"/>
                    <a:gd name="T75" fmla="*/ 1167 h 3421"/>
                    <a:gd name="T76" fmla="*/ 1764 w 3534"/>
                    <a:gd name="T77" fmla="*/ 677 h 3421"/>
                    <a:gd name="T78" fmla="*/ 2254 w 3534"/>
                    <a:gd name="T79" fmla="*/ 474 h 34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3534" h="3421">
                      <a:moveTo>
                        <a:pt x="3079" y="342"/>
                      </a:moveTo>
                      <a:cubicBezTo>
                        <a:pt x="2859" y="121"/>
                        <a:pt x="2565" y="0"/>
                        <a:pt x="2254" y="0"/>
                      </a:cubicBezTo>
                      <a:cubicBezTo>
                        <a:pt x="1942" y="0"/>
                        <a:pt x="1649" y="121"/>
                        <a:pt x="1428" y="342"/>
                      </a:cubicBezTo>
                      <a:cubicBezTo>
                        <a:pt x="1208" y="562"/>
                        <a:pt x="1086" y="856"/>
                        <a:pt x="1086" y="1167"/>
                      </a:cubicBezTo>
                      <a:cubicBezTo>
                        <a:pt x="1086" y="1325"/>
                        <a:pt x="1118" y="1481"/>
                        <a:pt x="1179" y="1625"/>
                      </a:cubicBezTo>
                      <a:lnTo>
                        <a:pt x="0" y="2803"/>
                      </a:lnTo>
                      <a:lnTo>
                        <a:pt x="618" y="3421"/>
                      </a:lnTo>
                      <a:lnTo>
                        <a:pt x="1797" y="2242"/>
                      </a:lnTo>
                      <a:cubicBezTo>
                        <a:pt x="1940" y="2303"/>
                        <a:pt x="2096" y="2335"/>
                        <a:pt x="2254" y="2335"/>
                      </a:cubicBezTo>
                      <a:cubicBezTo>
                        <a:pt x="2565" y="2335"/>
                        <a:pt x="2859" y="2213"/>
                        <a:pt x="3079" y="1993"/>
                      </a:cubicBezTo>
                      <a:cubicBezTo>
                        <a:pt x="3534" y="1538"/>
                        <a:pt x="3534" y="797"/>
                        <a:pt x="3079" y="342"/>
                      </a:cubicBezTo>
                      <a:lnTo>
                        <a:pt x="3079" y="342"/>
                      </a:lnTo>
                      <a:close/>
                      <a:moveTo>
                        <a:pt x="2938" y="1851"/>
                      </a:moveTo>
                      <a:cubicBezTo>
                        <a:pt x="2755" y="2034"/>
                        <a:pt x="2512" y="2135"/>
                        <a:pt x="2254" y="2135"/>
                      </a:cubicBezTo>
                      <a:cubicBezTo>
                        <a:pt x="2080" y="2135"/>
                        <a:pt x="1910" y="2089"/>
                        <a:pt x="1762" y="2001"/>
                      </a:cubicBezTo>
                      <a:lnTo>
                        <a:pt x="1695" y="1961"/>
                      </a:lnTo>
                      <a:lnTo>
                        <a:pt x="1473" y="2183"/>
                      </a:lnTo>
                      <a:lnTo>
                        <a:pt x="1523" y="2233"/>
                      </a:lnTo>
                      <a:lnTo>
                        <a:pt x="618" y="3138"/>
                      </a:lnTo>
                      <a:lnTo>
                        <a:pt x="283" y="2803"/>
                      </a:lnTo>
                      <a:lnTo>
                        <a:pt x="1188" y="1898"/>
                      </a:lnTo>
                      <a:lnTo>
                        <a:pt x="1238" y="1948"/>
                      </a:lnTo>
                      <a:lnTo>
                        <a:pt x="1460" y="1726"/>
                      </a:lnTo>
                      <a:lnTo>
                        <a:pt x="1420" y="1659"/>
                      </a:lnTo>
                      <a:cubicBezTo>
                        <a:pt x="1332" y="1511"/>
                        <a:pt x="1286" y="1341"/>
                        <a:pt x="1286" y="1167"/>
                      </a:cubicBezTo>
                      <a:cubicBezTo>
                        <a:pt x="1286" y="909"/>
                        <a:pt x="1387" y="666"/>
                        <a:pt x="1570" y="483"/>
                      </a:cubicBezTo>
                      <a:cubicBezTo>
                        <a:pt x="1752" y="301"/>
                        <a:pt x="1995" y="200"/>
                        <a:pt x="2254" y="200"/>
                      </a:cubicBezTo>
                      <a:cubicBezTo>
                        <a:pt x="2512" y="200"/>
                        <a:pt x="2755" y="301"/>
                        <a:pt x="2938" y="483"/>
                      </a:cubicBezTo>
                      <a:cubicBezTo>
                        <a:pt x="3315" y="861"/>
                        <a:pt x="3315" y="1474"/>
                        <a:pt x="2938" y="1851"/>
                      </a:cubicBezTo>
                      <a:close/>
                      <a:moveTo>
                        <a:pt x="2254" y="474"/>
                      </a:moveTo>
                      <a:cubicBezTo>
                        <a:pt x="2439" y="474"/>
                        <a:pt x="2613" y="546"/>
                        <a:pt x="2744" y="677"/>
                      </a:cubicBezTo>
                      <a:lnTo>
                        <a:pt x="2602" y="819"/>
                      </a:lnTo>
                      <a:cubicBezTo>
                        <a:pt x="2592" y="809"/>
                        <a:pt x="2582" y="799"/>
                        <a:pt x="2571" y="790"/>
                      </a:cubicBezTo>
                      <a:cubicBezTo>
                        <a:pt x="2482" y="715"/>
                        <a:pt x="2371" y="674"/>
                        <a:pt x="2254" y="674"/>
                      </a:cubicBezTo>
                      <a:cubicBezTo>
                        <a:pt x="2122" y="674"/>
                        <a:pt x="1998" y="726"/>
                        <a:pt x="1905" y="819"/>
                      </a:cubicBezTo>
                      <a:cubicBezTo>
                        <a:pt x="1822" y="902"/>
                        <a:pt x="1772" y="1009"/>
                        <a:pt x="1762" y="1125"/>
                      </a:cubicBezTo>
                      <a:cubicBezTo>
                        <a:pt x="1761" y="1139"/>
                        <a:pt x="1761" y="1153"/>
                        <a:pt x="1761" y="1167"/>
                      </a:cubicBezTo>
                      <a:lnTo>
                        <a:pt x="1561" y="1167"/>
                      </a:lnTo>
                      <a:cubicBezTo>
                        <a:pt x="1561" y="982"/>
                        <a:pt x="1633" y="808"/>
                        <a:pt x="1764" y="677"/>
                      </a:cubicBezTo>
                      <a:cubicBezTo>
                        <a:pt x="1894" y="547"/>
                        <a:pt x="2069" y="474"/>
                        <a:pt x="2254" y="47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</p:grpSp>
        <p:cxnSp>
          <p:nvCxnSpPr>
            <p:cNvPr id="91" name="直接连接符 90">
              <a:extLst>
                <a:ext uri="{FF2B5EF4-FFF2-40B4-BE49-F238E27FC236}">
                  <a16:creationId xmlns:a16="http://schemas.microsoft.com/office/drawing/2014/main" id="{D6C91BFD-D5E6-4D2F-BAA4-D2424245D8C1}"/>
                </a:ext>
              </a:extLst>
            </p:cNvPr>
            <p:cNvCxnSpPr/>
            <p:nvPr/>
          </p:nvCxnSpPr>
          <p:spPr>
            <a:xfrm>
              <a:off x="8899525" y="3473973"/>
              <a:ext cx="261937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dash"/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2" name="îślîďé">
              <a:extLst>
                <a:ext uri="{FF2B5EF4-FFF2-40B4-BE49-F238E27FC236}">
                  <a16:creationId xmlns:a16="http://schemas.microsoft.com/office/drawing/2014/main" id="{CE20EB5D-A2F0-4E15-A709-BF68215C44E4}"/>
                </a:ext>
              </a:extLst>
            </p:cNvPr>
            <p:cNvGrpSpPr/>
            <p:nvPr/>
          </p:nvGrpSpPr>
          <p:grpSpPr>
            <a:xfrm>
              <a:off x="8895329" y="2281160"/>
              <a:ext cx="2434088" cy="1071640"/>
              <a:chOff x="2082804" y="1329817"/>
              <a:chExt cx="2334087" cy="1071640"/>
            </a:xfrm>
          </p:grpSpPr>
          <p:sp>
            <p:nvSpPr>
              <p:cNvPr id="102" name="ïṥľíḑê">
                <a:extLst>
                  <a:ext uri="{FF2B5EF4-FFF2-40B4-BE49-F238E27FC236}">
                    <a16:creationId xmlns:a16="http://schemas.microsoft.com/office/drawing/2014/main" id="{633C7211-05AE-4F13-898F-2F64A1E189A8}"/>
                  </a:ext>
                </a:extLst>
              </p:cNvPr>
              <p:cNvSpPr txBox="1"/>
              <p:nvPr/>
            </p:nvSpPr>
            <p:spPr>
              <a:xfrm>
                <a:off x="2082804" y="1677152"/>
                <a:ext cx="2334087" cy="72430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 anchorCtr="0">
                <a:normAutofit fontScale="850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 defTabSz="914400">
                  <a:lnSpc>
                    <a:spcPct val="120000"/>
                  </a:lnSpc>
                  <a:spcBef>
                    <a:spcPct val="0"/>
                  </a:spcBef>
                  <a:defRPr/>
                </a:pPr>
                <a:r>
                  <a:rPr lang="zh-CN" altLang="en-US" sz="1100" dirty="0">
                    <a:solidFill>
                      <a:schemeClr val="dk1">
                        <a:lumMod val="100000"/>
                      </a:schemeClr>
                    </a:solidFill>
                  </a:rPr>
                  <a:t>命令格式为</a:t>
                </a:r>
                <a:endParaRPr lang="en-US" altLang="zh-CN" sz="1100" dirty="0">
                  <a:solidFill>
                    <a:schemeClr val="dk1">
                      <a:lumMod val="100000"/>
                    </a:schemeClr>
                  </a:solidFill>
                </a:endParaRPr>
              </a:p>
              <a:p>
                <a:pPr lvl="0" algn="ctr" defTabSz="914400">
                  <a:lnSpc>
                    <a:spcPct val="120000"/>
                  </a:lnSpc>
                  <a:spcBef>
                    <a:spcPct val="0"/>
                  </a:spcBef>
                  <a:defRPr/>
                </a:pPr>
                <a:r>
                  <a:rPr lang="en-US" altLang="zh-CN" sz="1100" dirty="0" err="1">
                    <a:solidFill>
                      <a:schemeClr val="dk1">
                        <a:lumMod val="100000"/>
                      </a:schemeClr>
                    </a:solidFill>
                  </a:rPr>
                  <a:t>hadoop</a:t>
                </a:r>
                <a:r>
                  <a:rPr lang="en-US" altLang="zh-CN" sz="1100" dirty="0">
                    <a:solidFill>
                      <a:schemeClr val="dk1">
                        <a:lumMod val="100000"/>
                      </a:schemeClr>
                    </a:solidFill>
                  </a:rPr>
                  <a:t> jar </a:t>
                </a:r>
                <a:r>
                  <a:rPr lang="zh-CN" altLang="en-US" sz="1100" dirty="0">
                    <a:solidFill>
                      <a:schemeClr val="dk1">
                        <a:lumMod val="100000"/>
                      </a:schemeClr>
                    </a:solidFill>
                  </a:rPr>
                  <a:t>包所在路径 </a:t>
                </a:r>
                <a:r>
                  <a:rPr lang="en-US" altLang="zh-CN" sz="1100" dirty="0">
                    <a:solidFill>
                      <a:schemeClr val="dk1">
                        <a:lumMod val="100000"/>
                      </a:schemeClr>
                    </a:solidFill>
                  </a:rPr>
                  <a:t>input (output) (…)</a:t>
                </a:r>
                <a:endParaRPr lang="zh-CN" altLang="en-US" sz="1100" dirty="0">
                  <a:solidFill>
                    <a:schemeClr val="dk1">
                      <a:lumMod val="100000"/>
                    </a:schemeClr>
                  </a:solidFill>
                </a:endParaRPr>
              </a:p>
            </p:txBody>
          </p:sp>
          <p:sp>
            <p:nvSpPr>
              <p:cNvPr id="103" name="îṡḻïḑé">
                <a:extLst>
                  <a:ext uri="{FF2B5EF4-FFF2-40B4-BE49-F238E27FC236}">
                    <a16:creationId xmlns:a16="http://schemas.microsoft.com/office/drawing/2014/main" id="{D664A612-B083-440F-B067-7F82C72355BC}"/>
                  </a:ext>
                </a:extLst>
              </p:cNvPr>
              <p:cNvSpPr/>
              <p:nvPr/>
            </p:nvSpPr>
            <p:spPr>
              <a:xfrm>
                <a:off x="2082804" y="1329817"/>
                <a:ext cx="2334087" cy="335557"/>
              </a:xfrm>
              <a:prstGeom prst="rect">
                <a:avLst/>
              </a:prstGeom>
            </p:spPr>
            <p:txBody>
              <a:bodyPr wrap="square" lIns="91440" tIns="45720" rIns="91440" bIns="45720" anchor="t" anchorCtr="0">
                <a:normAutofit fontScale="7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b="1" dirty="0"/>
                  <a:t>运行实例</a:t>
                </a:r>
              </a:p>
            </p:txBody>
          </p:sp>
        </p:grpSp>
        <p:grpSp>
          <p:nvGrpSpPr>
            <p:cNvPr id="93" name="íşļîḍe">
              <a:extLst>
                <a:ext uri="{FF2B5EF4-FFF2-40B4-BE49-F238E27FC236}">
                  <a16:creationId xmlns:a16="http://schemas.microsoft.com/office/drawing/2014/main" id="{84C11520-E61E-4282-9D75-5927E02723C5}"/>
                </a:ext>
              </a:extLst>
            </p:cNvPr>
            <p:cNvGrpSpPr/>
            <p:nvPr/>
          </p:nvGrpSpPr>
          <p:grpSpPr>
            <a:xfrm>
              <a:off x="9701072" y="1247642"/>
              <a:ext cx="822599" cy="822598"/>
              <a:chOff x="1471472" y="2647236"/>
              <a:chExt cx="822599" cy="822598"/>
            </a:xfrm>
          </p:grpSpPr>
          <p:sp>
            <p:nvSpPr>
              <p:cNvPr id="100" name="iš1îde">
                <a:extLst>
                  <a:ext uri="{FF2B5EF4-FFF2-40B4-BE49-F238E27FC236}">
                    <a16:creationId xmlns:a16="http://schemas.microsoft.com/office/drawing/2014/main" id="{4E6DB479-2BC1-4794-A850-5621C6BAD075}"/>
                  </a:ext>
                </a:extLst>
              </p:cNvPr>
              <p:cNvSpPr/>
              <p:nvPr/>
            </p:nvSpPr>
            <p:spPr>
              <a:xfrm>
                <a:off x="1471472" y="2647236"/>
                <a:ext cx="822599" cy="822598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101" name="îsľïdê">
                <a:extLst>
                  <a:ext uri="{FF2B5EF4-FFF2-40B4-BE49-F238E27FC236}">
                    <a16:creationId xmlns:a16="http://schemas.microsoft.com/office/drawing/2014/main" id="{57E73356-BF4F-4C3A-B7E6-CC2427C1984C}"/>
                  </a:ext>
                </a:extLst>
              </p:cNvPr>
              <p:cNvSpPr/>
              <p:nvPr/>
            </p:nvSpPr>
            <p:spPr bwMode="auto">
              <a:xfrm>
                <a:off x="1638293" y="2814401"/>
                <a:ext cx="488946" cy="488266"/>
              </a:xfrm>
              <a:custGeom>
                <a:avLst/>
                <a:gdLst>
                  <a:gd name="connsiteX0" fmla="*/ 206311 w 609050"/>
                  <a:gd name="connsiteY0" fmla="*/ 155548 h 608203"/>
                  <a:gd name="connsiteX1" fmla="*/ 458637 w 609050"/>
                  <a:gd name="connsiteY1" fmla="*/ 286107 h 608203"/>
                  <a:gd name="connsiteX2" fmla="*/ 469542 w 609050"/>
                  <a:gd name="connsiteY2" fmla="*/ 304087 h 608203"/>
                  <a:gd name="connsiteX3" fmla="*/ 458637 w 609050"/>
                  <a:gd name="connsiteY3" fmla="*/ 322068 h 608203"/>
                  <a:gd name="connsiteX4" fmla="*/ 206311 w 609050"/>
                  <a:gd name="connsiteY4" fmla="*/ 452627 h 608203"/>
                  <a:gd name="connsiteX5" fmla="*/ 186501 w 609050"/>
                  <a:gd name="connsiteY5" fmla="*/ 451927 h 608203"/>
                  <a:gd name="connsiteX6" fmla="*/ 176696 w 609050"/>
                  <a:gd name="connsiteY6" fmla="*/ 434646 h 608203"/>
                  <a:gd name="connsiteX7" fmla="*/ 176696 w 609050"/>
                  <a:gd name="connsiteY7" fmla="*/ 173628 h 608203"/>
                  <a:gd name="connsiteX8" fmla="*/ 186501 w 609050"/>
                  <a:gd name="connsiteY8" fmla="*/ 156247 h 608203"/>
                  <a:gd name="connsiteX9" fmla="*/ 206311 w 609050"/>
                  <a:gd name="connsiteY9" fmla="*/ 155548 h 608203"/>
                  <a:gd name="connsiteX10" fmla="*/ 304525 w 609050"/>
                  <a:gd name="connsiteY10" fmla="*/ 60840 h 608203"/>
                  <a:gd name="connsiteX11" fmla="*/ 60925 w 609050"/>
                  <a:gd name="connsiteY11" fmla="*/ 304102 h 608203"/>
                  <a:gd name="connsiteX12" fmla="*/ 304525 w 609050"/>
                  <a:gd name="connsiteY12" fmla="*/ 547463 h 608203"/>
                  <a:gd name="connsiteX13" fmla="*/ 548225 w 609050"/>
                  <a:gd name="connsiteY13" fmla="*/ 304102 h 608203"/>
                  <a:gd name="connsiteX14" fmla="*/ 304525 w 609050"/>
                  <a:gd name="connsiteY14" fmla="*/ 60840 h 608203"/>
                  <a:gd name="connsiteX15" fmla="*/ 304525 w 609050"/>
                  <a:gd name="connsiteY15" fmla="*/ 0 h 608203"/>
                  <a:gd name="connsiteX16" fmla="*/ 609050 w 609050"/>
                  <a:gd name="connsiteY16" fmla="*/ 304102 h 608203"/>
                  <a:gd name="connsiteX17" fmla="*/ 304525 w 609050"/>
                  <a:gd name="connsiteY17" fmla="*/ 608203 h 608203"/>
                  <a:gd name="connsiteX18" fmla="*/ 0 w 609050"/>
                  <a:gd name="connsiteY18" fmla="*/ 304102 h 608203"/>
                  <a:gd name="connsiteX19" fmla="*/ 304525 w 609050"/>
                  <a:gd name="connsiteY19" fmla="*/ 0 h 608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609050" h="608203">
                    <a:moveTo>
                      <a:pt x="206311" y="155548"/>
                    </a:moveTo>
                    <a:lnTo>
                      <a:pt x="458637" y="286107"/>
                    </a:lnTo>
                    <a:cubicBezTo>
                      <a:pt x="465340" y="289603"/>
                      <a:pt x="469542" y="296595"/>
                      <a:pt x="469542" y="304087"/>
                    </a:cubicBezTo>
                    <a:cubicBezTo>
                      <a:pt x="469542" y="311679"/>
                      <a:pt x="465340" y="318671"/>
                      <a:pt x="458637" y="322068"/>
                    </a:cubicBezTo>
                    <a:lnTo>
                      <a:pt x="206311" y="452627"/>
                    </a:lnTo>
                    <a:cubicBezTo>
                      <a:pt x="200008" y="455923"/>
                      <a:pt x="192504" y="455623"/>
                      <a:pt x="186501" y="451927"/>
                    </a:cubicBezTo>
                    <a:cubicBezTo>
                      <a:pt x="180398" y="448231"/>
                      <a:pt x="176696" y="441738"/>
                      <a:pt x="176696" y="434646"/>
                    </a:cubicBezTo>
                    <a:lnTo>
                      <a:pt x="176696" y="173628"/>
                    </a:lnTo>
                    <a:cubicBezTo>
                      <a:pt x="176696" y="166536"/>
                      <a:pt x="180398" y="159943"/>
                      <a:pt x="186501" y="156247"/>
                    </a:cubicBezTo>
                    <a:cubicBezTo>
                      <a:pt x="192504" y="152551"/>
                      <a:pt x="200008" y="152351"/>
                      <a:pt x="206311" y="155548"/>
                    </a:cubicBezTo>
                    <a:close/>
                    <a:moveTo>
                      <a:pt x="304525" y="60840"/>
                    </a:moveTo>
                    <a:cubicBezTo>
                      <a:pt x="170170" y="60840"/>
                      <a:pt x="60925" y="169933"/>
                      <a:pt x="60925" y="304102"/>
                    </a:cubicBezTo>
                    <a:cubicBezTo>
                      <a:pt x="60925" y="438270"/>
                      <a:pt x="170170" y="547463"/>
                      <a:pt x="304525" y="547463"/>
                    </a:cubicBezTo>
                    <a:cubicBezTo>
                      <a:pt x="438880" y="547463"/>
                      <a:pt x="548225" y="438270"/>
                      <a:pt x="548225" y="304102"/>
                    </a:cubicBezTo>
                    <a:cubicBezTo>
                      <a:pt x="548225" y="169933"/>
                      <a:pt x="438880" y="60840"/>
                      <a:pt x="304525" y="60840"/>
                    </a:cubicBezTo>
                    <a:close/>
                    <a:moveTo>
                      <a:pt x="304525" y="0"/>
                    </a:moveTo>
                    <a:cubicBezTo>
                      <a:pt x="472794" y="0"/>
                      <a:pt x="609050" y="136166"/>
                      <a:pt x="609050" y="304102"/>
                    </a:cubicBezTo>
                    <a:cubicBezTo>
                      <a:pt x="609050" y="472137"/>
                      <a:pt x="472794" y="608203"/>
                      <a:pt x="304525" y="608203"/>
                    </a:cubicBezTo>
                    <a:cubicBezTo>
                      <a:pt x="136356" y="608203"/>
                      <a:pt x="0" y="472137"/>
                      <a:pt x="0" y="304102"/>
                    </a:cubicBezTo>
                    <a:cubicBezTo>
                      <a:pt x="0" y="136166"/>
                      <a:pt x="136356" y="0"/>
                      <a:pt x="30452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94" name="ï$ļiḍè">
              <a:extLst>
                <a:ext uri="{FF2B5EF4-FFF2-40B4-BE49-F238E27FC236}">
                  <a16:creationId xmlns:a16="http://schemas.microsoft.com/office/drawing/2014/main" id="{92476499-848E-4B81-91CC-2009326E02CB}"/>
                </a:ext>
              </a:extLst>
            </p:cNvPr>
            <p:cNvGrpSpPr/>
            <p:nvPr/>
          </p:nvGrpSpPr>
          <p:grpSpPr>
            <a:xfrm>
              <a:off x="8895329" y="4922760"/>
              <a:ext cx="2434088" cy="1071640"/>
              <a:chOff x="2082804" y="1329817"/>
              <a:chExt cx="2334087" cy="1071640"/>
            </a:xfrm>
          </p:grpSpPr>
          <p:sp>
            <p:nvSpPr>
              <p:cNvPr id="98" name="iṣlïḍé">
                <a:extLst>
                  <a:ext uri="{FF2B5EF4-FFF2-40B4-BE49-F238E27FC236}">
                    <a16:creationId xmlns:a16="http://schemas.microsoft.com/office/drawing/2014/main" id="{E0396F63-632A-4927-9859-1B50A2D02DD5}"/>
                  </a:ext>
                </a:extLst>
              </p:cNvPr>
              <p:cNvSpPr txBox="1"/>
              <p:nvPr/>
            </p:nvSpPr>
            <p:spPr>
              <a:xfrm>
                <a:off x="2082804" y="1677152"/>
                <a:ext cx="2334087" cy="72430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 defTabSz="914400">
                  <a:lnSpc>
                    <a:spcPct val="120000"/>
                  </a:lnSpc>
                  <a:spcBef>
                    <a:spcPct val="0"/>
                  </a:spcBef>
                  <a:defRPr/>
                </a:pPr>
                <a:r>
                  <a:rPr lang="zh-CN" altLang="en-US" sz="1100" dirty="0">
                    <a:solidFill>
                      <a:schemeClr val="dk1">
                        <a:lumMod val="100000"/>
                      </a:schemeClr>
                    </a:solidFill>
                  </a:rPr>
                  <a:t>少则显示上一次的结果</a:t>
                </a:r>
                <a:endParaRPr lang="en-US" altLang="zh-CN" sz="1100" dirty="0">
                  <a:solidFill>
                    <a:schemeClr val="dk1">
                      <a:lumMod val="100000"/>
                    </a:schemeClr>
                  </a:solidFill>
                </a:endParaRPr>
              </a:p>
              <a:p>
                <a:pPr lvl="0" algn="ctr" defTabSz="914400">
                  <a:lnSpc>
                    <a:spcPct val="120000"/>
                  </a:lnSpc>
                  <a:spcBef>
                    <a:spcPct val="0"/>
                  </a:spcBef>
                  <a:defRPr/>
                </a:pPr>
                <a:r>
                  <a:rPr lang="zh-CN" altLang="en-US" sz="1100" dirty="0">
                    <a:solidFill>
                      <a:schemeClr val="dk1">
                        <a:lumMod val="100000"/>
                      </a:schemeClr>
                    </a:solidFill>
                  </a:rPr>
                  <a:t>多则直接报错</a:t>
                </a:r>
              </a:p>
            </p:txBody>
          </p:sp>
          <p:sp>
            <p:nvSpPr>
              <p:cNvPr id="99" name="íS1iďè">
                <a:extLst>
                  <a:ext uri="{FF2B5EF4-FFF2-40B4-BE49-F238E27FC236}">
                    <a16:creationId xmlns:a16="http://schemas.microsoft.com/office/drawing/2014/main" id="{B446DC17-ECBA-4303-8810-5C49F0C17368}"/>
                  </a:ext>
                </a:extLst>
              </p:cNvPr>
              <p:cNvSpPr/>
              <p:nvPr/>
            </p:nvSpPr>
            <p:spPr>
              <a:xfrm>
                <a:off x="2082804" y="1329817"/>
                <a:ext cx="2334087" cy="335557"/>
              </a:xfrm>
              <a:prstGeom prst="rect">
                <a:avLst/>
              </a:prstGeom>
            </p:spPr>
            <p:txBody>
              <a:bodyPr wrap="square" lIns="91440" tIns="45720" rIns="91440" bIns="45720" anchor="t" anchorCtr="0">
                <a:normAutofit fontScale="7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b="1" dirty="0"/>
                  <a:t>删除</a:t>
                </a:r>
                <a:r>
                  <a:rPr lang="en-US" altLang="zh-CN" b="1" dirty="0"/>
                  <a:t>output</a:t>
                </a:r>
                <a:r>
                  <a:rPr lang="zh-CN" altLang="en-US" b="1" dirty="0"/>
                  <a:t>文件夹</a:t>
                </a:r>
              </a:p>
            </p:txBody>
          </p:sp>
        </p:grpSp>
        <p:grpSp>
          <p:nvGrpSpPr>
            <p:cNvPr id="95" name="îš1íḋe">
              <a:extLst>
                <a:ext uri="{FF2B5EF4-FFF2-40B4-BE49-F238E27FC236}">
                  <a16:creationId xmlns:a16="http://schemas.microsoft.com/office/drawing/2014/main" id="{0A8B5E58-9561-40D2-B094-58C687FDF52F}"/>
                </a:ext>
              </a:extLst>
            </p:cNvPr>
            <p:cNvGrpSpPr/>
            <p:nvPr/>
          </p:nvGrpSpPr>
          <p:grpSpPr>
            <a:xfrm>
              <a:off x="9701072" y="3889242"/>
              <a:ext cx="822599" cy="822598"/>
              <a:chOff x="1471472" y="2647236"/>
              <a:chExt cx="822599" cy="822598"/>
            </a:xfrm>
          </p:grpSpPr>
          <p:sp>
            <p:nvSpPr>
              <p:cNvPr id="96" name="ïṣḻïdé">
                <a:extLst>
                  <a:ext uri="{FF2B5EF4-FFF2-40B4-BE49-F238E27FC236}">
                    <a16:creationId xmlns:a16="http://schemas.microsoft.com/office/drawing/2014/main" id="{CA751594-4CE3-4457-BA60-2401605C91E6}"/>
                  </a:ext>
                </a:extLst>
              </p:cNvPr>
              <p:cNvSpPr/>
              <p:nvPr/>
            </p:nvSpPr>
            <p:spPr>
              <a:xfrm>
                <a:off x="1471472" y="2647236"/>
                <a:ext cx="822599" cy="822598"/>
              </a:xfrm>
              <a:prstGeom prst="ellipse">
                <a:avLst/>
              </a:prstGeom>
              <a:solidFill>
                <a:schemeClr val="accent4"/>
              </a:solidFill>
              <a:ln w="571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97" name="iŝ1ïḋé">
                <a:extLst>
                  <a:ext uri="{FF2B5EF4-FFF2-40B4-BE49-F238E27FC236}">
                    <a16:creationId xmlns:a16="http://schemas.microsoft.com/office/drawing/2014/main" id="{D50398DF-6479-4E6E-A9E4-8EE40EF211CC}"/>
                  </a:ext>
                </a:extLst>
              </p:cNvPr>
              <p:cNvSpPr/>
              <p:nvPr/>
            </p:nvSpPr>
            <p:spPr bwMode="auto">
              <a:xfrm>
                <a:off x="1706536" y="2814062"/>
                <a:ext cx="352468" cy="488946"/>
              </a:xfrm>
              <a:custGeom>
                <a:avLst/>
                <a:gdLst>
                  <a:gd name="connsiteX0" fmla="*/ 277424 w 435544"/>
                  <a:gd name="connsiteY0" fmla="*/ 326234 h 604188"/>
                  <a:gd name="connsiteX1" fmla="*/ 272283 w 435544"/>
                  <a:gd name="connsiteY1" fmla="*/ 411728 h 604188"/>
                  <a:gd name="connsiteX2" fmla="*/ 273962 w 435544"/>
                  <a:gd name="connsiteY2" fmla="*/ 413509 h 604188"/>
                  <a:gd name="connsiteX3" fmla="*/ 274906 w 435544"/>
                  <a:gd name="connsiteY3" fmla="*/ 395488 h 604188"/>
                  <a:gd name="connsiteX4" fmla="*/ 279103 w 435544"/>
                  <a:gd name="connsiteY4" fmla="*/ 326234 h 604188"/>
                  <a:gd name="connsiteX5" fmla="*/ 332196 w 435544"/>
                  <a:gd name="connsiteY5" fmla="*/ 229635 h 604188"/>
                  <a:gd name="connsiteX6" fmla="*/ 297151 w 435544"/>
                  <a:gd name="connsiteY6" fmla="*/ 351903 h 604188"/>
                  <a:gd name="connsiteX7" fmla="*/ 295367 w 435544"/>
                  <a:gd name="connsiteY7" fmla="*/ 506651 h 604188"/>
                  <a:gd name="connsiteX8" fmla="*/ 299669 w 435544"/>
                  <a:gd name="connsiteY8" fmla="*/ 507489 h 604188"/>
                  <a:gd name="connsiteX9" fmla="*/ 345102 w 435544"/>
                  <a:gd name="connsiteY9" fmla="*/ 410051 h 604188"/>
                  <a:gd name="connsiteX10" fmla="*/ 332196 w 435544"/>
                  <a:gd name="connsiteY10" fmla="*/ 229635 h 604188"/>
                  <a:gd name="connsiteX11" fmla="*/ 144692 w 435544"/>
                  <a:gd name="connsiteY11" fmla="*/ 226178 h 604188"/>
                  <a:gd name="connsiteX12" fmla="*/ 148994 w 435544"/>
                  <a:gd name="connsiteY12" fmla="*/ 239065 h 604188"/>
                  <a:gd name="connsiteX13" fmla="*/ 149834 w 435544"/>
                  <a:gd name="connsiteY13" fmla="*/ 227959 h 604188"/>
                  <a:gd name="connsiteX14" fmla="*/ 144692 w 435544"/>
                  <a:gd name="connsiteY14" fmla="*/ 226178 h 604188"/>
                  <a:gd name="connsiteX15" fmla="*/ 115090 w 435544"/>
                  <a:gd name="connsiteY15" fmla="*/ 225994 h 604188"/>
                  <a:gd name="connsiteX16" fmla="*/ 101043 w 435544"/>
                  <a:gd name="connsiteY16" fmla="*/ 244199 h 604188"/>
                  <a:gd name="connsiteX17" fmla="*/ 101043 w 435544"/>
                  <a:gd name="connsiteY17" fmla="*/ 500679 h 604188"/>
                  <a:gd name="connsiteX18" fmla="*/ 141335 w 435544"/>
                  <a:gd name="connsiteY18" fmla="*/ 481820 h 604188"/>
                  <a:gd name="connsiteX19" fmla="*/ 140390 w 435544"/>
                  <a:gd name="connsiteY19" fmla="*/ 451122 h 604188"/>
                  <a:gd name="connsiteX20" fmla="*/ 140390 w 435544"/>
                  <a:gd name="connsiteY20" fmla="*/ 426291 h 604188"/>
                  <a:gd name="connsiteX21" fmla="*/ 139551 w 435544"/>
                  <a:gd name="connsiteY21" fmla="*/ 343312 h 604188"/>
                  <a:gd name="connsiteX22" fmla="*/ 128429 w 435544"/>
                  <a:gd name="connsiteY22" fmla="*/ 247551 h 604188"/>
                  <a:gd name="connsiteX23" fmla="*/ 115090 w 435544"/>
                  <a:gd name="connsiteY23" fmla="*/ 225994 h 604188"/>
                  <a:gd name="connsiteX24" fmla="*/ 215654 w 435544"/>
                  <a:gd name="connsiteY24" fmla="*/ 223986 h 604188"/>
                  <a:gd name="connsiteX25" fmla="*/ 205550 w 435544"/>
                  <a:gd name="connsiteY25" fmla="*/ 233093 h 604188"/>
                  <a:gd name="connsiteX26" fmla="*/ 197785 w 435544"/>
                  <a:gd name="connsiteY26" fmla="*/ 257819 h 604188"/>
                  <a:gd name="connsiteX27" fmla="*/ 190965 w 435544"/>
                  <a:gd name="connsiteY27" fmla="*/ 315129 h 604188"/>
                  <a:gd name="connsiteX28" fmla="*/ 196106 w 435544"/>
                  <a:gd name="connsiteY28" fmla="*/ 500679 h 604188"/>
                  <a:gd name="connsiteX29" fmla="*/ 201248 w 435544"/>
                  <a:gd name="connsiteY29" fmla="*/ 504031 h 604188"/>
                  <a:gd name="connsiteX30" fmla="*/ 248360 w 435544"/>
                  <a:gd name="connsiteY30" fmla="*/ 406594 h 604188"/>
                  <a:gd name="connsiteX31" fmla="*/ 244058 w 435544"/>
                  <a:gd name="connsiteY31" fmla="*/ 251847 h 604188"/>
                  <a:gd name="connsiteX32" fmla="*/ 215654 w 435544"/>
                  <a:gd name="connsiteY32" fmla="*/ 223986 h 604188"/>
                  <a:gd name="connsiteX33" fmla="*/ 345102 w 435544"/>
                  <a:gd name="connsiteY33" fmla="*/ 203966 h 604188"/>
                  <a:gd name="connsiteX34" fmla="*/ 344263 w 435544"/>
                  <a:gd name="connsiteY34" fmla="*/ 205748 h 604188"/>
                  <a:gd name="connsiteX35" fmla="*/ 369865 w 435544"/>
                  <a:gd name="connsiteY35" fmla="*/ 205748 h 604188"/>
                  <a:gd name="connsiteX36" fmla="*/ 378469 w 435544"/>
                  <a:gd name="connsiteY36" fmla="*/ 209938 h 604188"/>
                  <a:gd name="connsiteX37" fmla="*/ 379308 w 435544"/>
                  <a:gd name="connsiteY37" fmla="*/ 204805 h 604188"/>
                  <a:gd name="connsiteX38" fmla="*/ 345102 w 435544"/>
                  <a:gd name="connsiteY38" fmla="*/ 203966 h 604188"/>
                  <a:gd name="connsiteX39" fmla="*/ 301544 w 435544"/>
                  <a:gd name="connsiteY39" fmla="*/ 176647 h 604188"/>
                  <a:gd name="connsiteX40" fmla="*/ 395572 w 435544"/>
                  <a:gd name="connsiteY40" fmla="*/ 187727 h 604188"/>
                  <a:gd name="connsiteX41" fmla="*/ 400713 w 435544"/>
                  <a:gd name="connsiteY41" fmla="*/ 198833 h 604188"/>
                  <a:gd name="connsiteX42" fmla="*/ 401553 w 435544"/>
                  <a:gd name="connsiteY42" fmla="*/ 203966 h 604188"/>
                  <a:gd name="connsiteX43" fmla="*/ 388752 w 435544"/>
                  <a:gd name="connsiteY43" fmla="*/ 380925 h 604188"/>
                  <a:gd name="connsiteX44" fmla="*/ 379308 w 435544"/>
                  <a:gd name="connsiteY44" fmla="*/ 526347 h 604188"/>
                  <a:gd name="connsiteX45" fmla="*/ 148155 w 435544"/>
                  <a:gd name="connsiteY45" fmla="*/ 594658 h 604188"/>
                  <a:gd name="connsiteX46" fmla="*/ 37667 w 435544"/>
                  <a:gd name="connsiteY46" fmla="*/ 190346 h 604188"/>
                  <a:gd name="connsiteX47" fmla="*/ 49734 w 435544"/>
                  <a:gd name="connsiteY47" fmla="*/ 183431 h 604188"/>
                  <a:gd name="connsiteX48" fmla="*/ 106184 w 435544"/>
                  <a:gd name="connsiteY48" fmla="*/ 179240 h 604188"/>
                  <a:gd name="connsiteX49" fmla="*/ 205550 w 435544"/>
                  <a:gd name="connsiteY49" fmla="*/ 178297 h 604188"/>
                  <a:gd name="connsiteX50" fmla="*/ 301544 w 435544"/>
                  <a:gd name="connsiteY50" fmla="*/ 176647 h 604188"/>
                  <a:gd name="connsiteX51" fmla="*/ 22263 w 435544"/>
                  <a:gd name="connsiteY51" fmla="*/ 99692 h 604188"/>
                  <a:gd name="connsiteX52" fmla="*/ 20584 w 435544"/>
                  <a:gd name="connsiteY52" fmla="*/ 109957 h 604188"/>
                  <a:gd name="connsiteX53" fmla="*/ 20584 w 435544"/>
                  <a:gd name="connsiteY53" fmla="*/ 116765 h 604188"/>
                  <a:gd name="connsiteX54" fmla="*/ 22263 w 435544"/>
                  <a:gd name="connsiteY54" fmla="*/ 116765 h 604188"/>
                  <a:gd name="connsiteX55" fmla="*/ 24885 w 435544"/>
                  <a:gd name="connsiteY55" fmla="*/ 105662 h 604188"/>
                  <a:gd name="connsiteX56" fmla="*/ 22263 w 435544"/>
                  <a:gd name="connsiteY56" fmla="*/ 99692 h 604188"/>
                  <a:gd name="connsiteX57" fmla="*/ 212370 w 435544"/>
                  <a:gd name="connsiteY57" fmla="*/ 21028 h 604188"/>
                  <a:gd name="connsiteX58" fmla="*/ 185826 w 435544"/>
                  <a:gd name="connsiteY58" fmla="*/ 22704 h 604188"/>
                  <a:gd name="connsiteX59" fmla="*/ 190967 w 435544"/>
                  <a:gd name="connsiteY59" fmla="*/ 24485 h 604188"/>
                  <a:gd name="connsiteX60" fmla="*/ 201249 w 435544"/>
                  <a:gd name="connsiteY60" fmla="*/ 23647 h 604188"/>
                  <a:gd name="connsiteX61" fmla="*/ 212370 w 435544"/>
                  <a:gd name="connsiteY61" fmla="*/ 21028 h 604188"/>
                  <a:gd name="connsiteX62" fmla="*/ 195583 w 435544"/>
                  <a:gd name="connsiteY62" fmla="*/ 433 h 604188"/>
                  <a:gd name="connsiteX63" fmla="*/ 237235 w 435544"/>
                  <a:gd name="connsiteY63" fmla="*/ 3117 h 604188"/>
                  <a:gd name="connsiteX64" fmla="*/ 309941 w 435544"/>
                  <a:gd name="connsiteY64" fmla="*/ 35588 h 604188"/>
                  <a:gd name="connsiteX65" fmla="*/ 315921 w 435544"/>
                  <a:gd name="connsiteY65" fmla="*/ 69734 h 604188"/>
                  <a:gd name="connsiteX66" fmla="*/ 424719 w 435544"/>
                  <a:gd name="connsiteY66" fmla="*/ 68059 h 604188"/>
                  <a:gd name="connsiteX67" fmla="*/ 434057 w 435544"/>
                  <a:gd name="connsiteY67" fmla="*/ 81675 h 604188"/>
                  <a:gd name="connsiteX68" fmla="*/ 435001 w 435544"/>
                  <a:gd name="connsiteY68" fmla="*/ 84294 h 604188"/>
                  <a:gd name="connsiteX69" fmla="*/ 434057 w 435544"/>
                  <a:gd name="connsiteY69" fmla="*/ 120222 h 604188"/>
                  <a:gd name="connsiteX70" fmla="*/ 427237 w 435544"/>
                  <a:gd name="connsiteY70" fmla="*/ 147560 h 604188"/>
                  <a:gd name="connsiteX71" fmla="*/ 422935 w 435544"/>
                  <a:gd name="connsiteY71" fmla="*/ 149236 h 604188"/>
                  <a:gd name="connsiteX72" fmla="*/ 288538 w 435544"/>
                  <a:gd name="connsiteY72" fmla="*/ 159501 h 604188"/>
                  <a:gd name="connsiteX73" fmla="*/ 17122 w 435544"/>
                  <a:gd name="connsiteY73" fmla="*/ 153531 h 604188"/>
                  <a:gd name="connsiteX74" fmla="*/ 8623 w 435544"/>
                  <a:gd name="connsiteY74" fmla="*/ 149236 h 604188"/>
                  <a:gd name="connsiteX75" fmla="*/ 5161 w 435544"/>
                  <a:gd name="connsiteY75" fmla="*/ 144104 h 604188"/>
                  <a:gd name="connsiteX76" fmla="*/ 20 w 435544"/>
                  <a:gd name="connsiteY76" fmla="*/ 108176 h 604188"/>
                  <a:gd name="connsiteX77" fmla="*/ 8623 w 435544"/>
                  <a:gd name="connsiteY77" fmla="*/ 80837 h 604188"/>
                  <a:gd name="connsiteX78" fmla="*/ 13764 w 435544"/>
                  <a:gd name="connsiteY78" fmla="*/ 79999 h 604188"/>
                  <a:gd name="connsiteX79" fmla="*/ 14604 w 435544"/>
                  <a:gd name="connsiteY79" fmla="*/ 78324 h 604188"/>
                  <a:gd name="connsiteX80" fmla="*/ 63389 w 435544"/>
                  <a:gd name="connsiteY80" fmla="*/ 68059 h 604188"/>
                  <a:gd name="connsiteX81" fmla="*/ 137880 w 435544"/>
                  <a:gd name="connsiteY81" fmla="*/ 64602 h 604188"/>
                  <a:gd name="connsiteX82" fmla="*/ 155820 w 435544"/>
                  <a:gd name="connsiteY82" fmla="*/ 12439 h 604188"/>
                  <a:gd name="connsiteX83" fmla="*/ 195583 w 435544"/>
                  <a:gd name="connsiteY83" fmla="*/ 433 h 604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435544" h="604188">
                    <a:moveTo>
                      <a:pt x="277424" y="326234"/>
                    </a:moveTo>
                    <a:cubicBezTo>
                      <a:pt x="278264" y="354418"/>
                      <a:pt x="275746" y="384382"/>
                      <a:pt x="272283" y="411728"/>
                    </a:cubicBezTo>
                    <a:cubicBezTo>
                      <a:pt x="272283" y="412566"/>
                      <a:pt x="273122" y="412566"/>
                      <a:pt x="273962" y="413509"/>
                    </a:cubicBezTo>
                    <a:cubicBezTo>
                      <a:pt x="273962" y="407432"/>
                      <a:pt x="274906" y="401460"/>
                      <a:pt x="274906" y="395488"/>
                    </a:cubicBezTo>
                    <a:cubicBezTo>
                      <a:pt x="276585" y="372439"/>
                      <a:pt x="276585" y="350227"/>
                      <a:pt x="279103" y="326234"/>
                    </a:cubicBezTo>
                    <a:close/>
                    <a:moveTo>
                      <a:pt x="332196" y="229635"/>
                    </a:moveTo>
                    <a:cubicBezTo>
                      <a:pt x="303971" y="217691"/>
                      <a:pt x="297151" y="334826"/>
                      <a:pt x="297151" y="351903"/>
                    </a:cubicBezTo>
                    <a:cubicBezTo>
                      <a:pt x="297151" y="400622"/>
                      <a:pt x="282566" y="458770"/>
                      <a:pt x="295367" y="506651"/>
                    </a:cubicBezTo>
                    <a:cubicBezTo>
                      <a:pt x="297151" y="506651"/>
                      <a:pt x="298829" y="506651"/>
                      <a:pt x="299669" y="507489"/>
                    </a:cubicBezTo>
                    <a:cubicBezTo>
                      <a:pt x="329678" y="525405"/>
                      <a:pt x="340800" y="432263"/>
                      <a:pt x="345102" y="410051"/>
                    </a:cubicBezTo>
                    <a:cubicBezTo>
                      <a:pt x="352762" y="372439"/>
                      <a:pt x="381931" y="251847"/>
                      <a:pt x="332196" y="229635"/>
                    </a:cubicBezTo>
                    <a:close/>
                    <a:moveTo>
                      <a:pt x="144692" y="226178"/>
                    </a:moveTo>
                    <a:cubicBezTo>
                      <a:pt x="146476" y="229635"/>
                      <a:pt x="148155" y="234769"/>
                      <a:pt x="148994" y="239065"/>
                    </a:cubicBezTo>
                    <a:cubicBezTo>
                      <a:pt x="148994" y="234769"/>
                      <a:pt x="148994" y="231312"/>
                      <a:pt x="149834" y="227959"/>
                    </a:cubicBezTo>
                    <a:cubicBezTo>
                      <a:pt x="148155" y="227121"/>
                      <a:pt x="146476" y="227121"/>
                      <a:pt x="144692" y="226178"/>
                    </a:cubicBezTo>
                    <a:close/>
                    <a:moveTo>
                      <a:pt x="115090" y="225994"/>
                    </a:moveTo>
                    <a:cubicBezTo>
                      <a:pt x="110066" y="224502"/>
                      <a:pt x="104925" y="229636"/>
                      <a:pt x="101043" y="244199"/>
                    </a:cubicBezTo>
                    <a:cubicBezTo>
                      <a:pt x="79638" y="328016"/>
                      <a:pt x="101882" y="415185"/>
                      <a:pt x="101043" y="500679"/>
                    </a:cubicBezTo>
                    <a:cubicBezTo>
                      <a:pt x="117306" y="512622"/>
                      <a:pt x="142174" y="508327"/>
                      <a:pt x="141335" y="481820"/>
                    </a:cubicBezTo>
                    <a:cubicBezTo>
                      <a:pt x="141335" y="471552"/>
                      <a:pt x="140390" y="461285"/>
                      <a:pt x="140390" y="451122"/>
                    </a:cubicBezTo>
                    <a:lnTo>
                      <a:pt x="140390" y="426291"/>
                    </a:lnTo>
                    <a:cubicBezTo>
                      <a:pt x="140390" y="398946"/>
                      <a:pt x="140390" y="370657"/>
                      <a:pt x="139551" y="343312"/>
                    </a:cubicBezTo>
                    <a:cubicBezTo>
                      <a:pt x="137872" y="311671"/>
                      <a:pt x="137033" y="278354"/>
                      <a:pt x="128429" y="247551"/>
                    </a:cubicBezTo>
                    <a:cubicBezTo>
                      <a:pt x="125018" y="235607"/>
                      <a:pt x="120113" y="227487"/>
                      <a:pt x="115090" y="225994"/>
                    </a:cubicBezTo>
                    <a:close/>
                    <a:moveTo>
                      <a:pt x="215654" y="223986"/>
                    </a:moveTo>
                    <a:cubicBezTo>
                      <a:pt x="211858" y="224259"/>
                      <a:pt x="208330" y="226885"/>
                      <a:pt x="205550" y="233093"/>
                    </a:cubicBezTo>
                    <a:cubicBezTo>
                      <a:pt x="202087" y="240741"/>
                      <a:pt x="199569" y="249332"/>
                      <a:pt x="197785" y="257819"/>
                    </a:cubicBezTo>
                    <a:cubicBezTo>
                      <a:pt x="193483" y="276678"/>
                      <a:pt x="191804" y="296375"/>
                      <a:pt x="190965" y="315129"/>
                    </a:cubicBezTo>
                    <a:cubicBezTo>
                      <a:pt x="189286" y="377572"/>
                      <a:pt x="198624" y="439073"/>
                      <a:pt x="196106" y="500679"/>
                    </a:cubicBezTo>
                    <a:cubicBezTo>
                      <a:pt x="197785" y="501517"/>
                      <a:pt x="199569" y="502355"/>
                      <a:pt x="201248" y="504031"/>
                    </a:cubicBezTo>
                    <a:cubicBezTo>
                      <a:pt x="236293" y="541644"/>
                      <a:pt x="246576" y="426291"/>
                      <a:pt x="248360" y="406594"/>
                    </a:cubicBezTo>
                    <a:cubicBezTo>
                      <a:pt x="251717" y="358714"/>
                      <a:pt x="262000" y="298051"/>
                      <a:pt x="244058" y="251847"/>
                    </a:cubicBezTo>
                    <a:cubicBezTo>
                      <a:pt x="240831" y="243518"/>
                      <a:pt x="227040" y="223166"/>
                      <a:pt x="215654" y="223986"/>
                    </a:cubicBezTo>
                    <a:close/>
                    <a:moveTo>
                      <a:pt x="345102" y="203966"/>
                    </a:moveTo>
                    <a:cubicBezTo>
                      <a:pt x="345102" y="204805"/>
                      <a:pt x="344263" y="204805"/>
                      <a:pt x="344263" y="205748"/>
                    </a:cubicBezTo>
                    <a:lnTo>
                      <a:pt x="369865" y="205748"/>
                    </a:lnTo>
                    <a:cubicBezTo>
                      <a:pt x="374167" y="205748"/>
                      <a:pt x="376790" y="207424"/>
                      <a:pt x="378469" y="209938"/>
                    </a:cubicBezTo>
                    <a:cubicBezTo>
                      <a:pt x="378469" y="208262"/>
                      <a:pt x="379308" y="206586"/>
                      <a:pt x="379308" y="204805"/>
                    </a:cubicBezTo>
                    <a:cubicBezTo>
                      <a:pt x="368186" y="205748"/>
                      <a:pt x="356224" y="204805"/>
                      <a:pt x="345102" y="203966"/>
                    </a:cubicBezTo>
                    <a:close/>
                    <a:moveTo>
                      <a:pt x="301544" y="176647"/>
                    </a:moveTo>
                    <a:cubicBezTo>
                      <a:pt x="334609" y="176647"/>
                      <a:pt x="367347" y="178769"/>
                      <a:pt x="395572" y="187727"/>
                    </a:cubicBezTo>
                    <a:cubicBezTo>
                      <a:pt x="399874" y="189508"/>
                      <a:pt x="402392" y="194642"/>
                      <a:pt x="400713" y="198833"/>
                    </a:cubicBezTo>
                    <a:cubicBezTo>
                      <a:pt x="401553" y="200614"/>
                      <a:pt x="401553" y="202290"/>
                      <a:pt x="401553" y="203966"/>
                    </a:cubicBezTo>
                    <a:cubicBezTo>
                      <a:pt x="396411" y="262114"/>
                      <a:pt x="385289" y="321101"/>
                      <a:pt x="388752" y="380925"/>
                    </a:cubicBezTo>
                    <a:cubicBezTo>
                      <a:pt x="390430" y="427129"/>
                      <a:pt x="397251" y="481820"/>
                      <a:pt x="379308" y="526347"/>
                    </a:cubicBezTo>
                    <a:cubicBezTo>
                      <a:pt x="344263" y="612679"/>
                      <a:pt x="226955" y="612679"/>
                      <a:pt x="148155" y="594658"/>
                    </a:cubicBezTo>
                    <a:cubicBezTo>
                      <a:pt x="-15426" y="557988"/>
                      <a:pt x="50573" y="306642"/>
                      <a:pt x="37667" y="190346"/>
                    </a:cubicBezTo>
                    <a:cubicBezTo>
                      <a:pt x="36828" y="183431"/>
                      <a:pt x="44592" y="180917"/>
                      <a:pt x="49734" y="183431"/>
                    </a:cubicBezTo>
                    <a:cubicBezTo>
                      <a:pt x="66837" y="175783"/>
                      <a:pt x="89081" y="179240"/>
                      <a:pt x="106184" y="179240"/>
                    </a:cubicBezTo>
                    <a:cubicBezTo>
                      <a:pt x="138711" y="178297"/>
                      <a:pt x="172078" y="178297"/>
                      <a:pt x="205550" y="178297"/>
                    </a:cubicBezTo>
                    <a:cubicBezTo>
                      <a:pt x="235086" y="178769"/>
                      <a:pt x="268479" y="176647"/>
                      <a:pt x="301544" y="176647"/>
                    </a:cubicBezTo>
                    <a:close/>
                    <a:moveTo>
                      <a:pt x="22263" y="99692"/>
                    </a:moveTo>
                    <a:cubicBezTo>
                      <a:pt x="21423" y="103043"/>
                      <a:pt x="20584" y="106500"/>
                      <a:pt x="20584" y="109957"/>
                    </a:cubicBezTo>
                    <a:lnTo>
                      <a:pt x="20584" y="116765"/>
                    </a:lnTo>
                    <a:lnTo>
                      <a:pt x="22263" y="116765"/>
                    </a:lnTo>
                    <a:cubicBezTo>
                      <a:pt x="20584" y="113308"/>
                      <a:pt x="21423" y="109119"/>
                      <a:pt x="24885" y="105662"/>
                    </a:cubicBezTo>
                    <a:cubicBezTo>
                      <a:pt x="23207" y="103986"/>
                      <a:pt x="22263" y="102205"/>
                      <a:pt x="22263" y="99692"/>
                    </a:cubicBezTo>
                    <a:close/>
                    <a:moveTo>
                      <a:pt x="212370" y="21028"/>
                    </a:moveTo>
                    <a:cubicBezTo>
                      <a:pt x="203767" y="20190"/>
                      <a:pt x="194429" y="20190"/>
                      <a:pt x="185826" y="22704"/>
                    </a:cubicBezTo>
                    <a:cubicBezTo>
                      <a:pt x="187505" y="22704"/>
                      <a:pt x="189288" y="23647"/>
                      <a:pt x="190967" y="24485"/>
                    </a:cubicBezTo>
                    <a:cubicBezTo>
                      <a:pt x="194429" y="23647"/>
                      <a:pt x="197786" y="23647"/>
                      <a:pt x="201249" y="23647"/>
                    </a:cubicBezTo>
                    <a:cubicBezTo>
                      <a:pt x="203767" y="21866"/>
                      <a:pt x="208068" y="21028"/>
                      <a:pt x="212370" y="21028"/>
                    </a:cubicBezTo>
                    <a:close/>
                    <a:moveTo>
                      <a:pt x="195583" y="433"/>
                    </a:moveTo>
                    <a:cubicBezTo>
                      <a:pt x="209616" y="-733"/>
                      <a:pt x="223963" y="551"/>
                      <a:pt x="237235" y="3117"/>
                    </a:cubicBezTo>
                    <a:cubicBezTo>
                      <a:pt x="261155" y="7306"/>
                      <a:pt x="293679" y="15057"/>
                      <a:pt x="309941" y="35588"/>
                    </a:cubicBezTo>
                    <a:cubicBezTo>
                      <a:pt x="316761" y="44072"/>
                      <a:pt x="321902" y="60307"/>
                      <a:pt x="315921" y="69734"/>
                    </a:cubicBezTo>
                    <a:cubicBezTo>
                      <a:pt x="351908" y="69734"/>
                      <a:pt x="388733" y="69734"/>
                      <a:pt x="424719" y="68059"/>
                    </a:cubicBezTo>
                    <a:cubicBezTo>
                      <a:pt x="432378" y="67221"/>
                      <a:pt x="435840" y="75705"/>
                      <a:pt x="434057" y="81675"/>
                    </a:cubicBezTo>
                    <a:cubicBezTo>
                      <a:pt x="435001" y="82618"/>
                      <a:pt x="435001" y="83456"/>
                      <a:pt x="435001" y="84294"/>
                    </a:cubicBezTo>
                    <a:cubicBezTo>
                      <a:pt x="435840" y="95397"/>
                      <a:pt x="435840" y="107338"/>
                      <a:pt x="434057" y="120222"/>
                    </a:cubicBezTo>
                    <a:cubicBezTo>
                      <a:pt x="433217" y="129544"/>
                      <a:pt x="433217" y="140647"/>
                      <a:pt x="427237" y="147560"/>
                    </a:cubicBezTo>
                    <a:cubicBezTo>
                      <a:pt x="426398" y="148398"/>
                      <a:pt x="424719" y="149236"/>
                      <a:pt x="422935" y="149236"/>
                    </a:cubicBezTo>
                    <a:cubicBezTo>
                      <a:pt x="401533" y="172280"/>
                      <a:pt x="309941" y="160339"/>
                      <a:pt x="288538" y="159501"/>
                    </a:cubicBezTo>
                    <a:cubicBezTo>
                      <a:pt x="197786" y="156045"/>
                      <a:pt x="107874" y="152693"/>
                      <a:pt x="17122" y="153531"/>
                    </a:cubicBezTo>
                    <a:cubicBezTo>
                      <a:pt x="12925" y="154369"/>
                      <a:pt x="10302" y="152693"/>
                      <a:pt x="8623" y="149236"/>
                    </a:cubicBezTo>
                    <a:cubicBezTo>
                      <a:pt x="6945" y="148398"/>
                      <a:pt x="6001" y="146722"/>
                      <a:pt x="5161" y="144104"/>
                    </a:cubicBezTo>
                    <a:cubicBezTo>
                      <a:pt x="2643" y="132163"/>
                      <a:pt x="20" y="120222"/>
                      <a:pt x="20" y="108176"/>
                    </a:cubicBezTo>
                    <a:cubicBezTo>
                      <a:pt x="20" y="99692"/>
                      <a:pt x="-819" y="85132"/>
                      <a:pt x="8623" y="80837"/>
                    </a:cubicBezTo>
                    <a:cubicBezTo>
                      <a:pt x="10302" y="79999"/>
                      <a:pt x="11981" y="79999"/>
                      <a:pt x="13764" y="79999"/>
                    </a:cubicBezTo>
                    <a:cubicBezTo>
                      <a:pt x="13764" y="79162"/>
                      <a:pt x="14604" y="78324"/>
                      <a:pt x="14604" y="78324"/>
                    </a:cubicBezTo>
                    <a:cubicBezTo>
                      <a:pt x="25725" y="67221"/>
                      <a:pt x="49750" y="70572"/>
                      <a:pt x="63389" y="68059"/>
                    </a:cubicBezTo>
                    <a:cubicBezTo>
                      <a:pt x="87415" y="63764"/>
                      <a:pt x="113015" y="63764"/>
                      <a:pt x="137880" y="64602"/>
                    </a:cubicBezTo>
                    <a:cubicBezTo>
                      <a:pt x="131060" y="46691"/>
                      <a:pt x="138719" y="22704"/>
                      <a:pt x="155820" y="12439"/>
                    </a:cubicBezTo>
                    <a:cubicBezTo>
                      <a:pt x="167833" y="5212"/>
                      <a:pt x="181551" y="1598"/>
                      <a:pt x="195583" y="43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13544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202360"/>
            <a:ext cx="8137922" cy="1028699"/>
          </a:xfrm>
        </p:spPr>
        <p:txBody>
          <a:bodyPr/>
          <a:lstStyle/>
          <a:p>
            <a:r>
              <a:rPr lang="zh-CN" altLang="en-US" dirty="0"/>
              <a:t>内置实例的“打开方式”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6</a:t>
            </a:fld>
            <a:endParaRPr lang="zh-CN" altLang="en-US"/>
          </a:p>
        </p:txBody>
      </p:sp>
      <p:grpSp>
        <p:nvGrpSpPr>
          <p:cNvPr id="194" name="180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4D56F3B-0686-4E9E-A675-DA7BF2C9F6C2}"/>
              </a:ext>
            </a:extLst>
          </p:cNvPr>
          <p:cNvGrpSpPr>
            <a:grpSpLocks noChangeAspect="1"/>
          </p:cNvGrpSpPr>
          <p:nvPr/>
        </p:nvGrpSpPr>
        <p:grpSpPr>
          <a:xfrm>
            <a:off x="1875381" y="-1403349"/>
            <a:ext cx="5393238" cy="2212975"/>
            <a:chOff x="938530" y="1805421"/>
            <a:chExt cx="10580370" cy="4341379"/>
          </a:xfrm>
        </p:grpSpPr>
        <p:sp>
          <p:nvSpPr>
            <p:cNvPr id="195" name="iṧḻîďè">
              <a:extLst>
                <a:ext uri="{FF2B5EF4-FFF2-40B4-BE49-F238E27FC236}">
                  <a16:creationId xmlns:a16="http://schemas.microsoft.com/office/drawing/2014/main" id="{6FC8272D-4563-47EB-B741-E738A21C2623}"/>
                </a:ext>
              </a:extLst>
            </p:cNvPr>
            <p:cNvSpPr/>
            <p:nvPr/>
          </p:nvSpPr>
          <p:spPr bwMode="auto">
            <a:xfrm>
              <a:off x="5637082" y="5226400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搞定！</a:t>
              </a:r>
              <a:endParaRPr lang="en-US" altLang="zh-CN" b="1" dirty="0"/>
            </a:p>
          </p:txBody>
        </p:sp>
        <p:sp>
          <p:nvSpPr>
            <p:cNvPr id="196" name="îŝḻiḋé">
              <a:extLst>
                <a:ext uri="{FF2B5EF4-FFF2-40B4-BE49-F238E27FC236}">
                  <a16:creationId xmlns:a16="http://schemas.microsoft.com/office/drawing/2014/main" id="{C05C75D7-4258-49B9-958F-F2EEF0B840E0}"/>
                </a:ext>
              </a:extLst>
            </p:cNvPr>
            <p:cNvSpPr/>
            <p:nvPr/>
          </p:nvSpPr>
          <p:spPr bwMode="auto">
            <a:xfrm>
              <a:off x="6176201" y="4576024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>
                  <a:solidFill>
                    <a:schemeClr val="bg1"/>
                  </a:solidFill>
                </a:rPr>
                <a:t>测试</a:t>
              </a:r>
              <a:endParaRPr lang="en-US" altLang="zh-CN" sz="1750" b="1" dirty="0">
                <a:solidFill>
                  <a:schemeClr val="bg1"/>
                </a:solidFill>
              </a:endParaRPr>
            </a:p>
          </p:txBody>
        </p:sp>
        <p:sp>
          <p:nvSpPr>
            <p:cNvPr id="197" name="íṥḷíďê">
              <a:extLst>
                <a:ext uri="{FF2B5EF4-FFF2-40B4-BE49-F238E27FC236}">
                  <a16:creationId xmlns:a16="http://schemas.microsoft.com/office/drawing/2014/main" id="{D4FCC7AE-5767-4EC4-BB68-B94457D3AE6D}"/>
                </a:ext>
              </a:extLst>
            </p:cNvPr>
            <p:cNvSpPr/>
            <p:nvPr/>
          </p:nvSpPr>
          <p:spPr bwMode="auto">
            <a:xfrm>
              <a:off x="6703850" y="3925648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/>
                <a:t>配置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8" name="ïś1ïḓè">
              <a:extLst>
                <a:ext uri="{FF2B5EF4-FFF2-40B4-BE49-F238E27FC236}">
                  <a16:creationId xmlns:a16="http://schemas.microsoft.com/office/drawing/2014/main" id="{F32E844B-E27C-4A92-9B60-95E4AD88D81F}"/>
                </a:ext>
              </a:extLst>
            </p:cNvPr>
            <p:cNvSpPr/>
            <p:nvPr/>
          </p:nvSpPr>
          <p:spPr bwMode="auto">
            <a:xfrm>
              <a:off x="7241823" y="3275272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 dirty="0"/>
                <a:t>安装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9" name="îśļïḍè">
              <a:extLst>
                <a:ext uri="{FF2B5EF4-FFF2-40B4-BE49-F238E27FC236}">
                  <a16:creationId xmlns:a16="http://schemas.microsoft.com/office/drawing/2014/main" id="{F812BB55-77DE-4E23-95E6-156A22FAD363}"/>
                </a:ext>
              </a:extLst>
            </p:cNvPr>
            <p:cNvSpPr/>
            <p:nvPr/>
          </p:nvSpPr>
          <p:spPr bwMode="auto">
            <a:xfrm>
              <a:off x="7743555" y="2624895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配置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0" name="ï$1íḍé">
              <a:extLst>
                <a:ext uri="{FF2B5EF4-FFF2-40B4-BE49-F238E27FC236}">
                  <a16:creationId xmlns:a16="http://schemas.microsoft.com/office/drawing/2014/main" id="{48245F16-84E7-4201-9485-85B5E5B15ECD}"/>
                </a:ext>
              </a:extLst>
            </p:cNvPr>
            <p:cNvSpPr/>
            <p:nvPr/>
          </p:nvSpPr>
          <p:spPr bwMode="auto">
            <a:xfrm>
              <a:off x="8263856" y="1974519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安装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1" name="îṥľïďê">
              <a:extLst>
                <a:ext uri="{FF2B5EF4-FFF2-40B4-BE49-F238E27FC236}">
                  <a16:creationId xmlns:a16="http://schemas.microsoft.com/office/drawing/2014/main" id="{920DFBAA-02E5-4206-86B0-FE10F93A7509}"/>
                </a:ext>
              </a:extLst>
            </p:cNvPr>
            <p:cNvSpPr/>
            <p:nvPr/>
          </p:nvSpPr>
          <p:spPr bwMode="auto">
            <a:xfrm>
              <a:off x="5220497" y="3438015"/>
              <a:ext cx="3741918" cy="1239562"/>
            </a:xfrm>
            <a:custGeom>
              <a:avLst/>
              <a:gdLst>
                <a:gd name="T0" fmla="*/ 179 w 203"/>
                <a:gd name="T1" fmla="*/ 82 h 82"/>
                <a:gd name="T2" fmla="*/ 203 w 203"/>
                <a:gd name="T3" fmla="*/ 29 h 82"/>
                <a:gd name="T4" fmla="*/ 65 w 203"/>
                <a:gd name="T5" fmla="*/ 27 h 82"/>
                <a:gd name="T6" fmla="*/ 59 w 203"/>
                <a:gd name="T7" fmla="*/ 0 h 82"/>
                <a:gd name="T8" fmla="*/ 59 w 203"/>
                <a:gd name="T9" fmla="*/ 0 h 82"/>
                <a:gd name="T10" fmla="*/ 0 w 203"/>
                <a:gd name="T11" fmla="*/ 80 h 82"/>
                <a:gd name="T12" fmla="*/ 61 w 203"/>
                <a:gd name="T13" fmla="*/ 82 h 82"/>
                <a:gd name="T14" fmla="*/ 179 w 203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82">
                  <a:moveTo>
                    <a:pt x="179" y="82"/>
                  </a:moveTo>
                  <a:lnTo>
                    <a:pt x="203" y="29"/>
                  </a:lnTo>
                  <a:lnTo>
                    <a:pt x="65" y="27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0" y="80"/>
                  </a:lnTo>
                  <a:lnTo>
                    <a:pt x="61" y="82"/>
                  </a:lnTo>
                  <a:lnTo>
                    <a:pt x="179" y="8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2" name="i$ḻíḋè">
              <a:extLst>
                <a:ext uri="{FF2B5EF4-FFF2-40B4-BE49-F238E27FC236}">
                  <a16:creationId xmlns:a16="http://schemas.microsoft.com/office/drawing/2014/main" id="{430BE7EB-B6F0-4F05-80EA-1F517165029F}"/>
                </a:ext>
              </a:extLst>
            </p:cNvPr>
            <p:cNvSpPr/>
            <p:nvPr/>
          </p:nvSpPr>
          <p:spPr bwMode="auto">
            <a:xfrm>
              <a:off x="8032938" y="1974519"/>
              <a:ext cx="1398307" cy="247664"/>
            </a:xfrm>
            <a:prstGeom prst="triangle">
              <a:avLst>
                <a:gd name="adj" fmla="val 14726"/>
              </a:avLst>
            </a:pr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3" name="işľiḋe">
              <a:extLst>
                <a:ext uri="{FF2B5EF4-FFF2-40B4-BE49-F238E27FC236}">
                  <a16:creationId xmlns:a16="http://schemas.microsoft.com/office/drawing/2014/main" id="{E4DECB97-43D1-4D26-8C48-41447675AE79}"/>
                </a:ext>
              </a:extLst>
            </p:cNvPr>
            <p:cNvSpPr/>
            <p:nvPr/>
          </p:nvSpPr>
          <p:spPr bwMode="auto">
            <a:xfrm>
              <a:off x="3675422" y="1805421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4" name="iś1íďé">
              <a:extLst>
                <a:ext uri="{FF2B5EF4-FFF2-40B4-BE49-F238E27FC236}">
                  <a16:creationId xmlns:a16="http://schemas.microsoft.com/office/drawing/2014/main" id="{6E7EA96A-F20A-4912-AC31-63A0F19E66DE}"/>
                </a:ext>
              </a:extLst>
            </p:cNvPr>
            <p:cNvSpPr/>
            <p:nvPr/>
          </p:nvSpPr>
          <p:spPr bwMode="auto">
            <a:xfrm>
              <a:off x="3129452" y="2455797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5" name="ïŝlíḋe">
              <a:extLst>
                <a:ext uri="{FF2B5EF4-FFF2-40B4-BE49-F238E27FC236}">
                  <a16:creationId xmlns:a16="http://schemas.microsoft.com/office/drawing/2014/main" id="{66D30D6F-26C9-4C2C-BC01-900AC07DC57E}"/>
                </a:ext>
              </a:extLst>
            </p:cNvPr>
            <p:cNvSpPr/>
            <p:nvPr/>
          </p:nvSpPr>
          <p:spPr bwMode="auto">
            <a:xfrm>
              <a:off x="2576633" y="3106174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6" name="îSliďè">
              <a:extLst>
                <a:ext uri="{FF2B5EF4-FFF2-40B4-BE49-F238E27FC236}">
                  <a16:creationId xmlns:a16="http://schemas.microsoft.com/office/drawing/2014/main" id="{2F6D5554-EACD-4DDD-892F-2E5F97A9C421}"/>
                </a:ext>
              </a:extLst>
            </p:cNvPr>
            <p:cNvSpPr/>
            <p:nvPr/>
          </p:nvSpPr>
          <p:spPr bwMode="auto">
            <a:xfrm>
              <a:off x="2030696" y="3756550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7" name="îSliďé">
              <a:extLst>
                <a:ext uri="{FF2B5EF4-FFF2-40B4-BE49-F238E27FC236}">
                  <a16:creationId xmlns:a16="http://schemas.microsoft.com/office/drawing/2014/main" id="{2E278F3F-C8D8-4E2A-A3EA-29ADCF1A02AA}"/>
                </a:ext>
              </a:extLst>
            </p:cNvPr>
            <p:cNvSpPr/>
            <p:nvPr/>
          </p:nvSpPr>
          <p:spPr bwMode="auto">
            <a:xfrm>
              <a:off x="1484532" y="4406926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8" name="îs1iďé">
              <a:extLst>
                <a:ext uri="{FF2B5EF4-FFF2-40B4-BE49-F238E27FC236}">
                  <a16:creationId xmlns:a16="http://schemas.microsoft.com/office/drawing/2014/main" id="{EB74D0C2-5677-4F3F-A043-44D01A3F3D48}"/>
                </a:ext>
              </a:extLst>
            </p:cNvPr>
            <p:cNvSpPr/>
            <p:nvPr/>
          </p:nvSpPr>
          <p:spPr bwMode="auto">
            <a:xfrm>
              <a:off x="938530" y="5057302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9" name="ïṣḻïḋe">
              <a:extLst>
                <a:ext uri="{FF2B5EF4-FFF2-40B4-BE49-F238E27FC236}">
                  <a16:creationId xmlns:a16="http://schemas.microsoft.com/office/drawing/2014/main" id="{7709F84E-C33F-462F-B538-51CB71C9284E}"/>
                </a:ext>
              </a:extLst>
            </p:cNvPr>
            <p:cNvSpPr/>
            <p:nvPr/>
          </p:nvSpPr>
          <p:spPr bwMode="auto">
            <a:xfrm>
              <a:off x="4585947" y="2371737"/>
              <a:ext cx="377807" cy="377281"/>
            </a:xfrm>
            <a:custGeom>
              <a:avLst/>
              <a:gdLst>
                <a:gd name="T0" fmla="*/ 400 w 11264"/>
                <a:gd name="T1" fmla="*/ 7099 h 11264"/>
                <a:gd name="T2" fmla="*/ 4165 w 11264"/>
                <a:gd name="T3" fmla="*/ 7099 h 11264"/>
                <a:gd name="T4" fmla="*/ 4165 w 11264"/>
                <a:gd name="T5" fmla="*/ 10864 h 11264"/>
                <a:gd name="T6" fmla="*/ 4565 w 11264"/>
                <a:gd name="T7" fmla="*/ 11264 h 11264"/>
                <a:gd name="T8" fmla="*/ 6699 w 11264"/>
                <a:gd name="T9" fmla="*/ 11264 h 11264"/>
                <a:gd name="T10" fmla="*/ 7099 w 11264"/>
                <a:gd name="T11" fmla="*/ 10864 h 11264"/>
                <a:gd name="T12" fmla="*/ 7099 w 11264"/>
                <a:gd name="T13" fmla="*/ 7099 h 11264"/>
                <a:gd name="T14" fmla="*/ 10864 w 11264"/>
                <a:gd name="T15" fmla="*/ 7099 h 11264"/>
                <a:gd name="T16" fmla="*/ 11264 w 11264"/>
                <a:gd name="T17" fmla="*/ 6699 h 11264"/>
                <a:gd name="T18" fmla="*/ 11264 w 11264"/>
                <a:gd name="T19" fmla="*/ 4565 h 11264"/>
                <a:gd name="T20" fmla="*/ 10864 w 11264"/>
                <a:gd name="T21" fmla="*/ 4165 h 11264"/>
                <a:gd name="T22" fmla="*/ 7099 w 11264"/>
                <a:gd name="T23" fmla="*/ 4165 h 11264"/>
                <a:gd name="T24" fmla="*/ 7099 w 11264"/>
                <a:gd name="T25" fmla="*/ 400 h 11264"/>
                <a:gd name="T26" fmla="*/ 6699 w 11264"/>
                <a:gd name="T27" fmla="*/ 0 h 11264"/>
                <a:gd name="T28" fmla="*/ 4565 w 11264"/>
                <a:gd name="T29" fmla="*/ 0 h 11264"/>
                <a:gd name="T30" fmla="*/ 4165 w 11264"/>
                <a:gd name="T31" fmla="*/ 400 h 11264"/>
                <a:gd name="T32" fmla="*/ 4165 w 11264"/>
                <a:gd name="T33" fmla="*/ 4165 h 11264"/>
                <a:gd name="T34" fmla="*/ 400 w 11264"/>
                <a:gd name="T35" fmla="*/ 4165 h 11264"/>
                <a:gd name="T36" fmla="*/ 0 w 11264"/>
                <a:gd name="T37" fmla="*/ 4565 h 11264"/>
                <a:gd name="T38" fmla="*/ 0 w 11264"/>
                <a:gd name="T39" fmla="*/ 6699 h 11264"/>
                <a:gd name="T40" fmla="*/ 400 w 11264"/>
                <a:gd name="T41" fmla="*/ 7099 h 1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64" h="11264">
                  <a:moveTo>
                    <a:pt x="400" y="7099"/>
                  </a:moveTo>
                  <a:lnTo>
                    <a:pt x="4165" y="7099"/>
                  </a:lnTo>
                  <a:lnTo>
                    <a:pt x="4165" y="10864"/>
                  </a:lnTo>
                  <a:cubicBezTo>
                    <a:pt x="4165" y="11085"/>
                    <a:pt x="4344" y="11264"/>
                    <a:pt x="4565" y="11264"/>
                  </a:cubicBezTo>
                  <a:lnTo>
                    <a:pt x="6699" y="11264"/>
                  </a:lnTo>
                  <a:cubicBezTo>
                    <a:pt x="6920" y="11264"/>
                    <a:pt x="7099" y="11085"/>
                    <a:pt x="7099" y="10864"/>
                  </a:cubicBezTo>
                  <a:lnTo>
                    <a:pt x="7099" y="7099"/>
                  </a:lnTo>
                  <a:lnTo>
                    <a:pt x="10864" y="7099"/>
                  </a:lnTo>
                  <a:cubicBezTo>
                    <a:pt x="11085" y="7099"/>
                    <a:pt x="11264" y="6920"/>
                    <a:pt x="11264" y="6699"/>
                  </a:cubicBezTo>
                  <a:lnTo>
                    <a:pt x="11264" y="4565"/>
                  </a:lnTo>
                  <a:cubicBezTo>
                    <a:pt x="11264" y="4344"/>
                    <a:pt x="11085" y="4165"/>
                    <a:pt x="10864" y="4165"/>
                  </a:cubicBezTo>
                  <a:lnTo>
                    <a:pt x="7099" y="4165"/>
                  </a:lnTo>
                  <a:lnTo>
                    <a:pt x="7099" y="400"/>
                  </a:lnTo>
                  <a:cubicBezTo>
                    <a:pt x="7099" y="179"/>
                    <a:pt x="6920" y="0"/>
                    <a:pt x="6699" y="0"/>
                  </a:cubicBezTo>
                  <a:lnTo>
                    <a:pt x="4565" y="0"/>
                  </a:lnTo>
                  <a:cubicBezTo>
                    <a:pt x="4344" y="0"/>
                    <a:pt x="4165" y="179"/>
                    <a:pt x="4165" y="400"/>
                  </a:cubicBezTo>
                  <a:lnTo>
                    <a:pt x="4165" y="4165"/>
                  </a:lnTo>
                  <a:lnTo>
                    <a:pt x="400" y="4165"/>
                  </a:lnTo>
                  <a:cubicBezTo>
                    <a:pt x="179" y="4165"/>
                    <a:pt x="0" y="4344"/>
                    <a:pt x="0" y="4565"/>
                  </a:cubicBezTo>
                  <a:lnTo>
                    <a:pt x="0" y="6699"/>
                  </a:lnTo>
                  <a:cubicBezTo>
                    <a:pt x="0" y="6920"/>
                    <a:pt x="179" y="7099"/>
                    <a:pt x="400" y="709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0" name="îsḷïde">
              <a:extLst>
                <a:ext uri="{FF2B5EF4-FFF2-40B4-BE49-F238E27FC236}">
                  <a16:creationId xmlns:a16="http://schemas.microsoft.com/office/drawing/2014/main" id="{F7027C89-1BCC-4A00-9535-016DE4C49FD7}"/>
                </a:ext>
              </a:extLst>
            </p:cNvPr>
            <p:cNvSpPr/>
            <p:nvPr/>
          </p:nvSpPr>
          <p:spPr bwMode="auto">
            <a:xfrm>
              <a:off x="4069565" y="3014578"/>
              <a:ext cx="369969" cy="377806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  <a:gd name="connsiteX107" fmla="*/ 373273 h 605239"/>
                <a:gd name="connsiteY107" fmla="*/ 373273 h 605239"/>
                <a:gd name="connsiteX108" fmla="*/ 373273 h 605239"/>
                <a:gd name="connsiteY108" fmla="*/ 373273 h 605239"/>
                <a:gd name="connsiteX109" fmla="*/ 373273 h 605239"/>
                <a:gd name="connsiteY109" fmla="*/ 373273 h 605239"/>
                <a:gd name="connsiteX110" fmla="*/ 373273 h 605239"/>
                <a:gd name="connsiteY110" fmla="*/ 373273 h 605239"/>
                <a:gd name="connsiteX111" fmla="*/ 373273 h 605239"/>
                <a:gd name="connsiteY111" fmla="*/ 373273 h 605239"/>
                <a:gd name="connsiteX112" fmla="*/ 373273 h 605239"/>
                <a:gd name="connsiteY112" fmla="*/ 373273 h 605239"/>
                <a:gd name="connsiteX113" fmla="*/ 373273 h 605239"/>
                <a:gd name="connsiteY113" fmla="*/ 373273 h 605239"/>
                <a:gd name="connsiteX114" fmla="*/ 373273 h 605239"/>
                <a:gd name="connsiteY114" fmla="*/ 373273 h 605239"/>
                <a:gd name="connsiteX115" fmla="*/ 373273 h 605239"/>
                <a:gd name="connsiteY115" fmla="*/ 373273 h 605239"/>
                <a:gd name="connsiteX116" fmla="*/ 373273 h 605239"/>
                <a:gd name="connsiteY116" fmla="*/ 373273 h 605239"/>
                <a:gd name="connsiteX117" fmla="*/ 373273 h 605239"/>
                <a:gd name="connsiteY117" fmla="*/ 373273 h 605239"/>
                <a:gd name="connsiteX118" fmla="*/ 373273 h 605239"/>
                <a:gd name="connsiteY118" fmla="*/ 373273 h 605239"/>
                <a:gd name="connsiteX119" fmla="*/ 373273 h 605239"/>
                <a:gd name="connsiteY119" fmla="*/ 373273 h 605239"/>
                <a:gd name="connsiteX120" fmla="*/ 373273 h 605239"/>
                <a:gd name="connsiteY120" fmla="*/ 373273 h 605239"/>
                <a:gd name="connsiteX121" fmla="*/ 373273 h 605239"/>
                <a:gd name="connsiteY121" fmla="*/ 373273 h 605239"/>
                <a:gd name="connsiteX122" fmla="*/ 373273 h 605239"/>
                <a:gd name="connsiteY122" fmla="*/ 373273 h 605239"/>
                <a:gd name="connsiteX123" fmla="*/ 373273 h 605239"/>
                <a:gd name="connsiteY123" fmla="*/ 373273 h 605239"/>
                <a:gd name="connsiteX124" fmla="*/ 373273 h 605239"/>
                <a:gd name="connsiteY124" fmla="*/ 373273 h 605239"/>
                <a:gd name="connsiteX125" fmla="*/ 373273 h 605239"/>
                <a:gd name="connsiteY125" fmla="*/ 373273 h 605239"/>
                <a:gd name="connsiteX126" fmla="*/ 373273 h 605239"/>
                <a:gd name="connsiteY126" fmla="*/ 373273 h 605239"/>
                <a:gd name="connsiteX127" fmla="*/ 373273 h 605239"/>
                <a:gd name="connsiteY127" fmla="*/ 373273 h 605239"/>
                <a:gd name="connsiteX128" fmla="*/ 373273 h 605239"/>
                <a:gd name="connsiteY128" fmla="*/ 373273 h 605239"/>
                <a:gd name="connsiteX129" fmla="*/ 373273 h 605239"/>
                <a:gd name="connsiteY12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593733" h="606309">
                  <a:moveTo>
                    <a:pt x="353250" y="302855"/>
                  </a:moveTo>
                  <a:cubicBezTo>
                    <a:pt x="318468" y="302855"/>
                    <a:pt x="290232" y="331146"/>
                    <a:pt x="290232" y="365879"/>
                  </a:cubicBezTo>
                  <a:cubicBezTo>
                    <a:pt x="290232" y="374189"/>
                    <a:pt x="296964" y="380912"/>
                    <a:pt x="305285" y="380912"/>
                  </a:cubicBezTo>
                  <a:cubicBezTo>
                    <a:pt x="313607" y="380912"/>
                    <a:pt x="320338" y="374189"/>
                    <a:pt x="320338" y="365879"/>
                  </a:cubicBezTo>
                  <a:cubicBezTo>
                    <a:pt x="320338" y="347672"/>
                    <a:pt x="335111" y="333014"/>
                    <a:pt x="353250" y="333014"/>
                  </a:cubicBezTo>
                  <a:cubicBezTo>
                    <a:pt x="361665" y="333014"/>
                    <a:pt x="368397" y="326291"/>
                    <a:pt x="368397" y="317888"/>
                  </a:cubicBezTo>
                  <a:cubicBezTo>
                    <a:pt x="368397" y="309578"/>
                    <a:pt x="361665" y="302855"/>
                    <a:pt x="353250" y="302855"/>
                  </a:cubicBezTo>
                  <a:close/>
                  <a:moveTo>
                    <a:pt x="353250" y="265041"/>
                  </a:moveTo>
                  <a:cubicBezTo>
                    <a:pt x="409163" y="265041"/>
                    <a:pt x="454229" y="310232"/>
                    <a:pt x="454229" y="365879"/>
                  </a:cubicBezTo>
                  <a:cubicBezTo>
                    <a:pt x="454229" y="421527"/>
                    <a:pt x="408976" y="466717"/>
                    <a:pt x="353250" y="466717"/>
                  </a:cubicBezTo>
                  <a:cubicBezTo>
                    <a:pt x="297525" y="466717"/>
                    <a:pt x="252271" y="421527"/>
                    <a:pt x="252271" y="365879"/>
                  </a:cubicBezTo>
                  <a:cubicBezTo>
                    <a:pt x="252271" y="310232"/>
                    <a:pt x="297431" y="265041"/>
                    <a:pt x="353250" y="265041"/>
                  </a:cubicBezTo>
                  <a:close/>
                  <a:moveTo>
                    <a:pt x="427779" y="133781"/>
                  </a:moveTo>
                  <a:cubicBezTo>
                    <a:pt x="432818" y="131960"/>
                    <a:pt x="438547" y="132054"/>
                    <a:pt x="443784" y="134482"/>
                  </a:cubicBezTo>
                  <a:lnTo>
                    <a:pt x="473245" y="148209"/>
                  </a:lnTo>
                  <a:cubicBezTo>
                    <a:pt x="483720" y="153158"/>
                    <a:pt x="488209" y="165671"/>
                    <a:pt x="483346" y="176130"/>
                  </a:cubicBezTo>
                  <a:lnTo>
                    <a:pt x="470252" y="203957"/>
                  </a:lnTo>
                  <a:cubicBezTo>
                    <a:pt x="492231" y="219646"/>
                    <a:pt x="511123" y="240003"/>
                    <a:pt x="525526" y="264095"/>
                  </a:cubicBezTo>
                  <a:lnTo>
                    <a:pt x="554426" y="253636"/>
                  </a:lnTo>
                  <a:cubicBezTo>
                    <a:pt x="565368" y="249714"/>
                    <a:pt x="577340" y="255411"/>
                    <a:pt x="581361" y="266243"/>
                  </a:cubicBezTo>
                  <a:lnTo>
                    <a:pt x="592491" y="296592"/>
                  </a:lnTo>
                  <a:cubicBezTo>
                    <a:pt x="596419" y="307612"/>
                    <a:pt x="590714" y="319564"/>
                    <a:pt x="579865" y="323486"/>
                  </a:cubicBezTo>
                  <a:lnTo>
                    <a:pt x="550965" y="333945"/>
                  </a:lnTo>
                  <a:cubicBezTo>
                    <a:pt x="555455" y="361586"/>
                    <a:pt x="553958" y="389414"/>
                    <a:pt x="547224" y="415561"/>
                  </a:cubicBezTo>
                  <a:lnTo>
                    <a:pt x="575095" y="428634"/>
                  </a:lnTo>
                  <a:cubicBezTo>
                    <a:pt x="585570" y="433490"/>
                    <a:pt x="590059" y="445910"/>
                    <a:pt x="585102" y="456649"/>
                  </a:cubicBezTo>
                  <a:lnTo>
                    <a:pt x="571354" y="485970"/>
                  </a:lnTo>
                  <a:cubicBezTo>
                    <a:pt x="566397" y="496429"/>
                    <a:pt x="553958" y="500911"/>
                    <a:pt x="543483" y="496056"/>
                  </a:cubicBezTo>
                  <a:lnTo>
                    <a:pt x="515238" y="482982"/>
                  </a:lnTo>
                  <a:cubicBezTo>
                    <a:pt x="499526" y="504833"/>
                    <a:pt x="479137" y="523510"/>
                    <a:pt x="455007" y="537704"/>
                  </a:cubicBezTo>
                  <a:lnTo>
                    <a:pt x="465763" y="567026"/>
                  </a:lnTo>
                  <a:cubicBezTo>
                    <a:pt x="469784" y="578045"/>
                    <a:pt x="463986" y="589997"/>
                    <a:pt x="453137" y="593919"/>
                  </a:cubicBezTo>
                  <a:lnTo>
                    <a:pt x="422741" y="605032"/>
                  </a:lnTo>
                  <a:cubicBezTo>
                    <a:pt x="411798" y="609047"/>
                    <a:pt x="399827" y="603258"/>
                    <a:pt x="395805" y="592425"/>
                  </a:cubicBezTo>
                  <a:lnTo>
                    <a:pt x="385050" y="562823"/>
                  </a:lnTo>
                  <a:cubicBezTo>
                    <a:pt x="357646" y="567212"/>
                    <a:pt x="330056" y="565718"/>
                    <a:pt x="304149" y="558995"/>
                  </a:cubicBezTo>
                  <a:lnTo>
                    <a:pt x="290682" y="587756"/>
                  </a:lnTo>
                  <a:cubicBezTo>
                    <a:pt x="285725" y="598215"/>
                    <a:pt x="273192" y="602697"/>
                    <a:pt x="262717" y="597841"/>
                  </a:cubicBezTo>
                  <a:lnTo>
                    <a:pt x="233350" y="584114"/>
                  </a:lnTo>
                  <a:cubicBezTo>
                    <a:pt x="222875" y="579165"/>
                    <a:pt x="218385" y="566652"/>
                    <a:pt x="223249" y="556193"/>
                  </a:cubicBezTo>
                  <a:lnTo>
                    <a:pt x="236810" y="527338"/>
                  </a:lnTo>
                  <a:cubicBezTo>
                    <a:pt x="215112" y="511650"/>
                    <a:pt x="196407" y="491480"/>
                    <a:pt x="182284" y="467668"/>
                  </a:cubicBezTo>
                  <a:lnTo>
                    <a:pt x="152169" y="478687"/>
                  </a:lnTo>
                  <a:cubicBezTo>
                    <a:pt x="141133" y="482609"/>
                    <a:pt x="129161" y="476912"/>
                    <a:pt x="125233" y="466080"/>
                  </a:cubicBezTo>
                  <a:lnTo>
                    <a:pt x="114104" y="435731"/>
                  </a:lnTo>
                  <a:cubicBezTo>
                    <a:pt x="110082" y="424712"/>
                    <a:pt x="115881" y="412759"/>
                    <a:pt x="126730" y="408837"/>
                  </a:cubicBezTo>
                  <a:lnTo>
                    <a:pt x="156845" y="397818"/>
                  </a:lnTo>
                  <a:cubicBezTo>
                    <a:pt x="153852" y="379422"/>
                    <a:pt x="153478" y="361026"/>
                    <a:pt x="155629" y="342910"/>
                  </a:cubicBezTo>
                  <a:lnTo>
                    <a:pt x="158622" y="343097"/>
                  </a:lnTo>
                  <a:cubicBezTo>
                    <a:pt x="181162" y="344030"/>
                    <a:pt x="200522" y="327408"/>
                    <a:pt x="203141" y="305370"/>
                  </a:cubicBezTo>
                  <a:cubicBezTo>
                    <a:pt x="207723" y="303876"/>
                    <a:pt x="212119" y="302195"/>
                    <a:pt x="216515" y="300515"/>
                  </a:cubicBezTo>
                  <a:cubicBezTo>
                    <a:pt x="220349" y="304063"/>
                    <a:pt x="224745" y="306958"/>
                    <a:pt x="229609" y="308919"/>
                  </a:cubicBezTo>
                  <a:cubicBezTo>
                    <a:pt x="219227" y="330957"/>
                    <a:pt x="214831" y="355983"/>
                    <a:pt x="217824" y="381943"/>
                  </a:cubicBezTo>
                  <a:cubicBezTo>
                    <a:pt x="226709" y="456462"/>
                    <a:pt x="294329" y="509876"/>
                    <a:pt x="368963" y="501192"/>
                  </a:cubicBezTo>
                  <a:cubicBezTo>
                    <a:pt x="443691" y="492320"/>
                    <a:pt x="497188" y="424899"/>
                    <a:pt x="488490" y="350287"/>
                  </a:cubicBezTo>
                  <a:cubicBezTo>
                    <a:pt x="479605" y="275675"/>
                    <a:pt x="411985" y="222260"/>
                    <a:pt x="337351" y="231038"/>
                  </a:cubicBezTo>
                  <a:cubicBezTo>
                    <a:pt x="324632" y="232532"/>
                    <a:pt x="312473" y="235707"/>
                    <a:pt x="301156" y="240376"/>
                  </a:cubicBezTo>
                  <a:cubicBezTo>
                    <a:pt x="299660" y="236268"/>
                    <a:pt x="297509" y="232345"/>
                    <a:pt x="294797" y="228890"/>
                  </a:cubicBezTo>
                  <a:cubicBezTo>
                    <a:pt x="297041" y="224688"/>
                    <a:pt x="299005" y="220393"/>
                    <a:pt x="300782" y="216097"/>
                  </a:cubicBezTo>
                  <a:cubicBezTo>
                    <a:pt x="311164" y="215817"/>
                    <a:pt x="320891" y="211802"/>
                    <a:pt x="328466" y="204891"/>
                  </a:cubicBezTo>
                  <a:cubicBezTo>
                    <a:pt x="336977" y="197141"/>
                    <a:pt x="341934" y="186589"/>
                    <a:pt x="342402" y="175103"/>
                  </a:cubicBezTo>
                  <a:lnTo>
                    <a:pt x="342776" y="166978"/>
                  </a:lnTo>
                  <a:cubicBezTo>
                    <a:pt x="363164" y="165764"/>
                    <a:pt x="383460" y="167912"/>
                    <a:pt x="402820" y="172768"/>
                  </a:cubicBezTo>
                  <a:lnTo>
                    <a:pt x="415913" y="144567"/>
                  </a:lnTo>
                  <a:cubicBezTo>
                    <a:pt x="418392" y="139338"/>
                    <a:pt x="422741" y="135602"/>
                    <a:pt x="427779" y="133781"/>
                  </a:cubicBezTo>
                  <a:close/>
                  <a:moveTo>
                    <a:pt x="159906" y="88589"/>
                  </a:moveTo>
                  <a:cubicBezTo>
                    <a:pt x="142487" y="87818"/>
                    <a:pt x="124764" y="93678"/>
                    <a:pt x="110828" y="106378"/>
                  </a:cubicBezTo>
                  <a:cubicBezTo>
                    <a:pt x="96145" y="119731"/>
                    <a:pt x="88663" y="138127"/>
                    <a:pt x="88663" y="156523"/>
                  </a:cubicBezTo>
                  <a:cubicBezTo>
                    <a:pt x="88663" y="172958"/>
                    <a:pt x="94555" y="189393"/>
                    <a:pt x="106526" y="202467"/>
                  </a:cubicBezTo>
                  <a:cubicBezTo>
                    <a:pt x="131965" y="230294"/>
                    <a:pt x="175081" y="232162"/>
                    <a:pt x="202764" y="206762"/>
                  </a:cubicBezTo>
                  <a:cubicBezTo>
                    <a:pt x="217448" y="193409"/>
                    <a:pt x="224930" y="175013"/>
                    <a:pt x="224930" y="156523"/>
                  </a:cubicBezTo>
                  <a:cubicBezTo>
                    <a:pt x="224930" y="140088"/>
                    <a:pt x="219132" y="123653"/>
                    <a:pt x="207160" y="110580"/>
                  </a:cubicBezTo>
                  <a:cubicBezTo>
                    <a:pt x="194441" y="96760"/>
                    <a:pt x="177325" y="89359"/>
                    <a:pt x="159906" y="88589"/>
                  </a:cubicBezTo>
                  <a:close/>
                  <a:moveTo>
                    <a:pt x="153289" y="17"/>
                  </a:moveTo>
                  <a:lnTo>
                    <a:pt x="173678" y="951"/>
                  </a:lnTo>
                  <a:cubicBezTo>
                    <a:pt x="180786" y="1325"/>
                    <a:pt x="186304" y="7114"/>
                    <a:pt x="186304" y="14118"/>
                  </a:cubicBezTo>
                  <a:lnTo>
                    <a:pt x="186304" y="14771"/>
                  </a:lnTo>
                  <a:lnTo>
                    <a:pt x="185462" y="34755"/>
                  </a:lnTo>
                  <a:cubicBezTo>
                    <a:pt x="201923" y="38677"/>
                    <a:pt x="217729" y="45774"/>
                    <a:pt x="231851" y="56232"/>
                  </a:cubicBezTo>
                  <a:lnTo>
                    <a:pt x="246535" y="42786"/>
                  </a:lnTo>
                  <a:cubicBezTo>
                    <a:pt x="251866" y="37930"/>
                    <a:pt x="260283" y="38303"/>
                    <a:pt x="265240" y="43626"/>
                  </a:cubicBezTo>
                  <a:lnTo>
                    <a:pt x="279082" y="58660"/>
                  </a:lnTo>
                  <a:cubicBezTo>
                    <a:pt x="281420" y="61275"/>
                    <a:pt x="282542" y="64450"/>
                    <a:pt x="282542" y="67625"/>
                  </a:cubicBezTo>
                  <a:cubicBezTo>
                    <a:pt x="282542" y="71173"/>
                    <a:pt x="281233" y="74722"/>
                    <a:pt x="278334" y="77337"/>
                  </a:cubicBezTo>
                  <a:lnTo>
                    <a:pt x="263744" y="90690"/>
                  </a:lnTo>
                  <a:cubicBezTo>
                    <a:pt x="273096" y="105537"/>
                    <a:pt x="278988" y="121973"/>
                    <a:pt x="281420" y="138781"/>
                  </a:cubicBezTo>
                  <a:lnTo>
                    <a:pt x="301061" y="139621"/>
                  </a:lnTo>
                  <a:cubicBezTo>
                    <a:pt x="308169" y="139995"/>
                    <a:pt x="313593" y="145878"/>
                    <a:pt x="313593" y="152788"/>
                  </a:cubicBezTo>
                  <a:lnTo>
                    <a:pt x="313593" y="153442"/>
                  </a:lnTo>
                  <a:lnTo>
                    <a:pt x="312751" y="173892"/>
                  </a:lnTo>
                  <a:cubicBezTo>
                    <a:pt x="312377" y="181083"/>
                    <a:pt x="306298" y="186779"/>
                    <a:pt x="298910" y="186405"/>
                  </a:cubicBezTo>
                  <a:lnTo>
                    <a:pt x="279456" y="185565"/>
                  </a:lnTo>
                  <a:cubicBezTo>
                    <a:pt x="275622" y="202093"/>
                    <a:pt x="268327" y="218061"/>
                    <a:pt x="257758" y="232162"/>
                  </a:cubicBezTo>
                  <a:lnTo>
                    <a:pt x="270852" y="246449"/>
                  </a:lnTo>
                  <a:cubicBezTo>
                    <a:pt x="273190" y="249064"/>
                    <a:pt x="274312" y="252145"/>
                    <a:pt x="274312" y="255414"/>
                  </a:cubicBezTo>
                  <a:cubicBezTo>
                    <a:pt x="274312" y="258869"/>
                    <a:pt x="273003" y="262511"/>
                    <a:pt x="270104" y="265126"/>
                  </a:cubicBezTo>
                  <a:lnTo>
                    <a:pt x="255046" y="278946"/>
                  </a:lnTo>
                  <a:cubicBezTo>
                    <a:pt x="249621" y="283802"/>
                    <a:pt x="241297" y="283428"/>
                    <a:pt x="236340" y="278106"/>
                  </a:cubicBezTo>
                  <a:lnTo>
                    <a:pt x="223247" y="263724"/>
                  </a:lnTo>
                  <a:cubicBezTo>
                    <a:pt x="208282" y="272970"/>
                    <a:pt x="191635" y="278853"/>
                    <a:pt x="174800" y="281187"/>
                  </a:cubicBezTo>
                  <a:lnTo>
                    <a:pt x="173958" y="300610"/>
                  </a:lnTo>
                  <a:cubicBezTo>
                    <a:pt x="173584" y="307801"/>
                    <a:pt x="167505" y="313590"/>
                    <a:pt x="160117" y="313217"/>
                  </a:cubicBezTo>
                  <a:lnTo>
                    <a:pt x="139634" y="312283"/>
                  </a:lnTo>
                  <a:cubicBezTo>
                    <a:pt x="132526" y="311909"/>
                    <a:pt x="127102" y="306120"/>
                    <a:pt x="127102" y="299116"/>
                  </a:cubicBezTo>
                  <a:lnTo>
                    <a:pt x="127102" y="298463"/>
                  </a:lnTo>
                  <a:lnTo>
                    <a:pt x="128037" y="279039"/>
                  </a:lnTo>
                  <a:cubicBezTo>
                    <a:pt x="111577" y="275211"/>
                    <a:pt x="95771" y="267834"/>
                    <a:pt x="81648" y="257281"/>
                  </a:cubicBezTo>
                  <a:lnTo>
                    <a:pt x="67058" y="270635"/>
                  </a:lnTo>
                  <a:cubicBezTo>
                    <a:pt x="61727" y="275491"/>
                    <a:pt x="53403" y="275117"/>
                    <a:pt x="48353" y="269701"/>
                  </a:cubicBezTo>
                  <a:lnTo>
                    <a:pt x="34511" y="254667"/>
                  </a:lnTo>
                  <a:cubicBezTo>
                    <a:pt x="32173" y="252052"/>
                    <a:pt x="31051" y="248970"/>
                    <a:pt x="31051" y="245702"/>
                  </a:cubicBezTo>
                  <a:cubicBezTo>
                    <a:pt x="31051" y="242247"/>
                    <a:pt x="32453" y="238605"/>
                    <a:pt x="35259" y="235990"/>
                  </a:cubicBezTo>
                  <a:lnTo>
                    <a:pt x="50036" y="222544"/>
                  </a:lnTo>
                  <a:cubicBezTo>
                    <a:pt x="40777" y="207696"/>
                    <a:pt x="35072" y="191261"/>
                    <a:pt x="32640" y="174639"/>
                  </a:cubicBezTo>
                  <a:lnTo>
                    <a:pt x="12626" y="173705"/>
                  </a:lnTo>
                  <a:cubicBezTo>
                    <a:pt x="5518" y="173332"/>
                    <a:pt x="0" y="167542"/>
                    <a:pt x="0" y="160539"/>
                  </a:cubicBezTo>
                  <a:lnTo>
                    <a:pt x="0" y="159885"/>
                  </a:lnTo>
                  <a:lnTo>
                    <a:pt x="842" y="139621"/>
                  </a:lnTo>
                  <a:cubicBezTo>
                    <a:pt x="1216" y="132431"/>
                    <a:pt x="7388" y="126642"/>
                    <a:pt x="14683" y="127015"/>
                  </a:cubicBezTo>
                  <a:lnTo>
                    <a:pt x="34885" y="127949"/>
                  </a:lnTo>
                  <a:cubicBezTo>
                    <a:pt x="38813" y="111514"/>
                    <a:pt x="46015" y="95826"/>
                    <a:pt x="56490" y="81819"/>
                  </a:cubicBezTo>
                  <a:lnTo>
                    <a:pt x="42741" y="66878"/>
                  </a:lnTo>
                  <a:cubicBezTo>
                    <a:pt x="40403" y="64263"/>
                    <a:pt x="39281" y="61182"/>
                    <a:pt x="39281" y="57913"/>
                  </a:cubicBezTo>
                  <a:cubicBezTo>
                    <a:pt x="39281" y="54458"/>
                    <a:pt x="40684" y="50816"/>
                    <a:pt x="43490" y="48202"/>
                  </a:cubicBezTo>
                  <a:lnTo>
                    <a:pt x="58641" y="34381"/>
                  </a:lnTo>
                  <a:cubicBezTo>
                    <a:pt x="63972" y="29526"/>
                    <a:pt x="72296" y="29899"/>
                    <a:pt x="77346" y="35315"/>
                  </a:cubicBezTo>
                  <a:lnTo>
                    <a:pt x="90627" y="50256"/>
                  </a:lnTo>
                  <a:cubicBezTo>
                    <a:pt x="105591" y="41011"/>
                    <a:pt x="121864" y="35128"/>
                    <a:pt x="138512" y="32794"/>
                  </a:cubicBezTo>
                  <a:lnTo>
                    <a:pt x="139447" y="12624"/>
                  </a:lnTo>
                  <a:cubicBezTo>
                    <a:pt x="139821" y="5433"/>
                    <a:pt x="145901" y="-356"/>
                    <a:pt x="153289" y="17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1" name="îṣḻïḓè">
              <a:extLst>
                <a:ext uri="{FF2B5EF4-FFF2-40B4-BE49-F238E27FC236}">
                  <a16:creationId xmlns:a16="http://schemas.microsoft.com/office/drawing/2014/main" id="{30C8A656-A69C-4844-9B4C-38593487F7D6}"/>
                </a:ext>
              </a:extLst>
            </p:cNvPr>
            <p:cNvSpPr/>
            <p:nvPr/>
          </p:nvSpPr>
          <p:spPr bwMode="auto">
            <a:xfrm>
              <a:off x="3563916" y="3658051"/>
              <a:ext cx="377806" cy="377072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81741" h="580612">
                  <a:moveTo>
                    <a:pt x="291612" y="187916"/>
                  </a:moveTo>
                  <a:cubicBezTo>
                    <a:pt x="304876" y="187916"/>
                    <a:pt x="315648" y="198758"/>
                    <a:pt x="315648" y="212088"/>
                  </a:cubicBezTo>
                  <a:lnTo>
                    <a:pt x="315648" y="491836"/>
                  </a:lnTo>
                  <a:lnTo>
                    <a:pt x="331227" y="473974"/>
                  </a:lnTo>
                  <a:cubicBezTo>
                    <a:pt x="339863" y="463932"/>
                    <a:pt x="355086" y="462866"/>
                    <a:pt x="365145" y="471574"/>
                  </a:cubicBezTo>
                  <a:cubicBezTo>
                    <a:pt x="375116" y="480372"/>
                    <a:pt x="376184" y="495657"/>
                    <a:pt x="367460" y="505699"/>
                  </a:cubicBezTo>
                  <a:lnTo>
                    <a:pt x="309773" y="572348"/>
                  </a:lnTo>
                  <a:cubicBezTo>
                    <a:pt x="305143" y="577502"/>
                    <a:pt x="298556" y="580612"/>
                    <a:pt x="291612" y="580612"/>
                  </a:cubicBezTo>
                  <a:cubicBezTo>
                    <a:pt x="284579" y="580612"/>
                    <a:pt x="278080" y="577680"/>
                    <a:pt x="273451" y="572348"/>
                  </a:cubicBezTo>
                  <a:lnTo>
                    <a:pt x="215764" y="505699"/>
                  </a:lnTo>
                  <a:cubicBezTo>
                    <a:pt x="207039" y="495657"/>
                    <a:pt x="208108" y="480372"/>
                    <a:pt x="218078" y="471574"/>
                  </a:cubicBezTo>
                  <a:cubicBezTo>
                    <a:pt x="228049" y="462866"/>
                    <a:pt x="243272" y="463932"/>
                    <a:pt x="252085" y="473974"/>
                  </a:cubicBezTo>
                  <a:lnTo>
                    <a:pt x="267486" y="491747"/>
                  </a:lnTo>
                  <a:lnTo>
                    <a:pt x="267486" y="212088"/>
                  </a:lnTo>
                  <a:cubicBezTo>
                    <a:pt x="267486" y="198758"/>
                    <a:pt x="278258" y="187916"/>
                    <a:pt x="291612" y="187916"/>
                  </a:cubicBezTo>
                  <a:close/>
                  <a:moveTo>
                    <a:pt x="329499" y="0"/>
                  </a:moveTo>
                  <a:cubicBezTo>
                    <a:pt x="426248" y="0"/>
                    <a:pt x="465322" y="80426"/>
                    <a:pt x="473332" y="108153"/>
                  </a:cubicBezTo>
                  <a:cubicBezTo>
                    <a:pt x="535280" y="120684"/>
                    <a:pt x="581474" y="175693"/>
                    <a:pt x="581741" y="241190"/>
                  </a:cubicBezTo>
                  <a:cubicBezTo>
                    <a:pt x="581741" y="315840"/>
                    <a:pt x="521306" y="376537"/>
                    <a:pt x="446987" y="376537"/>
                  </a:cubicBezTo>
                  <a:lnTo>
                    <a:pt x="372756" y="376537"/>
                  </a:lnTo>
                  <a:cubicBezTo>
                    <a:pt x="359316" y="376537"/>
                    <a:pt x="348546" y="365606"/>
                    <a:pt x="348546" y="352276"/>
                  </a:cubicBezTo>
                  <a:cubicBezTo>
                    <a:pt x="348546" y="338857"/>
                    <a:pt x="359316" y="327926"/>
                    <a:pt x="372756" y="327926"/>
                  </a:cubicBezTo>
                  <a:lnTo>
                    <a:pt x="446987" y="327926"/>
                  </a:lnTo>
                  <a:cubicBezTo>
                    <a:pt x="494605" y="327926"/>
                    <a:pt x="533322" y="289090"/>
                    <a:pt x="533322" y="241190"/>
                  </a:cubicBezTo>
                  <a:cubicBezTo>
                    <a:pt x="533322" y="195334"/>
                    <a:pt x="497720" y="157298"/>
                    <a:pt x="452238" y="154632"/>
                  </a:cubicBezTo>
                  <a:cubicBezTo>
                    <a:pt x="440934" y="153921"/>
                    <a:pt x="431589" y="145478"/>
                    <a:pt x="429809" y="134192"/>
                  </a:cubicBezTo>
                  <a:cubicBezTo>
                    <a:pt x="421709" y="84692"/>
                    <a:pt x="379609" y="48789"/>
                    <a:pt x="329677" y="48789"/>
                  </a:cubicBezTo>
                  <a:cubicBezTo>
                    <a:pt x="279567" y="48789"/>
                    <a:pt x="238001" y="84781"/>
                    <a:pt x="229457" y="134192"/>
                  </a:cubicBezTo>
                  <a:cubicBezTo>
                    <a:pt x="226520" y="151521"/>
                    <a:pt x="212190" y="162807"/>
                    <a:pt x="192964" y="151077"/>
                  </a:cubicBezTo>
                  <a:cubicBezTo>
                    <a:pt x="178011" y="141834"/>
                    <a:pt x="160922" y="136947"/>
                    <a:pt x="143299" y="136947"/>
                  </a:cubicBezTo>
                  <a:cubicBezTo>
                    <a:pt x="90964" y="136947"/>
                    <a:pt x="48419" y="179693"/>
                    <a:pt x="48419" y="232303"/>
                  </a:cubicBezTo>
                  <a:cubicBezTo>
                    <a:pt x="48419" y="284913"/>
                    <a:pt x="90964" y="327748"/>
                    <a:pt x="143299" y="327748"/>
                  </a:cubicBezTo>
                  <a:lnTo>
                    <a:pt x="218776" y="327748"/>
                  </a:lnTo>
                  <a:cubicBezTo>
                    <a:pt x="232216" y="327748"/>
                    <a:pt x="242986" y="338590"/>
                    <a:pt x="242986" y="352009"/>
                  </a:cubicBezTo>
                  <a:cubicBezTo>
                    <a:pt x="242986" y="365429"/>
                    <a:pt x="232216" y="376271"/>
                    <a:pt x="218776" y="376271"/>
                  </a:cubicBezTo>
                  <a:lnTo>
                    <a:pt x="143299" y="376271"/>
                  </a:lnTo>
                  <a:cubicBezTo>
                    <a:pt x="64262" y="376271"/>
                    <a:pt x="0" y="311574"/>
                    <a:pt x="0" y="232214"/>
                  </a:cubicBezTo>
                  <a:cubicBezTo>
                    <a:pt x="0" y="152854"/>
                    <a:pt x="64262" y="88158"/>
                    <a:pt x="143210" y="88158"/>
                  </a:cubicBezTo>
                  <a:cubicBezTo>
                    <a:pt x="159231" y="88158"/>
                    <a:pt x="174896" y="90735"/>
                    <a:pt x="189849" y="95978"/>
                  </a:cubicBezTo>
                  <a:cubicBezTo>
                    <a:pt x="198749" y="73050"/>
                    <a:pt x="238891" y="0"/>
                    <a:pt x="32949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2" name="iş1iḑe">
              <a:extLst>
                <a:ext uri="{FF2B5EF4-FFF2-40B4-BE49-F238E27FC236}">
                  <a16:creationId xmlns:a16="http://schemas.microsoft.com/office/drawing/2014/main" id="{79D5FAF9-096B-4C61-A299-6A26A276E128}"/>
                </a:ext>
              </a:extLst>
            </p:cNvPr>
            <p:cNvSpPr/>
            <p:nvPr/>
          </p:nvSpPr>
          <p:spPr bwMode="auto">
            <a:xfrm>
              <a:off x="3025037" y="4301073"/>
              <a:ext cx="377806" cy="377236"/>
            </a:xfrm>
            <a:custGeom>
              <a:avLst/>
              <a:gdLst>
                <a:gd name="connsiteX0" fmla="*/ 303820 w 607639"/>
                <a:gd name="connsiteY0" fmla="*/ 278099 h 606722"/>
                <a:gd name="connsiteX1" fmla="*/ 329118 w 607639"/>
                <a:gd name="connsiteY1" fmla="*/ 303362 h 606722"/>
                <a:gd name="connsiteX2" fmla="*/ 303820 w 607639"/>
                <a:gd name="connsiteY2" fmla="*/ 328625 h 606722"/>
                <a:gd name="connsiteX3" fmla="*/ 278522 w 607639"/>
                <a:gd name="connsiteY3" fmla="*/ 303362 h 606722"/>
                <a:gd name="connsiteX4" fmla="*/ 303820 w 607639"/>
                <a:gd name="connsiteY4" fmla="*/ 278099 h 606722"/>
                <a:gd name="connsiteX5" fmla="*/ 303775 w 607639"/>
                <a:gd name="connsiteY5" fmla="*/ 252735 h 606722"/>
                <a:gd name="connsiteX6" fmla="*/ 253140 w 607639"/>
                <a:gd name="connsiteY6" fmla="*/ 303317 h 606722"/>
                <a:gd name="connsiteX7" fmla="*/ 303775 w 607639"/>
                <a:gd name="connsiteY7" fmla="*/ 353900 h 606722"/>
                <a:gd name="connsiteX8" fmla="*/ 354410 w 607639"/>
                <a:gd name="connsiteY8" fmla="*/ 303317 h 606722"/>
                <a:gd name="connsiteX9" fmla="*/ 303775 w 607639"/>
                <a:gd name="connsiteY9" fmla="*/ 252735 h 606722"/>
                <a:gd name="connsiteX10" fmla="*/ 303775 w 607639"/>
                <a:gd name="connsiteY10" fmla="*/ 202241 h 606722"/>
                <a:gd name="connsiteX11" fmla="*/ 405045 w 607639"/>
                <a:gd name="connsiteY11" fmla="*/ 303317 h 606722"/>
                <a:gd name="connsiteX12" fmla="*/ 303775 w 607639"/>
                <a:gd name="connsiteY12" fmla="*/ 404482 h 606722"/>
                <a:gd name="connsiteX13" fmla="*/ 202593 w 607639"/>
                <a:gd name="connsiteY13" fmla="*/ 303317 h 606722"/>
                <a:gd name="connsiteX14" fmla="*/ 303775 w 607639"/>
                <a:gd name="connsiteY14" fmla="*/ 202241 h 606722"/>
                <a:gd name="connsiteX15" fmla="*/ 303775 w 607639"/>
                <a:gd name="connsiteY15" fmla="*/ 151703 h 606722"/>
                <a:gd name="connsiteX16" fmla="*/ 151932 w 607639"/>
                <a:gd name="connsiteY16" fmla="*/ 303317 h 606722"/>
                <a:gd name="connsiteX17" fmla="*/ 303775 w 607639"/>
                <a:gd name="connsiteY17" fmla="*/ 455019 h 606722"/>
                <a:gd name="connsiteX18" fmla="*/ 455707 w 607639"/>
                <a:gd name="connsiteY18" fmla="*/ 303317 h 606722"/>
                <a:gd name="connsiteX19" fmla="*/ 303775 w 607639"/>
                <a:gd name="connsiteY19" fmla="*/ 151703 h 606722"/>
                <a:gd name="connsiteX20" fmla="*/ 253131 w 607639"/>
                <a:gd name="connsiteY20" fmla="*/ 0 h 606722"/>
                <a:gd name="connsiteX21" fmla="*/ 354419 w 607639"/>
                <a:gd name="connsiteY21" fmla="*/ 0 h 606722"/>
                <a:gd name="connsiteX22" fmla="*/ 379786 w 607639"/>
                <a:gd name="connsiteY22" fmla="*/ 25239 h 606722"/>
                <a:gd name="connsiteX23" fmla="*/ 379786 w 607639"/>
                <a:gd name="connsiteY23" fmla="*/ 62387 h 606722"/>
                <a:gd name="connsiteX24" fmla="*/ 420639 w 607639"/>
                <a:gd name="connsiteY24" fmla="*/ 79451 h 606722"/>
                <a:gd name="connsiteX25" fmla="*/ 446985 w 607639"/>
                <a:gd name="connsiteY25" fmla="*/ 53145 h 606722"/>
                <a:gd name="connsiteX26" fmla="*/ 482854 w 607639"/>
                <a:gd name="connsiteY26" fmla="*/ 53145 h 606722"/>
                <a:gd name="connsiteX27" fmla="*/ 554414 w 607639"/>
                <a:gd name="connsiteY27" fmla="*/ 124597 h 606722"/>
                <a:gd name="connsiteX28" fmla="*/ 554414 w 607639"/>
                <a:gd name="connsiteY28" fmla="*/ 160323 h 606722"/>
                <a:gd name="connsiteX29" fmla="*/ 528069 w 607639"/>
                <a:gd name="connsiteY29" fmla="*/ 186629 h 606722"/>
                <a:gd name="connsiteX30" fmla="*/ 545158 w 607639"/>
                <a:gd name="connsiteY30" fmla="*/ 227510 h 606722"/>
                <a:gd name="connsiteX31" fmla="*/ 582273 w 607639"/>
                <a:gd name="connsiteY31" fmla="*/ 227510 h 606722"/>
                <a:gd name="connsiteX32" fmla="*/ 607639 w 607639"/>
                <a:gd name="connsiteY32" fmla="*/ 252749 h 606722"/>
                <a:gd name="connsiteX33" fmla="*/ 607639 w 607639"/>
                <a:gd name="connsiteY33" fmla="*/ 353884 h 606722"/>
                <a:gd name="connsiteX34" fmla="*/ 582273 w 607639"/>
                <a:gd name="connsiteY34" fmla="*/ 379212 h 606722"/>
                <a:gd name="connsiteX35" fmla="*/ 545158 w 607639"/>
                <a:gd name="connsiteY35" fmla="*/ 379212 h 606722"/>
                <a:gd name="connsiteX36" fmla="*/ 528069 w 607639"/>
                <a:gd name="connsiteY36" fmla="*/ 420004 h 606722"/>
                <a:gd name="connsiteX37" fmla="*/ 554414 w 607639"/>
                <a:gd name="connsiteY37" fmla="*/ 446310 h 606722"/>
                <a:gd name="connsiteX38" fmla="*/ 554414 w 607639"/>
                <a:gd name="connsiteY38" fmla="*/ 482125 h 606722"/>
                <a:gd name="connsiteX39" fmla="*/ 482854 w 607639"/>
                <a:gd name="connsiteY39" fmla="*/ 553577 h 606722"/>
                <a:gd name="connsiteX40" fmla="*/ 446985 w 607639"/>
                <a:gd name="connsiteY40" fmla="*/ 553577 h 606722"/>
                <a:gd name="connsiteX41" fmla="*/ 420639 w 607639"/>
                <a:gd name="connsiteY41" fmla="*/ 527271 h 606722"/>
                <a:gd name="connsiteX42" fmla="*/ 379786 w 607639"/>
                <a:gd name="connsiteY42" fmla="*/ 544246 h 606722"/>
                <a:gd name="connsiteX43" fmla="*/ 379786 w 607639"/>
                <a:gd name="connsiteY43" fmla="*/ 581394 h 606722"/>
                <a:gd name="connsiteX44" fmla="*/ 354419 w 607639"/>
                <a:gd name="connsiteY44" fmla="*/ 606722 h 606722"/>
                <a:gd name="connsiteX45" fmla="*/ 253131 w 607639"/>
                <a:gd name="connsiteY45" fmla="*/ 606722 h 606722"/>
                <a:gd name="connsiteX46" fmla="*/ 227854 w 607639"/>
                <a:gd name="connsiteY46" fmla="*/ 581394 h 606722"/>
                <a:gd name="connsiteX47" fmla="*/ 227854 w 607639"/>
                <a:gd name="connsiteY47" fmla="*/ 544246 h 606722"/>
                <a:gd name="connsiteX48" fmla="*/ 186911 w 607639"/>
                <a:gd name="connsiteY48" fmla="*/ 527271 h 606722"/>
                <a:gd name="connsiteX49" fmla="*/ 160566 w 607639"/>
                <a:gd name="connsiteY49" fmla="*/ 553577 h 606722"/>
                <a:gd name="connsiteX50" fmla="*/ 124786 w 607639"/>
                <a:gd name="connsiteY50" fmla="*/ 553577 h 606722"/>
                <a:gd name="connsiteX51" fmla="*/ 53225 w 607639"/>
                <a:gd name="connsiteY51" fmla="*/ 482125 h 606722"/>
                <a:gd name="connsiteX52" fmla="*/ 53225 w 607639"/>
                <a:gd name="connsiteY52" fmla="*/ 446310 h 606722"/>
                <a:gd name="connsiteX53" fmla="*/ 79482 w 607639"/>
                <a:gd name="connsiteY53" fmla="*/ 420004 h 606722"/>
                <a:gd name="connsiteX54" fmla="*/ 62482 w 607639"/>
                <a:gd name="connsiteY54" fmla="*/ 379212 h 606722"/>
                <a:gd name="connsiteX55" fmla="*/ 25278 w 607639"/>
                <a:gd name="connsiteY55" fmla="*/ 379212 h 606722"/>
                <a:gd name="connsiteX56" fmla="*/ 0 w 607639"/>
                <a:gd name="connsiteY56" fmla="*/ 353884 h 606722"/>
                <a:gd name="connsiteX57" fmla="*/ 0 w 607639"/>
                <a:gd name="connsiteY57" fmla="*/ 252749 h 606722"/>
                <a:gd name="connsiteX58" fmla="*/ 25278 w 607639"/>
                <a:gd name="connsiteY58" fmla="*/ 227510 h 606722"/>
                <a:gd name="connsiteX59" fmla="*/ 62482 w 607639"/>
                <a:gd name="connsiteY59" fmla="*/ 227510 h 606722"/>
                <a:gd name="connsiteX60" fmla="*/ 79482 w 607639"/>
                <a:gd name="connsiteY60" fmla="*/ 186629 h 606722"/>
                <a:gd name="connsiteX61" fmla="*/ 53225 w 607639"/>
                <a:gd name="connsiteY61" fmla="*/ 160323 h 606722"/>
                <a:gd name="connsiteX62" fmla="*/ 53225 w 607639"/>
                <a:gd name="connsiteY62" fmla="*/ 124597 h 606722"/>
                <a:gd name="connsiteX63" fmla="*/ 124786 w 607639"/>
                <a:gd name="connsiteY63" fmla="*/ 53145 h 606722"/>
                <a:gd name="connsiteX64" fmla="*/ 160566 w 607639"/>
                <a:gd name="connsiteY64" fmla="*/ 53145 h 606722"/>
                <a:gd name="connsiteX65" fmla="*/ 186911 w 607639"/>
                <a:gd name="connsiteY65" fmla="*/ 79451 h 606722"/>
                <a:gd name="connsiteX66" fmla="*/ 227854 w 607639"/>
                <a:gd name="connsiteY66" fmla="*/ 62387 h 606722"/>
                <a:gd name="connsiteX67" fmla="*/ 227854 w 607639"/>
                <a:gd name="connsiteY67" fmla="*/ 25239 h 606722"/>
                <a:gd name="connsiteX68" fmla="*/ 253131 w 607639"/>
                <a:gd name="connsiteY68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607639" h="606722">
                  <a:moveTo>
                    <a:pt x="303820" y="278099"/>
                  </a:moveTo>
                  <a:cubicBezTo>
                    <a:pt x="317792" y="278099"/>
                    <a:pt x="329118" y="289410"/>
                    <a:pt x="329118" y="303362"/>
                  </a:cubicBezTo>
                  <a:cubicBezTo>
                    <a:pt x="329118" y="317314"/>
                    <a:pt x="317792" y="328625"/>
                    <a:pt x="303820" y="328625"/>
                  </a:cubicBezTo>
                  <a:cubicBezTo>
                    <a:pt x="289848" y="328625"/>
                    <a:pt x="278522" y="317314"/>
                    <a:pt x="278522" y="303362"/>
                  </a:cubicBezTo>
                  <a:cubicBezTo>
                    <a:pt x="278522" y="289410"/>
                    <a:pt x="289848" y="278099"/>
                    <a:pt x="303820" y="278099"/>
                  </a:cubicBezTo>
                  <a:close/>
                  <a:moveTo>
                    <a:pt x="303775" y="252735"/>
                  </a:moveTo>
                  <a:cubicBezTo>
                    <a:pt x="275921" y="252735"/>
                    <a:pt x="253140" y="275492"/>
                    <a:pt x="253140" y="303317"/>
                  </a:cubicBezTo>
                  <a:cubicBezTo>
                    <a:pt x="253140" y="331231"/>
                    <a:pt x="275921" y="353900"/>
                    <a:pt x="303775" y="353900"/>
                  </a:cubicBezTo>
                  <a:cubicBezTo>
                    <a:pt x="331718" y="353900"/>
                    <a:pt x="354410" y="331231"/>
                    <a:pt x="354410" y="303317"/>
                  </a:cubicBezTo>
                  <a:cubicBezTo>
                    <a:pt x="354410" y="275492"/>
                    <a:pt x="331718" y="252735"/>
                    <a:pt x="303775" y="252735"/>
                  </a:cubicBezTo>
                  <a:close/>
                  <a:moveTo>
                    <a:pt x="303775" y="202241"/>
                  </a:moveTo>
                  <a:cubicBezTo>
                    <a:pt x="359660" y="202241"/>
                    <a:pt x="405045" y="247579"/>
                    <a:pt x="405045" y="303317"/>
                  </a:cubicBezTo>
                  <a:cubicBezTo>
                    <a:pt x="405045" y="359144"/>
                    <a:pt x="359660" y="404482"/>
                    <a:pt x="303775" y="404482"/>
                  </a:cubicBezTo>
                  <a:cubicBezTo>
                    <a:pt x="247978" y="404482"/>
                    <a:pt x="202593" y="359144"/>
                    <a:pt x="202593" y="303317"/>
                  </a:cubicBezTo>
                  <a:cubicBezTo>
                    <a:pt x="202593" y="247579"/>
                    <a:pt x="247978" y="202241"/>
                    <a:pt x="303775" y="202241"/>
                  </a:cubicBezTo>
                  <a:close/>
                  <a:moveTo>
                    <a:pt x="303775" y="151703"/>
                  </a:moveTo>
                  <a:cubicBezTo>
                    <a:pt x="220021" y="151703"/>
                    <a:pt x="151932" y="219689"/>
                    <a:pt x="151932" y="303317"/>
                  </a:cubicBezTo>
                  <a:cubicBezTo>
                    <a:pt x="151932" y="387033"/>
                    <a:pt x="220021" y="455019"/>
                    <a:pt x="303775" y="455019"/>
                  </a:cubicBezTo>
                  <a:cubicBezTo>
                    <a:pt x="387618" y="455019"/>
                    <a:pt x="455707" y="387033"/>
                    <a:pt x="455707" y="303317"/>
                  </a:cubicBezTo>
                  <a:cubicBezTo>
                    <a:pt x="455707" y="219689"/>
                    <a:pt x="387618" y="151703"/>
                    <a:pt x="303775" y="151703"/>
                  </a:cubicBezTo>
                  <a:close/>
                  <a:moveTo>
                    <a:pt x="253131" y="0"/>
                  </a:moveTo>
                  <a:lnTo>
                    <a:pt x="354419" y="0"/>
                  </a:lnTo>
                  <a:cubicBezTo>
                    <a:pt x="368482" y="0"/>
                    <a:pt x="379786" y="11287"/>
                    <a:pt x="379786" y="25239"/>
                  </a:cubicBezTo>
                  <a:lnTo>
                    <a:pt x="379786" y="62387"/>
                  </a:lnTo>
                  <a:cubicBezTo>
                    <a:pt x="393849" y="66831"/>
                    <a:pt x="407555" y="72519"/>
                    <a:pt x="420639" y="79451"/>
                  </a:cubicBezTo>
                  <a:lnTo>
                    <a:pt x="446985" y="53145"/>
                  </a:lnTo>
                  <a:cubicBezTo>
                    <a:pt x="456953" y="43191"/>
                    <a:pt x="472974" y="43191"/>
                    <a:pt x="482854" y="53145"/>
                  </a:cubicBezTo>
                  <a:lnTo>
                    <a:pt x="554414" y="124597"/>
                  </a:lnTo>
                  <a:cubicBezTo>
                    <a:pt x="564294" y="134462"/>
                    <a:pt x="564294" y="150459"/>
                    <a:pt x="554414" y="160323"/>
                  </a:cubicBezTo>
                  <a:lnTo>
                    <a:pt x="528069" y="186629"/>
                  </a:lnTo>
                  <a:cubicBezTo>
                    <a:pt x="535011" y="199782"/>
                    <a:pt x="540707" y="213468"/>
                    <a:pt x="545158" y="227510"/>
                  </a:cubicBezTo>
                  <a:lnTo>
                    <a:pt x="582273" y="227510"/>
                  </a:lnTo>
                  <a:cubicBezTo>
                    <a:pt x="596336" y="227510"/>
                    <a:pt x="607639" y="238796"/>
                    <a:pt x="607639" y="252749"/>
                  </a:cubicBezTo>
                  <a:lnTo>
                    <a:pt x="607639" y="353884"/>
                  </a:lnTo>
                  <a:cubicBezTo>
                    <a:pt x="607639" y="367926"/>
                    <a:pt x="596247" y="379212"/>
                    <a:pt x="582273" y="379212"/>
                  </a:cubicBezTo>
                  <a:lnTo>
                    <a:pt x="545158" y="379212"/>
                  </a:lnTo>
                  <a:cubicBezTo>
                    <a:pt x="540707" y="393254"/>
                    <a:pt x="535011" y="406940"/>
                    <a:pt x="528069" y="420004"/>
                  </a:cubicBezTo>
                  <a:lnTo>
                    <a:pt x="554414" y="446310"/>
                  </a:lnTo>
                  <a:cubicBezTo>
                    <a:pt x="564294" y="456263"/>
                    <a:pt x="564294" y="472260"/>
                    <a:pt x="554414" y="482125"/>
                  </a:cubicBezTo>
                  <a:lnTo>
                    <a:pt x="482854" y="553577"/>
                  </a:lnTo>
                  <a:cubicBezTo>
                    <a:pt x="472974" y="563442"/>
                    <a:pt x="456953" y="563442"/>
                    <a:pt x="446985" y="553577"/>
                  </a:cubicBezTo>
                  <a:lnTo>
                    <a:pt x="420639" y="527271"/>
                  </a:lnTo>
                  <a:cubicBezTo>
                    <a:pt x="407555" y="534203"/>
                    <a:pt x="393849" y="539802"/>
                    <a:pt x="379786" y="544246"/>
                  </a:cubicBezTo>
                  <a:lnTo>
                    <a:pt x="379786" y="581394"/>
                  </a:lnTo>
                  <a:cubicBezTo>
                    <a:pt x="379786" y="595435"/>
                    <a:pt x="368393" y="606722"/>
                    <a:pt x="354419" y="606722"/>
                  </a:cubicBezTo>
                  <a:lnTo>
                    <a:pt x="253131" y="606722"/>
                  </a:lnTo>
                  <a:cubicBezTo>
                    <a:pt x="239157" y="606722"/>
                    <a:pt x="227854" y="595435"/>
                    <a:pt x="227854" y="581394"/>
                  </a:cubicBezTo>
                  <a:lnTo>
                    <a:pt x="227854" y="544246"/>
                  </a:lnTo>
                  <a:cubicBezTo>
                    <a:pt x="213791" y="539802"/>
                    <a:pt x="200084" y="534203"/>
                    <a:pt x="186911" y="527271"/>
                  </a:cubicBezTo>
                  <a:lnTo>
                    <a:pt x="160566" y="553577"/>
                  </a:lnTo>
                  <a:cubicBezTo>
                    <a:pt x="150686" y="563442"/>
                    <a:pt x="134665" y="563442"/>
                    <a:pt x="124786" y="553577"/>
                  </a:cubicBezTo>
                  <a:lnTo>
                    <a:pt x="53225" y="482125"/>
                  </a:lnTo>
                  <a:cubicBezTo>
                    <a:pt x="43257" y="472260"/>
                    <a:pt x="43257" y="456263"/>
                    <a:pt x="53225" y="446310"/>
                  </a:cubicBezTo>
                  <a:lnTo>
                    <a:pt x="79482" y="420004"/>
                  </a:lnTo>
                  <a:cubicBezTo>
                    <a:pt x="72629" y="406940"/>
                    <a:pt x="66932" y="393254"/>
                    <a:pt x="62482" y="379212"/>
                  </a:cubicBezTo>
                  <a:lnTo>
                    <a:pt x="25278" y="379212"/>
                  </a:lnTo>
                  <a:cubicBezTo>
                    <a:pt x="11304" y="379212"/>
                    <a:pt x="0" y="367926"/>
                    <a:pt x="0" y="353884"/>
                  </a:cubicBezTo>
                  <a:lnTo>
                    <a:pt x="0" y="252749"/>
                  </a:lnTo>
                  <a:cubicBezTo>
                    <a:pt x="0" y="238796"/>
                    <a:pt x="11304" y="227510"/>
                    <a:pt x="25278" y="227510"/>
                  </a:cubicBezTo>
                  <a:lnTo>
                    <a:pt x="62482" y="227510"/>
                  </a:lnTo>
                  <a:cubicBezTo>
                    <a:pt x="66932" y="213468"/>
                    <a:pt x="72629" y="199782"/>
                    <a:pt x="79482" y="186629"/>
                  </a:cubicBezTo>
                  <a:lnTo>
                    <a:pt x="53225" y="160323"/>
                  </a:lnTo>
                  <a:cubicBezTo>
                    <a:pt x="43257" y="150459"/>
                    <a:pt x="43257" y="134462"/>
                    <a:pt x="53225" y="124597"/>
                  </a:cubicBezTo>
                  <a:lnTo>
                    <a:pt x="124786" y="53145"/>
                  </a:lnTo>
                  <a:cubicBezTo>
                    <a:pt x="134665" y="43191"/>
                    <a:pt x="150686" y="43191"/>
                    <a:pt x="160566" y="53145"/>
                  </a:cubicBezTo>
                  <a:lnTo>
                    <a:pt x="186911" y="79451"/>
                  </a:lnTo>
                  <a:cubicBezTo>
                    <a:pt x="200084" y="72519"/>
                    <a:pt x="213791" y="66831"/>
                    <a:pt x="227854" y="62387"/>
                  </a:cubicBezTo>
                  <a:lnTo>
                    <a:pt x="227854" y="25239"/>
                  </a:lnTo>
                  <a:cubicBezTo>
                    <a:pt x="227854" y="11287"/>
                    <a:pt x="239157" y="0"/>
                    <a:pt x="253131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3" name="ïṧľíďê">
              <a:extLst>
                <a:ext uri="{FF2B5EF4-FFF2-40B4-BE49-F238E27FC236}">
                  <a16:creationId xmlns:a16="http://schemas.microsoft.com/office/drawing/2014/main" id="{83AC56C8-BB22-4DB6-8372-AA84DFFA3A81}"/>
                </a:ext>
              </a:extLst>
            </p:cNvPr>
            <p:cNvSpPr/>
            <p:nvPr/>
          </p:nvSpPr>
          <p:spPr bwMode="auto">
            <a:xfrm>
              <a:off x="2498293" y="4944202"/>
              <a:ext cx="377806" cy="377188"/>
            </a:xfrm>
            <a:custGeom>
              <a:avLst/>
              <a:gdLst>
                <a:gd name="connsiteX0" fmla="*/ 380418 w 604181"/>
                <a:gd name="connsiteY0" fmla="*/ 268007 h 603193"/>
                <a:gd name="connsiteX1" fmla="*/ 519220 w 604181"/>
                <a:gd name="connsiteY1" fmla="*/ 339187 h 603193"/>
                <a:gd name="connsiteX2" fmla="*/ 519220 w 604181"/>
                <a:gd name="connsiteY2" fmla="*/ 355820 h 603193"/>
                <a:gd name="connsiteX3" fmla="*/ 380418 w 604181"/>
                <a:gd name="connsiteY3" fmla="*/ 426850 h 603193"/>
                <a:gd name="connsiteX4" fmla="*/ 380418 w 604181"/>
                <a:gd name="connsiteY4" fmla="*/ 406320 h 603193"/>
                <a:gd name="connsiteX5" fmla="*/ 498212 w 604181"/>
                <a:gd name="connsiteY5" fmla="*/ 347728 h 603193"/>
                <a:gd name="connsiteX6" fmla="*/ 498212 w 604181"/>
                <a:gd name="connsiteY6" fmla="*/ 347129 h 603193"/>
                <a:gd name="connsiteX7" fmla="*/ 380418 w 604181"/>
                <a:gd name="connsiteY7" fmla="*/ 288687 h 603193"/>
                <a:gd name="connsiteX8" fmla="*/ 216565 w 604181"/>
                <a:gd name="connsiteY8" fmla="*/ 268007 h 603193"/>
                <a:gd name="connsiteX9" fmla="*/ 216565 w 604181"/>
                <a:gd name="connsiteY9" fmla="*/ 288687 h 603193"/>
                <a:gd name="connsiteX10" fmla="*/ 99664 w 604181"/>
                <a:gd name="connsiteY10" fmla="*/ 347129 h 603193"/>
                <a:gd name="connsiteX11" fmla="*/ 99664 w 604181"/>
                <a:gd name="connsiteY11" fmla="*/ 347728 h 603193"/>
                <a:gd name="connsiteX12" fmla="*/ 216565 w 604181"/>
                <a:gd name="connsiteY12" fmla="*/ 406320 h 603193"/>
                <a:gd name="connsiteX13" fmla="*/ 216565 w 604181"/>
                <a:gd name="connsiteY13" fmla="*/ 426850 h 603193"/>
                <a:gd name="connsiteX14" fmla="*/ 77904 w 604181"/>
                <a:gd name="connsiteY14" fmla="*/ 355521 h 603193"/>
                <a:gd name="connsiteX15" fmla="*/ 77904 w 604181"/>
                <a:gd name="connsiteY15" fmla="*/ 339486 h 603193"/>
                <a:gd name="connsiteX16" fmla="*/ 338273 w 604181"/>
                <a:gd name="connsiteY16" fmla="*/ 222493 h 603193"/>
                <a:gd name="connsiteX17" fmla="*/ 358684 w 604181"/>
                <a:gd name="connsiteY17" fmla="*/ 222493 h 603193"/>
                <a:gd name="connsiteX18" fmla="*/ 253179 w 604181"/>
                <a:gd name="connsiteY18" fmla="*/ 482103 h 603193"/>
                <a:gd name="connsiteX19" fmla="*/ 233219 w 604181"/>
                <a:gd name="connsiteY19" fmla="*/ 482103 h 603193"/>
                <a:gd name="connsiteX20" fmla="*/ 28813 w 604181"/>
                <a:gd name="connsiteY20" fmla="*/ 128849 h 603193"/>
                <a:gd name="connsiteX21" fmla="*/ 28813 w 604181"/>
                <a:gd name="connsiteY21" fmla="*/ 557497 h 603193"/>
                <a:gd name="connsiteX22" fmla="*/ 45921 w 604181"/>
                <a:gd name="connsiteY22" fmla="*/ 574427 h 603193"/>
                <a:gd name="connsiteX23" fmla="*/ 558410 w 604181"/>
                <a:gd name="connsiteY23" fmla="*/ 574427 h 603193"/>
                <a:gd name="connsiteX24" fmla="*/ 575368 w 604181"/>
                <a:gd name="connsiteY24" fmla="*/ 557497 h 603193"/>
                <a:gd name="connsiteX25" fmla="*/ 575368 w 604181"/>
                <a:gd name="connsiteY25" fmla="*/ 128849 h 603193"/>
                <a:gd name="connsiteX26" fmla="*/ 502734 w 604181"/>
                <a:gd name="connsiteY26" fmla="*/ 43149 h 603193"/>
                <a:gd name="connsiteX27" fmla="*/ 502734 w 604181"/>
                <a:gd name="connsiteY27" fmla="*/ 77309 h 603193"/>
                <a:gd name="connsiteX28" fmla="*/ 537100 w 604181"/>
                <a:gd name="connsiteY28" fmla="*/ 77309 h 603193"/>
                <a:gd name="connsiteX29" fmla="*/ 537100 w 604181"/>
                <a:gd name="connsiteY29" fmla="*/ 43149 h 603193"/>
                <a:gd name="connsiteX30" fmla="*/ 423197 w 604181"/>
                <a:gd name="connsiteY30" fmla="*/ 43149 h 603193"/>
                <a:gd name="connsiteX31" fmla="*/ 423197 w 604181"/>
                <a:gd name="connsiteY31" fmla="*/ 77309 h 603193"/>
                <a:gd name="connsiteX32" fmla="*/ 457563 w 604181"/>
                <a:gd name="connsiteY32" fmla="*/ 77309 h 603193"/>
                <a:gd name="connsiteX33" fmla="*/ 457563 w 604181"/>
                <a:gd name="connsiteY33" fmla="*/ 43149 h 603193"/>
                <a:gd name="connsiteX34" fmla="*/ 45921 w 604181"/>
                <a:gd name="connsiteY34" fmla="*/ 0 h 603193"/>
                <a:gd name="connsiteX35" fmla="*/ 558410 w 604181"/>
                <a:gd name="connsiteY35" fmla="*/ 0 h 603193"/>
                <a:gd name="connsiteX36" fmla="*/ 604181 w 604181"/>
                <a:gd name="connsiteY36" fmla="*/ 45846 h 603193"/>
                <a:gd name="connsiteX37" fmla="*/ 604181 w 604181"/>
                <a:gd name="connsiteY37" fmla="*/ 557497 h 603193"/>
                <a:gd name="connsiteX38" fmla="*/ 558410 w 604181"/>
                <a:gd name="connsiteY38" fmla="*/ 603193 h 603193"/>
                <a:gd name="connsiteX39" fmla="*/ 45921 w 604181"/>
                <a:gd name="connsiteY39" fmla="*/ 603193 h 603193"/>
                <a:gd name="connsiteX40" fmla="*/ 0 w 604181"/>
                <a:gd name="connsiteY40" fmla="*/ 557497 h 603193"/>
                <a:gd name="connsiteX41" fmla="*/ 0 w 604181"/>
                <a:gd name="connsiteY41" fmla="*/ 45846 h 603193"/>
                <a:gd name="connsiteX42" fmla="*/ 45921 w 604181"/>
                <a:gd name="connsiteY42" fmla="*/ 0 h 603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04181" h="603193">
                  <a:moveTo>
                    <a:pt x="380418" y="268007"/>
                  </a:moveTo>
                  <a:lnTo>
                    <a:pt x="519220" y="339187"/>
                  </a:lnTo>
                  <a:lnTo>
                    <a:pt x="519220" y="355820"/>
                  </a:lnTo>
                  <a:lnTo>
                    <a:pt x="380418" y="426850"/>
                  </a:lnTo>
                  <a:lnTo>
                    <a:pt x="380418" y="406320"/>
                  </a:lnTo>
                  <a:lnTo>
                    <a:pt x="498212" y="347728"/>
                  </a:lnTo>
                  <a:lnTo>
                    <a:pt x="498212" y="347129"/>
                  </a:lnTo>
                  <a:lnTo>
                    <a:pt x="380418" y="288687"/>
                  </a:lnTo>
                  <a:close/>
                  <a:moveTo>
                    <a:pt x="216565" y="268007"/>
                  </a:moveTo>
                  <a:lnTo>
                    <a:pt x="216565" y="288687"/>
                  </a:lnTo>
                  <a:lnTo>
                    <a:pt x="99664" y="347129"/>
                  </a:lnTo>
                  <a:lnTo>
                    <a:pt x="99664" y="347728"/>
                  </a:lnTo>
                  <a:lnTo>
                    <a:pt x="216565" y="406320"/>
                  </a:lnTo>
                  <a:lnTo>
                    <a:pt x="216565" y="426850"/>
                  </a:lnTo>
                  <a:lnTo>
                    <a:pt x="77904" y="355521"/>
                  </a:lnTo>
                  <a:lnTo>
                    <a:pt x="77904" y="339486"/>
                  </a:lnTo>
                  <a:close/>
                  <a:moveTo>
                    <a:pt x="338273" y="222493"/>
                  </a:moveTo>
                  <a:lnTo>
                    <a:pt x="358684" y="222493"/>
                  </a:lnTo>
                  <a:lnTo>
                    <a:pt x="253179" y="482103"/>
                  </a:lnTo>
                  <a:lnTo>
                    <a:pt x="233219" y="482103"/>
                  </a:lnTo>
                  <a:close/>
                  <a:moveTo>
                    <a:pt x="28813" y="128849"/>
                  </a:moveTo>
                  <a:lnTo>
                    <a:pt x="28813" y="557497"/>
                  </a:lnTo>
                  <a:cubicBezTo>
                    <a:pt x="28813" y="566786"/>
                    <a:pt x="36467" y="574427"/>
                    <a:pt x="45921" y="574427"/>
                  </a:cubicBezTo>
                  <a:lnTo>
                    <a:pt x="558410" y="574427"/>
                  </a:lnTo>
                  <a:cubicBezTo>
                    <a:pt x="567714" y="574427"/>
                    <a:pt x="575368" y="566786"/>
                    <a:pt x="575368" y="557497"/>
                  </a:cubicBezTo>
                  <a:lnTo>
                    <a:pt x="575368" y="128849"/>
                  </a:lnTo>
                  <a:close/>
                  <a:moveTo>
                    <a:pt x="502734" y="43149"/>
                  </a:moveTo>
                  <a:lnTo>
                    <a:pt x="502734" y="77309"/>
                  </a:lnTo>
                  <a:lnTo>
                    <a:pt x="537100" y="77309"/>
                  </a:lnTo>
                  <a:lnTo>
                    <a:pt x="537100" y="43149"/>
                  </a:lnTo>
                  <a:close/>
                  <a:moveTo>
                    <a:pt x="423197" y="43149"/>
                  </a:moveTo>
                  <a:lnTo>
                    <a:pt x="423197" y="77309"/>
                  </a:lnTo>
                  <a:lnTo>
                    <a:pt x="457563" y="77309"/>
                  </a:lnTo>
                  <a:lnTo>
                    <a:pt x="457563" y="43149"/>
                  </a:lnTo>
                  <a:close/>
                  <a:moveTo>
                    <a:pt x="45921" y="0"/>
                  </a:moveTo>
                  <a:lnTo>
                    <a:pt x="558410" y="0"/>
                  </a:lnTo>
                  <a:cubicBezTo>
                    <a:pt x="583621" y="0"/>
                    <a:pt x="604181" y="20526"/>
                    <a:pt x="604181" y="45846"/>
                  </a:cubicBezTo>
                  <a:lnTo>
                    <a:pt x="604181" y="557497"/>
                  </a:lnTo>
                  <a:cubicBezTo>
                    <a:pt x="604181" y="582667"/>
                    <a:pt x="583621" y="603193"/>
                    <a:pt x="558410" y="603193"/>
                  </a:cubicBezTo>
                  <a:lnTo>
                    <a:pt x="45921" y="603193"/>
                  </a:lnTo>
                  <a:cubicBezTo>
                    <a:pt x="20560" y="603193"/>
                    <a:pt x="0" y="582667"/>
                    <a:pt x="0" y="557497"/>
                  </a:cubicBezTo>
                  <a:lnTo>
                    <a:pt x="0" y="45846"/>
                  </a:lnTo>
                  <a:cubicBezTo>
                    <a:pt x="0" y="20526"/>
                    <a:pt x="20560" y="0"/>
                    <a:pt x="45921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4" name="îṣḻîḍé">
              <a:extLst>
                <a:ext uri="{FF2B5EF4-FFF2-40B4-BE49-F238E27FC236}">
                  <a16:creationId xmlns:a16="http://schemas.microsoft.com/office/drawing/2014/main" id="{716A4AAF-66FE-4462-901E-658C29D84AD8}"/>
                </a:ext>
              </a:extLst>
            </p:cNvPr>
            <p:cNvSpPr/>
            <p:nvPr/>
          </p:nvSpPr>
          <p:spPr bwMode="auto">
            <a:xfrm>
              <a:off x="1959174" y="5587283"/>
              <a:ext cx="377806" cy="377235"/>
            </a:xfrm>
            <a:custGeom>
              <a:avLst/>
              <a:gdLst>
                <a:gd name="T0" fmla="*/ 6624 w 7154"/>
                <a:gd name="T1" fmla="*/ 2037 h 7154"/>
                <a:gd name="T2" fmla="*/ 6106 w 7154"/>
                <a:gd name="T3" fmla="*/ 1048 h 7154"/>
                <a:gd name="T4" fmla="*/ 5117 w 7154"/>
                <a:gd name="T5" fmla="*/ 530 h 7154"/>
                <a:gd name="T6" fmla="*/ 4643 w 7154"/>
                <a:gd name="T7" fmla="*/ 334 h 7154"/>
                <a:gd name="T8" fmla="*/ 3577 w 7154"/>
                <a:gd name="T9" fmla="*/ 0 h 7154"/>
                <a:gd name="T10" fmla="*/ 2511 w 7154"/>
                <a:gd name="T11" fmla="*/ 334 h 7154"/>
                <a:gd name="T12" fmla="*/ 2037 w 7154"/>
                <a:gd name="T13" fmla="*/ 530 h 7154"/>
                <a:gd name="T14" fmla="*/ 1048 w 7154"/>
                <a:gd name="T15" fmla="*/ 1048 h 7154"/>
                <a:gd name="T16" fmla="*/ 530 w 7154"/>
                <a:gd name="T17" fmla="*/ 2037 h 7154"/>
                <a:gd name="T18" fmla="*/ 334 w 7154"/>
                <a:gd name="T19" fmla="*/ 2511 h 7154"/>
                <a:gd name="T20" fmla="*/ 0 w 7154"/>
                <a:gd name="T21" fmla="*/ 3577 h 7154"/>
                <a:gd name="T22" fmla="*/ 334 w 7154"/>
                <a:gd name="T23" fmla="*/ 4643 h 7154"/>
                <a:gd name="T24" fmla="*/ 530 w 7154"/>
                <a:gd name="T25" fmla="*/ 5117 h 7154"/>
                <a:gd name="T26" fmla="*/ 1048 w 7154"/>
                <a:gd name="T27" fmla="*/ 6106 h 7154"/>
                <a:gd name="T28" fmla="*/ 2037 w 7154"/>
                <a:gd name="T29" fmla="*/ 6624 h 7154"/>
                <a:gd name="T30" fmla="*/ 2511 w 7154"/>
                <a:gd name="T31" fmla="*/ 6820 h 7154"/>
                <a:gd name="T32" fmla="*/ 3577 w 7154"/>
                <a:gd name="T33" fmla="*/ 7154 h 7154"/>
                <a:gd name="T34" fmla="*/ 4643 w 7154"/>
                <a:gd name="T35" fmla="*/ 6820 h 7154"/>
                <a:gd name="T36" fmla="*/ 5117 w 7154"/>
                <a:gd name="T37" fmla="*/ 6624 h 7154"/>
                <a:gd name="T38" fmla="*/ 6106 w 7154"/>
                <a:gd name="T39" fmla="*/ 6106 h 7154"/>
                <a:gd name="T40" fmla="*/ 6624 w 7154"/>
                <a:gd name="T41" fmla="*/ 5117 h 7154"/>
                <a:gd name="T42" fmla="*/ 6820 w 7154"/>
                <a:gd name="T43" fmla="*/ 4643 h 7154"/>
                <a:gd name="T44" fmla="*/ 7154 w 7154"/>
                <a:gd name="T45" fmla="*/ 3577 h 7154"/>
                <a:gd name="T46" fmla="*/ 6820 w 7154"/>
                <a:gd name="T47" fmla="*/ 2511 h 7154"/>
                <a:gd name="T48" fmla="*/ 6624 w 7154"/>
                <a:gd name="T49" fmla="*/ 2037 h 7154"/>
                <a:gd name="T50" fmla="*/ 5857 w 7154"/>
                <a:gd name="T51" fmla="*/ 2406 h 7154"/>
                <a:gd name="T52" fmla="*/ 3286 w 7154"/>
                <a:gd name="T53" fmla="*/ 4976 h 7154"/>
                <a:gd name="T54" fmla="*/ 2875 w 7154"/>
                <a:gd name="T55" fmla="*/ 5387 h 7154"/>
                <a:gd name="T56" fmla="*/ 2464 w 7154"/>
                <a:gd name="T57" fmla="*/ 5387 h 7154"/>
                <a:gd name="T58" fmla="*/ 2053 w 7154"/>
                <a:gd name="T59" fmla="*/ 4976 h 7154"/>
                <a:gd name="T60" fmla="*/ 1297 w 7154"/>
                <a:gd name="T61" fmla="*/ 4221 h 7154"/>
                <a:gd name="T62" fmla="*/ 1297 w 7154"/>
                <a:gd name="T63" fmla="*/ 3809 h 7154"/>
                <a:gd name="T64" fmla="*/ 1708 w 7154"/>
                <a:gd name="T65" fmla="*/ 3398 h 7154"/>
                <a:gd name="T66" fmla="*/ 2120 w 7154"/>
                <a:gd name="T67" fmla="*/ 3398 h 7154"/>
                <a:gd name="T68" fmla="*/ 2669 w 7154"/>
                <a:gd name="T69" fmla="*/ 3948 h 7154"/>
                <a:gd name="T70" fmla="*/ 5034 w 7154"/>
                <a:gd name="T71" fmla="*/ 1583 h 7154"/>
                <a:gd name="T72" fmla="*/ 5445 w 7154"/>
                <a:gd name="T73" fmla="*/ 1583 h 7154"/>
                <a:gd name="T74" fmla="*/ 5857 w 7154"/>
                <a:gd name="T75" fmla="*/ 1994 h 7154"/>
                <a:gd name="T76" fmla="*/ 5857 w 7154"/>
                <a:gd name="T77" fmla="*/ 2406 h 7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154" h="7154">
                  <a:moveTo>
                    <a:pt x="6624" y="2037"/>
                  </a:moveTo>
                  <a:cubicBezTo>
                    <a:pt x="6580" y="1703"/>
                    <a:pt x="6403" y="1345"/>
                    <a:pt x="6106" y="1048"/>
                  </a:cubicBezTo>
                  <a:cubicBezTo>
                    <a:pt x="5809" y="751"/>
                    <a:pt x="5451" y="574"/>
                    <a:pt x="5117" y="530"/>
                  </a:cubicBezTo>
                  <a:cubicBezTo>
                    <a:pt x="4966" y="510"/>
                    <a:pt x="4764" y="427"/>
                    <a:pt x="4643" y="334"/>
                  </a:cubicBezTo>
                  <a:cubicBezTo>
                    <a:pt x="4375" y="128"/>
                    <a:pt x="3997" y="0"/>
                    <a:pt x="3577" y="0"/>
                  </a:cubicBezTo>
                  <a:cubicBezTo>
                    <a:pt x="3157" y="0"/>
                    <a:pt x="2779" y="128"/>
                    <a:pt x="2511" y="334"/>
                  </a:cubicBezTo>
                  <a:cubicBezTo>
                    <a:pt x="2390" y="427"/>
                    <a:pt x="2188" y="510"/>
                    <a:pt x="2037" y="530"/>
                  </a:cubicBezTo>
                  <a:cubicBezTo>
                    <a:pt x="1702" y="574"/>
                    <a:pt x="1345" y="751"/>
                    <a:pt x="1048" y="1048"/>
                  </a:cubicBezTo>
                  <a:cubicBezTo>
                    <a:pt x="751" y="1345"/>
                    <a:pt x="574" y="1703"/>
                    <a:pt x="530" y="2037"/>
                  </a:cubicBezTo>
                  <a:cubicBezTo>
                    <a:pt x="510" y="2188"/>
                    <a:pt x="427" y="2390"/>
                    <a:pt x="334" y="2511"/>
                  </a:cubicBezTo>
                  <a:cubicBezTo>
                    <a:pt x="128" y="2779"/>
                    <a:pt x="0" y="3157"/>
                    <a:pt x="0" y="3577"/>
                  </a:cubicBezTo>
                  <a:cubicBezTo>
                    <a:pt x="0" y="3997"/>
                    <a:pt x="128" y="4375"/>
                    <a:pt x="334" y="4643"/>
                  </a:cubicBezTo>
                  <a:cubicBezTo>
                    <a:pt x="427" y="4764"/>
                    <a:pt x="510" y="4966"/>
                    <a:pt x="530" y="5117"/>
                  </a:cubicBezTo>
                  <a:cubicBezTo>
                    <a:pt x="574" y="5451"/>
                    <a:pt x="751" y="5809"/>
                    <a:pt x="1048" y="6106"/>
                  </a:cubicBezTo>
                  <a:cubicBezTo>
                    <a:pt x="1345" y="6403"/>
                    <a:pt x="1702" y="6580"/>
                    <a:pt x="2037" y="6624"/>
                  </a:cubicBezTo>
                  <a:cubicBezTo>
                    <a:pt x="2188" y="6644"/>
                    <a:pt x="2390" y="6727"/>
                    <a:pt x="2511" y="6820"/>
                  </a:cubicBezTo>
                  <a:cubicBezTo>
                    <a:pt x="2779" y="7025"/>
                    <a:pt x="3157" y="7154"/>
                    <a:pt x="3577" y="7154"/>
                  </a:cubicBezTo>
                  <a:cubicBezTo>
                    <a:pt x="3997" y="7154"/>
                    <a:pt x="4375" y="7025"/>
                    <a:pt x="4643" y="6820"/>
                  </a:cubicBezTo>
                  <a:cubicBezTo>
                    <a:pt x="4764" y="6727"/>
                    <a:pt x="4966" y="6644"/>
                    <a:pt x="5117" y="6624"/>
                  </a:cubicBezTo>
                  <a:cubicBezTo>
                    <a:pt x="5451" y="6580"/>
                    <a:pt x="5809" y="6403"/>
                    <a:pt x="6106" y="6106"/>
                  </a:cubicBezTo>
                  <a:cubicBezTo>
                    <a:pt x="6403" y="5809"/>
                    <a:pt x="6580" y="5451"/>
                    <a:pt x="6624" y="5117"/>
                  </a:cubicBezTo>
                  <a:cubicBezTo>
                    <a:pt x="6644" y="4966"/>
                    <a:pt x="6727" y="4764"/>
                    <a:pt x="6820" y="4643"/>
                  </a:cubicBezTo>
                  <a:cubicBezTo>
                    <a:pt x="7026" y="4375"/>
                    <a:pt x="7154" y="3997"/>
                    <a:pt x="7154" y="3577"/>
                  </a:cubicBezTo>
                  <a:cubicBezTo>
                    <a:pt x="7154" y="3157"/>
                    <a:pt x="7026" y="2779"/>
                    <a:pt x="6820" y="2511"/>
                  </a:cubicBezTo>
                  <a:cubicBezTo>
                    <a:pt x="6727" y="2390"/>
                    <a:pt x="6644" y="2188"/>
                    <a:pt x="6624" y="2037"/>
                  </a:cubicBezTo>
                  <a:close/>
                  <a:moveTo>
                    <a:pt x="5857" y="2406"/>
                  </a:moveTo>
                  <a:lnTo>
                    <a:pt x="3286" y="4976"/>
                  </a:lnTo>
                  <a:lnTo>
                    <a:pt x="2875" y="5387"/>
                  </a:lnTo>
                  <a:cubicBezTo>
                    <a:pt x="2762" y="5501"/>
                    <a:pt x="2577" y="5501"/>
                    <a:pt x="2464" y="5387"/>
                  </a:cubicBezTo>
                  <a:lnTo>
                    <a:pt x="2053" y="4976"/>
                  </a:lnTo>
                  <a:lnTo>
                    <a:pt x="1297" y="4221"/>
                  </a:lnTo>
                  <a:cubicBezTo>
                    <a:pt x="1183" y="4107"/>
                    <a:pt x="1183" y="3923"/>
                    <a:pt x="1297" y="3809"/>
                  </a:cubicBezTo>
                  <a:lnTo>
                    <a:pt x="1708" y="3398"/>
                  </a:lnTo>
                  <a:cubicBezTo>
                    <a:pt x="1822" y="3285"/>
                    <a:pt x="2006" y="3285"/>
                    <a:pt x="2120" y="3398"/>
                  </a:cubicBezTo>
                  <a:lnTo>
                    <a:pt x="2669" y="3948"/>
                  </a:lnTo>
                  <a:lnTo>
                    <a:pt x="5034" y="1583"/>
                  </a:lnTo>
                  <a:cubicBezTo>
                    <a:pt x="5148" y="1470"/>
                    <a:pt x="5332" y="1470"/>
                    <a:pt x="5445" y="1583"/>
                  </a:cubicBezTo>
                  <a:lnTo>
                    <a:pt x="5857" y="1994"/>
                  </a:lnTo>
                  <a:cubicBezTo>
                    <a:pt x="5970" y="2108"/>
                    <a:pt x="5970" y="2292"/>
                    <a:pt x="5857" y="2406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5" name="iṧḷiḑé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743264" y="4276135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按分布模式进行配置</a:t>
              </a:r>
              <a:endParaRPr lang="en-US" altLang="zh-CN" sz="1100" dirty="0"/>
            </a:p>
          </p:txBody>
        </p:sp>
        <p:sp>
          <p:nvSpPr>
            <p:cNvPr id="216" name="îṧḻiḑe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197100" y="4926511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>
                  <a:solidFill>
                    <a:schemeClr val="bg1"/>
                  </a:solidFill>
                </a:rPr>
                <a:t>运行第一个实例</a:t>
              </a: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17" name="îṣľïd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2651098" y="5576887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开心</a:t>
              </a:r>
              <a:r>
                <a:rPr lang="en-US" altLang="zh-CN" sz="1100" dirty="0" err="1"/>
                <a:t>ing</a:t>
              </a:r>
              <a:r>
                <a:rPr lang="en-US" altLang="zh-CN" sz="1100" dirty="0"/>
                <a:t>~</a:t>
              </a:r>
            </a:p>
          </p:txBody>
        </p:sp>
        <p:sp>
          <p:nvSpPr>
            <p:cNvPr id="218" name="íṧ1îd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289201" y="3625759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 解压</a:t>
              </a:r>
              <a:endParaRPr lang="en-US" altLang="zh-CN" sz="1100" dirty="0"/>
            </a:p>
          </p:txBody>
        </p:sp>
        <p:sp>
          <p:nvSpPr>
            <p:cNvPr id="219" name="îs1ïḋ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842020" y="2975382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配置环境变量 使之生效</a:t>
              </a:r>
              <a:endParaRPr lang="en-US" altLang="zh-CN" sz="1100" dirty="0"/>
            </a:p>
          </p:txBody>
        </p:sp>
        <p:sp>
          <p:nvSpPr>
            <p:cNvPr id="220" name="íšliḓ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5387990" y="2325006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</a:t>
              </a:r>
              <a:r>
                <a:rPr lang="en-US" altLang="zh-CN" sz="1100" dirty="0"/>
                <a:t> </a:t>
              </a:r>
              <a:r>
                <a:rPr lang="zh-CN" altLang="en-US" sz="1100" dirty="0"/>
                <a:t>解压</a:t>
              </a:r>
              <a:endParaRPr lang="en-US" altLang="zh-CN" sz="1100" dirty="0"/>
            </a:p>
          </p:txBody>
        </p:sp>
      </p:grpSp>
      <p:grpSp>
        <p:nvGrpSpPr>
          <p:cNvPr id="40" name="组合 39">
            <a:extLst>
              <a:ext uri="{FF2B5EF4-FFF2-40B4-BE49-F238E27FC236}">
                <a16:creationId xmlns:a16="http://schemas.microsoft.com/office/drawing/2014/main" id="{B96E670B-4D38-4165-8B23-29F67664C5CB}"/>
              </a:ext>
            </a:extLst>
          </p:cNvPr>
          <p:cNvGrpSpPr/>
          <p:nvPr/>
        </p:nvGrpSpPr>
        <p:grpSpPr>
          <a:xfrm>
            <a:off x="1092994" y="1284288"/>
            <a:ext cx="0" cy="0"/>
            <a:chOff x="1092994" y="1284288"/>
            <a:chExt cx="6958012" cy="4695825"/>
          </a:xfrm>
        </p:grpSpPr>
        <p:pic>
          <p:nvPicPr>
            <p:cNvPr id="41" name="Picture 1" descr="L:\Water\Documents\Tencent Files\1106367305\Image\C2C\S_~PNJLRA$(`BM~E~CRVP@6.jpg">
              <a:extLst>
                <a:ext uri="{FF2B5EF4-FFF2-40B4-BE49-F238E27FC236}">
                  <a16:creationId xmlns:a16="http://schemas.microsoft.com/office/drawing/2014/main" id="{423B5275-9693-4207-A552-62F7583AD1F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r:link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12"/>
            <a:stretch>
              <a:fillRect/>
            </a:stretch>
          </p:blipFill>
          <p:spPr bwMode="auto">
            <a:xfrm>
              <a:off x="1092994" y="1284288"/>
              <a:ext cx="6958012" cy="46958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20D82678-4CBD-4F23-A8F0-13F05DF7CCD8}"/>
                </a:ext>
              </a:extLst>
            </p:cNvPr>
            <p:cNvSpPr/>
            <p:nvPr/>
          </p:nvSpPr>
          <p:spPr>
            <a:xfrm>
              <a:off x="1092994" y="2047875"/>
              <a:ext cx="6958012" cy="3932238"/>
            </a:xfrm>
            <a:prstGeom prst="rect">
              <a:avLst/>
            </a:prstGeom>
            <a:solidFill>
              <a:srgbClr val="2D0A2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504" name="25585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784652F-57FA-4494-87BB-C3680F93998E}"/>
              </a:ext>
            </a:extLst>
          </p:cNvPr>
          <p:cNvGrpSpPr>
            <a:grpSpLocks noChangeAspect="1"/>
          </p:cNvGrpSpPr>
          <p:nvPr/>
        </p:nvGrpSpPr>
        <p:grpSpPr>
          <a:xfrm>
            <a:off x="502061" y="1808162"/>
            <a:ext cx="8139878" cy="3648078"/>
            <a:chOff x="665729" y="1130300"/>
            <a:chExt cx="10853171" cy="4864100"/>
          </a:xfrm>
        </p:grpSpPr>
        <p:sp>
          <p:nvSpPr>
            <p:cNvPr id="505" name="î$1idé">
              <a:extLst>
                <a:ext uri="{FF2B5EF4-FFF2-40B4-BE49-F238E27FC236}">
                  <a16:creationId xmlns:a16="http://schemas.microsoft.com/office/drawing/2014/main" id="{6ECBEC64-45A8-4128-BE2D-6BCC998387E7}"/>
                </a:ext>
              </a:extLst>
            </p:cNvPr>
            <p:cNvSpPr txBox="1"/>
            <p:nvPr/>
          </p:nvSpPr>
          <p:spPr>
            <a:xfrm>
              <a:off x="6299202" y="1130300"/>
              <a:ext cx="5219698" cy="60484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SzPct val="25000"/>
              </a:pPr>
              <a:endParaRPr lang="en-US" sz="2000" b="1" dirty="0"/>
            </a:p>
          </p:txBody>
        </p:sp>
        <p:sp>
          <p:nvSpPr>
            <p:cNvPr id="506" name="îşľîďe">
              <a:extLst>
                <a:ext uri="{FF2B5EF4-FFF2-40B4-BE49-F238E27FC236}">
                  <a16:creationId xmlns:a16="http://schemas.microsoft.com/office/drawing/2014/main" id="{AB903576-C8FA-46FA-99FF-F415FE3AB81C}"/>
                </a:ext>
              </a:extLst>
            </p:cNvPr>
            <p:cNvSpPr/>
            <p:nvPr/>
          </p:nvSpPr>
          <p:spPr bwMode="auto">
            <a:xfrm>
              <a:off x="7364161" y="1591075"/>
              <a:ext cx="1254242" cy="1658266"/>
            </a:xfrm>
            <a:custGeom>
              <a:avLst/>
              <a:gdLst>
                <a:gd name="T0" fmla="*/ 43 w 143"/>
                <a:gd name="T1" fmla="*/ 74 h 189"/>
                <a:gd name="T2" fmla="*/ 65 w 143"/>
                <a:gd name="T3" fmla="*/ 95 h 189"/>
                <a:gd name="T4" fmla="*/ 43 w 143"/>
                <a:gd name="T5" fmla="*/ 115 h 189"/>
                <a:gd name="T6" fmla="*/ 43 w 143"/>
                <a:gd name="T7" fmla="*/ 189 h 189"/>
                <a:gd name="T8" fmla="*/ 143 w 143"/>
                <a:gd name="T9" fmla="*/ 95 h 189"/>
                <a:gd name="T10" fmla="*/ 43 w 143"/>
                <a:gd name="T11" fmla="*/ 0 h 189"/>
                <a:gd name="T12" fmla="*/ 0 w 143"/>
                <a:gd name="T13" fmla="*/ 0 h 189"/>
                <a:gd name="T14" fmla="*/ 46 w 143"/>
                <a:gd name="T15" fmla="*/ 37 h 189"/>
                <a:gd name="T16" fmla="*/ 0 w 143"/>
                <a:gd name="T17" fmla="*/ 74 h 189"/>
                <a:gd name="T18" fmla="*/ 43 w 143"/>
                <a:gd name="T19" fmla="*/ 7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89">
                  <a:moveTo>
                    <a:pt x="43" y="74"/>
                  </a:moveTo>
                  <a:cubicBezTo>
                    <a:pt x="55" y="74"/>
                    <a:pt x="65" y="83"/>
                    <a:pt x="65" y="95"/>
                  </a:cubicBezTo>
                  <a:cubicBezTo>
                    <a:pt x="65" y="106"/>
                    <a:pt x="55" y="115"/>
                    <a:pt x="43" y="115"/>
                  </a:cubicBezTo>
                  <a:cubicBezTo>
                    <a:pt x="43" y="189"/>
                    <a:pt x="43" y="189"/>
                    <a:pt x="43" y="189"/>
                  </a:cubicBezTo>
                  <a:cubicBezTo>
                    <a:pt x="98" y="189"/>
                    <a:pt x="143" y="147"/>
                    <a:pt x="143" y="95"/>
                  </a:cubicBezTo>
                  <a:cubicBezTo>
                    <a:pt x="143" y="42"/>
                    <a:pt x="98" y="0"/>
                    <a:pt x="4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0" y="74"/>
                    <a:pt x="0" y="74"/>
                    <a:pt x="0" y="74"/>
                  </a:cubicBezTo>
                  <a:lnTo>
                    <a:pt x="43" y="7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th-TH"/>
            </a:p>
          </p:txBody>
        </p:sp>
        <p:sp>
          <p:nvSpPr>
            <p:cNvPr id="507" name="ïṡľiḍe">
              <a:extLst>
                <a:ext uri="{FF2B5EF4-FFF2-40B4-BE49-F238E27FC236}">
                  <a16:creationId xmlns:a16="http://schemas.microsoft.com/office/drawing/2014/main" id="{78DE1DE6-0296-4208-AFAB-53E0EC96CD8A}"/>
                </a:ext>
              </a:extLst>
            </p:cNvPr>
            <p:cNvSpPr/>
            <p:nvPr/>
          </p:nvSpPr>
          <p:spPr bwMode="auto">
            <a:xfrm>
              <a:off x="3573598" y="2599868"/>
              <a:ext cx="1079644" cy="1658266"/>
            </a:xfrm>
            <a:custGeom>
              <a:avLst/>
              <a:gdLst>
                <a:gd name="T0" fmla="*/ 93 w 123"/>
                <a:gd name="T1" fmla="*/ 189 h 189"/>
                <a:gd name="T2" fmla="*/ 93 w 123"/>
                <a:gd name="T3" fmla="*/ 114 h 189"/>
                <a:gd name="T4" fmla="*/ 78 w 123"/>
                <a:gd name="T5" fmla="*/ 95 h 189"/>
                <a:gd name="T6" fmla="*/ 100 w 123"/>
                <a:gd name="T7" fmla="*/ 74 h 189"/>
                <a:gd name="T8" fmla="*/ 123 w 123"/>
                <a:gd name="T9" fmla="*/ 74 h 189"/>
                <a:gd name="T10" fmla="*/ 76 w 123"/>
                <a:gd name="T11" fmla="*/ 37 h 189"/>
                <a:gd name="T12" fmla="*/ 123 w 123"/>
                <a:gd name="T13" fmla="*/ 0 h 189"/>
                <a:gd name="T14" fmla="*/ 100 w 123"/>
                <a:gd name="T15" fmla="*/ 0 h 189"/>
                <a:gd name="T16" fmla="*/ 0 w 123"/>
                <a:gd name="T17" fmla="*/ 95 h 189"/>
                <a:gd name="T18" fmla="*/ 93 w 123"/>
                <a:gd name="T19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3" h="189">
                  <a:moveTo>
                    <a:pt x="93" y="189"/>
                  </a:moveTo>
                  <a:cubicBezTo>
                    <a:pt x="93" y="114"/>
                    <a:pt x="93" y="114"/>
                    <a:pt x="93" y="114"/>
                  </a:cubicBezTo>
                  <a:cubicBezTo>
                    <a:pt x="84" y="111"/>
                    <a:pt x="78" y="103"/>
                    <a:pt x="78" y="95"/>
                  </a:cubicBezTo>
                  <a:cubicBezTo>
                    <a:pt x="78" y="83"/>
                    <a:pt x="88" y="74"/>
                    <a:pt x="100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76" y="37"/>
                    <a:pt x="76" y="37"/>
                    <a:pt x="76" y="37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45" y="0"/>
                    <a:pt x="0" y="42"/>
                    <a:pt x="0" y="95"/>
                  </a:cubicBezTo>
                  <a:cubicBezTo>
                    <a:pt x="0" y="144"/>
                    <a:pt x="41" y="185"/>
                    <a:pt x="93" y="189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th-TH"/>
            </a:p>
          </p:txBody>
        </p:sp>
        <p:sp>
          <p:nvSpPr>
            <p:cNvPr id="508" name="ïṡľïḍe">
              <a:extLst>
                <a:ext uri="{FF2B5EF4-FFF2-40B4-BE49-F238E27FC236}">
                  <a16:creationId xmlns:a16="http://schemas.microsoft.com/office/drawing/2014/main" id="{997C060C-BFA2-495D-B199-E1836E595493}"/>
                </a:ext>
              </a:extLst>
            </p:cNvPr>
            <p:cNvSpPr/>
            <p:nvPr/>
          </p:nvSpPr>
          <p:spPr bwMode="auto">
            <a:xfrm>
              <a:off x="7364161" y="3626373"/>
              <a:ext cx="1254242" cy="1657423"/>
            </a:xfrm>
            <a:custGeom>
              <a:avLst/>
              <a:gdLst>
                <a:gd name="T0" fmla="*/ 43 w 143"/>
                <a:gd name="T1" fmla="*/ 0 h 189"/>
                <a:gd name="T2" fmla="*/ 0 w 143"/>
                <a:gd name="T3" fmla="*/ 0 h 189"/>
                <a:gd name="T4" fmla="*/ 46 w 143"/>
                <a:gd name="T5" fmla="*/ 37 h 189"/>
                <a:gd name="T6" fmla="*/ 0 w 143"/>
                <a:gd name="T7" fmla="*/ 74 h 189"/>
                <a:gd name="T8" fmla="*/ 43 w 143"/>
                <a:gd name="T9" fmla="*/ 74 h 189"/>
                <a:gd name="T10" fmla="*/ 65 w 143"/>
                <a:gd name="T11" fmla="*/ 94 h 189"/>
                <a:gd name="T12" fmla="*/ 43 w 143"/>
                <a:gd name="T13" fmla="*/ 115 h 189"/>
                <a:gd name="T14" fmla="*/ 32 w 143"/>
                <a:gd name="T15" fmla="*/ 115 h 189"/>
                <a:gd name="T16" fmla="*/ 32 w 143"/>
                <a:gd name="T17" fmla="*/ 189 h 189"/>
                <a:gd name="T18" fmla="*/ 43 w 143"/>
                <a:gd name="T19" fmla="*/ 189 h 189"/>
                <a:gd name="T20" fmla="*/ 143 w 143"/>
                <a:gd name="T21" fmla="*/ 94 h 189"/>
                <a:gd name="T22" fmla="*/ 43 w 143"/>
                <a:gd name="T23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3" h="189">
                  <a:moveTo>
                    <a:pt x="4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55" y="74"/>
                    <a:pt x="65" y="83"/>
                    <a:pt x="65" y="94"/>
                  </a:cubicBezTo>
                  <a:cubicBezTo>
                    <a:pt x="65" y="106"/>
                    <a:pt x="55" y="115"/>
                    <a:pt x="43" y="115"/>
                  </a:cubicBezTo>
                  <a:cubicBezTo>
                    <a:pt x="32" y="115"/>
                    <a:pt x="32" y="115"/>
                    <a:pt x="32" y="115"/>
                  </a:cubicBezTo>
                  <a:cubicBezTo>
                    <a:pt x="32" y="189"/>
                    <a:pt x="32" y="189"/>
                    <a:pt x="32" y="189"/>
                  </a:cubicBezTo>
                  <a:cubicBezTo>
                    <a:pt x="43" y="189"/>
                    <a:pt x="43" y="189"/>
                    <a:pt x="43" y="189"/>
                  </a:cubicBezTo>
                  <a:cubicBezTo>
                    <a:pt x="98" y="189"/>
                    <a:pt x="143" y="146"/>
                    <a:pt x="143" y="94"/>
                  </a:cubicBezTo>
                  <a:cubicBezTo>
                    <a:pt x="143" y="42"/>
                    <a:pt x="98" y="0"/>
                    <a:pt x="43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th-TH"/>
            </a:p>
          </p:txBody>
        </p:sp>
        <p:sp>
          <p:nvSpPr>
            <p:cNvPr id="509" name="išlîḍe">
              <a:extLst>
                <a:ext uri="{FF2B5EF4-FFF2-40B4-BE49-F238E27FC236}">
                  <a16:creationId xmlns:a16="http://schemas.microsoft.com/office/drawing/2014/main" id="{1EEA11BB-E29B-4FAA-BB4B-1BD517F8ADB2}"/>
                </a:ext>
              </a:extLst>
            </p:cNvPr>
            <p:cNvSpPr/>
            <p:nvPr/>
          </p:nvSpPr>
          <p:spPr bwMode="auto">
            <a:xfrm>
              <a:off x="4301514" y="1538780"/>
              <a:ext cx="3378105" cy="754064"/>
            </a:xfrm>
            <a:custGeom>
              <a:avLst/>
              <a:gdLst>
                <a:gd name="T0" fmla="*/ 4005 w 4005"/>
                <a:gd name="T1" fmla="*/ 447 h 894"/>
                <a:gd name="T2" fmla="*/ 3454 w 4005"/>
                <a:gd name="T3" fmla="*/ 0 h 894"/>
                <a:gd name="T4" fmla="*/ 3454 w 4005"/>
                <a:gd name="T5" fmla="*/ 62 h 894"/>
                <a:gd name="T6" fmla="*/ 0 w 4005"/>
                <a:gd name="T7" fmla="*/ 62 h 894"/>
                <a:gd name="T8" fmla="*/ 0 w 4005"/>
                <a:gd name="T9" fmla="*/ 832 h 894"/>
                <a:gd name="T10" fmla="*/ 3454 w 4005"/>
                <a:gd name="T11" fmla="*/ 832 h 894"/>
                <a:gd name="T12" fmla="*/ 3454 w 4005"/>
                <a:gd name="T13" fmla="*/ 894 h 894"/>
                <a:gd name="T14" fmla="*/ 4005 w 4005"/>
                <a:gd name="T15" fmla="*/ 447 h 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05" h="894">
                  <a:moveTo>
                    <a:pt x="4005" y="447"/>
                  </a:moveTo>
                  <a:lnTo>
                    <a:pt x="3454" y="0"/>
                  </a:lnTo>
                  <a:lnTo>
                    <a:pt x="3454" y="62"/>
                  </a:lnTo>
                  <a:lnTo>
                    <a:pt x="0" y="62"/>
                  </a:lnTo>
                  <a:lnTo>
                    <a:pt x="0" y="832"/>
                  </a:lnTo>
                  <a:lnTo>
                    <a:pt x="3454" y="832"/>
                  </a:lnTo>
                  <a:lnTo>
                    <a:pt x="3454" y="894"/>
                  </a:lnTo>
                  <a:lnTo>
                    <a:pt x="4005" y="44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th-TH"/>
            </a:p>
          </p:txBody>
        </p:sp>
        <p:sp>
          <p:nvSpPr>
            <p:cNvPr id="510" name="ísḻiḍê">
              <a:extLst>
                <a:ext uri="{FF2B5EF4-FFF2-40B4-BE49-F238E27FC236}">
                  <a16:creationId xmlns:a16="http://schemas.microsoft.com/office/drawing/2014/main" id="{DB8100C5-3D26-4A0D-94C2-C8B031F20FE9}"/>
                </a:ext>
              </a:extLst>
            </p:cNvPr>
            <p:cNvSpPr/>
            <p:nvPr/>
          </p:nvSpPr>
          <p:spPr bwMode="auto">
            <a:xfrm>
              <a:off x="4328504" y="2547572"/>
              <a:ext cx="3324967" cy="754064"/>
            </a:xfrm>
            <a:custGeom>
              <a:avLst/>
              <a:gdLst>
                <a:gd name="T0" fmla="*/ 561 w 3942"/>
                <a:gd name="T1" fmla="*/ 0 h 894"/>
                <a:gd name="T2" fmla="*/ 0 w 3942"/>
                <a:gd name="T3" fmla="*/ 447 h 894"/>
                <a:gd name="T4" fmla="*/ 561 w 3942"/>
                <a:gd name="T5" fmla="*/ 894 h 894"/>
                <a:gd name="T6" fmla="*/ 561 w 3942"/>
                <a:gd name="T7" fmla="*/ 832 h 894"/>
                <a:gd name="T8" fmla="*/ 3942 w 3942"/>
                <a:gd name="T9" fmla="*/ 832 h 894"/>
                <a:gd name="T10" fmla="*/ 3942 w 3942"/>
                <a:gd name="T11" fmla="*/ 62 h 894"/>
                <a:gd name="T12" fmla="*/ 561 w 3942"/>
                <a:gd name="T13" fmla="*/ 62 h 894"/>
                <a:gd name="T14" fmla="*/ 561 w 3942"/>
                <a:gd name="T15" fmla="*/ 0 h 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42" h="894">
                  <a:moveTo>
                    <a:pt x="561" y="0"/>
                  </a:moveTo>
                  <a:lnTo>
                    <a:pt x="0" y="447"/>
                  </a:lnTo>
                  <a:lnTo>
                    <a:pt x="561" y="894"/>
                  </a:lnTo>
                  <a:lnTo>
                    <a:pt x="561" y="832"/>
                  </a:lnTo>
                  <a:lnTo>
                    <a:pt x="3942" y="832"/>
                  </a:lnTo>
                  <a:lnTo>
                    <a:pt x="3942" y="62"/>
                  </a:lnTo>
                  <a:lnTo>
                    <a:pt x="561" y="62"/>
                  </a:lnTo>
                  <a:lnTo>
                    <a:pt x="56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th-TH"/>
            </a:p>
          </p:txBody>
        </p:sp>
        <p:sp>
          <p:nvSpPr>
            <p:cNvPr id="511" name="îš1îḓé">
              <a:extLst>
                <a:ext uri="{FF2B5EF4-FFF2-40B4-BE49-F238E27FC236}">
                  <a16:creationId xmlns:a16="http://schemas.microsoft.com/office/drawing/2014/main" id="{C30E43B8-C234-40F0-94F2-0AABB1751991}"/>
                </a:ext>
              </a:extLst>
            </p:cNvPr>
            <p:cNvSpPr/>
            <p:nvPr/>
          </p:nvSpPr>
          <p:spPr bwMode="auto">
            <a:xfrm>
              <a:off x="4460087" y="3556365"/>
              <a:ext cx="3219532" cy="754064"/>
            </a:xfrm>
            <a:custGeom>
              <a:avLst/>
              <a:gdLst>
                <a:gd name="T0" fmla="*/ 3817 w 3817"/>
                <a:gd name="T1" fmla="*/ 447 h 894"/>
                <a:gd name="T2" fmla="*/ 3266 w 3817"/>
                <a:gd name="T3" fmla="*/ 0 h 894"/>
                <a:gd name="T4" fmla="*/ 3266 w 3817"/>
                <a:gd name="T5" fmla="*/ 62 h 894"/>
                <a:gd name="T6" fmla="*/ 0 w 3817"/>
                <a:gd name="T7" fmla="*/ 62 h 894"/>
                <a:gd name="T8" fmla="*/ 0 w 3817"/>
                <a:gd name="T9" fmla="*/ 832 h 894"/>
                <a:gd name="T10" fmla="*/ 3266 w 3817"/>
                <a:gd name="T11" fmla="*/ 832 h 894"/>
                <a:gd name="T12" fmla="*/ 3266 w 3817"/>
                <a:gd name="T13" fmla="*/ 894 h 894"/>
                <a:gd name="T14" fmla="*/ 3817 w 3817"/>
                <a:gd name="T15" fmla="*/ 447 h 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17" h="894">
                  <a:moveTo>
                    <a:pt x="3817" y="447"/>
                  </a:moveTo>
                  <a:lnTo>
                    <a:pt x="3266" y="0"/>
                  </a:lnTo>
                  <a:lnTo>
                    <a:pt x="3266" y="62"/>
                  </a:lnTo>
                  <a:lnTo>
                    <a:pt x="0" y="62"/>
                  </a:lnTo>
                  <a:lnTo>
                    <a:pt x="0" y="832"/>
                  </a:lnTo>
                  <a:lnTo>
                    <a:pt x="3266" y="832"/>
                  </a:lnTo>
                  <a:lnTo>
                    <a:pt x="3266" y="894"/>
                  </a:lnTo>
                  <a:lnTo>
                    <a:pt x="3817" y="447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th-TH"/>
            </a:p>
          </p:txBody>
        </p:sp>
        <p:sp>
          <p:nvSpPr>
            <p:cNvPr id="512" name="ïśļide">
              <a:extLst>
                <a:ext uri="{FF2B5EF4-FFF2-40B4-BE49-F238E27FC236}">
                  <a16:creationId xmlns:a16="http://schemas.microsoft.com/office/drawing/2014/main" id="{535DD92F-3BEE-4028-B95A-2AF318950996}"/>
                </a:ext>
              </a:extLst>
            </p:cNvPr>
            <p:cNvSpPr/>
            <p:nvPr/>
          </p:nvSpPr>
          <p:spPr bwMode="auto">
            <a:xfrm>
              <a:off x="4275366" y="4565157"/>
              <a:ext cx="3272671" cy="754064"/>
            </a:xfrm>
            <a:custGeom>
              <a:avLst/>
              <a:gdLst>
                <a:gd name="T0" fmla="*/ 562 w 3880"/>
                <a:gd name="T1" fmla="*/ 0 h 894"/>
                <a:gd name="T2" fmla="*/ 0 w 3880"/>
                <a:gd name="T3" fmla="*/ 447 h 894"/>
                <a:gd name="T4" fmla="*/ 562 w 3880"/>
                <a:gd name="T5" fmla="*/ 894 h 894"/>
                <a:gd name="T6" fmla="*/ 562 w 3880"/>
                <a:gd name="T7" fmla="*/ 831 h 894"/>
                <a:gd name="T8" fmla="*/ 3880 w 3880"/>
                <a:gd name="T9" fmla="*/ 831 h 894"/>
                <a:gd name="T10" fmla="*/ 3880 w 3880"/>
                <a:gd name="T11" fmla="*/ 62 h 894"/>
                <a:gd name="T12" fmla="*/ 562 w 3880"/>
                <a:gd name="T13" fmla="*/ 62 h 894"/>
                <a:gd name="T14" fmla="*/ 562 w 3880"/>
                <a:gd name="T15" fmla="*/ 0 h 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80" h="894">
                  <a:moveTo>
                    <a:pt x="562" y="0"/>
                  </a:moveTo>
                  <a:lnTo>
                    <a:pt x="0" y="447"/>
                  </a:lnTo>
                  <a:lnTo>
                    <a:pt x="562" y="894"/>
                  </a:lnTo>
                  <a:lnTo>
                    <a:pt x="562" y="831"/>
                  </a:lnTo>
                  <a:lnTo>
                    <a:pt x="3880" y="831"/>
                  </a:lnTo>
                  <a:lnTo>
                    <a:pt x="3880" y="62"/>
                  </a:lnTo>
                  <a:lnTo>
                    <a:pt x="562" y="62"/>
                  </a:lnTo>
                  <a:lnTo>
                    <a:pt x="562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th-TH"/>
            </a:p>
          </p:txBody>
        </p:sp>
        <p:sp>
          <p:nvSpPr>
            <p:cNvPr id="513" name="islidè">
              <a:extLst>
                <a:ext uri="{FF2B5EF4-FFF2-40B4-BE49-F238E27FC236}">
                  <a16:creationId xmlns:a16="http://schemas.microsoft.com/office/drawing/2014/main" id="{47CCACAE-5BA6-49B5-A194-3C48712556DB}"/>
                </a:ext>
              </a:extLst>
            </p:cNvPr>
            <p:cNvSpPr/>
            <p:nvPr/>
          </p:nvSpPr>
          <p:spPr>
            <a:xfrm>
              <a:off x="4305300" y="1600199"/>
              <a:ext cx="2882900" cy="635001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000" b="1" dirty="0">
                  <a:solidFill>
                    <a:schemeClr val="bg1"/>
                  </a:solidFill>
                </a:rPr>
                <a:t>放入文件</a:t>
              </a:r>
            </a:p>
          </p:txBody>
        </p:sp>
        <p:sp>
          <p:nvSpPr>
            <p:cNvPr id="514" name="îṣḷiďe">
              <a:extLst>
                <a:ext uri="{FF2B5EF4-FFF2-40B4-BE49-F238E27FC236}">
                  <a16:creationId xmlns:a16="http://schemas.microsoft.com/office/drawing/2014/main" id="{598E12FB-B831-4BB1-A3F5-D3BFFC5F1487}"/>
                </a:ext>
              </a:extLst>
            </p:cNvPr>
            <p:cNvSpPr/>
            <p:nvPr/>
          </p:nvSpPr>
          <p:spPr>
            <a:xfrm>
              <a:off x="4770571" y="2607103"/>
              <a:ext cx="2882900" cy="635001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000" b="1" dirty="0">
                  <a:solidFill>
                    <a:schemeClr val="bg1"/>
                  </a:solidFill>
                </a:rPr>
                <a:t>等待。。。</a:t>
              </a:r>
            </a:p>
          </p:txBody>
        </p:sp>
        <p:sp>
          <p:nvSpPr>
            <p:cNvPr id="515" name="îSľíḋê">
              <a:extLst>
                <a:ext uri="{FF2B5EF4-FFF2-40B4-BE49-F238E27FC236}">
                  <a16:creationId xmlns:a16="http://schemas.microsoft.com/office/drawing/2014/main" id="{4ACFB70B-DF3F-4066-B48F-F9DD5732C46B}"/>
                </a:ext>
              </a:extLst>
            </p:cNvPr>
            <p:cNvSpPr/>
            <p:nvPr/>
          </p:nvSpPr>
          <p:spPr>
            <a:xfrm>
              <a:off x="4460087" y="3608659"/>
              <a:ext cx="2882900" cy="635001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000" b="1" dirty="0">
                  <a:solidFill>
                    <a:schemeClr val="bg1"/>
                  </a:solidFill>
                </a:rPr>
                <a:t>运行下一个示例？</a:t>
              </a:r>
            </a:p>
          </p:txBody>
        </p:sp>
        <p:sp>
          <p:nvSpPr>
            <p:cNvPr id="516" name="íš1îḍé">
              <a:extLst>
                <a:ext uri="{FF2B5EF4-FFF2-40B4-BE49-F238E27FC236}">
                  <a16:creationId xmlns:a16="http://schemas.microsoft.com/office/drawing/2014/main" id="{F64F40DE-3DD4-4E9A-B8F4-C27427A6CE93}"/>
                </a:ext>
              </a:extLst>
            </p:cNvPr>
            <p:cNvSpPr/>
            <p:nvPr/>
          </p:nvSpPr>
          <p:spPr>
            <a:xfrm>
              <a:off x="4665138" y="4611625"/>
              <a:ext cx="2882900" cy="635001"/>
            </a:xfrm>
            <a:prstGeom prst="rect">
              <a:avLst/>
            </a:prstGeom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000" b="1" dirty="0">
                  <a:solidFill>
                    <a:schemeClr val="bg1"/>
                  </a:solidFill>
                </a:rPr>
                <a:t>。。。</a:t>
              </a:r>
            </a:p>
          </p:txBody>
        </p:sp>
        <p:grpSp>
          <p:nvGrpSpPr>
            <p:cNvPr id="517" name="ïšlíḍè">
              <a:extLst>
                <a:ext uri="{FF2B5EF4-FFF2-40B4-BE49-F238E27FC236}">
                  <a16:creationId xmlns:a16="http://schemas.microsoft.com/office/drawing/2014/main" id="{5ACC3926-C942-405B-BE3B-4BE28F0B2B0B}"/>
                </a:ext>
              </a:extLst>
            </p:cNvPr>
            <p:cNvGrpSpPr/>
            <p:nvPr/>
          </p:nvGrpSpPr>
          <p:grpSpPr>
            <a:xfrm>
              <a:off x="665729" y="1247642"/>
              <a:ext cx="2623571" cy="4746758"/>
              <a:chOff x="665729" y="1247642"/>
              <a:chExt cx="2623571" cy="4746758"/>
            </a:xfrm>
          </p:grpSpPr>
          <p:cxnSp>
            <p:nvCxnSpPr>
              <p:cNvPr id="531" name="直接连接符 530">
                <a:extLst>
                  <a:ext uri="{FF2B5EF4-FFF2-40B4-BE49-F238E27FC236}">
                    <a16:creationId xmlns:a16="http://schemas.microsoft.com/office/drawing/2014/main" id="{20EAAE25-7BC1-4674-B6CB-3EA6A001733C}"/>
                  </a:ext>
                </a:extLst>
              </p:cNvPr>
              <p:cNvCxnSpPr/>
              <p:nvPr/>
            </p:nvCxnSpPr>
            <p:spPr>
              <a:xfrm>
                <a:off x="669925" y="3473973"/>
                <a:ext cx="2619375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prstDash val="dash"/>
                <a:round/>
                <a:headEnd type="oval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32" name="îšļîdê">
                <a:extLst>
                  <a:ext uri="{FF2B5EF4-FFF2-40B4-BE49-F238E27FC236}">
                    <a16:creationId xmlns:a16="http://schemas.microsoft.com/office/drawing/2014/main" id="{1F324C58-047E-45CC-84F3-0241B315DE56}"/>
                  </a:ext>
                </a:extLst>
              </p:cNvPr>
              <p:cNvGrpSpPr/>
              <p:nvPr/>
            </p:nvGrpSpPr>
            <p:grpSpPr>
              <a:xfrm>
                <a:off x="665729" y="2281160"/>
                <a:ext cx="2434088" cy="1071640"/>
                <a:chOff x="2082804" y="1329817"/>
                <a:chExt cx="2334087" cy="1071640"/>
              </a:xfrm>
            </p:grpSpPr>
            <p:sp>
              <p:nvSpPr>
                <p:cNvPr id="542" name="iSļïde">
                  <a:extLst>
                    <a:ext uri="{FF2B5EF4-FFF2-40B4-BE49-F238E27FC236}">
                      <a16:creationId xmlns:a16="http://schemas.microsoft.com/office/drawing/2014/main" id="{AFE63BE6-7512-4B4C-B599-65723334F9FC}"/>
                    </a:ext>
                  </a:extLst>
                </p:cNvPr>
                <p:cNvSpPr txBox="1"/>
                <p:nvPr/>
              </p:nvSpPr>
              <p:spPr>
                <a:xfrm>
                  <a:off x="2082804" y="1677152"/>
                  <a:ext cx="2334087" cy="724305"/>
                </a:xfrm>
                <a:prstGeom prst="rect">
                  <a:avLst/>
                </a:prstGeom>
                <a:noFill/>
              </p:spPr>
              <p:txBody>
                <a:bodyPr wrap="square" lIns="144000" tIns="0" rIns="144000" bIns="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 algn="ctr" defTabSz="914400">
                    <a:lnSpc>
                      <a:spcPct val="120000"/>
                    </a:lnSpc>
                    <a:spcBef>
                      <a:spcPct val="0"/>
                    </a:spcBef>
                    <a:defRPr/>
                  </a:pPr>
                  <a:r>
                    <a:rPr lang="en-US" altLang="zh-CN" sz="1100" dirty="0" err="1">
                      <a:solidFill>
                        <a:schemeClr val="dk1">
                          <a:lumMod val="100000"/>
                        </a:schemeClr>
                      </a:solidFill>
                    </a:rPr>
                    <a:t>mkdir</a:t>
                  </a:r>
                  <a:r>
                    <a:rPr lang="en-US" altLang="zh-CN" sz="1100" dirty="0">
                      <a:solidFill>
                        <a:schemeClr val="dk1">
                          <a:lumMod val="100000"/>
                        </a:schemeClr>
                      </a:solidFill>
                    </a:rPr>
                    <a:t> input</a:t>
                  </a:r>
                </a:p>
                <a:p>
                  <a:pPr lvl="0" algn="ctr" defTabSz="914400">
                    <a:lnSpc>
                      <a:spcPct val="120000"/>
                    </a:lnSpc>
                    <a:spcBef>
                      <a:spcPct val="0"/>
                    </a:spcBef>
                    <a:defRPr/>
                  </a:pPr>
                  <a:r>
                    <a:rPr lang="zh-CN" altLang="en-US" sz="1100" dirty="0">
                      <a:solidFill>
                        <a:schemeClr val="dk1">
                          <a:lumMod val="100000"/>
                        </a:schemeClr>
                      </a:solidFill>
                    </a:rPr>
                    <a:t>一般创建在</a:t>
                  </a:r>
                  <a:r>
                    <a:rPr lang="en-US" altLang="zh-CN" sz="1100" dirty="0" err="1">
                      <a:solidFill>
                        <a:schemeClr val="dk1">
                          <a:lumMod val="100000"/>
                        </a:schemeClr>
                      </a:solidFill>
                    </a:rPr>
                    <a:t>hadoop</a:t>
                  </a:r>
                  <a:r>
                    <a:rPr lang="zh-CN" altLang="en-US" sz="1100" dirty="0">
                      <a:solidFill>
                        <a:schemeClr val="dk1">
                          <a:lumMod val="100000"/>
                        </a:schemeClr>
                      </a:solidFill>
                    </a:rPr>
                    <a:t>下</a:t>
                  </a:r>
                </a:p>
              </p:txBody>
            </p:sp>
            <p:sp>
              <p:nvSpPr>
                <p:cNvPr id="543" name="îşḷiḑè">
                  <a:extLst>
                    <a:ext uri="{FF2B5EF4-FFF2-40B4-BE49-F238E27FC236}">
                      <a16:creationId xmlns:a16="http://schemas.microsoft.com/office/drawing/2014/main" id="{6F244086-B5BD-4DB6-AAAA-85CEC164F1AB}"/>
                    </a:ext>
                  </a:extLst>
                </p:cNvPr>
                <p:cNvSpPr/>
                <p:nvPr/>
              </p:nvSpPr>
              <p:spPr>
                <a:xfrm>
                  <a:off x="2082804" y="1329817"/>
                  <a:ext cx="2334087" cy="335557"/>
                </a:xfrm>
                <a:prstGeom prst="rect">
                  <a:avLst/>
                </a:prstGeom>
              </p:spPr>
              <p:txBody>
                <a:bodyPr wrap="none" lIns="144000" tIns="0" rIns="144000" bIns="0" anchor="t" anchorCtr="0">
                  <a:normAutofit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zh-CN" altLang="en-US" b="1" dirty="0"/>
                    <a:t>建立</a:t>
                  </a:r>
                  <a:r>
                    <a:rPr lang="en-US" altLang="zh-CN" b="1" dirty="0"/>
                    <a:t>input</a:t>
                  </a:r>
                  <a:r>
                    <a:rPr lang="zh-CN" altLang="en-US" b="1" dirty="0"/>
                    <a:t>文件夹</a:t>
                  </a:r>
                </a:p>
              </p:txBody>
            </p:sp>
          </p:grpSp>
          <p:grpSp>
            <p:nvGrpSpPr>
              <p:cNvPr id="533" name="íṧḻiḓé">
                <a:extLst>
                  <a:ext uri="{FF2B5EF4-FFF2-40B4-BE49-F238E27FC236}">
                    <a16:creationId xmlns:a16="http://schemas.microsoft.com/office/drawing/2014/main" id="{1F37396D-DF79-4C9C-8940-BC6B7172CB4F}"/>
                  </a:ext>
                </a:extLst>
              </p:cNvPr>
              <p:cNvGrpSpPr/>
              <p:nvPr/>
            </p:nvGrpSpPr>
            <p:grpSpPr>
              <a:xfrm>
                <a:off x="1471472" y="1247642"/>
                <a:ext cx="822599" cy="822598"/>
                <a:chOff x="1471472" y="2647236"/>
                <a:chExt cx="822599" cy="822598"/>
              </a:xfrm>
            </p:grpSpPr>
            <p:sp>
              <p:nvSpPr>
                <p:cNvPr id="540" name="ïśḻîḍé">
                  <a:extLst>
                    <a:ext uri="{FF2B5EF4-FFF2-40B4-BE49-F238E27FC236}">
                      <a16:creationId xmlns:a16="http://schemas.microsoft.com/office/drawing/2014/main" id="{7D4DFE00-D03D-4A84-ABB2-4A7E9F1F3367}"/>
                    </a:ext>
                  </a:extLst>
                </p:cNvPr>
                <p:cNvSpPr/>
                <p:nvPr/>
              </p:nvSpPr>
              <p:spPr>
                <a:xfrm>
                  <a:off x="1471472" y="2647236"/>
                  <a:ext cx="822599" cy="822598"/>
                </a:xfrm>
                <a:prstGeom prst="ellipse">
                  <a:avLst/>
                </a:prstGeom>
                <a:solidFill>
                  <a:schemeClr val="accent1"/>
                </a:solidFill>
                <a:ln w="571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dirty="0"/>
                </a:p>
              </p:txBody>
            </p:sp>
            <p:sp>
              <p:nvSpPr>
                <p:cNvPr id="541" name="iŝḻïdé">
                  <a:extLst>
                    <a:ext uri="{FF2B5EF4-FFF2-40B4-BE49-F238E27FC236}">
                      <a16:creationId xmlns:a16="http://schemas.microsoft.com/office/drawing/2014/main" id="{C96BBE9A-63EE-4E3E-916E-215771CF985B}"/>
                    </a:ext>
                  </a:extLst>
                </p:cNvPr>
                <p:cNvSpPr/>
                <p:nvPr/>
              </p:nvSpPr>
              <p:spPr bwMode="auto">
                <a:xfrm>
                  <a:off x="1670570" y="2814062"/>
                  <a:ext cx="424401" cy="488946"/>
                </a:xfrm>
                <a:custGeom>
                  <a:avLst/>
                  <a:gdLst>
                    <a:gd name="connsiteX0" fmla="*/ 373273 h 605239"/>
                    <a:gd name="connsiteY0" fmla="*/ 373273 h 605239"/>
                    <a:gd name="connsiteX1" fmla="*/ 373273 h 605239"/>
                    <a:gd name="connsiteY1" fmla="*/ 373273 h 605239"/>
                    <a:gd name="connsiteX2" fmla="*/ 373273 h 605239"/>
                    <a:gd name="connsiteY2" fmla="*/ 373273 h 605239"/>
                    <a:gd name="connsiteX3" fmla="*/ 373273 h 605239"/>
                    <a:gd name="connsiteY3" fmla="*/ 373273 h 605239"/>
                    <a:gd name="connsiteX4" fmla="*/ 373273 h 605239"/>
                    <a:gd name="connsiteY4" fmla="*/ 373273 h 605239"/>
                    <a:gd name="connsiteX5" fmla="*/ 373273 h 605239"/>
                    <a:gd name="connsiteY5" fmla="*/ 373273 h 605239"/>
                    <a:gd name="connsiteX6" fmla="*/ 373273 h 605239"/>
                    <a:gd name="connsiteY6" fmla="*/ 373273 h 605239"/>
                    <a:gd name="connsiteX7" fmla="*/ 373273 h 605239"/>
                    <a:gd name="connsiteY7" fmla="*/ 373273 h 605239"/>
                    <a:gd name="connsiteX8" fmla="*/ 373273 h 605239"/>
                    <a:gd name="connsiteY8" fmla="*/ 373273 h 605239"/>
                    <a:gd name="connsiteX9" fmla="*/ 373273 h 605239"/>
                    <a:gd name="connsiteY9" fmla="*/ 373273 h 605239"/>
                    <a:gd name="connsiteX10" fmla="*/ 373273 h 605239"/>
                    <a:gd name="connsiteY10" fmla="*/ 373273 h 605239"/>
                    <a:gd name="connsiteX11" fmla="*/ 373273 h 605239"/>
                    <a:gd name="connsiteY11" fmla="*/ 373273 h 605239"/>
                    <a:gd name="connsiteX12" fmla="*/ 373273 h 605239"/>
                    <a:gd name="connsiteY12" fmla="*/ 373273 h 605239"/>
                    <a:gd name="connsiteX13" fmla="*/ 373273 h 605239"/>
                    <a:gd name="connsiteY13" fmla="*/ 373273 h 605239"/>
                    <a:gd name="connsiteX14" fmla="*/ 373273 h 605239"/>
                    <a:gd name="connsiteY14" fmla="*/ 373273 h 605239"/>
                    <a:gd name="connsiteX15" fmla="*/ 373273 h 605239"/>
                    <a:gd name="connsiteY15" fmla="*/ 373273 h 605239"/>
                    <a:gd name="connsiteX16" fmla="*/ 373273 h 605239"/>
                    <a:gd name="connsiteY16" fmla="*/ 373273 h 605239"/>
                    <a:gd name="connsiteX17" fmla="*/ 373273 h 605239"/>
                    <a:gd name="connsiteY17" fmla="*/ 373273 h 605239"/>
                    <a:gd name="connsiteX18" fmla="*/ 373273 h 605239"/>
                    <a:gd name="connsiteY18" fmla="*/ 373273 h 605239"/>
                    <a:gd name="connsiteX19" fmla="*/ 373273 h 605239"/>
                    <a:gd name="connsiteY19" fmla="*/ 373273 h 605239"/>
                    <a:gd name="connsiteX20" fmla="*/ 373273 h 605239"/>
                    <a:gd name="connsiteY20" fmla="*/ 373273 h 605239"/>
                    <a:gd name="connsiteX21" fmla="*/ 373273 h 605239"/>
                    <a:gd name="connsiteY21" fmla="*/ 373273 h 605239"/>
                    <a:gd name="connsiteX22" fmla="*/ 373273 h 605239"/>
                    <a:gd name="connsiteY22" fmla="*/ 373273 h 605239"/>
                    <a:gd name="connsiteX23" fmla="*/ 373273 h 605239"/>
                    <a:gd name="connsiteY23" fmla="*/ 373273 h 605239"/>
                    <a:gd name="connsiteX24" fmla="*/ 373273 h 605239"/>
                    <a:gd name="connsiteY24" fmla="*/ 373273 h 605239"/>
                    <a:gd name="connsiteX25" fmla="*/ 373273 h 605239"/>
                    <a:gd name="connsiteY25" fmla="*/ 373273 h 605239"/>
                    <a:gd name="connsiteX26" fmla="*/ 373273 h 605239"/>
                    <a:gd name="connsiteY26" fmla="*/ 373273 h 605239"/>
                    <a:gd name="connsiteX27" fmla="*/ 373273 h 605239"/>
                    <a:gd name="connsiteY27" fmla="*/ 373273 h 605239"/>
                    <a:gd name="connsiteX28" fmla="*/ 373273 h 605239"/>
                    <a:gd name="connsiteY28" fmla="*/ 373273 h 605239"/>
                    <a:gd name="connsiteX29" fmla="*/ 373273 h 605239"/>
                    <a:gd name="connsiteY29" fmla="*/ 373273 h 605239"/>
                    <a:gd name="connsiteX30" fmla="*/ 373273 h 605239"/>
                    <a:gd name="connsiteY30" fmla="*/ 373273 h 605239"/>
                    <a:gd name="connsiteX31" fmla="*/ 373273 h 605239"/>
                    <a:gd name="connsiteY31" fmla="*/ 373273 h 605239"/>
                    <a:gd name="connsiteX32" fmla="*/ 373273 h 605239"/>
                    <a:gd name="connsiteY32" fmla="*/ 373273 h 605239"/>
                    <a:gd name="connsiteX33" fmla="*/ 373273 h 605239"/>
                    <a:gd name="connsiteY33" fmla="*/ 373273 h 605239"/>
                    <a:gd name="connsiteX34" fmla="*/ 373273 h 605239"/>
                    <a:gd name="connsiteY34" fmla="*/ 373273 h 605239"/>
                    <a:gd name="connsiteX35" fmla="*/ 373273 h 605239"/>
                    <a:gd name="connsiteY35" fmla="*/ 373273 h 605239"/>
                    <a:gd name="connsiteX36" fmla="*/ 373273 h 605239"/>
                    <a:gd name="connsiteY36" fmla="*/ 373273 h 605239"/>
                    <a:gd name="connsiteX37" fmla="*/ 373273 h 605239"/>
                    <a:gd name="connsiteY37" fmla="*/ 373273 h 605239"/>
                    <a:gd name="connsiteX38" fmla="*/ 373273 h 605239"/>
                    <a:gd name="connsiteY38" fmla="*/ 373273 h 605239"/>
                    <a:gd name="connsiteX39" fmla="*/ 373273 h 605239"/>
                    <a:gd name="connsiteY39" fmla="*/ 373273 h 605239"/>
                    <a:gd name="connsiteX40" fmla="*/ 373273 h 605239"/>
                    <a:gd name="connsiteY40" fmla="*/ 373273 h 605239"/>
                    <a:gd name="connsiteX41" fmla="*/ 373273 h 605239"/>
                    <a:gd name="connsiteY41" fmla="*/ 373273 h 605239"/>
                    <a:gd name="connsiteX42" fmla="*/ 373273 h 605239"/>
                    <a:gd name="connsiteY42" fmla="*/ 373273 h 605239"/>
                    <a:gd name="connsiteX43" fmla="*/ 373273 h 605239"/>
                    <a:gd name="connsiteY43" fmla="*/ 373273 h 605239"/>
                    <a:gd name="connsiteX44" fmla="*/ 373273 h 605239"/>
                    <a:gd name="connsiteY44" fmla="*/ 373273 h 605239"/>
                    <a:gd name="connsiteX45" fmla="*/ 373273 h 605239"/>
                    <a:gd name="connsiteY45" fmla="*/ 373273 h 605239"/>
                    <a:gd name="connsiteX46" fmla="*/ 373273 h 605239"/>
                    <a:gd name="connsiteY46" fmla="*/ 373273 h 605239"/>
                    <a:gd name="connsiteX47" fmla="*/ 373273 h 605239"/>
                    <a:gd name="connsiteY47" fmla="*/ 373273 h 605239"/>
                    <a:gd name="connsiteX48" fmla="*/ 373273 h 605239"/>
                    <a:gd name="connsiteY48" fmla="*/ 373273 h 605239"/>
                    <a:gd name="connsiteX49" fmla="*/ 373273 h 605239"/>
                    <a:gd name="connsiteY49" fmla="*/ 373273 h 605239"/>
                    <a:gd name="connsiteX50" fmla="*/ 373273 h 605239"/>
                    <a:gd name="connsiteY50" fmla="*/ 373273 h 605239"/>
                    <a:gd name="connsiteX51" fmla="*/ 373273 h 605239"/>
                    <a:gd name="connsiteY51" fmla="*/ 373273 h 605239"/>
                    <a:gd name="connsiteX52" fmla="*/ 373273 h 605239"/>
                    <a:gd name="connsiteY52" fmla="*/ 373273 h 605239"/>
                    <a:gd name="connsiteX53" fmla="*/ 373273 h 605239"/>
                    <a:gd name="connsiteY53" fmla="*/ 373273 h 605239"/>
                    <a:gd name="connsiteX54" fmla="*/ 373273 h 605239"/>
                    <a:gd name="connsiteY54" fmla="*/ 373273 h 605239"/>
                    <a:gd name="connsiteX55" fmla="*/ 373273 h 605239"/>
                    <a:gd name="connsiteY55" fmla="*/ 373273 h 605239"/>
                    <a:gd name="connsiteX56" fmla="*/ 373273 h 605239"/>
                    <a:gd name="connsiteY56" fmla="*/ 373273 h 605239"/>
                    <a:gd name="connsiteX57" fmla="*/ 373273 h 605239"/>
                    <a:gd name="connsiteY57" fmla="*/ 373273 h 605239"/>
                    <a:gd name="connsiteX58" fmla="*/ 373273 h 605239"/>
                    <a:gd name="connsiteY58" fmla="*/ 373273 h 605239"/>
                    <a:gd name="connsiteX59" fmla="*/ 373273 h 605239"/>
                    <a:gd name="connsiteY59" fmla="*/ 373273 h 605239"/>
                    <a:gd name="connsiteX60" fmla="*/ 373273 h 605239"/>
                    <a:gd name="connsiteY60" fmla="*/ 373273 h 605239"/>
                    <a:gd name="connsiteX61" fmla="*/ 373273 h 605239"/>
                    <a:gd name="connsiteY61" fmla="*/ 373273 h 605239"/>
                    <a:gd name="connsiteX62" fmla="*/ 373273 h 605239"/>
                    <a:gd name="connsiteY62" fmla="*/ 373273 h 605239"/>
                    <a:gd name="connsiteX63" fmla="*/ 373273 h 605239"/>
                    <a:gd name="connsiteY63" fmla="*/ 373273 h 605239"/>
                    <a:gd name="connsiteX64" fmla="*/ 373273 h 605239"/>
                    <a:gd name="connsiteY64" fmla="*/ 373273 h 605239"/>
                    <a:gd name="connsiteX65" fmla="*/ 373273 h 605239"/>
                    <a:gd name="connsiteY65" fmla="*/ 373273 h 605239"/>
                    <a:gd name="connsiteX66" fmla="*/ 373273 h 605239"/>
                    <a:gd name="connsiteY66" fmla="*/ 373273 h 605239"/>
                    <a:gd name="connsiteX67" fmla="*/ 373273 h 605239"/>
                    <a:gd name="connsiteY67" fmla="*/ 373273 h 605239"/>
                    <a:gd name="connsiteX68" fmla="*/ 373273 h 605239"/>
                    <a:gd name="connsiteY68" fmla="*/ 373273 h 605239"/>
                    <a:gd name="connsiteX69" fmla="*/ 373273 h 605239"/>
                    <a:gd name="connsiteY69" fmla="*/ 373273 h 605239"/>
                    <a:gd name="connsiteX70" fmla="*/ 373273 h 605239"/>
                    <a:gd name="connsiteY70" fmla="*/ 373273 h 605239"/>
                    <a:gd name="connsiteX71" fmla="*/ 373273 h 605239"/>
                    <a:gd name="connsiteY71" fmla="*/ 373273 h 605239"/>
                    <a:gd name="connsiteX72" fmla="*/ 373273 h 605239"/>
                    <a:gd name="connsiteY72" fmla="*/ 373273 h 605239"/>
                    <a:gd name="connsiteX73" fmla="*/ 373273 h 605239"/>
                    <a:gd name="connsiteY73" fmla="*/ 373273 h 605239"/>
                    <a:gd name="connsiteX74" fmla="*/ 373273 h 605239"/>
                    <a:gd name="connsiteY74" fmla="*/ 373273 h 605239"/>
                    <a:gd name="connsiteX75" fmla="*/ 373273 h 605239"/>
                    <a:gd name="connsiteY75" fmla="*/ 373273 h 605239"/>
                    <a:gd name="connsiteX76" fmla="*/ 373273 h 605239"/>
                    <a:gd name="connsiteY76" fmla="*/ 373273 h 605239"/>
                    <a:gd name="connsiteX77" fmla="*/ 373273 h 605239"/>
                    <a:gd name="connsiteY77" fmla="*/ 373273 h 605239"/>
                    <a:gd name="connsiteX78" fmla="*/ 373273 h 605239"/>
                    <a:gd name="connsiteY78" fmla="*/ 373273 h 605239"/>
                    <a:gd name="connsiteX79" fmla="*/ 373273 h 605239"/>
                    <a:gd name="connsiteY79" fmla="*/ 373273 h 605239"/>
                    <a:gd name="connsiteX80" fmla="*/ 373273 h 605239"/>
                    <a:gd name="connsiteY80" fmla="*/ 373273 h 605239"/>
                    <a:gd name="connsiteX81" fmla="*/ 373273 h 605239"/>
                    <a:gd name="connsiteY81" fmla="*/ 373273 h 605239"/>
                    <a:gd name="connsiteX82" fmla="*/ 373273 h 605239"/>
                    <a:gd name="connsiteY82" fmla="*/ 373273 h 605239"/>
                    <a:gd name="connsiteX83" fmla="*/ 373273 h 605239"/>
                    <a:gd name="connsiteY83" fmla="*/ 373273 h 605239"/>
                    <a:gd name="connsiteX84" fmla="*/ 373273 h 605239"/>
                    <a:gd name="connsiteY84" fmla="*/ 373273 h 605239"/>
                    <a:gd name="connsiteX85" fmla="*/ 373273 h 605239"/>
                    <a:gd name="connsiteY85" fmla="*/ 373273 h 605239"/>
                    <a:gd name="connsiteX86" fmla="*/ 373273 h 605239"/>
                    <a:gd name="connsiteY86" fmla="*/ 373273 h 605239"/>
                    <a:gd name="connsiteX87" fmla="*/ 373273 h 605239"/>
                    <a:gd name="connsiteY87" fmla="*/ 373273 h 605239"/>
                    <a:gd name="connsiteX88" fmla="*/ 373273 h 605239"/>
                    <a:gd name="connsiteY88" fmla="*/ 373273 h 605239"/>
                    <a:gd name="connsiteX89" fmla="*/ 373273 h 605239"/>
                    <a:gd name="connsiteY89" fmla="*/ 373273 h 605239"/>
                    <a:gd name="connsiteX90" fmla="*/ 373273 h 605239"/>
                    <a:gd name="connsiteY90" fmla="*/ 373273 h 605239"/>
                    <a:gd name="connsiteX91" fmla="*/ 373273 h 605239"/>
                    <a:gd name="connsiteY91" fmla="*/ 373273 h 605239"/>
                    <a:gd name="connsiteX92" fmla="*/ 373273 h 605239"/>
                    <a:gd name="connsiteY92" fmla="*/ 373273 h 605239"/>
                    <a:gd name="connsiteX93" fmla="*/ 373273 h 605239"/>
                    <a:gd name="connsiteY93" fmla="*/ 373273 h 605239"/>
                    <a:gd name="connsiteX94" fmla="*/ 373273 h 605239"/>
                    <a:gd name="connsiteY94" fmla="*/ 373273 h 605239"/>
                    <a:gd name="connsiteX95" fmla="*/ 373273 h 605239"/>
                    <a:gd name="connsiteY95" fmla="*/ 373273 h 605239"/>
                    <a:gd name="connsiteX96" fmla="*/ 373273 h 605239"/>
                    <a:gd name="connsiteY96" fmla="*/ 373273 h 605239"/>
                    <a:gd name="connsiteX97" fmla="*/ 373273 h 605239"/>
                    <a:gd name="connsiteY97" fmla="*/ 373273 h 605239"/>
                    <a:gd name="connsiteX98" fmla="*/ 373273 h 605239"/>
                    <a:gd name="connsiteY98" fmla="*/ 373273 h 605239"/>
                    <a:gd name="connsiteX99" fmla="*/ 373273 h 605239"/>
                    <a:gd name="connsiteY99" fmla="*/ 373273 h 605239"/>
                    <a:gd name="connsiteX100" fmla="*/ 373273 h 605239"/>
                    <a:gd name="connsiteY100" fmla="*/ 373273 h 605239"/>
                    <a:gd name="connsiteX101" fmla="*/ 373273 h 605239"/>
                    <a:gd name="connsiteY101" fmla="*/ 373273 h 605239"/>
                    <a:gd name="connsiteX102" fmla="*/ 373273 h 605239"/>
                    <a:gd name="connsiteY102" fmla="*/ 373273 h 605239"/>
                    <a:gd name="connsiteX103" fmla="*/ 373273 h 605239"/>
                    <a:gd name="connsiteY103" fmla="*/ 373273 h 605239"/>
                    <a:gd name="connsiteX104" fmla="*/ 373273 h 605239"/>
                    <a:gd name="connsiteY104" fmla="*/ 373273 h 605239"/>
                    <a:gd name="connsiteX105" fmla="*/ 373273 h 605239"/>
                    <a:gd name="connsiteY105" fmla="*/ 373273 h 605239"/>
                    <a:gd name="connsiteX106" fmla="*/ 373273 h 605239"/>
                    <a:gd name="connsiteY106" fmla="*/ 373273 h 605239"/>
                    <a:gd name="connsiteX107" fmla="*/ 373273 h 605239"/>
                    <a:gd name="connsiteY107" fmla="*/ 373273 h 605239"/>
                    <a:gd name="connsiteX108" fmla="*/ 373273 h 605239"/>
                    <a:gd name="connsiteY108" fmla="*/ 373273 h 605239"/>
                    <a:gd name="connsiteX109" fmla="*/ 373273 h 605239"/>
                    <a:gd name="connsiteY109" fmla="*/ 373273 h 605239"/>
                    <a:gd name="connsiteX110" fmla="*/ 373273 h 605239"/>
                    <a:gd name="connsiteY110" fmla="*/ 373273 h 605239"/>
                    <a:gd name="connsiteX111" fmla="*/ 373273 h 605239"/>
                    <a:gd name="connsiteY111" fmla="*/ 373273 h 605239"/>
                    <a:gd name="connsiteX112" fmla="*/ 373273 h 605239"/>
                    <a:gd name="connsiteY112" fmla="*/ 373273 h 605239"/>
                    <a:gd name="connsiteX113" fmla="*/ 373273 h 605239"/>
                    <a:gd name="connsiteY113" fmla="*/ 373273 h 605239"/>
                    <a:gd name="connsiteX114" fmla="*/ 373273 h 605239"/>
                    <a:gd name="connsiteY114" fmla="*/ 373273 h 605239"/>
                    <a:gd name="connsiteX115" fmla="*/ 373273 h 605239"/>
                    <a:gd name="connsiteY115" fmla="*/ 373273 h 605239"/>
                    <a:gd name="connsiteX116" fmla="*/ 373273 h 605239"/>
                    <a:gd name="connsiteY116" fmla="*/ 373273 h 605239"/>
                    <a:gd name="connsiteX117" fmla="*/ 373273 h 605239"/>
                    <a:gd name="connsiteY117" fmla="*/ 373273 h 605239"/>
                    <a:gd name="connsiteX118" fmla="*/ 373273 h 605239"/>
                    <a:gd name="connsiteY118" fmla="*/ 373273 h 605239"/>
                    <a:gd name="connsiteX119" fmla="*/ 373273 h 605239"/>
                    <a:gd name="connsiteY119" fmla="*/ 373273 h 605239"/>
                    <a:gd name="connsiteX120" fmla="*/ 373273 h 605239"/>
                    <a:gd name="connsiteY120" fmla="*/ 373273 h 605239"/>
                    <a:gd name="connsiteX121" fmla="*/ 373273 h 605239"/>
                    <a:gd name="connsiteY121" fmla="*/ 373273 h 605239"/>
                    <a:gd name="connsiteX122" fmla="*/ 373273 h 605239"/>
                    <a:gd name="connsiteY122" fmla="*/ 373273 h 605239"/>
                    <a:gd name="connsiteX123" fmla="*/ 373273 h 605239"/>
                    <a:gd name="connsiteY123" fmla="*/ 373273 h 605239"/>
                    <a:gd name="connsiteX124" fmla="*/ 373273 h 605239"/>
                    <a:gd name="connsiteY124" fmla="*/ 373273 h 605239"/>
                    <a:gd name="connsiteX125" fmla="*/ 373273 h 605239"/>
                    <a:gd name="connsiteY125" fmla="*/ 373273 h 605239"/>
                    <a:gd name="connsiteX126" fmla="*/ 373273 h 605239"/>
                    <a:gd name="connsiteY126" fmla="*/ 373273 h 605239"/>
                    <a:gd name="connsiteX127" fmla="*/ 373273 h 605239"/>
                    <a:gd name="connsiteY127" fmla="*/ 373273 h 605239"/>
                    <a:gd name="connsiteX128" fmla="*/ 373273 h 605239"/>
                    <a:gd name="connsiteY128" fmla="*/ 373273 h 605239"/>
                    <a:gd name="connsiteX129" fmla="*/ 373273 h 605239"/>
                    <a:gd name="connsiteY129" fmla="*/ 373273 h 605239"/>
                    <a:gd name="connsiteX130" fmla="*/ 373273 h 605239"/>
                    <a:gd name="connsiteY130" fmla="*/ 373273 h 605239"/>
                    <a:gd name="connsiteX131" fmla="*/ 373273 h 605239"/>
                    <a:gd name="connsiteY131" fmla="*/ 373273 h 605239"/>
                    <a:gd name="connsiteX132" fmla="*/ 373273 h 605239"/>
                    <a:gd name="connsiteY132" fmla="*/ 373273 h 605239"/>
                    <a:gd name="connsiteX133" fmla="*/ 373273 h 605239"/>
                    <a:gd name="connsiteY133" fmla="*/ 373273 h 605239"/>
                    <a:gd name="connsiteX134" fmla="*/ 373273 h 605239"/>
                    <a:gd name="connsiteY134" fmla="*/ 373273 h 605239"/>
                    <a:gd name="connsiteX135" fmla="*/ 373273 h 605239"/>
                    <a:gd name="connsiteY135" fmla="*/ 373273 h 605239"/>
                    <a:gd name="connsiteX136" fmla="*/ 373273 h 605239"/>
                    <a:gd name="connsiteY136" fmla="*/ 373273 h 605239"/>
                    <a:gd name="connsiteX137" fmla="*/ 373273 h 605239"/>
                    <a:gd name="connsiteY137" fmla="*/ 373273 h 605239"/>
                    <a:gd name="connsiteX138" fmla="*/ 373273 h 605239"/>
                    <a:gd name="connsiteY138" fmla="*/ 373273 h 605239"/>
                    <a:gd name="connsiteX139" fmla="*/ 373273 h 605239"/>
                    <a:gd name="connsiteY139" fmla="*/ 373273 h 605239"/>
                    <a:gd name="connsiteX140" fmla="*/ 373273 h 605239"/>
                    <a:gd name="connsiteY140" fmla="*/ 373273 h 605239"/>
                    <a:gd name="connsiteX141" fmla="*/ 373273 h 605239"/>
                    <a:gd name="connsiteY141" fmla="*/ 373273 h 605239"/>
                    <a:gd name="connsiteX142" fmla="*/ 373273 h 605239"/>
                    <a:gd name="connsiteY142" fmla="*/ 373273 h 605239"/>
                    <a:gd name="connsiteX143" fmla="*/ 373273 h 605239"/>
                    <a:gd name="connsiteY143" fmla="*/ 373273 h 605239"/>
                    <a:gd name="connsiteX144" fmla="*/ 373273 h 605239"/>
                    <a:gd name="connsiteY144" fmla="*/ 373273 h 605239"/>
                    <a:gd name="connsiteX145" fmla="*/ 373273 h 605239"/>
                    <a:gd name="connsiteY145" fmla="*/ 373273 h 605239"/>
                    <a:gd name="connsiteX146" fmla="*/ 373273 h 605239"/>
                    <a:gd name="connsiteY146" fmla="*/ 373273 h 605239"/>
                    <a:gd name="connsiteX147" fmla="*/ 373273 h 605239"/>
                    <a:gd name="connsiteY147" fmla="*/ 373273 h 605239"/>
                    <a:gd name="connsiteX148" fmla="*/ 373273 h 605239"/>
                    <a:gd name="connsiteY148" fmla="*/ 373273 h 605239"/>
                    <a:gd name="connsiteX149" fmla="*/ 373273 h 605239"/>
                    <a:gd name="connsiteY149" fmla="*/ 373273 h 605239"/>
                    <a:gd name="connsiteX150" fmla="*/ 373273 h 605239"/>
                    <a:gd name="connsiteY150" fmla="*/ 373273 h 605239"/>
                    <a:gd name="connsiteX151" fmla="*/ 373273 h 605239"/>
                    <a:gd name="connsiteY151" fmla="*/ 373273 h 605239"/>
                    <a:gd name="connsiteX152" fmla="*/ 373273 h 605239"/>
                    <a:gd name="connsiteY152" fmla="*/ 373273 h 605239"/>
                    <a:gd name="connsiteX153" fmla="*/ 373273 h 605239"/>
                    <a:gd name="connsiteY153" fmla="*/ 373273 h 605239"/>
                    <a:gd name="connsiteX154" fmla="*/ 373273 h 605239"/>
                    <a:gd name="connsiteY154" fmla="*/ 373273 h 605239"/>
                    <a:gd name="connsiteX155" fmla="*/ 373273 h 605239"/>
                    <a:gd name="connsiteY155" fmla="*/ 373273 h 605239"/>
                    <a:gd name="connsiteX156" fmla="*/ 373273 h 605239"/>
                    <a:gd name="connsiteY156" fmla="*/ 373273 h 605239"/>
                    <a:gd name="connsiteX157" fmla="*/ 373273 h 605239"/>
                    <a:gd name="connsiteY157" fmla="*/ 373273 h 605239"/>
                    <a:gd name="connsiteX158" fmla="*/ 373273 h 605239"/>
                    <a:gd name="connsiteY158" fmla="*/ 373273 h 605239"/>
                    <a:gd name="connsiteX159" fmla="*/ 373273 h 605239"/>
                    <a:gd name="connsiteY159" fmla="*/ 373273 h 605239"/>
                    <a:gd name="connsiteX160" fmla="*/ 373273 h 605239"/>
                    <a:gd name="connsiteY160" fmla="*/ 373273 h 605239"/>
                    <a:gd name="connsiteX161" fmla="*/ 373273 h 605239"/>
                    <a:gd name="connsiteY161" fmla="*/ 373273 h 605239"/>
                    <a:gd name="connsiteX162" fmla="*/ 373273 h 605239"/>
                    <a:gd name="connsiteY162" fmla="*/ 373273 h 605239"/>
                    <a:gd name="connsiteX163" fmla="*/ 373273 h 605239"/>
                    <a:gd name="connsiteY163" fmla="*/ 373273 h 605239"/>
                    <a:gd name="connsiteX164" fmla="*/ 373273 h 605239"/>
                    <a:gd name="connsiteY164" fmla="*/ 373273 h 605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</a:cxnLst>
                  <a:rect l="l" t="t" r="r" b="b"/>
                  <a:pathLst>
                    <a:path w="526630" h="606722">
                      <a:moveTo>
                        <a:pt x="202571" y="485320"/>
                      </a:moveTo>
                      <a:cubicBezTo>
                        <a:pt x="180587" y="485320"/>
                        <a:pt x="162074" y="504783"/>
                        <a:pt x="162074" y="527802"/>
                      </a:cubicBezTo>
                      <a:lnTo>
                        <a:pt x="162074" y="586459"/>
                      </a:lnTo>
                      <a:lnTo>
                        <a:pt x="182278" y="586459"/>
                      </a:lnTo>
                      <a:lnTo>
                        <a:pt x="182278" y="527802"/>
                      </a:lnTo>
                      <a:cubicBezTo>
                        <a:pt x="182278" y="516159"/>
                        <a:pt x="191890" y="505583"/>
                        <a:pt x="202571" y="505583"/>
                      </a:cubicBezTo>
                      <a:cubicBezTo>
                        <a:pt x="213162" y="505583"/>
                        <a:pt x="222774" y="516159"/>
                        <a:pt x="222774" y="527802"/>
                      </a:cubicBezTo>
                      <a:lnTo>
                        <a:pt x="222774" y="586459"/>
                      </a:lnTo>
                      <a:lnTo>
                        <a:pt x="243067" y="586459"/>
                      </a:lnTo>
                      <a:lnTo>
                        <a:pt x="243067" y="527802"/>
                      </a:lnTo>
                      <a:cubicBezTo>
                        <a:pt x="243067" y="516159"/>
                        <a:pt x="252679" y="505583"/>
                        <a:pt x="263271" y="505583"/>
                      </a:cubicBezTo>
                      <a:cubicBezTo>
                        <a:pt x="273862" y="505583"/>
                        <a:pt x="283563" y="516159"/>
                        <a:pt x="283563" y="527802"/>
                      </a:cubicBezTo>
                      <a:lnTo>
                        <a:pt x="283563" y="586459"/>
                      </a:lnTo>
                      <a:lnTo>
                        <a:pt x="303767" y="586459"/>
                      </a:lnTo>
                      <a:lnTo>
                        <a:pt x="303767" y="527802"/>
                      </a:lnTo>
                      <a:cubicBezTo>
                        <a:pt x="303767" y="516159"/>
                        <a:pt x="313468" y="505583"/>
                        <a:pt x="324060" y="505583"/>
                      </a:cubicBezTo>
                      <a:cubicBezTo>
                        <a:pt x="334651" y="505583"/>
                        <a:pt x="344352" y="516159"/>
                        <a:pt x="344352" y="527802"/>
                      </a:cubicBezTo>
                      <a:lnTo>
                        <a:pt x="344352" y="586459"/>
                      </a:lnTo>
                      <a:lnTo>
                        <a:pt x="364556" y="586459"/>
                      </a:lnTo>
                      <a:lnTo>
                        <a:pt x="364556" y="527802"/>
                      </a:lnTo>
                      <a:cubicBezTo>
                        <a:pt x="364556" y="504783"/>
                        <a:pt x="346043" y="485320"/>
                        <a:pt x="324060" y="485320"/>
                      </a:cubicBezTo>
                      <a:cubicBezTo>
                        <a:pt x="312044" y="485320"/>
                        <a:pt x="301186" y="491274"/>
                        <a:pt x="293710" y="500340"/>
                      </a:cubicBezTo>
                      <a:cubicBezTo>
                        <a:pt x="286144" y="491274"/>
                        <a:pt x="275286" y="485320"/>
                        <a:pt x="263271" y="485320"/>
                      </a:cubicBezTo>
                      <a:cubicBezTo>
                        <a:pt x="251255" y="485320"/>
                        <a:pt x="240397" y="491274"/>
                        <a:pt x="232921" y="500340"/>
                      </a:cubicBezTo>
                      <a:cubicBezTo>
                        <a:pt x="225445" y="491274"/>
                        <a:pt x="214586" y="485320"/>
                        <a:pt x="202571" y="485320"/>
                      </a:cubicBezTo>
                      <a:close/>
                      <a:moveTo>
                        <a:pt x="131635" y="374138"/>
                      </a:moveTo>
                      <a:lnTo>
                        <a:pt x="172132" y="374138"/>
                      </a:lnTo>
                      <a:lnTo>
                        <a:pt x="172132" y="424708"/>
                      </a:lnTo>
                      <a:lnTo>
                        <a:pt x="192424" y="424708"/>
                      </a:lnTo>
                      <a:lnTo>
                        <a:pt x="192424" y="374138"/>
                      </a:lnTo>
                      <a:lnTo>
                        <a:pt x="212628" y="374138"/>
                      </a:lnTo>
                      <a:lnTo>
                        <a:pt x="212628" y="424708"/>
                      </a:lnTo>
                      <a:lnTo>
                        <a:pt x="232921" y="424708"/>
                      </a:lnTo>
                      <a:lnTo>
                        <a:pt x="232921" y="374138"/>
                      </a:lnTo>
                      <a:lnTo>
                        <a:pt x="253213" y="374138"/>
                      </a:lnTo>
                      <a:lnTo>
                        <a:pt x="253213" y="424708"/>
                      </a:lnTo>
                      <a:lnTo>
                        <a:pt x="273417" y="424708"/>
                      </a:lnTo>
                      <a:lnTo>
                        <a:pt x="273417" y="374138"/>
                      </a:lnTo>
                      <a:lnTo>
                        <a:pt x="293710" y="374138"/>
                      </a:lnTo>
                      <a:lnTo>
                        <a:pt x="293710" y="424708"/>
                      </a:lnTo>
                      <a:lnTo>
                        <a:pt x="313913" y="424708"/>
                      </a:lnTo>
                      <a:lnTo>
                        <a:pt x="313913" y="374138"/>
                      </a:lnTo>
                      <a:lnTo>
                        <a:pt x="334206" y="374138"/>
                      </a:lnTo>
                      <a:lnTo>
                        <a:pt x="334206" y="424708"/>
                      </a:lnTo>
                      <a:lnTo>
                        <a:pt x="354410" y="424708"/>
                      </a:lnTo>
                      <a:lnTo>
                        <a:pt x="354410" y="374138"/>
                      </a:lnTo>
                      <a:lnTo>
                        <a:pt x="394906" y="374138"/>
                      </a:lnTo>
                      <a:lnTo>
                        <a:pt x="394906" y="424708"/>
                      </a:lnTo>
                      <a:lnTo>
                        <a:pt x="445549" y="424708"/>
                      </a:lnTo>
                      <a:cubicBezTo>
                        <a:pt x="451156" y="424708"/>
                        <a:pt x="455695" y="429240"/>
                        <a:pt x="455695" y="434750"/>
                      </a:cubicBezTo>
                      <a:lnTo>
                        <a:pt x="455695" y="485320"/>
                      </a:lnTo>
                      <a:lnTo>
                        <a:pt x="486045" y="485320"/>
                      </a:lnTo>
                      <a:cubicBezTo>
                        <a:pt x="491652" y="485320"/>
                        <a:pt x="496191" y="489852"/>
                        <a:pt x="496191" y="495452"/>
                      </a:cubicBezTo>
                      <a:lnTo>
                        <a:pt x="496191" y="586459"/>
                      </a:lnTo>
                      <a:lnTo>
                        <a:pt x="516484" y="586459"/>
                      </a:lnTo>
                      <a:cubicBezTo>
                        <a:pt x="522091" y="586459"/>
                        <a:pt x="526630" y="590991"/>
                        <a:pt x="526630" y="596590"/>
                      </a:cubicBezTo>
                      <a:cubicBezTo>
                        <a:pt x="526630" y="602190"/>
                        <a:pt x="522091" y="606722"/>
                        <a:pt x="516484" y="606722"/>
                      </a:cubicBezTo>
                      <a:lnTo>
                        <a:pt x="486045" y="606722"/>
                      </a:lnTo>
                      <a:lnTo>
                        <a:pt x="384849" y="606722"/>
                      </a:lnTo>
                      <a:lnTo>
                        <a:pt x="354410" y="606722"/>
                      </a:lnTo>
                      <a:lnTo>
                        <a:pt x="172132" y="606722"/>
                      </a:lnTo>
                      <a:lnTo>
                        <a:pt x="141782" y="606722"/>
                      </a:lnTo>
                      <a:lnTo>
                        <a:pt x="40496" y="606722"/>
                      </a:lnTo>
                      <a:lnTo>
                        <a:pt x="10146" y="606722"/>
                      </a:lnTo>
                      <a:cubicBezTo>
                        <a:pt x="4539" y="606722"/>
                        <a:pt x="0" y="602190"/>
                        <a:pt x="0" y="596590"/>
                      </a:cubicBezTo>
                      <a:cubicBezTo>
                        <a:pt x="0" y="590991"/>
                        <a:pt x="4539" y="586459"/>
                        <a:pt x="10146" y="586459"/>
                      </a:cubicBezTo>
                      <a:lnTo>
                        <a:pt x="30350" y="586459"/>
                      </a:lnTo>
                      <a:lnTo>
                        <a:pt x="30350" y="495452"/>
                      </a:lnTo>
                      <a:cubicBezTo>
                        <a:pt x="30350" y="489852"/>
                        <a:pt x="34889" y="485320"/>
                        <a:pt x="40496" y="485320"/>
                      </a:cubicBezTo>
                      <a:lnTo>
                        <a:pt x="70935" y="485320"/>
                      </a:lnTo>
                      <a:lnTo>
                        <a:pt x="70935" y="434750"/>
                      </a:lnTo>
                      <a:cubicBezTo>
                        <a:pt x="70935" y="429240"/>
                        <a:pt x="75474" y="424708"/>
                        <a:pt x="80992" y="424708"/>
                      </a:cubicBezTo>
                      <a:lnTo>
                        <a:pt x="131635" y="424708"/>
                      </a:lnTo>
                      <a:close/>
                      <a:moveTo>
                        <a:pt x="354380" y="293270"/>
                      </a:moveTo>
                      <a:lnTo>
                        <a:pt x="394885" y="293270"/>
                      </a:lnTo>
                      <a:lnTo>
                        <a:pt x="394885" y="353886"/>
                      </a:lnTo>
                      <a:lnTo>
                        <a:pt x="354380" y="353886"/>
                      </a:lnTo>
                      <a:close/>
                      <a:moveTo>
                        <a:pt x="313875" y="293270"/>
                      </a:moveTo>
                      <a:lnTo>
                        <a:pt x="334198" y="293270"/>
                      </a:lnTo>
                      <a:lnTo>
                        <a:pt x="334198" y="353886"/>
                      </a:lnTo>
                      <a:lnTo>
                        <a:pt x="313875" y="353886"/>
                      </a:lnTo>
                      <a:close/>
                      <a:moveTo>
                        <a:pt x="273441" y="293270"/>
                      </a:moveTo>
                      <a:lnTo>
                        <a:pt x="293693" y="293270"/>
                      </a:lnTo>
                      <a:lnTo>
                        <a:pt x="293693" y="353886"/>
                      </a:lnTo>
                      <a:lnTo>
                        <a:pt x="273441" y="353886"/>
                      </a:lnTo>
                      <a:close/>
                      <a:moveTo>
                        <a:pt x="232937" y="293270"/>
                      </a:moveTo>
                      <a:lnTo>
                        <a:pt x="253189" y="293270"/>
                      </a:lnTo>
                      <a:lnTo>
                        <a:pt x="253189" y="353886"/>
                      </a:lnTo>
                      <a:lnTo>
                        <a:pt x="232937" y="353886"/>
                      </a:lnTo>
                      <a:close/>
                      <a:moveTo>
                        <a:pt x="192432" y="293270"/>
                      </a:moveTo>
                      <a:lnTo>
                        <a:pt x="212614" y="293270"/>
                      </a:lnTo>
                      <a:lnTo>
                        <a:pt x="212614" y="353886"/>
                      </a:lnTo>
                      <a:lnTo>
                        <a:pt x="192432" y="353886"/>
                      </a:lnTo>
                      <a:close/>
                      <a:moveTo>
                        <a:pt x="131605" y="293270"/>
                      </a:moveTo>
                      <a:lnTo>
                        <a:pt x="172110" y="293270"/>
                      </a:lnTo>
                      <a:lnTo>
                        <a:pt x="172110" y="353886"/>
                      </a:lnTo>
                      <a:lnTo>
                        <a:pt x="131605" y="353886"/>
                      </a:lnTo>
                      <a:close/>
                      <a:moveTo>
                        <a:pt x="354380" y="192150"/>
                      </a:moveTo>
                      <a:lnTo>
                        <a:pt x="394885" y="192150"/>
                      </a:lnTo>
                      <a:lnTo>
                        <a:pt x="394885" y="273018"/>
                      </a:lnTo>
                      <a:lnTo>
                        <a:pt x="354380" y="273018"/>
                      </a:lnTo>
                      <a:close/>
                      <a:moveTo>
                        <a:pt x="313875" y="192150"/>
                      </a:moveTo>
                      <a:lnTo>
                        <a:pt x="334198" y="192150"/>
                      </a:lnTo>
                      <a:lnTo>
                        <a:pt x="334198" y="273018"/>
                      </a:lnTo>
                      <a:lnTo>
                        <a:pt x="313875" y="273018"/>
                      </a:lnTo>
                      <a:close/>
                      <a:moveTo>
                        <a:pt x="273441" y="192150"/>
                      </a:moveTo>
                      <a:lnTo>
                        <a:pt x="293693" y="192150"/>
                      </a:lnTo>
                      <a:lnTo>
                        <a:pt x="293693" y="273018"/>
                      </a:lnTo>
                      <a:lnTo>
                        <a:pt x="273441" y="273018"/>
                      </a:lnTo>
                      <a:close/>
                      <a:moveTo>
                        <a:pt x="232937" y="192150"/>
                      </a:moveTo>
                      <a:lnTo>
                        <a:pt x="253189" y="192150"/>
                      </a:lnTo>
                      <a:lnTo>
                        <a:pt x="253189" y="273018"/>
                      </a:lnTo>
                      <a:lnTo>
                        <a:pt x="232937" y="273018"/>
                      </a:lnTo>
                      <a:close/>
                      <a:moveTo>
                        <a:pt x="192432" y="192150"/>
                      </a:moveTo>
                      <a:lnTo>
                        <a:pt x="212614" y="192150"/>
                      </a:lnTo>
                      <a:lnTo>
                        <a:pt x="212614" y="273018"/>
                      </a:lnTo>
                      <a:lnTo>
                        <a:pt x="192432" y="273018"/>
                      </a:lnTo>
                      <a:close/>
                      <a:moveTo>
                        <a:pt x="131605" y="192150"/>
                      </a:moveTo>
                      <a:lnTo>
                        <a:pt x="172110" y="192150"/>
                      </a:lnTo>
                      <a:lnTo>
                        <a:pt x="172110" y="273018"/>
                      </a:lnTo>
                      <a:lnTo>
                        <a:pt x="131605" y="273018"/>
                      </a:lnTo>
                      <a:close/>
                      <a:moveTo>
                        <a:pt x="263245" y="0"/>
                      </a:moveTo>
                      <a:cubicBezTo>
                        <a:pt x="268853" y="0"/>
                        <a:pt x="273392" y="4533"/>
                        <a:pt x="273392" y="10133"/>
                      </a:cubicBezTo>
                      <a:lnTo>
                        <a:pt x="273392" y="40441"/>
                      </a:lnTo>
                      <a:lnTo>
                        <a:pt x="324036" y="40441"/>
                      </a:lnTo>
                      <a:cubicBezTo>
                        <a:pt x="329644" y="40441"/>
                        <a:pt x="334183" y="44974"/>
                        <a:pt x="334183" y="50574"/>
                      </a:cubicBezTo>
                      <a:lnTo>
                        <a:pt x="334183" y="80883"/>
                      </a:lnTo>
                      <a:lnTo>
                        <a:pt x="364534" y="80883"/>
                      </a:lnTo>
                      <a:cubicBezTo>
                        <a:pt x="370142" y="80883"/>
                        <a:pt x="374681" y="85416"/>
                        <a:pt x="374681" y="91015"/>
                      </a:cubicBezTo>
                      <a:lnTo>
                        <a:pt x="374681" y="121324"/>
                      </a:lnTo>
                      <a:lnTo>
                        <a:pt x="384828" y="121324"/>
                      </a:lnTo>
                      <a:cubicBezTo>
                        <a:pt x="390346" y="121324"/>
                        <a:pt x="394885" y="125857"/>
                        <a:pt x="394885" y="131457"/>
                      </a:cubicBezTo>
                      <a:lnTo>
                        <a:pt x="394885" y="171898"/>
                      </a:lnTo>
                      <a:lnTo>
                        <a:pt x="354387" y="171898"/>
                      </a:lnTo>
                      <a:lnTo>
                        <a:pt x="354387" y="141589"/>
                      </a:lnTo>
                      <a:lnTo>
                        <a:pt x="334183" y="141589"/>
                      </a:lnTo>
                      <a:lnTo>
                        <a:pt x="334183" y="171898"/>
                      </a:lnTo>
                      <a:lnTo>
                        <a:pt x="313890" y="171898"/>
                      </a:lnTo>
                      <a:lnTo>
                        <a:pt x="313890" y="141589"/>
                      </a:lnTo>
                      <a:lnTo>
                        <a:pt x="293685" y="141589"/>
                      </a:lnTo>
                      <a:lnTo>
                        <a:pt x="293685" y="171898"/>
                      </a:lnTo>
                      <a:lnTo>
                        <a:pt x="273392" y="171898"/>
                      </a:lnTo>
                      <a:lnTo>
                        <a:pt x="273392" y="141589"/>
                      </a:lnTo>
                      <a:lnTo>
                        <a:pt x="253188" y="141589"/>
                      </a:lnTo>
                      <a:lnTo>
                        <a:pt x="253188" y="171898"/>
                      </a:lnTo>
                      <a:lnTo>
                        <a:pt x="232894" y="171898"/>
                      </a:lnTo>
                      <a:lnTo>
                        <a:pt x="232894" y="141589"/>
                      </a:lnTo>
                      <a:lnTo>
                        <a:pt x="212601" y="141589"/>
                      </a:lnTo>
                      <a:lnTo>
                        <a:pt x="212601" y="171898"/>
                      </a:lnTo>
                      <a:lnTo>
                        <a:pt x="192396" y="171898"/>
                      </a:lnTo>
                      <a:lnTo>
                        <a:pt x="192396" y="141589"/>
                      </a:lnTo>
                      <a:lnTo>
                        <a:pt x="172103" y="141589"/>
                      </a:lnTo>
                      <a:lnTo>
                        <a:pt x="172103" y="171898"/>
                      </a:lnTo>
                      <a:lnTo>
                        <a:pt x="131605" y="171898"/>
                      </a:lnTo>
                      <a:lnTo>
                        <a:pt x="131605" y="131457"/>
                      </a:lnTo>
                      <a:cubicBezTo>
                        <a:pt x="131605" y="125857"/>
                        <a:pt x="136145" y="121324"/>
                        <a:pt x="141752" y="121324"/>
                      </a:cubicBezTo>
                      <a:lnTo>
                        <a:pt x="151899" y="121324"/>
                      </a:lnTo>
                      <a:lnTo>
                        <a:pt x="151899" y="91015"/>
                      </a:lnTo>
                      <a:cubicBezTo>
                        <a:pt x="151899" y="85416"/>
                        <a:pt x="156438" y="80883"/>
                        <a:pt x="162045" y="80883"/>
                      </a:cubicBezTo>
                      <a:lnTo>
                        <a:pt x="192396" y="80883"/>
                      </a:lnTo>
                      <a:lnTo>
                        <a:pt x="192396" y="50574"/>
                      </a:lnTo>
                      <a:cubicBezTo>
                        <a:pt x="192396" y="44974"/>
                        <a:pt x="196936" y="40441"/>
                        <a:pt x="202543" y="40441"/>
                      </a:cubicBezTo>
                      <a:lnTo>
                        <a:pt x="253188" y="40441"/>
                      </a:lnTo>
                      <a:lnTo>
                        <a:pt x="253188" y="10133"/>
                      </a:lnTo>
                      <a:cubicBezTo>
                        <a:pt x="253188" y="4533"/>
                        <a:pt x="257727" y="0"/>
                        <a:pt x="263245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534" name="î$ḻïḓé">
                <a:extLst>
                  <a:ext uri="{FF2B5EF4-FFF2-40B4-BE49-F238E27FC236}">
                    <a16:creationId xmlns:a16="http://schemas.microsoft.com/office/drawing/2014/main" id="{4D30761A-0AC8-4B80-ACAC-CDD16F8ABDA4}"/>
                  </a:ext>
                </a:extLst>
              </p:cNvPr>
              <p:cNvGrpSpPr/>
              <p:nvPr/>
            </p:nvGrpSpPr>
            <p:grpSpPr>
              <a:xfrm>
                <a:off x="665729" y="4922760"/>
                <a:ext cx="2434088" cy="1071640"/>
                <a:chOff x="2082804" y="1329817"/>
                <a:chExt cx="2334087" cy="1071640"/>
              </a:xfrm>
            </p:grpSpPr>
            <p:sp>
              <p:nvSpPr>
                <p:cNvPr id="538" name="iṩ1îďe">
                  <a:extLst>
                    <a:ext uri="{FF2B5EF4-FFF2-40B4-BE49-F238E27FC236}">
                      <a16:creationId xmlns:a16="http://schemas.microsoft.com/office/drawing/2014/main" id="{B79EEEA1-3D82-40CA-BA38-D983CB5B735A}"/>
                    </a:ext>
                  </a:extLst>
                </p:cNvPr>
                <p:cNvSpPr txBox="1"/>
                <p:nvPr/>
              </p:nvSpPr>
              <p:spPr>
                <a:xfrm>
                  <a:off x="2082804" y="1677152"/>
                  <a:ext cx="2334087" cy="724305"/>
                </a:xfrm>
                <a:prstGeom prst="rect">
                  <a:avLst/>
                </a:prstGeom>
                <a:noFill/>
              </p:spPr>
              <p:txBody>
                <a:bodyPr wrap="square" lIns="144000" tIns="0" rIns="144000" bIns="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 algn="ctr" defTabSz="914400">
                    <a:lnSpc>
                      <a:spcPct val="120000"/>
                    </a:lnSpc>
                    <a:spcBef>
                      <a:spcPct val="0"/>
                    </a:spcBef>
                    <a:defRPr/>
                  </a:pPr>
                  <a:r>
                    <a:rPr lang="en-US" altLang="zh-CN" sz="1100" dirty="0">
                      <a:solidFill>
                        <a:schemeClr val="dk1">
                          <a:lumMod val="100000"/>
                        </a:schemeClr>
                      </a:solidFill>
                    </a:rPr>
                    <a:t>cat output/*</a:t>
                  </a:r>
                </a:p>
                <a:p>
                  <a:pPr lvl="0" algn="ctr" defTabSz="914400">
                    <a:lnSpc>
                      <a:spcPct val="120000"/>
                    </a:lnSpc>
                    <a:spcBef>
                      <a:spcPct val="0"/>
                    </a:spcBef>
                    <a:defRPr/>
                  </a:pPr>
                  <a:r>
                    <a:rPr lang="en-US" altLang="zh-CN" sz="1100" dirty="0">
                      <a:solidFill>
                        <a:schemeClr val="dk1">
                          <a:lumMod val="100000"/>
                        </a:schemeClr>
                      </a:solidFill>
                    </a:rPr>
                    <a:t>output</a:t>
                  </a:r>
                  <a:r>
                    <a:rPr lang="zh-CN" altLang="en-US" sz="1100" dirty="0">
                      <a:solidFill>
                        <a:schemeClr val="dk1">
                          <a:lumMod val="100000"/>
                        </a:schemeClr>
                      </a:solidFill>
                    </a:rPr>
                    <a:t>不需要自己建立</a:t>
                  </a:r>
                </a:p>
              </p:txBody>
            </p:sp>
            <p:sp>
              <p:nvSpPr>
                <p:cNvPr id="539" name="ïṥḷîďe">
                  <a:extLst>
                    <a:ext uri="{FF2B5EF4-FFF2-40B4-BE49-F238E27FC236}">
                      <a16:creationId xmlns:a16="http://schemas.microsoft.com/office/drawing/2014/main" id="{1C071A21-FAC4-4340-99EF-936A8334A3F5}"/>
                    </a:ext>
                  </a:extLst>
                </p:cNvPr>
                <p:cNvSpPr/>
                <p:nvPr/>
              </p:nvSpPr>
              <p:spPr>
                <a:xfrm>
                  <a:off x="2082804" y="1329817"/>
                  <a:ext cx="2334087" cy="335557"/>
                </a:xfrm>
                <a:prstGeom prst="rect">
                  <a:avLst/>
                </a:prstGeom>
              </p:spPr>
              <p:txBody>
                <a:bodyPr wrap="none" lIns="144000" tIns="0" rIns="144000" bIns="0" anchor="t" anchorCtr="0">
                  <a:normAutofit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zh-CN" altLang="en-US" b="1" dirty="0"/>
                    <a:t>查看运行结果</a:t>
                  </a:r>
                </a:p>
              </p:txBody>
            </p:sp>
          </p:grpSp>
          <p:grpSp>
            <p:nvGrpSpPr>
              <p:cNvPr id="535" name="iŝ1ïďè">
                <a:extLst>
                  <a:ext uri="{FF2B5EF4-FFF2-40B4-BE49-F238E27FC236}">
                    <a16:creationId xmlns:a16="http://schemas.microsoft.com/office/drawing/2014/main" id="{9CADAA9B-F92D-4089-BA69-1A23AA3B9CDA}"/>
                  </a:ext>
                </a:extLst>
              </p:cNvPr>
              <p:cNvGrpSpPr/>
              <p:nvPr/>
            </p:nvGrpSpPr>
            <p:grpSpPr>
              <a:xfrm>
                <a:off x="1471472" y="3889242"/>
                <a:ext cx="822599" cy="822598"/>
                <a:chOff x="1471472" y="2647236"/>
                <a:chExt cx="822599" cy="822598"/>
              </a:xfrm>
            </p:grpSpPr>
            <p:sp>
              <p:nvSpPr>
                <p:cNvPr id="536" name="îŝļíḍe">
                  <a:extLst>
                    <a:ext uri="{FF2B5EF4-FFF2-40B4-BE49-F238E27FC236}">
                      <a16:creationId xmlns:a16="http://schemas.microsoft.com/office/drawing/2014/main" id="{63A4F939-33B6-453C-9595-1204A649151B}"/>
                    </a:ext>
                  </a:extLst>
                </p:cNvPr>
                <p:cNvSpPr/>
                <p:nvPr/>
              </p:nvSpPr>
              <p:spPr>
                <a:xfrm>
                  <a:off x="1471472" y="2647236"/>
                  <a:ext cx="822599" cy="822598"/>
                </a:xfrm>
                <a:prstGeom prst="ellipse">
                  <a:avLst/>
                </a:prstGeom>
                <a:solidFill>
                  <a:schemeClr val="accent3"/>
                </a:solidFill>
                <a:ln w="571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dirty="0"/>
                </a:p>
              </p:txBody>
            </p:sp>
            <p:sp>
              <p:nvSpPr>
                <p:cNvPr id="537" name="íṡľiḍê">
                  <a:extLst>
                    <a:ext uri="{FF2B5EF4-FFF2-40B4-BE49-F238E27FC236}">
                      <a16:creationId xmlns:a16="http://schemas.microsoft.com/office/drawing/2014/main" id="{F6FD7CA1-8A7B-48E1-8EA8-226CE13B7F29}"/>
                    </a:ext>
                  </a:extLst>
                </p:cNvPr>
                <p:cNvSpPr/>
                <p:nvPr/>
              </p:nvSpPr>
              <p:spPr bwMode="auto">
                <a:xfrm>
                  <a:off x="1638297" y="2822206"/>
                  <a:ext cx="488946" cy="472655"/>
                </a:xfrm>
                <a:custGeom>
                  <a:avLst/>
                  <a:gdLst>
                    <a:gd name="T0" fmla="*/ 3079 w 3534"/>
                    <a:gd name="T1" fmla="*/ 342 h 3421"/>
                    <a:gd name="T2" fmla="*/ 2254 w 3534"/>
                    <a:gd name="T3" fmla="*/ 0 h 3421"/>
                    <a:gd name="T4" fmla="*/ 1428 w 3534"/>
                    <a:gd name="T5" fmla="*/ 342 h 3421"/>
                    <a:gd name="T6" fmla="*/ 1086 w 3534"/>
                    <a:gd name="T7" fmla="*/ 1167 h 3421"/>
                    <a:gd name="T8" fmla="*/ 1179 w 3534"/>
                    <a:gd name="T9" fmla="*/ 1625 h 3421"/>
                    <a:gd name="T10" fmla="*/ 0 w 3534"/>
                    <a:gd name="T11" fmla="*/ 2803 h 3421"/>
                    <a:gd name="T12" fmla="*/ 618 w 3534"/>
                    <a:gd name="T13" fmla="*/ 3421 h 3421"/>
                    <a:gd name="T14" fmla="*/ 1797 w 3534"/>
                    <a:gd name="T15" fmla="*/ 2242 h 3421"/>
                    <a:gd name="T16" fmla="*/ 2254 w 3534"/>
                    <a:gd name="T17" fmla="*/ 2335 h 3421"/>
                    <a:gd name="T18" fmla="*/ 3079 w 3534"/>
                    <a:gd name="T19" fmla="*/ 1993 h 3421"/>
                    <a:gd name="T20" fmla="*/ 3079 w 3534"/>
                    <a:gd name="T21" fmla="*/ 342 h 3421"/>
                    <a:gd name="T22" fmla="*/ 3079 w 3534"/>
                    <a:gd name="T23" fmla="*/ 342 h 3421"/>
                    <a:gd name="T24" fmla="*/ 2938 w 3534"/>
                    <a:gd name="T25" fmla="*/ 1851 h 3421"/>
                    <a:gd name="T26" fmla="*/ 2254 w 3534"/>
                    <a:gd name="T27" fmla="*/ 2135 h 3421"/>
                    <a:gd name="T28" fmla="*/ 1762 w 3534"/>
                    <a:gd name="T29" fmla="*/ 2001 h 3421"/>
                    <a:gd name="T30" fmla="*/ 1695 w 3534"/>
                    <a:gd name="T31" fmla="*/ 1961 h 3421"/>
                    <a:gd name="T32" fmla="*/ 1473 w 3534"/>
                    <a:gd name="T33" fmla="*/ 2183 h 3421"/>
                    <a:gd name="T34" fmla="*/ 1523 w 3534"/>
                    <a:gd name="T35" fmla="*/ 2233 h 3421"/>
                    <a:gd name="T36" fmla="*/ 618 w 3534"/>
                    <a:gd name="T37" fmla="*/ 3138 h 3421"/>
                    <a:gd name="T38" fmla="*/ 283 w 3534"/>
                    <a:gd name="T39" fmla="*/ 2803 h 3421"/>
                    <a:gd name="T40" fmla="*/ 1188 w 3534"/>
                    <a:gd name="T41" fmla="*/ 1898 h 3421"/>
                    <a:gd name="T42" fmla="*/ 1238 w 3534"/>
                    <a:gd name="T43" fmla="*/ 1948 h 3421"/>
                    <a:gd name="T44" fmla="*/ 1460 w 3534"/>
                    <a:gd name="T45" fmla="*/ 1726 h 3421"/>
                    <a:gd name="T46" fmla="*/ 1420 w 3534"/>
                    <a:gd name="T47" fmla="*/ 1659 h 3421"/>
                    <a:gd name="T48" fmla="*/ 1286 w 3534"/>
                    <a:gd name="T49" fmla="*/ 1167 h 3421"/>
                    <a:gd name="T50" fmla="*/ 1570 w 3534"/>
                    <a:gd name="T51" fmla="*/ 483 h 3421"/>
                    <a:gd name="T52" fmla="*/ 2254 w 3534"/>
                    <a:gd name="T53" fmla="*/ 200 h 3421"/>
                    <a:gd name="T54" fmla="*/ 2938 w 3534"/>
                    <a:gd name="T55" fmla="*/ 483 h 3421"/>
                    <a:gd name="T56" fmla="*/ 2938 w 3534"/>
                    <a:gd name="T57" fmla="*/ 1851 h 3421"/>
                    <a:gd name="T58" fmla="*/ 2254 w 3534"/>
                    <a:gd name="T59" fmla="*/ 474 h 3421"/>
                    <a:gd name="T60" fmla="*/ 2744 w 3534"/>
                    <a:gd name="T61" fmla="*/ 677 h 3421"/>
                    <a:gd name="T62" fmla="*/ 2602 w 3534"/>
                    <a:gd name="T63" fmla="*/ 819 h 3421"/>
                    <a:gd name="T64" fmla="*/ 2571 w 3534"/>
                    <a:gd name="T65" fmla="*/ 790 h 3421"/>
                    <a:gd name="T66" fmla="*/ 2254 w 3534"/>
                    <a:gd name="T67" fmla="*/ 674 h 3421"/>
                    <a:gd name="T68" fmla="*/ 1905 w 3534"/>
                    <a:gd name="T69" fmla="*/ 819 h 3421"/>
                    <a:gd name="T70" fmla="*/ 1762 w 3534"/>
                    <a:gd name="T71" fmla="*/ 1125 h 3421"/>
                    <a:gd name="T72" fmla="*/ 1761 w 3534"/>
                    <a:gd name="T73" fmla="*/ 1167 h 3421"/>
                    <a:gd name="T74" fmla="*/ 1561 w 3534"/>
                    <a:gd name="T75" fmla="*/ 1167 h 3421"/>
                    <a:gd name="T76" fmla="*/ 1764 w 3534"/>
                    <a:gd name="T77" fmla="*/ 677 h 3421"/>
                    <a:gd name="T78" fmla="*/ 2254 w 3534"/>
                    <a:gd name="T79" fmla="*/ 474 h 34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3534" h="3421">
                      <a:moveTo>
                        <a:pt x="3079" y="342"/>
                      </a:moveTo>
                      <a:cubicBezTo>
                        <a:pt x="2859" y="121"/>
                        <a:pt x="2565" y="0"/>
                        <a:pt x="2254" y="0"/>
                      </a:cubicBezTo>
                      <a:cubicBezTo>
                        <a:pt x="1942" y="0"/>
                        <a:pt x="1649" y="121"/>
                        <a:pt x="1428" y="342"/>
                      </a:cubicBezTo>
                      <a:cubicBezTo>
                        <a:pt x="1208" y="562"/>
                        <a:pt x="1086" y="856"/>
                        <a:pt x="1086" y="1167"/>
                      </a:cubicBezTo>
                      <a:cubicBezTo>
                        <a:pt x="1086" y="1325"/>
                        <a:pt x="1118" y="1481"/>
                        <a:pt x="1179" y="1625"/>
                      </a:cubicBezTo>
                      <a:lnTo>
                        <a:pt x="0" y="2803"/>
                      </a:lnTo>
                      <a:lnTo>
                        <a:pt x="618" y="3421"/>
                      </a:lnTo>
                      <a:lnTo>
                        <a:pt x="1797" y="2242"/>
                      </a:lnTo>
                      <a:cubicBezTo>
                        <a:pt x="1940" y="2303"/>
                        <a:pt x="2096" y="2335"/>
                        <a:pt x="2254" y="2335"/>
                      </a:cubicBezTo>
                      <a:cubicBezTo>
                        <a:pt x="2565" y="2335"/>
                        <a:pt x="2859" y="2213"/>
                        <a:pt x="3079" y="1993"/>
                      </a:cubicBezTo>
                      <a:cubicBezTo>
                        <a:pt x="3534" y="1538"/>
                        <a:pt x="3534" y="797"/>
                        <a:pt x="3079" y="342"/>
                      </a:cubicBezTo>
                      <a:lnTo>
                        <a:pt x="3079" y="342"/>
                      </a:lnTo>
                      <a:close/>
                      <a:moveTo>
                        <a:pt x="2938" y="1851"/>
                      </a:moveTo>
                      <a:cubicBezTo>
                        <a:pt x="2755" y="2034"/>
                        <a:pt x="2512" y="2135"/>
                        <a:pt x="2254" y="2135"/>
                      </a:cubicBezTo>
                      <a:cubicBezTo>
                        <a:pt x="2080" y="2135"/>
                        <a:pt x="1910" y="2089"/>
                        <a:pt x="1762" y="2001"/>
                      </a:cubicBezTo>
                      <a:lnTo>
                        <a:pt x="1695" y="1961"/>
                      </a:lnTo>
                      <a:lnTo>
                        <a:pt x="1473" y="2183"/>
                      </a:lnTo>
                      <a:lnTo>
                        <a:pt x="1523" y="2233"/>
                      </a:lnTo>
                      <a:lnTo>
                        <a:pt x="618" y="3138"/>
                      </a:lnTo>
                      <a:lnTo>
                        <a:pt x="283" y="2803"/>
                      </a:lnTo>
                      <a:lnTo>
                        <a:pt x="1188" y="1898"/>
                      </a:lnTo>
                      <a:lnTo>
                        <a:pt x="1238" y="1948"/>
                      </a:lnTo>
                      <a:lnTo>
                        <a:pt x="1460" y="1726"/>
                      </a:lnTo>
                      <a:lnTo>
                        <a:pt x="1420" y="1659"/>
                      </a:lnTo>
                      <a:cubicBezTo>
                        <a:pt x="1332" y="1511"/>
                        <a:pt x="1286" y="1341"/>
                        <a:pt x="1286" y="1167"/>
                      </a:cubicBezTo>
                      <a:cubicBezTo>
                        <a:pt x="1286" y="909"/>
                        <a:pt x="1387" y="666"/>
                        <a:pt x="1570" y="483"/>
                      </a:cubicBezTo>
                      <a:cubicBezTo>
                        <a:pt x="1752" y="301"/>
                        <a:pt x="1995" y="200"/>
                        <a:pt x="2254" y="200"/>
                      </a:cubicBezTo>
                      <a:cubicBezTo>
                        <a:pt x="2512" y="200"/>
                        <a:pt x="2755" y="301"/>
                        <a:pt x="2938" y="483"/>
                      </a:cubicBezTo>
                      <a:cubicBezTo>
                        <a:pt x="3315" y="861"/>
                        <a:pt x="3315" y="1474"/>
                        <a:pt x="2938" y="1851"/>
                      </a:cubicBezTo>
                      <a:close/>
                      <a:moveTo>
                        <a:pt x="2254" y="474"/>
                      </a:moveTo>
                      <a:cubicBezTo>
                        <a:pt x="2439" y="474"/>
                        <a:pt x="2613" y="546"/>
                        <a:pt x="2744" y="677"/>
                      </a:cubicBezTo>
                      <a:lnTo>
                        <a:pt x="2602" y="819"/>
                      </a:lnTo>
                      <a:cubicBezTo>
                        <a:pt x="2592" y="809"/>
                        <a:pt x="2582" y="799"/>
                        <a:pt x="2571" y="790"/>
                      </a:cubicBezTo>
                      <a:cubicBezTo>
                        <a:pt x="2482" y="715"/>
                        <a:pt x="2371" y="674"/>
                        <a:pt x="2254" y="674"/>
                      </a:cubicBezTo>
                      <a:cubicBezTo>
                        <a:pt x="2122" y="674"/>
                        <a:pt x="1998" y="726"/>
                        <a:pt x="1905" y="819"/>
                      </a:cubicBezTo>
                      <a:cubicBezTo>
                        <a:pt x="1822" y="902"/>
                        <a:pt x="1772" y="1009"/>
                        <a:pt x="1762" y="1125"/>
                      </a:cubicBezTo>
                      <a:cubicBezTo>
                        <a:pt x="1761" y="1139"/>
                        <a:pt x="1761" y="1153"/>
                        <a:pt x="1761" y="1167"/>
                      </a:cubicBezTo>
                      <a:lnTo>
                        <a:pt x="1561" y="1167"/>
                      </a:lnTo>
                      <a:cubicBezTo>
                        <a:pt x="1561" y="982"/>
                        <a:pt x="1633" y="808"/>
                        <a:pt x="1764" y="677"/>
                      </a:cubicBezTo>
                      <a:cubicBezTo>
                        <a:pt x="1894" y="547"/>
                        <a:pt x="2069" y="474"/>
                        <a:pt x="2254" y="47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</p:grpSp>
        <p:cxnSp>
          <p:nvCxnSpPr>
            <p:cNvPr id="518" name="直接连接符 517">
              <a:extLst>
                <a:ext uri="{FF2B5EF4-FFF2-40B4-BE49-F238E27FC236}">
                  <a16:creationId xmlns:a16="http://schemas.microsoft.com/office/drawing/2014/main" id="{87D67371-BDA5-4F7D-B6F8-B33E85A83484}"/>
                </a:ext>
              </a:extLst>
            </p:cNvPr>
            <p:cNvCxnSpPr/>
            <p:nvPr/>
          </p:nvCxnSpPr>
          <p:spPr>
            <a:xfrm>
              <a:off x="8899525" y="3473973"/>
              <a:ext cx="261937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dash"/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19" name="îślîďé">
              <a:extLst>
                <a:ext uri="{FF2B5EF4-FFF2-40B4-BE49-F238E27FC236}">
                  <a16:creationId xmlns:a16="http://schemas.microsoft.com/office/drawing/2014/main" id="{80C4A441-EA8F-4804-9E4B-B1A97FEF1A94}"/>
                </a:ext>
              </a:extLst>
            </p:cNvPr>
            <p:cNvGrpSpPr/>
            <p:nvPr/>
          </p:nvGrpSpPr>
          <p:grpSpPr>
            <a:xfrm>
              <a:off x="8895329" y="2281160"/>
              <a:ext cx="2434088" cy="1071640"/>
              <a:chOff x="2082804" y="1329817"/>
              <a:chExt cx="2334087" cy="1071640"/>
            </a:xfrm>
          </p:grpSpPr>
          <p:sp>
            <p:nvSpPr>
              <p:cNvPr id="529" name="ïṥľíḑê">
                <a:extLst>
                  <a:ext uri="{FF2B5EF4-FFF2-40B4-BE49-F238E27FC236}">
                    <a16:creationId xmlns:a16="http://schemas.microsoft.com/office/drawing/2014/main" id="{2E3F38CC-66CC-45D2-B411-BBD6F2798DA1}"/>
                  </a:ext>
                </a:extLst>
              </p:cNvPr>
              <p:cNvSpPr txBox="1"/>
              <p:nvPr/>
            </p:nvSpPr>
            <p:spPr>
              <a:xfrm>
                <a:off x="2082804" y="1677152"/>
                <a:ext cx="2334087" cy="72430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 anchorCtr="0">
                <a:normAutofit fontScale="850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 defTabSz="914400">
                  <a:lnSpc>
                    <a:spcPct val="120000"/>
                  </a:lnSpc>
                  <a:spcBef>
                    <a:spcPct val="0"/>
                  </a:spcBef>
                  <a:defRPr/>
                </a:pPr>
                <a:r>
                  <a:rPr lang="zh-CN" altLang="en-US" sz="1100" dirty="0">
                    <a:solidFill>
                      <a:schemeClr val="dk1">
                        <a:lumMod val="100000"/>
                      </a:schemeClr>
                    </a:solidFill>
                  </a:rPr>
                  <a:t>命令格式为</a:t>
                </a:r>
                <a:endParaRPr lang="en-US" altLang="zh-CN" sz="1100" dirty="0">
                  <a:solidFill>
                    <a:schemeClr val="dk1">
                      <a:lumMod val="100000"/>
                    </a:schemeClr>
                  </a:solidFill>
                </a:endParaRPr>
              </a:p>
              <a:p>
                <a:pPr lvl="0" algn="ctr" defTabSz="914400">
                  <a:lnSpc>
                    <a:spcPct val="120000"/>
                  </a:lnSpc>
                  <a:spcBef>
                    <a:spcPct val="0"/>
                  </a:spcBef>
                  <a:defRPr/>
                </a:pPr>
                <a:r>
                  <a:rPr lang="en-US" altLang="zh-CN" sz="1100" dirty="0" err="1">
                    <a:solidFill>
                      <a:schemeClr val="dk1">
                        <a:lumMod val="100000"/>
                      </a:schemeClr>
                    </a:solidFill>
                  </a:rPr>
                  <a:t>hadoop</a:t>
                </a:r>
                <a:r>
                  <a:rPr lang="en-US" altLang="zh-CN" sz="1100" dirty="0">
                    <a:solidFill>
                      <a:schemeClr val="dk1">
                        <a:lumMod val="100000"/>
                      </a:schemeClr>
                    </a:solidFill>
                  </a:rPr>
                  <a:t> jar </a:t>
                </a:r>
                <a:r>
                  <a:rPr lang="zh-CN" altLang="en-US" sz="1100" dirty="0">
                    <a:solidFill>
                      <a:schemeClr val="dk1">
                        <a:lumMod val="100000"/>
                      </a:schemeClr>
                    </a:solidFill>
                  </a:rPr>
                  <a:t>包所在路径 </a:t>
                </a:r>
                <a:r>
                  <a:rPr lang="en-US" altLang="zh-CN" sz="1100" dirty="0">
                    <a:solidFill>
                      <a:schemeClr val="dk1">
                        <a:lumMod val="100000"/>
                      </a:schemeClr>
                    </a:solidFill>
                  </a:rPr>
                  <a:t>input (output) (…)</a:t>
                </a:r>
                <a:endParaRPr lang="zh-CN" altLang="en-US" sz="1100" dirty="0">
                  <a:solidFill>
                    <a:schemeClr val="dk1">
                      <a:lumMod val="100000"/>
                    </a:schemeClr>
                  </a:solidFill>
                </a:endParaRPr>
              </a:p>
            </p:txBody>
          </p:sp>
          <p:sp>
            <p:nvSpPr>
              <p:cNvPr id="530" name="îṡḻïḑé">
                <a:extLst>
                  <a:ext uri="{FF2B5EF4-FFF2-40B4-BE49-F238E27FC236}">
                    <a16:creationId xmlns:a16="http://schemas.microsoft.com/office/drawing/2014/main" id="{0466BD4D-7AEA-48EF-BA5A-B1B8D49A945E}"/>
                  </a:ext>
                </a:extLst>
              </p:cNvPr>
              <p:cNvSpPr/>
              <p:nvPr/>
            </p:nvSpPr>
            <p:spPr>
              <a:xfrm>
                <a:off x="2082804" y="1329817"/>
                <a:ext cx="2334087" cy="335557"/>
              </a:xfrm>
              <a:prstGeom prst="rect">
                <a:avLst/>
              </a:prstGeom>
            </p:spPr>
            <p:txBody>
              <a:bodyPr wrap="square" lIns="91440" tIns="45720" rIns="91440" bIns="45720" anchor="t" anchorCtr="0">
                <a:normAutofit fontScale="7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b="1" dirty="0"/>
                  <a:t>运行实例</a:t>
                </a:r>
              </a:p>
            </p:txBody>
          </p:sp>
        </p:grpSp>
        <p:grpSp>
          <p:nvGrpSpPr>
            <p:cNvPr id="520" name="íşļîḍe">
              <a:extLst>
                <a:ext uri="{FF2B5EF4-FFF2-40B4-BE49-F238E27FC236}">
                  <a16:creationId xmlns:a16="http://schemas.microsoft.com/office/drawing/2014/main" id="{1B50F632-B3CB-4826-A20A-756B4FBF33BA}"/>
                </a:ext>
              </a:extLst>
            </p:cNvPr>
            <p:cNvGrpSpPr/>
            <p:nvPr/>
          </p:nvGrpSpPr>
          <p:grpSpPr>
            <a:xfrm>
              <a:off x="9701072" y="1247642"/>
              <a:ext cx="822599" cy="822598"/>
              <a:chOff x="1471472" y="2647236"/>
              <a:chExt cx="822599" cy="822598"/>
            </a:xfrm>
          </p:grpSpPr>
          <p:sp>
            <p:nvSpPr>
              <p:cNvPr id="527" name="iš1îde">
                <a:extLst>
                  <a:ext uri="{FF2B5EF4-FFF2-40B4-BE49-F238E27FC236}">
                    <a16:creationId xmlns:a16="http://schemas.microsoft.com/office/drawing/2014/main" id="{1BD156CA-B71E-4E9C-9662-D3F967C191B5}"/>
                  </a:ext>
                </a:extLst>
              </p:cNvPr>
              <p:cNvSpPr/>
              <p:nvPr/>
            </p:nvSpPr>
            <p:spPr>
              <a:xfrm>
                <a:off x="1471472" y="2647236"/>
                <a:ext cx="822599" cy="822598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528" name="îsľïdê">
                <a:extLst>
                  <a:ext uri="{FF2B5EF4-FFF2-40B4-BE49-F238E27FC236}">
                    <a16:creationId xmlns:a16="http://schemas.microsoft.com/office/drawing/2014/main" id="{032A7234-52DF-4773-881C-5B77CAD0DF89}"/>
                  </a:ext>
                </a:extLst>
              </p:cNvPr>
              <p:cNvSpPr/>
              <p:nvPr/>
            </p:nvSpPr>
            <p:spPr bwMode="auto">
              <a:xfrm>
                <a:off x="1638293" y="2814401"/>
                <a:ext cx="488946" cy="488266"/>
              </a:xfrm>
              <a:custGeom>
                <a:avLst/>
                <a:gdLst>
                  <a:gd name="connsiteX0" fmla="*/ 206311 w 609050"/>
                  <a:gd name="connsiteY0" fmla="*/ 155548 h 608203"/>
                  <a:gd name="connsiteX1" fmla="*/ 458637 w 609050"/>
                  <a:gd name="connsiteY1" fmla="*/ 286107 h 608203"/>
                  <a:gd name="connsiteX2" fmla="*/ 469542 w 609050"/>
                  <a:gd name="connsiteY2" fmla="*/ 304087 h 608203"/>
                  <a:gd name="connsiteX3" fmla="*/ 458637 w 609050"/>
                  <a:gd name="connsiteY3" fmla="*/ 322068 h 608203"/>
                  <a:gd name="connsiteX4" fmla="*/ 206311 w 609050"/>
                  <a:gd name="connsiteY4" fmla="*/ 452627 h 608203"/>
                  <a:gd name="connsiteX5" fmla="*/ 186501 w 609050"/>
                  <a:gd name="connsiteY5" fmla="*/ 451927 h 608203"/>
                  <a:gd name="connsiteX6" fmla="*/ 176696 w 609050"/>
                  <a:gd name="connsiteY6" fmla="*/ 434646 h 608203"/>
                  <a:gd name="connsiteX7" fmla="*/ 176696 w 609050"/>
                  <a:gd name="connsiteY7" fmla="*/ 173628 h 608203"/>
                  <a:gd name="connsiteX8" fmla="*/ 186501 w 609050"/>
                  <a:gd name="connsiteY8" fmla="*/ 156247 h 608203"/>
                  <a:gd name="connsiteX9" fmla="*/ 206311 w 609050"/>
                  <a:gd name="connsiteY9" fmla="*/ 155548 h 608203"/>
                  <a:gd name="connsiteX10" fmla="*/ 304525 w 609050"/>
                  <a:gd name="connsiteY10" fmla="*/ 60840 h 608203"/>
                  <a:gd name="connsiteX11" fmla="*/ 60925 w 609050"/>
                  <a:gd name="connsiteY11" fmla="*/ 304102 h 608203"/>
                  <a:gd name="connsiteX12" fmla="*/ 304525 w 609050"/>
                  <a:gd name="connsiteY12" fmla="*/ 547463 h 608203"/>
                  <a:gd name="connsiteX13" fmla="*/ 548225 w 609050"/>
                  <a:gd name="connsiteY13" fmla="*/ 304102 h 608203"/>
                  <a:gd name="connsiteX14" fmla="*/ 304525 w 609050"/>
                  <a:gd name="connsiteY14" fmla="*/ 60840 h 608203"/>
                  <a:gd name="connsiteX15" fmla="*/ 304525 w 609050"/>
                  <a:gd name="connsiteY15" fmla="*/ 0 h 608203"/>
                  <a:gd name="connsiteX16" fmla="*/ 609050 w 609050"/>
                  <a:gd name="connsiteY16" fmla="*/ 304102 h 608203"/>
                  <a:gd name="connsiteX17" fmla="*/ 304525 w 609050"/>
                  <a:gd name="connsiteY17" fmla="*/ 608203 h 608203"/>
                  <a:gd name="connsiteX18" fmla="*/ 0 w 609050"/>
                  <a:gd name="connsiteY18" fmla="*/ 304102 h 608203"/>
                  <a:gd name="connsiteX19" fmla="*/ 304525 w 609050"/>
                  <a:gd name="connsiteY19" fmla="*/ 0 h 608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609050" h="608203">
                    <a:moveTo>
                      <a:pt x="206311" y="155548"/>
                    </a:moveTo>
                    <a:lnTo>
                      <a:pt x="458637" y="286107"/>
                    </a:lnTo>
                    <a:cubicBezTo>
                      <a:pt x="465340" y="289603"/>
                      <a:pt x="469542" y="296595"/>
                      <a:pt x="469542" y="304087"/>
                    </a:cubicBezTo>
                    <a:cubicBezTo>
                      <a:pt x="469542" y="311679"/>
                      <a:pt x="465340" y="318671"/>
                      <a:pt x="458637" y="322068"/>
                    </a:cubicBezTo>
                    <a:lnTo>
                      <a:pt x="206311" y="452627"/>
                    </a:lnTo>
                    <a:cubicBezTo>
                      <a:pt x="200008" y="455923"/>
                      <a:pt x="192504" y="455623"/>
                      <a:pt x="186501" y="451927"/>
                    </a:cubicBezTo>
                    <a:cubicBezTo>
                      <a:pt x="180398" y="448231"/>
                      <a:pt x="176696" y="441738"/>
                      <a:pt x="176696" y="434646"/>
                    </a:cubicBezTo>
                    <a:lnTo>
                      <a:pt x="176696" y="173628"/>
                    </a:lnTo>
                    <a:cubicBezTo>
                      <a:pt x="176696" y="166536"/>
                      <a:pt x="180398" y="159943"/>
                      <a:pt x="186501" y="156247"/>
                    </a:cubicBezTo>
                    <a:cubicBezTo>
                      <a:pt x="192504" y="152551"/>
                      <a:pt x="200008" y="152351"/>
                      <a:pt x="206311" y="155548"/>
                    </a:cubicBezTo>
                    <a:close/>
                    <a:moveTo>
                      <a:pt x="304525" y="60840"/>
                    </a:moveTo>
                    <a:cubicBezTo>
                      <a:pt x="170170" y="60840"/>
                      <a:pt x="60925" y="169933"/>
                      <a:pt x="60925" y="304102"/>
                    </a:cubicBezTo>
                    <a:cubicBezTo>
                      <a:pt x="60925" y="438270"/>
                      <a:pt x="170170" y="547463"/>
                      <a:pt x="304525" y="547463"/>
                    </a:cubicBezTo>
                    <a:cubicBezTo>
                      <a:pt x="438880" y="547463"/>
                      <a:pt x="548225" y="438270"/>
                      <a:pt x="548225" y="304102"/>
                    </a:cubicBezTo>
                    <a:cubicBezTo>
                      <a:pt x="548225" y="169933"/>
                      <a:pt x="438880" y="60840"/>
                      <a:pt x="304525" y="60840"/>
                    </a:cubicBezTo>
                    <a:close/>
                    <a:moveTo>
                      <a:pt x="304525" y="0"/>
                    </a:moveTo>
                    <a:cubicBezTo>
                      <a:pt x="472794" y="0"/>
                      <a:pt x="609050" y="136166"/>
                      <a:pt x="609050" y="304102"/>
                    </a:cubicBezTo>
                    <a:cubicBezTo>
                      <a:pt x="609050" y="472137"/>
                      <a:pt x="472794" y="608203"/>
                      <a:pt x="304525" y="608203"/>
                    </a:cubicBezTo>
                    <a:cubicBezTo>
                      <a:pt x="136356" y="608203"/>
                      <a:pt x="0" y="472137"/>
                      <a:pt x="0" y="304102"/>
                    </a:cubicBezTo>
                    <a:cubicBezTo>
                      <a:pt x="0" y="136166"/>
                      <a:pt x="136356" y="0"/>
                      <a:pt x="30452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521" name="ï$ļiḍè">
              <a:extLst>
                <a:ext uri="{FF2B5EF4-FFF2-40B4-BE49-F238E27FC236}">
                  <a16:creationId xmlns:a16="http://schemas.microsoft.com/office/drawing/2014/main" id="{0D368D6D-7D63-479F-86E0-D4D698A4E955}"/>
                </a:ext>
              </a:extLst>
            </p:cNvPr>
            <p:cNvGrpSpPr/>
            <p:nvPr/>
          </p:nvGrpSpPr>
          <p:grpSpPr>
            <a:xfrm>
              <a:off x="8895329" y="4922760"/>
              <a:ext cx="2434088" cy="1071640"/>
              <a:chOff x="2082804" y="1329817"/>
              <a:chExt cx="2334087" cy="1071640"/>
            </a:xfrm>
          </p:grpSpPr>
          <p:sp>
            <p:nvSpPr>
              <p:cNvPr id="525" name="iṣlïḍé">
                <a:extLst>
                  <a:ext uri="{FF2B5EF4-FFF2-40B4-BE49-F238E27FC236}">
                    <a16:creationId xmlns:a16="http://schemas.microsoft.com/office/drawing/2014/main" id="{14457795-8D58-4251-ABA6-C24B1BE1925A}"/>
                  </a:ext>
                </a:extLst>
              </p:cNvPr>
              <p:cNvSpPr txBox="1"/>
              <p:nvPr/>
            </p:nvSpPr>
            <p:spPr>
              <a:xfrm>
                <a:off x="2082804" y="1677152"/>
                <a:ext cx="2334087" cy="72430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 defTabSz="914400">
                  <a:lnSpc>
                    <a:spcPct val="120000"/>
                  </a:lnSpc>
                  <a:spcBef>
                    <a:spcPct val="0"/>
                  </a:spcBef>
                  <a:defRPr/>
                </a:pPr>
                <a:r>
                  <a:rPr lang="zh-CN" altLang="en-US" sz="1100" dirty="0">
                    <a:solidFill>
                      <a:schemeClr val="dk1">
                        <a:lumMod val="100000"/>
                      </a:schemeClr>
                    </a:solidFill>
                  </a:rPr>
                  <a:t>少则显示上一次的结果</a:t>
                </a:r>
                <a:endParaRPr lang="en-US" altLang="zh-CN" sz="1100" dirty="0">
                  <a:solidFill>
                    <a:schemeClr val="dk1">
                      <a:lumMod val="100000"/>
                    </a:schemeClr>
                  </a:solidFill>
                </a:endParaRPr>
              </a:p>
              <a:p>
                <a:pPr lvl="0" algn="ctr" defTabSz="914400">
                  <a:lnSpc>
                    <a:spcPct val="120000"/>
                  </a:lnSpc>
                  <a:spcBef>
                    <a:spcPct val="0"/>
                  </a:spcBef>
                  <a:defRPr/>
                </a:pPr>
                <a:r>
                  <a:rPr lang="zh-CN" altLang="en-US" sz="1100" dirty="0">
                    <a:solidFill>
                      <a:schemeClr val="dk1">
                        <a:lumMod val="100000"/>
                      </a:schemeClr>
                    </a:solidFill>
                  </a:rPr>
                  <a:t>多则直接报错</a:t>
                </a:r>
              </a:p>
            </p:txBody>
          </p:sp>
          <p:sp>
            <p:nvSpPr>
              <p:cNvPr id="526" name="íS1iďè">
                <a:extLst>
                  <a:ext uri="{FF2B5EF4-FFF2-40B4-BE49-F238E27FC236}">
                    <a16:creationId xmlns:a16="http://schemas.microsoft.com/office/drawing/2014/main" id="{005E0662-429B-44AC-976F-4BBB89C48F89}"/>
                  </a:ext>
                </a:extLst>
              </p:cNvPr>
              <p:cNvSpPr/>
              <p:nvPr/>
            </p:nvSpPr>
            <p:spPr>
              <a:xfrm>
                <a:off x="2082804" y="1329817"/>
                <a:ext cx="2334087" cy="335557"/>
              </a:xfrm>
              <a:prstGeom prst="rect">
                <a:avLst/>
              </a:prstGeom>
            </p:spPr>
            <p:txBody>
              <a:bodyPr wrap="square" lIns="91440" tIns="45720" rIns="91440" bIns="45720" anchor="t" anchorCtr="0">
                <a:normAutofit fontScale="7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b="1" dirty="0"/>
                  <a:t>删除</a:t>
                </a:r>
                <a:r>
                  <a:rPr lang="en-US" altLang="zh-CN" b="1" dirty="0"/>
                  <a:t>output</a:t>
                </a:r>
                <a:r>
                  <a:rPr lang="zh-CN" altLang="en-US" b="1" dirty="0"/>
                  <a:t>文件夹</a:t>
                </a:r>
              </a:p>
            </p:txBody>
          </p:sp>
        </p:grpSp>
        <p:grpSp>
          <p:nvGrpSpPr>
            <p:cNvPr id="522" name="îš1íḋe">
              <a:extLst>
                <a:ext uri="{FF2B5EF4-FFF2-40B4-BE49-F238E27FC236}">
                  <a16:creationId xmlns:a16="http://schemas.microsoft.com/office/drawing/2014/main" id="{1EDEE4A3-CC42-4E5E-8A6B-F40371259BAC}"/>
                </a:ext>
              </a:extLst>
            </p:cNvPr>
            <p:cNvGrpSpPr/>
            <p:nvPr/>
          </p:nvGrpSpPr>
          <p:grpSpPr>
            <a:xfrm>
              <a:off x="9701072" y="3889242"/>
              <a:ext cx="822599" cy="822598"/>
              <a:chOff x="1471472" y="2647236"/>
              <a:chExt cx="822599" cy="822598"/>
            </a:xfrm>
          </p:grpSpPr>
          <p:sp>
            <p:nvSpPr>
              <p:cNvPr id="523" name="ïṣḻïdé">
                <a:extLst>
                  <a:ext uri="{FF2B5EF4-FFF2-40B4-BE49-F238E27FC236}">
                    <a16:creationId xmlns:a16="http://schemas.microsoft.com/office/drawing/2014/main" id="{D30C346B-1EA3-4F9B-AC56-BF2F339DC249}"/>
                  </a:ext>
                </a:extLst>
              </p:cNvPr>
              <p:cNvSpPr/>
              <p:nvPr/>
            </p:nvSpPr>
            <p:spPr>
              <a:xfrm>
                <a:off x="1471472" y="2647236"/>
                <a:ext cx="822599" cy="822598"/>
              </a:xfrm>
              <a:prstGeom prst="ellipse">
                <a:avLst/>
              </a:prstGeom>
              <a:solidFill>
                <a:schemeClr val="accent4"/>
              </a:solidFill>
              <a:ln w="571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524" name="iŝ1ïḋé">
                <a:extLst>
                  <a:ext uri="{FF2B5EF4-FFF2-40B4-BE49-F238E27FC236}">
                    <a16:creationId xmlns:a16="http://schemas.microsoft.com/office/drawing/2014/main" id="{0EEB587E-1A2A-474A-9C03-53F362A9B294}"/>
                  </a:ext>
                </a:extLst>
              </p:cNvPr>
              <p:cNvSpPr/>
              <p:nvPr/>
            </p:nvSpPr>
            <p:spPr bwMode="auto">
              <a:xfrm>
                <a:off x="1706536" y="2814062"/>
                <a:ext cx="352468" cy="488946"/>
              </a:xfrm>
              <a:custGeom>
                <a:avLst/>
                <a:gdLst>
                  <a:gd name="connsiteX0" fmla="*/ 277424 w 435544"/>
                  <a:gd name="connsiteY0" fmla="*/ 326234 h 604188"/>
                  <a:gd name="connsiteX1" fmla="*/ 272283 w 435544"/>
                  <a:gd name="connsiteY1" fmla="*/ 411728 h 604188"/>
                  <a:gd name="connsiteX2" fmla="*/ 273962 w 435544"/>
                  <a:gd name="connsiteY2" fmla="*/ 413509 h 604188"/>
                  <a:gd name="connsiteX3" fmla="*/ 274906 w 435544"/>
                  <a:gd name="connsiteY3" fmla="*/ 395488 h 604188"/>
                  <a:gd name="connsiteX4" fmla="*/ 279103 w 435544"/>
                  <a:gd name="connsiteY4" fmla="*/ 326234 h 604188"/>
                  <a:gd name="connsiteX5" fmla="*/ 332196 w 435544"/>
                  <a:gd name="connsiteY5" fmla="*/ 229635 h 604188"/>
                  <a:gd name="connsiteX6" fmla="*/ 297151 w 435544"/>
                  <a:gd name="connsiteY6" fmla="*/ 351903 h 604188"/>
                  <a:gd name="connsiteX7" fmla="*/ 295367 w 435544"/>
                  <a:gd name="connsiteY7" fmla="*/ 506651 h 604188"/>
                  <a:gd name="connsiteX8" fmla="*/ 299669 w 435544"/>
                  <a:gd name="connsiteY8" fmla="*/ 507489 h 604188"/>
                  <a:gd name="connsiteX9" fmla="*/ 345102 w 435544"/>
                  <a:gd name="connsiteY9" fmla="*/ 410051 h 604188"/>
                  <a:gd name="connsiteX10" fmla="*/ 332196 w 435544"/>
                  <a:gd name="connsiteY10" fmla="*/ 229635 h 604188"/>
                  <a:gd name="connsiteX11" fmla="*/ 144692 w 435544"/>
                  <a:gd name="connsiteY11" fmla="*/ 226178 h 604188"/>
                  <a:gd name="connsiteX12" fmla="*/ 148994 w 435544"/>
                  <a:gd name="connsiteY12" fmla="*/ 239065 h 604188"/>
                  <a:gd name="connsiteX13" fmla="*/ 149834 w 435544"/>
                  <a:gd name="connsiteY13" fmla="*/ 227959 h 604188"/>
                  <a:gd name="connsiteX14" fmla="*/ 144692 w 435544"/>
                  <a:gd name="connsiteY14" fmla="*/ 226178 h 604188"/>
                  <a:gd name="connsiteX15" fmla="*/ 115090 w 435544"/>
                  <a:gd name="connsiteY15" fmla="*/ 225994 h 604188"/>
                  <a:gd name="connsiteX16" fmla="*/ 101043 w 435544"/>
                  <a:gd name="connsiteY16" fmla="*/ 244199 h 604188"/>
                  <a:gd name="connsiteX17" fmla="*/ 101043 w 435544"/>
                  <a:gd name="connsiteY17" fmla="*/ 500679 h 604188"/>
                  <a:gd name="connsiteX18" fmla="*/ 141335 w 435544"/>
                  <a:gd name="connsiteY18" fmla="*/ 481820 h 604188"/>
                  <a:gd name="connsiteX19" fmla="*/ 140390 w 435544"/>
                  <a:gd name="connsiteY19" fmla="*/ 451122 h 604188"/>
                  <a:gd name="connsiteX20" fmla="*/ 140390 w 435544"/>
                  <a:gd name="connsiteY20" fmla="*/ 426291 h 604188"/>
                  <a:gd name="connsiteX21" fmla="*/ 139551 w 435544"/>
                  <a:gd name="connsiteY21" fmla="*/ 343312 h 604188"/>
                  <a:gd name="connsiteX22" fmla="*/ 128429 w 435544"/>
                  <a:gd name="connsiteY22" fmla="*/ 247551 h 604188"/>
                  <a:gd name="connsiteX23" fmla="*/ 115090 w 435544"/>
                  <a:gd name="connsiteY23" fmla="*/ 225994 h 604188"/>
                  <a:gd name="connsiteX24" fmla="*/ 215654 w 435544"/>
                  <a:gd name="connsiteY24" fmla="*/ 223986 h 604188"/>
                  <a:gd name="connsiteX25" fmla="*/ 205550 w 435544"/>
                  <a:gd name="connsiteY25" fmla="*/ 233093 h 604188"/>
                  <a:gd name="connsiteX26" fmla="*/ 197785 w 435544"/>
                  <a:gd name="connsiteY26" fmla="*/ 257819 h 604188"/>
                  <a:gd name="connsiteX27" fmla="*/ 190965 w 435544"/>
                  <a:gd name="connsiteY27" fmla="*/ 315129 h 604188"/>
                  <a:gd name="connsiteX28" fmla="*/ 196106 w 435544"/>
                  <a:gd name="connsiteY28" fmla="*/ 500679 h 604188"/>
                  <a:gd name="connsiteX29" fmla="*/ 201248 w 435544"/>
                  <a:gd name="connsiteY29" fmla="*/ 504031 h 604188"/>
                  <a:gd name="connsiteX30" fmla="*/ 248360 w 435544"/>
                  <a:gd name="connsiteY30" fmla="*/ 406594 h 604188"/>
                  <a:gd name="connsiteX31" fmla="*/ 244058 w 435544"/>
                  <a:gd name="connsiteY31" fmla="*/ 251847 h 604188"/>
                  <a:gd name="connsiteX32" fmla="*/ 215654 w 435544"/>
                  <a:gd name="connsiteY32" fmla="*/ 223986 h 604188"/>
                  <a:gd name="connsiteX33" fmla="*/ 345102 w 435544"/>
                  <a:gd name="connsiteY33" fmla="*/ 203966 h 604188"/>
                  <a:gd name="connsiteX34" fmla="*/ 344263 w 435544"/>
                  <a:gd name="connsiteY34" fmla="*/ 205748 h 604188"/>
                  <a:gd name="connsiteX35" fmla="*/ 369865 w 435544"/>
                  <a:gd name="connsiteY35" fmla="*/ 205748 h 604188"/>
                  <a:gd name="connsiteX36" fmla="*/ 378469 w 435544"/>
                  <a:gd name="connsiteY36" fmla="*/ 209938 h 604188"/>
                  <a:gd name="connsiteX37" fmla="*/ 379308 w 435544"/>
                  <a:gd name="connsiteY37" fmla="*/ 204805 h 604188"/>
                  <a:gd name="connsiteX38" fmla="*/ 345102 w 435544"/>
                  <a:gd name="connsiteY38" fmla="*/ 203966 h 604188"/>
                  <a:gd name="connsiteX39" fmla="*/ 301544 w 435544"/>
                  <a:gd name="connsiteY39" fmla="*/ 176647 h 604188"/>
                  <a:gd name="connsiteX40" fmla="*/ 395572 w 435544"/>
                  <a:gd name="connsiteY40" fmla="*/ 187727 h 604188"/>
                  <a:gd name="connsiteX41" fmla="*/ 400713 w 435544"/>
                  <a:gd name="connsiteY41" fmla="*/ 198833 h 604188"/>
                  <a:gd name="connsiteX42" fmla="*/ 401553 w 435544"/>
                  <a:gd name="connsiteY42" fmla="*/ 203966 h 604188"/>
                  <a:gd name="connsiteX43" fmla="*/ 388752 w 435544"/>
                  <a:gd name="connsiteY43" fmla="*/ 380925 h 604188"/>
                  <a:gd name="connsiteX44" fmla="*/ 379308 w 435544"/>
                  <a:gd name="connsiteY44" fmla="*/ 526347 h 604188"/>
                  <a:gd name="connsiteX45" fmla="*/ 148155 w 435544"/>
                  <a:gd name="connsiteY45" fmla="*/ 594658 h 604188"/>
                  <a:gd name="connsiteX46" fmla="*/ 37667 w 435544"/>
                  <a:gd name="connsiteY46" fmla="*/ 190346 h 604188"/>
                  <a:gd name="connsiteX47" fmla="*/ 49734 w 435544"/>
                  <a:gd name="connsiteY47" fmla="*/ 183431 h 604188"/>
                  <a:gd name="connsiteX48" fmla="*/ 106184 w 435544"/>
                  <a:gd name="connsiteY48" fmla="*/ 179240 h 604188"/>
                  <a:gd name="connsiteX49" fmla="*/ 205550 w 435544"/>
                  <a:gd name="connsiteY49" fmla="*/ 178297 h 604188"/>
                  <a:gd name="connsiteX50" fmla="*/ 301544 w 435544"/>
                  <a:gd name="connsiteY50" fmla="*/ 176647 h 604188"/>
                  <a:gd name="connsiteX51" fmla="*/ 22263 w 435544"/>
                  <a:gd name="connsiteY51" fmla="*/ 99692 h 604188"/>
                  <a:gd name="connsiteX52" fmla="*/ 20584 w 435544"/>
                  <a:gd name="connsiteY52" fmla="*/ 109957 h 604188"/>
                  <a:gd name="connsiteX53" fmla="*/ 20584 w 435544"/>
                  <a:gd name="connsiteY53" fmla="*/ 116765 h 604188"/>
                  <a:gd name="connsiteX54" fmla="*/ 22263 w 435544"/>
                  <a:gd name="connsiteY54" fmla="*/ 116765 h 604188"/>
                  <a:gd name="connsiteX55" fmla="*/ 24885 w 435544"/>
                  <a:gd name="connsiteY55" fmla="*/ 105662 h 604188"/>
                  <a:gd name="connsiteX56" fmla="*/ 22263 w 435544"/>
                  <a:gd name="connsiteY56" fmla="*/ 99692 h 604188"/>
                  <a:gd name="connsiteX57" fmla="*/ 212370 w 435544"/>
                  <a:gd name="connsiteY57" fmla="*/ 21028 h 604188"/>
                  <a:gd name="connsiteX58" fmla="*/ 185826 w 435544"/>
                  <a:gd name="connsiteY58" fmla="*/ 22704 h 604188"/>
                  <a:gd name="connsiteX59" fmla="*/ 190967 w 435544"/>
                  <a:gd name="connsiteY59" fmla="*/ 24485 h 604188"/>
                  <a:gd name="connsiteX60" fmla="*/ 201249 w 435544"/>
                  <a:gd name="connsiteY60" fmla="*/ 23647 h 604188"/>
                  <a:gd name="connsiteX61" fmla="*/ 212370 w 435544"/>
                  <a:gd name="connsiteY61" fmla="*/ 21028 h 604188"/>
                  <a:gd name="connsiteX62" fmla="*/ 195583 w 435544"/>
                  <a:gd name="connsiteY62" fmla="*/ 433 h 604188"/>
                  <a:gd name="connsiteX63" fmla="*/ 237235 w 435544"/>
                  <a:gd name="connsiteY63" fmla="*/ 3117 h 604188"/>
                  <a:gd name="connsiteX64" fmla="*/ 309941 w 435544"/>
                  <a:gd name="connsiteY64" fmla="*/ 35588 h 604188"/>
                  <a:gd name="connsiteX65" fmla="*/ 315921 w 435544"/>
                  <a:gd name="connsiteY65" fmla="*/ 69734 h 604188"/>
                  <a:gd name="connsiteX66" fmla="*/ 424719 w 435544"/>
                  <a:gd name="connsiteY66" fmla="*/ 68059 h 604188"/>
                  <a:gd name="connsiteX67" fmla="*/ 434057 w 435544"/>
                  <a:gd name="connsiteY67" fmla="*/ 81675 h 604188"/>
                  <a:gd name="connsiteX68" fmla="*/ 435001 w 435544"/>
                  <a:gd name="connsiteY68" fmla="*/ 84294 h 604188"/>
                  <a:gd name="connsiteX69" fmla="*/ 434057 w 435544"/>
                  <a:gd name="connsiteY69" fmla="*/ 120222 h 604188"/>
                  <a:gd name="connsiteX70" fmla="*/ 427237 w 435544"/>
                  <a:gd name="connsiteY70" fmla="*/ 147560 h 604188"/>
                  <a:gd name="connsiteX71" fmla="*/ 422935 w 435544"/>
                  <a:gd name="connsiteY71" fmla="*/ 149236 h 604188"/>
                  <a:gd name="connsiteX72" fmla="*/ 288538 w 435544"/>
                  <a:gd name="connsiteY72" fmla="*/ 159501 h 604188"/>
                  <a:gd name="connsiteX73" fmla="*/ 17122 w 435544"/>
                  <a:gd name="connsiteY73" fmla="*/ 153531 h 604188"/>
                  <a:gd name="connsiteX74" fmla="*/ 8623 w 435544"/>
                  <a:gd name="connsiteY74" fmla="*/ 149236 h 604188"/>
                  <a:gd name="connsiteX75" fmla="*/ 5161 w 435544"/>
                  <a:gd name="connsiteY75" fmla="*/ 144104 h 604188"/>
                  <a:gd name="connsiteX76" fmla="*/ 20 w 435544"/>
                  <a:gd name="connsiteY76" fmla="*/ 108176 h 604188"/>
                  <a:gd name="connsiteX77" fmla="*/ 8623 w 435544"/>
                  <a:gd name="connsiteY77" fmla="*/ 80837 h 604188"/>
                  <a:gd name="connsiteX78" fmla="*/ 13764 w 435544"/>
                  <a:gd name="connsiteY78" fmla="*/ 79999 h 604188"/>
                  <a:gd name="connsiteX79" fmla="*/ 14604 w 435544"/>
                  <a:gd name="connsiteY79" fmla="*/ 78324 h 604188"/>
                  <a:gd name="connsiteX80" fmla="*/ 63389 w 435544"/>
                  <a:gd name="connsiteY80" fmla="*/ 68059 h 604188"/>
                  <a:gd name="connsiteX81" fmla="*/ 137880 w 435544"/>
                  <a:gd name="connsiteY81" fmla="*/ 64602 h 604188"/>
                  <a:gd name="connsiteX82" fmla="*/ 155820 w 435544"/>
                  <a:gd name="connsiteY82" fmla="*/ 12439 h 604188"/>
                  <a:gd name="connsiteX83" fmla="*/ 195583 w 435544"/>
                  <a:gd name="connsiteY83" fmla="*/ 433 h 604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435544" h="604188">
                    <a:moveTo>
                      <a:pt x="277424" y="326234"/>
                    </a:moveTo>
                    <a:cubicBezTo>
                      <a:pt x="278264" y="354418"/>
                      <a:pt x="275746" y="384382"/>
                      <a:pt x="272283" y="411728"/>
                    </a:cubicBezTo>
                    <a:cubicBezTo>
                      <a:pt x="272283" y="412566"/>
                      <a:pt x="273122" y="412566"/>
                      <a:pt x="273962" y="413509"/>
                    </a:cubicBezTo>
                    <a:cubicBezTo>
                      <a:pt x="273962" y="407432"/>
                      <a:pt x="274906" y="401460"/>
                      <a:pt x="274906" y="395488"/>
                    </a:cubicBezTo>
                    <a:cubicBezTo>
                      <a:pt x="276585" y="372439"/>
                      <a:pt x="276585" y="350227"/>
                      <a:pt x="279103" y="326234"/>
                    </a:cubicBezTo>
                    <a:close/>
                    <a:moveTo>
                      <a:pt x="332196" y="229635"/>
                    </a:moveTo>
                    <a:cubicBezTo>
                      <a:pt x="303971" y="217691"/>
                      <a:pt x="297151" y="334826"/>
                      <a:pt x="297151" y="351903"/>
                    </a:cubicBezTo>
                    <a:cubicBezTo>
                      <a:pt x="297151" y="400622"/>
                      <a:pt x="282566" y="458770"/>
                      <a:pt x="295367" y="506651"/>
                    </a:cubicBezTo>
                    <a:cubicBezTo>
                      <a:pt x="297151" y="506651"/>
                      <a:pt x="298829" y="506651"/>
                      <a:pt x="299669" y="507489"/>
                    </a:cubicBezTo>
                    <a:cubicBezTo>
                      <a:pt x="329678" y="525405"/>
                      <a:pt x="340800" y="432263"/>
                      <a:pt x="345102" y="410051"/>
                    </a:cubicBezTo>
                    <a:cubicBezTo>
                      <a:pt x="352762" y="372439"/>
                      <a:pt x="381931" y="251847"/>
                      <a:pt x="332196" y="229635"/>
                    </a:cubicBezTo>
                    <a:close/>
                    <a:moveTo>
                      <a:pt x="144692" y="226178"/>
                    </a:moveTo>
                    <a:cubicBezTo>
                      <a:pt x="146476" y="229635"/>
                      <a:pt x="148155" y="234769"/>
                      <a:pt x="148994" y="239065"/>
                    </a:cubicBezTo>
                    <a:cubicBezTo>
                      <a:pt x="148994" y="234769"/>
                      <a:pt x="148994" y="231312"/>
                      <a:pt x="149834" y="227959"/>
                    </a:cubicBezTo>
                    <a:cubicBezTo>
                      <a:pt x="148155" y="227121"/>
                      <a:pt x="146476" y="227121"/>
                      <a:pt x="144692" y="226178"/>
                    </a:cubicBezTo>
                    <a:close/>
                    <a:moveTo>
                      <a:pt x="115090" y="225994"/>
                    </a:moveTo>
                    <a:cubicBezTo>
                      <a:pt x="110066" y="224502"/>
                      <a:pt x="104925" y="229636"/>
                      <a:pt x="101043" y="244199"/>
                    </a:cubicBezTo>
                    <a:cubicBezTo>
                      <a:pt x="79638" y="328016"/>
                      <a:pt x="101882" y="415185"/>
                      <a:pt x="101043" y="500679"/>
                    </a:cubicBezTo>
                    <a:cubicBezTo>
                      <a:pt x="117306" y="512622"/>
                      <a:pt x="142174" y="508327"/>
                      <a:pt x="141335" y="481820"/>
                    </a:cubicBezTo>
                    <a:cubicBezTo>
                      <a:pt x="141335" y="471552"/>
                      <a:pt x="140390" y="461285"/>
                      <a:pt x="140390" y="451122"/>
                    </a:cubicBezTo>
                    <a:lnTo>
                      <a:pt x="140390" y="426291"/>
                    </a:lnTo>
                    <a:cubicBezTo>
                      <a:pt x="140390" y="398946"/>
                      <a:pt x="140390" y="370657"/>
                      <a:pt x="139551" y="343312"/>
                    </a:cubicBezTo>
                    <a:cubicBezTo>
                      <a:pt x="137872" y="311671"/>
                      <a:pt x="137033" y="278354"/>
                      <a:pt x="128429" y="247551"/>
                    </a:cubicBezTo>
                    <a:cubicBezTo>
                      <a:pt x="125018" y="235607"/>
                      <a:pt x="120113" y="227487"/>
                      <a:pt x="115090" y="225994"/>
                    </a:cubicBezTo>
                    <a:close/>
                    <a:moveTo>
                      <a:pt x="215654" y="223986"/>
                    </a:moveTo>
                    <a:cubicBezTo>
                      <a:pt x="211858" y="224259"/>
                      <a:pt x="208330" y="226885"/>
                      <a:pt x="205550" y="233093"/>
                    </a:cubicBezTo>
                    <a:cubicBezTo>
                      <a:pt x="202087" y="240741"/>
                      <a:pt x="199569" y="249332"/>
                      <a:pt x="197785" y="257819"/>
                    </a:cubicBezTo>
                    <a:cubicBezTo>
                      <a:pt x="193483" y="276678"/>
                      <a:pt x="191804" y="296375"/>
                      <a:pt x="190965" y="315129"/>
                    </a:cubicBezTo>
                    <a:cubicBezTo>
                      <a:pt x="189286" y="377572"/>
                      <a:pt x="198624" y="439073"/>
                      <a:pt x="196106" y="500679"/>
                    </a:cubicBezTo>
                    <a:cubicBezTo>
                      <a:pt x="197785" y="501517"/>
                      <a:pt x="199569" y="502355"/>
                      <a:pt x="201248" y="504031"/>
                    </a:cubicBezTo>
                    <a:cubicBezTo>
                      <a:pt x="236293" y="541644"/>
                      <a:pt x="246576" y="426291"/>
                      <a:pt x="248360" y="406594"/>
                    </a:cubicBezTo>
                    <a:cubicBezTo>
                      <a:pt x="251717" y="358714"/>
                      <a:pt x="262000" y="298051"/>
                      <a:pt x="244058" y="251847"/>
                    </a:cubicBezTo>
                    <a:cubicBezTo>
                      <a:pt x="240831" y="243518"/>
                      <a:pt x="227040" y="223166"/>
                      <a:pt x="215654" y="223986"/>
                    </a:cubicBezTo>
                    <a:close/>
                    <a:moveTo>
                      <a:pt x="345102" y="203966"/>
                    </a:moveTo>
                    <a:cubicBezTo>
                      <a:pt x="345102" y="204805"/>
                      <a:pt x="344263" y="204805"/>
                      <a:pt x="344263" y="205748"/>
                    </a:cubicBezTo>
                    <a:lnTo>
                      <a:pt x="369865" y="205748"/>
                    </a:lnTo>
                    <a:cubicBezTo>
                      <a:pt x="374167" y="205748"/>
                      <a:pt x="376790" y="207424"/>
                      <a:pt x="378469" y="209938"/>
                    </a:cubicBezTo>
                    <a:cubicBezTo>
                      <a:pt x="378469" y="208262"/>
                      <a:pt x="379308" y="206586"/>
                      <a:pt x="379308" y="204805"/>
                    </a:cubicBezTo>
                    <a:cubicBezTo>
                      <a:pt x="368186" y="205748"/>
                      <a:pt x="356224" y="204805"/>
                      <a:pt x="345102" y="203966"/>
                    </a:cubicBezTo>
                    <a:close/>
                    <a:moveTo>
                      <a:pt x="301544" y="176647"/>
                    </a:moveTo>
                    <a:cubicBezTo>
                      <a:pt x="334609" y="176647"/>
                      <a:pt x="367347" y="178769"/>
                      <a:pt x="395572" y="187727"/>
                    </a:cubicBezTo>
                    <a:cubicBezTo>
                      <a:pt x="399874" y="189508"/>
                      <a:pt x="402392" y="194642"/>
                      <a:pt x="400713" y="198833"/>
                    </a:cubicBezTo>
                    <a:cubicBezTo>
                      <a:pt x="401553" y="200614"/>
                      <a:pt x="401553" y="202290"/>
                      <a:pt x="401553" y="203966"/>
                    </a:cubicBezTo>
                    <a:cubicBezTo>
                      <a:pt x="396411" y="262114"/>
                      <a:pt x="385289" y="321101"/>
                      <a:pt x="388752" y="380925"/>
                    </a:cubicBezTo>
                    <a:cubicBezTo>
                      <a:pt x="390430" y="427129"/>
                      <a:pt x="397251" y="481820"/>
                      <a:pt x="379308" y="526347"/>
                    </a:cubicBezTo>
                    <a:cubicBezTo>
                      <a:pt x="344263" y="612679"/>
                      <a:pt x="226955" y="612679"/>
                      <a:pt x="148155" y="594658"/>
                    </a:cubicBezTo>
                    <a:cubicBezTo>
                      <a:pt x="-15426" y="557988"/>
                      <a:pt x="50573" y="306642"/>
                      <a:pt x="37667" y="190346"/>
                    </a:cubicBezTo>
                    <a:cubicBezTo>
                      <a:pt x="36828" y="183431"/>
                      <a:pt x="44592" y="180917"/>
                      <a:pt x="49734" y="183431"/>
                    </a:cubicBezTo>
                    <a:cubicBezTo>
                      <a:pt x="66837" y="175783"/>
                      <a:pt x="89081" y="179240"/>
                      <a:pt x="106184" y="179240"/>
                    </a:cubicBezTo>
                    <a:cubicBezTo>
                      <a:pt x="138711" y="178297"/>
                      <a:pt x="172078" y="178297"/>
                      <a:pt x="205550" y="178297"/>
                    </a:cubicBezTo>
                    <a:cubicBezTo>
                      <a:pt x="235086" y="178769"/>
                      <a:pt x="268479" y="176647"/>
                      <a:pt x="301544" y="176647"/>
                    </a:cubicBezTo>
                    <a:close/>
                    <a:moveTo>
                      <a:pt x="22263" y="99692"/>
                    </a:moveTo>
                    <a:cubicBezTo>
                      <a:pt x="21423" y="103043"/>
                      <a:pt x="20584" y="106500"/>
                      <a:pt x="20584" y="109957"/>
                    </a:cubicBezTo>
                    <a:lnTo>
                      <a:pt x="20584" y="116765"/>
                    </a:lnTo>
                    <a:lnTo>
                      <a:pt x="22263" y="116765"/>
                    </a:lnTo>
                    <a:cubicBezTo>
                      <a:pt x="20584" y="113308"/>
                      <a:pt x="21423" y="109119"/>
                      <a:pt x="24885" y="105662"/>
                    </a:cubicBezTo>
                    <a:cubicBezTo>
                      <a:pt x="23207" y="103986"/>
                      <a:pt x="22263" y="102205"/>
                      <a:pt x="22263" y="99692"/>
                    </a:cubicBezTo>
                    <a:close/>
                    <a:moveTo>
                      <a:pt x="212370" y="21028"/>
                    </a:moveTo>
                    <a:cubicBezTo>
                      <a:pt x="203767" y="20190"/>
                      <a:pt x="194429" y="20190"/>
                      <a:pt x="185826" y="22704"/>
                    </a:cubicBezTo>
                    <a:cubicBezTo>
                      <a:pt x="187505" y="22704"/>
                      <a:pt x="189288" y="23647"/>
                      <a:pt x="190967" y="24485"/>
                    </a:cubicBezTo>
                    <a:cubicBezTo>
                      <a:pt x="194429" y="23647"/>
                      <a:pt x="197786" y="23647"/>
                      <a:pt x="201249" y="23647"/>
                    </a:cubicBezTo>
                    <a:cubicBezTo>
                      <a:pt x="203767" y="21866"/>
                      <a:pt x="208068" y="21028"/>
                      <a:pt x="212370" y="21028"/>
                    </a:cubicBezTo>
                    <a:close/>
                    <a:moveTo>
                      <a:pt x="195583" y="433"/>
                    </a:moveTo>
                    <a:cubicBezTo>
                      <a:pt x="209616" y="-733"/>
                      <a:pt x="223963" y="551"/>
                      <a:pt x="237235" y="3117"/>
                    </a:cubicBezTo>
                    <a:cubicBezTo>
                      <a:pt x="261155" y="7306"/>
                      <a:pt x="293679" y="15057"/>
                      <a:pt x="309941" y="35588"/>
                    </a:cubicBezTo>
                    <a:cubicBezTo>
                      <a:pt x="316761" y="44072"/>
                      <a:pt x="321902" y="60307"/>
                      <a:pt x="315921" y="69734"/>
                    </a:cubicBezTo>
                    <a:cubicBezTo>
                      <a:pt x="351908" y="69734"/>
                      <a:pt x="388733" y="69734"/>
                      <a:pt x="424719" y="68059"/>
                    </a:cubicBezTo>
                    <a:cubicBezTo>
                      <a:pt x="432378" y="67221"/>
                      <a:pt x="435840" y="75705"/>
                      <a:pt x="434057" y="81675"/>
                    </a:cubicBezTo>
                    <a:cubicBezTo>
                      <a:pt x="435001" y="82618"/>
                      <a:pt x="435001" y="83456"/>
                      <a:pt x="435001" y="84294"/>
                    </a:cubicBezTo>
                    <a:cubicBezTo>
                      <a:pt x="435840" y="95397"/>
                      <a:pt x="435840" y="107338"/>
                      <a:pt x="434057" y="120222"/>
                    </a:cubicBezTo>
                    <a:cubicBezTo>
                      <a:pt x="433217" y="129544"/>
                      <a:pt x="433217" y="140647"/>
                      <a:pt x="427237" y="147560"/>
                    </a:cubicBezTo>
                    <a:cubicBezTo>
                      <a:pt x="426398" y="148398"/>
                      <a:pt x="424719" y="149236"/>
                      <a:pt x="422935" y="149236"/>
                    </a:cubicBezTo>
                    <a:cubicBezTo>
                      <a:pt x="401533" y="172280"/>
                      <a:pt x="309941" y="160339"/>
                      <a:pt x="288538" y="159501"/>
                    </a:cubicBezTo>
                    <a:cubicBezTo>
                      <a:pt x="197786" y="156045"/>
                      <a:pt x="107874" y="152693"/>
                      <a:pt x="17122" y="153531"/>
                    </a:cubicBezTo>
                    <a:cubicBezTo>
                      <a:pt x="12925" y="154369"/>
                      <a:pt x="10302" y="152693"/>
                      <a:pt x="8623" y="149236"/>
                    </a:cubicBezTo>
                    <a:cubicBezTo>
                      <a:pt x="6945" y="148398"/>
                      <a:pt x="6001" y="146722"/>
                      <a:pt x="5161" y="144104"/>
                    </a:cubicBezTo>
                    <a:cubicBezTo>
                      <a:pt x="2643" y="132163"/>
                      <a:pt x="20" y="120222"/>
                      <a:pt x="20" y="108176"/>
                    </a:cubicBezTo>
                    <a:cubicBezTo>
                      <a:pt x="20" y="99692"/>
                      <a:pt x="-819" y="85132"/>
                      <a:pt x="8623" y="80837"/>
                    </a:cubicBezTo>
                    <a:cubicBezTo>
                      <a:pt x="10302" y="79999"/>
                      <a:pt x="11981" y="79999"/>
                      <a:pt x="13764" y="79999"/>
                    </a:cubicBezTo>
                    <a:cubicBezTo>
                      <a:pt x="13764" y="79162"/>
                      <a:pt x="14604" y="78324"/>
                      <a:pt x="14604" y="78324"/>
                    </a:cubicBezTo>
                    <a:cubicBezTo>
                      <a:pt x="25725" y="67221"/>
                      <a:pt x="49750" y="70572"/>
                      <a:pt x="63389" y="68059"/>
                    </a:cubicBezTo>
                    <a:cubicBezTo>
                      <a:pt x="87415" y="63764"/>
                      <a:pt x="113015" y="63764"/>
                      <a:pt x="137880" y="64602"/>
                    </a:cubicBezTo>
                    <a:cubicBezTo>
                      <a:pt x="131060" y="46691"/>
                      <a:pt x="138719" y="22704"/>
                      <a:pt x="155820" y="12439"/>
                    </a:cubicBezTo>
                    <a:cubicBezTo>
                      <a:pt x="167833" y="5212"/>
                      <a:pt x="181551" y="1598"/>
                      <a:pt x="195583" y="43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97189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执行几个看看？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7</a:t>
            </a:fld>
            <a:endParaRPr lang="zh-CN" altLang="en-US"/>
          </a:p>
        </p:txBody>
      </p:sp>
      <p:grpSp>
        <p:nvGrpSpPr>
          <p:cNvPr id="194" name="180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4D56F3B-0686-4E9E-A675-DA7BF2C9F6C2}"/>
              </a:ext>
            </a:extLst>
          </p:cNvPr>
          <p:cNvGrpSpPr>
            <a:grpSpLocks noChangeAspect="1"/>
          </p:cNvGrpSpPr>
          <p:nvPr/>
        </p:nvGrpSpPr>
        <p:grpSpPr>
          <a:xfrm>
            <a:off x="1875381" y="-2460624"/>
            <a:ext cx="5393238" cy="2212975"/>
            <a:chOff x="938530" y="1805421"/>
            <a:chExt cx="10580370" cy="4341379"/>
          </a:xfrm>
        </p:grpSpPr>
        <p:sp>
          <p:nvSpPr>
            <p:cNvPr id="195" name="iṧḻîďè">
              <a:extLst>
                <a:ext uri="{FF2B5EF4-FFF2-40B4-BE49-F238E27FC236}">
                  <a16:creationId xmlns:a16="http://schemas.microsoft.com/office/drawing/2014/main" id="{6FC8272D-4563-47EB-B741-E738A21C2623}"/>
                </a:ext>
              </a:extLst>
            </p:cNvPr>
            <p:cNvSpPr/>
            <p:nvPr/>
          </p:nvSpPr>
          <p:spPr bwMode="auto">
            <a:xfrm>
              <a:off x="5637082" y="5226400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搞定！</a:t>
              </a:r>
              <a:endParaRPr lang="en-US" altLang="zh-CN" b="1" dirty="0"/>
            </a:p>
          </p:txBody>
        </p:sp>
        <p:sp>
          <p:nvSpPr>
            <p:cNvPr id="196" name="îŝḻiḋé">
              <a:extLst>
                <a:ext uri="{FF2B5EF4-FFF2-40B4-BE49-F238E27FC236}">
                  <a16:creationId xmlns:a16="http://schemas.microsoft.com/office/drawing/2014/main" id="{C05C75D7-4258-49B9-958F-F2EEF0B840E0}"/>
                </a:ext>
              </a:extLst>
            </p:cNvPr>
            <p:cNvSpPr/>
            <p:nvPr/>
          </p:nvSpPr>
          <p:spPr bwMode="auto">
            <a:xfrm>
              <a:off x="6176201" y="4576024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>
                  <a:solidFill>
                    <a:schemeClr val="bg1"/>
                  </a:solidFill>
                </a:rPr>
                <a:t>测试</a:t>
              </a:r>
              <a:endParaRPr lang="en-US" altLang="zh-CN" sz="1750" b="1" dirty="0">
                <a:solidFill>
                  <a:schemeClr val="bg1"/>
                </a:solidFill>
              </a:endParaRPr>
            </a:p>
          </p:txBody>
        </p:sp>
        <p:sp>
          <p:nvSpPr>
            <p:cNvPr id="197" name="íṥḷíďê">
              <a:extLst>
                <a:ext uri="{FF2B5EF4-FFF2-40B4-BE49-F238E27FC236}">
                  <a16:creationId xmlns:a16="http://schemas.microsoft.com/office/drawing/2014/main" id="{D4FCC7AE-5767-4EC4-BB68-B94457D3AE6D}"/>
                </a:ext>
              </a:extLst>
            </p:cNvPr>
            <p:cNvSpPr/>
            <p:nvPr/>
          </p:nvSpPr>
          <p:spPr bwMode="auto">
            <a:xfrm>
              <a:off x="6703850" y="3925648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/>
                <a:t>配置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8" name="ïś1ïḓè">
              <a:extLst>
                <a:ext uri="{FF2B5EF4-FFF2-40B4-BE49-F238E27FC236}">
                  <a16:creationId xmlns:a16="http://schemas.microsoft.com/office/drawing/2014/main" id="{F32E844B-E27C-4A92-9B60-95E4AD88D81F}"/>
                </a:ext>
              </a:extLst>
            </p:cNvPr>
            <p:cNvSpPr/>
            <p:nvPr/>
          </p:nvSpPr>
          <p:spPr bwMode="auto">
            <a:xfrm>
              <a:off x="7241823" y="3275272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 dirty="0"/>
                <a:t>安装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9" name="îśļïḍè">
              <a:extLst>
                <a:ext uri="{FF2B5EF4-FFF2-40B4-BE49-F238E27FC236}">
                  <a16:creationId xmlns:a16="http://schemas.microsoft.com/office/drawing/2014/main" id="{F812BB55-77DE-4E23-95E6-156A22FAD363}"/>
                </a:ext>
              </a:extLst>
            </p:cNvPr>
            <p:cNvSpPr/>
            <p:nvPr/>
          </p:nvSpPr>
          <p:spPr bwMode="auto">
            <a:xfrm>
              <a:off x="7743555" y="2624895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配置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0" name="ï$1íḍé">
              <a:extLst>
                <a:ext uri="{FF2B5EF4-FFF2-40B4-BE49-F238E27FC236}">
                  <a16:creationId xmlns:a16="http://schemas.microsoft.com/office/drawing/2014/main" id="{48245F16-84E7-4201-9485-85B5E5B15ECD}"/>
                </a:ext>
              </a:extLst>
            </p:cNvPr>
            <p:cNvSpPr/>
            <p:nvPr/>
          </p:nvSpPr>
          <p:spPr bwMode="auto">
            <a:xfrm>
              <a:off x="8263856" y="1974519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安装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1" name="îṥľïďê">
              <a:extLst>
                <a:ext uri="{FF2B5EF4-FFF2-40B4-BE49-F238E27FC236}">
                  <a16:creationId xmlns:a16="http://schemas.microsoft.com/office/drawing/2014/main" id="{920DFBAA-02E5-4206-86B0-FE10F93A7509}"/>
                </a:ext>
              </a:extLst>
            </p:cNvPr>
            <p:cNvSpPr/>
            <p:nvPr/>
          </p:nvSpPr>
          <p:spPr bwMode="auto">
            <a:xfrm>
              <a:off x="5220497" y="3438015"/>
              <a:ext cx="3741918" cy="1239562"/>
            </a:xfrm>
            <a:custGeom>
              <a:avLst/>
              <a:gdLst>
                <a:gd name="T0" fmla="*/ 179 w 203"/>
                <a:gd name="T1" fmla="*/ 82 h 82"/>
                <a:gd name="T2" fmla="*/ 203 w 203"/>
                <a:gd name="T3" fmla="*/ 29 h 82"/>
                <a:gd name="T4" fmla="*/ 65 w 203"/>
                <a:gd name="T5" fmla="*/ 27 h 82"/>
                <a:gd name="T6" fmla="*/ 59 w 203"/>
                <a:gd name="T7" fmla="*/ 0 h 82"/>
                <a:gd name="T8" fmla="*/ 59 w 203"/>
                <a:gd name="T9" fmla="*/ 0 h 82"/>
                <a:gd name="T10" fmla="*/ 0 w 203"/>
                <a:gd name="T11" fmla="*/ 80 h 82"/>
                <a:gd name="T12" fmla="*/ 61 w 203"/>
                <a:gd name="T13" fmla="*/ 82 h 82"/>
                <a:gd name="T14" fmla="*/ 179 w 203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82">
                  <a:moveTo>
                    <a:pt x="179" y="82"/>
                  </a:moveTo>
                  <a:lnTo>
                    <a:pt x="203" y="29"/>
                  </a:lnTo>
                  <a:lnTo>
                    <a:pt x="65" y="27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0" y="80"/>
                  </a:lnTo>
                  <a:lnTo>
                    <a:pt x="61" y="82"/>
                  </a:lnTo>
                  <a:lnTo>
                    <a:pt x="179" y="8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2" name="i$ḻíḋè">
              <a:extLst>
                <a:ext uri="{FF2B5EF4-FFF2-40B4-BE49-F238E27FC236}">
                  <a16:creationId xmlns:a16="http://schemas.microsoft.com/office/drawing/2014/main" id="{430BE7EB-B6F0-4F05-80EA-1F517165029F}"/>
                </a:ext>
              </a:extLst>
            </p:cNvPr>
            <p:cNvSpPr/>
            <p:nvPr/>
          </p:nvSpPr>
          <p:spPr bwMode="auto">
            <a:xfrm>
              <a:off x="8032938" y="1974519"/>
              <a:ext cx="1398307" cy="247664"/>
            </a:xfrm>
            <a:prstGeom prst="triangle">
              <a:avLst>
                <a:gd name="adj" fmla="val 14726"/>
              </a:avLst>
            </a:pr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3" name="işľiḋe">
              <a:extLst>
                <a:ext uri="{FF2B5EF4-FFF2-40B4-BE49-F238E27FC236}">
                  <a16:creationId xmlns:a16="http://schemas.microsoft.com/office/drawing/2014/main" id="{E4DECB97-43D1-4D26-8C48-41447675AE79}"/>
                </a:ext>
              </a:extLst>
            </p:cNvPr>
            <p:cNvSpPr/>
            <p:nvPr/>
          </p:nvSpPr>
          <p:spPr bwMode="auto">
            <a:xfrm>
              <a:off x="3675422" y="1805421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4" name="iś1íďé">
              <a:extLst>
                <a:ext uri="{FF2B5EF4-FFF2-40B4-BE49-F238E27FC236}">
                  <a16:creationId xmlns:a16="http://schemas.microsoft.com/office/drawing/2014/main" id="{6E7EA96A-F20A-4912-AC31-63A0F19E66DE}"/>
                </a:ext>
              </a:extLst>
            </p:cNvPr>
            <p:cNvSpPr/>
            <p:nvPr/>
          </p:nvSpPr>
          <p:spPr bwMode="auto">
            <a:xfrm>
              <a:off x="3129452" y="2455797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5" name="ïŝlíḋe">
              <a:extLst>
                <a:ext uri="{FF2B5EF4-FFF2-40B4-BE49-F238E27FC236}">
                  <a16:creationId xmlns:a16="http://schemas.microsoft.com/office/drawing/2014/main" id="{66D30D6F-26C9-4C2C-BC01-900AC07DC57E}"/>
                </a:ext>
              </a:extLst>
            </p:cNvPr>
            <p:cNvSpPr/>
            <p:nvPr/>
          </p:nvSpPr>
          <p:spPr bwMode="auto">
            <a:xfrm>
              <a:off x="2576633" y="3106174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6" name="îSliďè">
              <a:extLst>
                <a:ext uri="{FF2B5EF4-FFF2-40B4-BE49-F238E27FC236}">
                  <a16:creationId xmlns:a16="http://schemas.microsoft.com/office/drawing/2014/main" id="{2F6D5554-EACD-4DDD-892F-2E5F97A9C421}"/>
                </a:ext>
              </a:extLst>
            </p:cNvPr>
            <p:cNvSpPr/>
            <p:nvPr/>
          </p:nvSpPr>
          <p:spPr bwMode="auto">
            <a:xfrm>
              <a:off x="2030696" y="3756550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7" name="îSliďé">
              <a:extLst>
                <a:ext uri="{FF2B5EF4-FFF2-40B4-BE49-F238E27FC236}">
                  <a16:creationId xmlns:a16="http://schemas.microsoft.com/office/drawing/2014/main" id="{2E278F3F-C8D8-4E2A-A3EA-29ADCF1A02AA}"/>
                </a:ext>
              </a:extLst>
            </p:cNvPr>
            <p:cNvSpPr/>
            <p:nvPr/>
          </p:nvSpPr>
          <p:spPr bwMode="auto">
            <a:xfrm>
              <a:off x="1484532" y="4406926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8" name="îs1iďé">
              <a:extLst>
                <a:ext uri="{FF2B5EF4-FFF2-40B4-BE49-F238E27FC236}">
                  <a16:creationId xmlns:a16="http://schemas.microsoft.com/office/drawing/2014/main" id="{EB74D0C2-5677-4F3F-A043-44D01A3F3D48}"/>
                </a:ext>
              </a:extLst>
            </p:cNvPr>
            <p:cNvSpPr/>
            <p:nvPr/>
          </p:nvSpPr>
          <p:spPr bwMode="auto">
            <a:xfrm>
              <a:off x="938530" y="5057302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9" name="ïṣḻïḋe">
              <a:extLst>
                <a:ext uri="{FF2B5EF4-FFF2-40B4-BE49-F238E27FC236}">
                  <a16:creationId xmlns:a16="http://schemas.microsoft.com/office/drawing/2014/main" id="{7709F84E-C33F-462F-B538-51CB71C9284E}"/>
                </a:ext>
              </a:extLst>
            </p:cNvPr>
            <p:cNvSpPr/>
            <p:nvPr/>
          </p:nvSpPr>
          <p:spPr bwMode="auto">
            <a:xfrm>
              <a:off x="4585947" y="2371737"/>
              <a:ext cx="377807" cy="377281"/>
            </a:xfrm>
            <a:custGeom>
              <a:avLst/>
              <a:gdLst>
                <a:gd name="T0" fmla="*/ 400 w 11264"/>
                <a:gd name="T1" fmla="*/ 7099 h 11264"/>
                <a:gd name="T2" fmla="*/ 4165 w 11264"/>
                <a:gd name="T3" fmla="*/ 7099 h 11264"/>
                <a:gd name="T4" fmla="*/ 4165 w 11264"/>
                <a:gd name="T5" fmla="*/ 10864 h 11264"/>
                <a:gd name="T6" fmla="*/ 4565 w 11264"/>
                <a:gd name="T7" fmla="*/ 11264 h 11264"/>
                <a:gd name="T8" fmla="*/ 6699 w 11264"/>
                <a:gd name="T9" fmla="*/ 11264 h 11264"/>
                <a:gd name="T10" fmla="*/ 7099 w 11264"/>
                <a:gd name="T11" fmla="*/ 10864 h 11264"/>
                <a:gd name="T12" fmla="*/ 7099 w 11264"/>
                <a:gd name="T13" fmla="*/ 7099 h 11264"/>
                <a:gd name="T14" fmla="*/ 10864 w 11264"/>
                <a:gd name="T15" fmla="*/ 7099 h 11264"/>
                <a:gd name="T16" fmla="*/ 11264 w 11264"/>
                <a:gd name="T17" fmla="*/ 6699 h 11264"/>
                <a:gd name="T18" fmla="*/ 11264 w 11264"/>
                <a:gd name="T19" fmla="*/ 4565 h 11264"/>
                <a:gd name="T20" fmla="*/ 10864 w 11264"/>
                <a:gd name="T21" fmla="*/ 4165 h 11264"/>
                <a:gd name="T22" fmla="*/ 7099 w 11264"/>
                <a:gd name="T23" fmla="*/ 4165 h 11264"/>
                <a:gd name="T24" fmla="*/ 7099 w 11264"/>
                <a:gd name="T25" fmla="*/ 400 h 11264"/>
                <a:gd name="T26" fmla="*/ 6699 w 11264"/>
                <a:gd name="T27" fmla="*/ 0 h 11264"/>
                <a:gd name="T28" fmla="*/ 4565 w 11264"/>
                <a:gd name="T29" fmla="*/ 0 h 11264"/>
                <a:gd name="T30" fmla="*/ 4165 w 11264"/>
                <a:gd name="T31" fmla="*/ 400 h 11264"/>
                <a:gd name="T32" fmla="*/ 4165 w 11264"/>
                <a:gd name="T33" fmla="*/ 4165 h 11264"/>
                <a:gd name="T34" fmla="*/ 400 w 11264"/>
                <a:gd name="T35" fmla="*/ 4165 h 11264"/>
                <a:gd name="T36" fmla="*/ 0 w 11264"/>
                <a:gd name="T37" fmla="*/ 4565 h 11264"/>
                <a:gd name="T38" fmla="*/ 0 w 11264"/>
                <a:gd name="T39" fmla="*/ 6699 h 11264"/>
                <a:gd name="T40" fmla="*/ 400 w 11264"/>
                <a:gd name="T41" fmla="*/ 7099 h 1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64" h="11264">
                  <a:moveTo>
                    <a:pt x="400" y="7099"/>
                  </a:moveTo>
                  <a:lnTo>
                    <a:pt x="4165" y="7099"/>
                  </a:lnTo>
                  <a:lnTo>
                    <a:pt x="4165" y="10864"/>
                  </a:lnTo>
                  <a:cubicBezTo>
                    <a:pt x="4165" y="11085"/>
                    <a:pt x="4344" y="11264"/>
                    <a:pt x="4565" y="11264"/>
                  </a:cubicBezTo>
                  <a:lnTo>
                    <a:pt x="6699" y="11264"/>
                  </a:lnTo>
                  <a:cubicBezTo>
                    <a:pt x="6920" y="11264"/>
                    <a:pt x="7099" y="11085"/>
                    <a:pt x="7099" y="10864"/>
                  </a:cubicBezTo>
                  <a:lnTo>
                    <a:pt x="7099" y="7099"/>
                  </a:lnTo>
                  <a:lnTo>
                    <a:pt x="10864" y="7099"/>
                  </a:lnTo>
                  <a:cubicBezTo>
                    <a:pt x="11085" y="7099"/>
                    <a:pt x="11264" y="6920"/>
                    <a:pt x="11264" y="6699"/>
                  </a:cubicBezTo>
                  <a:lnTo>
                    <a:pt x="11264" y="4565"/>
                  </a:lnTo>
                  <a:cubicBezTo>
                    <a:pt x="11264" y="4344"/>
                    <a:pt x="11085" y="4165"/>
                    <a:pt x="10864" y="4165"/>
                  </a:cubicBezTo>
                  <a:lnTo>
                    <a:pt x="7099" y="4165"/>
                  </a:lnTo>
                  <a:lnTo>
                    <a:pt x="7099" y="400"/>
                  </a:lnTo>
                  <a:cubicBezTo>
                    <a:pt x="7099" y="179"/>
                    <a:pt x="6920" y="0"/>
                    <a:pt x="6699" y="0"/>
                  </a:cubicBezTo>
                  <a:lnTo>
                    <a:pt x="4565" y="0"/>
                  </a:lnTo>
                  <a:cubicBezTo>
                    <a:pt x="4344" y="0"/>
                    <a:pt x="4165" y="179"/>
                    <a:pt x="4165" y="400"/>
                  </a:cubicBezTo>
                  <a:lnTo>
                    <a:pt x="4165" y="4165"/>
                  </a:lnTo>
                  <a:lnTo>
                    <a:pt x="400" y="4165"/>
                  </a:lnTo>
                  <a:cubicBezTo>
                    <a:pt x="179" y="4165"/>
                    <a:pt x="0" y="4344"/>
                    <a:pt x="0" y="4565"/>
                  </a:cubicBezTo>
                  <a:lnTo>
                    <a:pt x="0" y="6699"/>
                  </a:lnTo>
                  <a:cubicBezTo>
                    <a:pt x="0" y="6920"/>
                    <a:pt x="179" y="7099"/>
                    <a:pt x="400" y="709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0" name="îsḷïde">
              <a:extLst>
                <a:ext uri="{FF2B5EF4-FFF2-40B4-BE49-F238E27FC236}">
                  <a16:creationId xmlns:a16="http://schemas.microsoft.com/office/drawing/2014/main" id="{F7027C89-1BCC-4A00-9535-016DE4C49FD7}"/>
                </a:ext>
              </a:extLst>
            </p:cNvPr>
            <p:cNvSpPr/>
            <p:nvPr/>
          </p:nvSpPr>
          <p:spPr bwMode="auto">
            <a:xfrm>
              <a:off x="4069565" y="3014578"/>
              <a:ext cx="369969" cy="377806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  <a:gd name="connsiteX107" fmla="*/ 373273 h 605239"/>
                <a:gd name="connsiteY107" fmla="*/ 373273 h 605239"/>
                <a:gd name="connsiteX108" fmla="*/ 373273 h 605239"/>
                <a:gd name="connsiteY108" fmla="*/ 373273 h 605239"/>
                <a:gd name="connsiteX109" fmla="*/ 373273 h 605239"/>
                <a:gd name="connsiteY109" fmla="*/ 373273 h 605239"/>
                <a:gd name="connsiteX110" fmla="*/ 373273 h 605239"/>
                <a:gd name="connsiteY110" fmla="*/ 373273 h 605239"/>
                <a:gd name="connsiteX111" fmla="*/ 373273 h 605239"/>
                <a:gd name="connsiteY111" fmla="*/ 373273 h 605239"/>
                <a:gd name="connsiteX112" fmla="*/ 373273 h 605239"/>
                <a:gd name="connsiteY112" fmla="*/ 373273 h 605239"/>
                <a:gd name="connsiteX113" fmla="*/ 373273 h 605239"/>
                <a:gd name="connsiteY113" fmla="*/ 373273 h 605239"/>
                <a:gd name="connsiteX114" fmla="*/ 373273 h 605239"/>
                <a:gd name="connsiteY114" fmla="*/ 373273 h 605239"/>
                <a:gd name="connsiteX115" fmla="*/ 373273 h 605239"/>
                <a:gd name="connsiteY115" fmla="*/ 373273 h 605239"/>
                <a:gd name="connsiteX116" fmla="*/ 373273 h 605239"/>
                <a:gd name="connsiteY116" fmla="*/ 373273 h 605239"/>
                <a:gd name="connsiteX117" fmla="*/ 373273 h 605239"/>
                <a:gd name="connsiteY117" fmla="*/ 373273 h 605239"/>
                <a:gd name="connsiteX118" fmla="*/ 373273 h 605239"/>
                <a:gd name="connsiteY118" fmla="*/ 373273 h 605239"/>
                <a:gd name="connsiteX119" fmla="*/ 373273 h 605239"/>
                <a:gd name="connsiteY119" fmla="*/ 373273 h 605239"/>
                <a:gd name="connsiteX120" fmla="*/ 373273 h 605239"/>
                <a:gd name="connsiteY120" fmla="*/ 373273 h 605239"/>
                <a:gd name="connsiteX121" fmla="*/ 373273 h 605239"/>
                <a:gd name="connsiteY121" fmla="*/ 373273 h 605239"/>
                <a:gd name="connsiteX122" fmla="*/ 373273 h 605239"/>
                <a:gd name="connsiteY122" fmla="*/ 373273 h 605239"/>
                <a:gd name="connsiteX123" fmla="*/ 373273 h 605239"/>
                <a:gd name="connsiteY123" fmla="*/ 373273 h 605239"/>
                <a:gd name="connsiteX124" fmla="*/ 373273 h 605239"/>
                <a:gd name="connsiteY124" fmla="*/ 373273 h 605239"/>
                <a:gd name="connsiteX125" fmla="*/ 373273 h 605239"/>
                <a:gd name="connsiteY125" fmla="*/ 373273 h 605239"/>
                <a:gd name="connsiteX126" fmla="*/ 373273 h 605239"/>
                <a:gd name="connsiteY126" fmla="*/ 373273 h 605239"/>
                <a:gd name="connsiteX127" fmla="*/ 373273 h 605239"/>
                <a:gd name="connsiteY127" fmla="*/ 373273 h 605239"/>
                <a:gd name="connsiteX128" fmla="*/ 373273 h 605239"/>
                <a:gd name="connsiteY128" fmla="*/ 373273 h 605239"/>
                <a:gd name="connsiteX129" fmla="*/ 373273 h 605239"/>
                <a:gd name="connsiteY12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593733" h="606309">
                  <a:moveTo>
                    <a:pt x="353250" y="302855"/>
                  </a:moveTo>
                  <a:cubicBezTo>
                    <a:pt x="318468" y="302855"/>
                    <a:pt x="290232" y="331146"/>
                    <a:pt x="290232" y="365879"/>
                  </a:cubicBezTo>
                  <a:cubicBezTo>
                    <a:pt x="290232" y="374189"/>
                    <a:pt x="296964" y="380912"/>
                    <a:pt x="305285" y="380912"/>
                  </a:cubicBezTo>
                  <a:cubicBezTo>
                    <a:pt x="313607" y="380912"/>
                    <a:pt x="320338" y="374189"/>
                    <a:pt x="320338" y="365879"/>
                  </a:cubicBezTo>
                  <a:cubicBezTo>
                    <a:pt x="320338" y="347672"/>
                    <a:pt x="335111" y="333014"/>
                    <a:pt x="353250" y="333014"/>
                  </a:cubicBezTo>
                  <a:cubicBezTo>
                    <a:pt x="361665" y="333014"/>
                    <a:pt x="368397" y="326291"/>
                    <a:pt x="368397" y="317888"/>
                  </a:cubicBezTo>
                  <a:cubicBezTo>
                    <a:pt x="368397" y="309578"/>
                    <a:pt x="361665" y="302855"/>
                    <a:pt x="353250" y="302855"/>
                  </a:cubicBezTo>
                  <a:close/>
                  <a:moveTo>
                    <a:pt x="353250" y="265041"/>
                  </a:moveTo>
                  <a:cubicBezTo>
                    <a:pt x="409163" y="265041"/>
                    <a:pt x="454229" y="310232"/>
                    <a:pt x="454229" y="365879"/>
                  </a:cubicBezTo>
                  <a:cubicBezTo>
                    <a:pt x="454229" y="421527"/>
                    <a:pt x="408976" y="466717"/>
                    <a:pt x="353250" y="466717"/>
                  </a:cubicBezTo>
                  <a:cubicBezTo>
                    <a:pt x="297525" y="466717"/>
                    <a:pt x="252271" y="421527"/>
                    <a:pt x="252271" y="365879"/>
                  </a:cubicBezTo>
                  <a:cubicBezTo>
                    <a:pt x="252271" y="310232"/>
                    <a:pt x="297431" y="265041"/>
                    <a:pt x="353250" y="265041"/>
                  </a:cubicBezTo>
                  <a:close/>
                  <a:moveTo>
                    <a:pt x="427779" y="133781"/>
                  </a:moveTo>
                  <a:cubicBezTo>
                    <a:pt x="432818" y="131960"/>
                    <a:pt x="438547" y="132054"/>
                    <a:pt x="443784" y="134482"/>
                  </a:cubicBezTo>
                  <a:lnTo>
                    <a:pt x="473245" y="148209"/>
                  </a:lnTo>
                  <a:cubicBezTo>
                    <a:pt x="483720" y="153158"/>
                    <a:pt x="488209" y="165671"/>
                    <a:pt x="483346" y="176130"/>
                  </a:cubicBezTo>
                  <a:lnTo>
                    <a:pt x="470252" y="203957"/>
                  </a:lnTo>
                  <a:cubicBezTo>
                    <a:pt x="492231" y="219646"/>
                    <a:pt x="511123" y="240003"/>
                    <a:pt x="525526" y="264095"/>
                  </a:cubicBezTo>
                  <a:lnTo>
                    <a:pt x="554426" y="253636"/>
                  </a:lnTo>
                  <a:cubicBezTo>
                    <a:pt x="565368" y="249714"/>
                    <a:pt x="577340" y="255411"/>
                    <a:pt x="581361" y="266243"/>
                  </a:cubicBezTo>
                  <a:lnTo>
                    <a:pt x="592491" y="296592"/>
                  </a:lnTo>
                  <a:cubicBezTo>
                    <a:pt x="596419" y="307612"/>
                    <a:pt x="590714" y="319564"/>
                    <a:pt x="579865" y="323486"/>
                  </a:cubicBezTo>
                  <a:lnTo>
                    <a:pt x="550965" y="333945"/>
                  </a:lnTo>
                  <a:cubicBezTo>
                    <a:pt x="555455" y="361586"/>
                    <a:pt x="553958" y="389414"/>
                    <a:pt x="547224" y="415561"/>
                  </a:cubicBezTo>
                  <a:lnTo>
                    <a:pt x="575095" y="428634"/>
                  </a:lnTo>
                  <a:cubicBezTo>
                    <a:pt x="585570" y="433490"/>
                    <a:pt x="590059" y="445910"/>
                    <a:pt x="585102" y="456649"/>
                  </a:cubicBezTo>
                  <a:lnTo>
                    <a:pt x="571354" y="485970"/>
                  </a:lnTo>
                  <a:cubicBezTo>
                    <a:pt x="566397" y="496429"/>
                    <a:pt x="553958" y="500911"/>
                    <a:pt x="543483" y="496056"/>
                  </a:cubicBezTo>
                  <a:lnTo>
                    <a:pt x="515238" y="482982"/>
                  </a:lnTo>
                  <a:cubicBezTo>
                    <a:pt x="499526" y="504833"/>
                    <a:pt x="479137" y="523510"/>
                    <a:pt x="455007" y="537704"/>
                  </a:cubicBezTo>
                  <a:lnTo>
                    <a:pt x="465763" y="567026"/>
                  </a:lnTo>
                  <a:cubicBezTo>
                    <a:pt x="469784" y="578045"/>
                    <a:pt x="463986" y="589997"/>
                    <a:pt x="453137" y="593919"/>
                  </a:cubicBezTo>
                  <a:lnTo>
                    <a:pt x="422741" y="605032"/>
                  </a:lnTo>
                  <a:cubicBezTo>
                    <a:pt x="411798" y="609047"/>
                    <a:pt x="399827" y="603258"/>
                    <a:pt x="395805" y="592425"/>
                  </a:cubicBezTo>
                  <a:lnTo>
                    <a:pt x="385050" y="562823"/>
                  </a:lnTo>
                  <a:cubicBezTo>
                    <a:pt x="357646" y="567212"/>
                    <a:pt x="330056" y="565718"/>
                    <a:pt x="304149" y="558995"/>
                  </a:cubicBezTo>
                  <a:lnTo>
                    <a:pt x="290682" y="587756"/>
                  </a:lnTo>
                  <a:cubicBezTo>
                    <a:pt x="285725" y="598215"/>
                    <a:pt x="273192" y="602697"/>
                    <a:pt x="262717" y="597841"/>
                  </a:cubicBezTo>
                  <a:lnTo>
                    <a:pt x="233350" y="584114"/>
                  </a:lnTo>
                  <a:cubicBezTo>
                    <a:pt x="222875" y="579165"/>
                    <a:pt x="218385" y="566652"/>
                    <a:pt x="223249" y="556193"/>
                  </a:cubicBezTo>
                  <a:lnTo>
                    <a:pt x="236810" y="527338"/>
                  </a:lnTo>
                  <a:cubicBezTo>
                    <a:pt x="215112" y="511650"/>
                    <a:pt x="196407" y="491480"/>
                    <a:pt x="182284" y="467668"/>
                  </a:cubicBezTo>
                  <a:lnTo>
                    <a:pt x="152169" y="478687"/>
                  </a:lnTo>
                  <a:cubicBezTo>
                    <a:pt x="141133" y="482609"/>
                    <a:pt x="129161" y="476912"/>
                    <a:pt x="125233" y="466080"/>
                  </a:cubicBezTo>
                  <a:lnTo>
                    <a:pt x="114104" y="435731"/>
                  </a:lnTo>
                  <a:cubicBezTo>
                    <a:pt x="110082" y="424712"/>
                    <a:pt x="115881" y="412759"/>
                    <a:pt x="126730" y="408837"/>
                  </a:cubicBezTo>
                  <a:lnTo>
                    <a:pt x="156845" y="397818"/>
                  </a:lnTo>
                  <a:cubicBezTo>
                    <a:pt x="153852" y="379422"/>
                    <a:pt x="153478" y="361026"/>
                    <a:pt x="155629" y="342910"/>
                  </a:cubicBezTo>
                  <a:lnTo>
                    <a:pt x="158622" y="343097"/>
                  </a:lnTo>
                  <a:cubicBezTo>
                    <a:pt x="181162" y="344030"/>
                    <a:pt x="200522" y="327408"/>
                    <a:pt x="203141" y="305370"/>
                  </a:cubicBezTo>
                  <a:cubicBezTo>
                    <a:pt x="207723" y="303876"/>
                    <a:pt x="212119" y="302195"/>
                    <a:pt x="216515" y="300515"/>
                  </a:cubicBezTo>
                  <a:cubicBezTo>
                    <a:pt x="220349" y="304063"/>
                    <a:pt x="224745" y="306958"/>
                    <a:pt x="229609" y="308919"/>
                  </a:cubicBezTo>
                  <a:cubicBezTo>
                    <a:pt x="219227" y="330957"/>
                    <a:pt x="214831" y="355983"/>
                    <a:pt x="217824" y="381943"/>
                  </a:cubicBezTo>
                  <a:cubicBezTo>
                    <a:pt x="226709" y="456462"/>
                    <a:pt x="294329" y="509876"/>
                    <a:pt x="368963" y="501192"/>
                  </a:cubicBezTo>
                  <a:cubicBezTo>
                    <a:pt x="443691" y="492320"/>
                    <a:pt x="497188" y="424899"/>
                    <a:pt x="488490" y="350287"/>
                  </a:cubicBezTo>
                  <a:cubicBezTo>
                    <a:pt x="479605" y="275675"/>
                    <a:pt x="411985" y="222260"/>
                    <a:pt x="337351" y="231038"/>
                  </a:cubicBezTo>
                  <a:cubicBezTo>
                    <a:pt x="324632" y="232532"/>
                    <a:pt x="312473" y="235707"/>
                    <a:pt x="301156" y="240376"/>
                  </a:cubicBezTo>
                  <a:cubicBezTo>
                    <a:pt x="299660" y="236268"/>
                    <a:pt x="297509" y="232345"/>
                    <a:pt x="294797" y="228890"/>
                  </a:cubicBezTo>
                  <a:cubicBezTo>
                    <a:pt x="297041" y="224688"/>
                    <a:pt x="299005" y="220393"/>
                    <a:pt x="300782" y="216097"/>
                  </a:cubicBezTo>
                  <a:cubicBezTo>
                    <a:pt x="311164" y="215817"/>
                    <a:pt x="320891" y="211802"/>
                    <a:pt x="328466" y="204891"/>
                  </a:cubicBezTo>
                  <a:cubicBezTo>
                    <a:pt x="336977" y="197141"/>
                    <a:pt x="341934" y="186589"/>
                    <a:pt x="342402" y="175103"/>
                  </a:cubicBezTo>
                  <a:lnTo>
                    <a:pt x="342776" y="166978"/>
                  </a:lnTo>
                  <a:cubicBezTo>
                    <a:pt x="363164" y="165764"/>
                    <a:pt x="383460" y="167912"/>
                    <a:pt x="402820" y="172768"/>
                  </a:cubicBezTo>
                  <a:lnTo>
                    <a:pt x="415913" y="144567"/>
                  </a:lnTo>
                  <a:cubicBezTo>
                    <a:pt x="418392" y="139338"/>
                    <a:pt x="422741" y="135602"/>
                    <a:pt x="427779" y="133781"/>
                  </a:cubicBezTo>
                  <a:close/>
                  <a:moveTo>
                    <a:pt x="159906" y="88589"/>
                  </a:moveTo>
                  <a:cubicBezTo>
                    <a:pt x="142487" y="87818"/>
                    <a:pt x="124764" y="93678"/>
                    <a:pt x="110828" y="106378"/>
                  </a:cubicBezTo>
                  <a:cubicBezTo>
                    <a:pt x="96145" y="119731"/>
                    <a:pt x="88663" y="138127"/>
                    <a:pt x="88663" y="156523"/>
                  </a:cubicBezTo>
                  <a:cubicBezTo>
                    <a:pt x="88663" y="172958"/>
                    <a:pt x="94555" y="189393"/>
                    <a:pt x="106526" y="202467"/>
                  </a:cubicBezTo>
                  <a:cubicBezTo>
                    <a:pt x="131965" y="230294"/>
                    <a:pt x="175081" y="232162"/>
                    <a:pt x="202764" y="206762"/>
                  </a:cubicBezTo>
                  <a:cubicBezTo>
                    <a:pt x="217448" y="193409"/>
                    <a:pt x="224930" y="175013"/>
                    <a:pt x="224930" y="156523"/>
                  </a:cubicBezTo>
                  <a:cubicBezTo>
                    <a:pt x="224930" y="140088"/>
                    <a:pt x="219132" y="123653"/>
                    <a:pt x="207160" y="110580"/>
                  </a:cubicBezTo>
                  <a:cubicBezTo>
                    <a:pt x="194441" y="96760"/>
                    <a:pt x="177325" y="89359"/>
                    <a:pt x="159906" y="88589"/>
                  </a:cubicBezTo>
                  <a:close/>
                  <a:moveTo>
                    <a:pt x="153289" y="17"/>
                  </a:moveTo>
                  <a:lnTo>
                    <a:pt x="173678" y="951"/>
                  </a:lnTo>
                  <a:cubicBezTo>
                    <a:pt x="180786" y="1325"/>
                    <a:pt x="186304" y="7114"/>
                    <a:pt x="186304" y="14118"/>
                  </a:cubicBezTo>
                  <a:lnTo>
                    <a:pt x="186304" y="14771"/>
                  </a:lnTo>
                  <a:lnTo>
                    <a:pt x="185462" y="34755"/>
                  </a:lnTo>
                  <a:cubicBezTo>
                    <a:pt x="201923" y="38677"/>
                    <a:pt x="217729" y="45774"/>
                    <a:pt x="231851" y="56232"/>
                  </a:cubicBezTo>
                  <a:lnTo>
                    <a:pt x="246535" y="42786"/>
                  </a:lnTo>
                  <a:cubicBezTo>
                    <a:pt x="251866" y="37930"/>
                    <a:pt x="260283" y="38303"/>
                    <a:pt x="265240" y="43626"/>
                  </a:cubicBezTo>
                  <a:lnTo>
                    <a:pt x="279082" y="58660"/>
                  </a:lnTo>
                  <a:cubicBezTo>
                    <a:pt x="281420" y="61275"/>
                    <a:pt x="282542" y="64450"/>
                    <a:pt x="282542" y="67625"/>
                  </a:cubicBezTo>
                  <a:cubicBezTo>
                    <a:pt x="282542" y="71173"/>
                    <a:pt x="281233" y="74722"/>
                    <a:pt x="278334" y="77337"/>
                  </a:cubicBezTo>
                  <a:lnTo>
                    <a:pt x="263744" y="90690"/>
                  </a:lnTo>
                  <a:cubicBezTo>
                    <a:pt x="273096" y="105537"/>
                    <a:pt x="278988" y="121973"/>
                    <a:pt x="281420" y="138781"/>
                  </a:cubicBezTo>
                  <a:lnTo>
                    <a:pt x="301061" y="139621"/>
                  </a:lnTo>
                  <a:cubicBezTo>
                    <a:pt x="308169" y="139995"/>
                    <a:pt x="313593" y="145878"/>
                    <a:pt x="313593" y="152788"/>
                  </a:cubicBezTo>
                  <a:lnTo>
                    <a:pt x="313593" y="153442"/>
                  </a:lnTo>
                  <a:lnTo>
                    <a:pt x="312751" y="173892"/>
                  </a:lnTo>
                  <a:cubicBezTo>
                    <a:pt x="312377" y="181083"/>
                    <a:pt x="306298" y="186779"/>
                    <a:pt x="298910" y="186405"/>
                  </a:cubicBezTo>
                  <a:lnTo>
                    <a:pt x="279456" y="185565"/>
                  </a:lnTo>
                  <a:cubicBezTo>
                    <a:pt x="275622" y="202093"/>
                    <a:pt x="268327" y="218061"/>
                    <a:pt x="257758" y="232162"/>
                  </a:cubicBezTo>
                  <a:lnTo>
                    <a:pt x="270852" y="246449"/>
                  </a:lnTo>
                  <a:cubicBezTo>
                    <a:pt x="273190" y="249064"/>
                    <a:pt x="274312" y="252145"/>
                    <a:pt x="274312" y="255414"/>
                  </a:cubicBezTo>
                  <a:cubicBezTo>
                    <a:pt x="274312" y="258869"/>
                    <a:pt x="273003" y="262511"/>
                    <a:pt x="270104" y="265126"/>
                  </a:cubicBezTo>
                  <a:lnTo>
                    <a:pt x="255046" y="278946"/>
                  </a:lnTo>
                  <a:cubicBezTo>
                    <a:pt x="249621" y="283802"/>
                    <a:pt x="241297" y="283428"/>
                    <a:pt x="236340" y="278106"/>
                  </a:cubicBezTo>
                  <a:lnTo>
                    <a:pt x="223247" y="263724"/>
                  </a:lnTo>
                  <a:cubicBezTo>
                    <a:pt x="208282" y="272970"/>
                    <a:pt x="191635" y="278853"/>
                    <a:pt x="174800" y="281187"/>
                  </a:cubicBezTo>
                  <a:lnTo>
                    <a:pt x="173958" y="300610"/>
                  </a:lnTo>
                  <a:cubicBezTo>
                    <a:pt x="173584" y="307801"/>
                    <a:pt x="167505" y="313590"/>
                    <a:pt x="160117" y="313217"/>
                  </a:cubicBezTo>
                  <a:lnTo>
                    <a:pt x="139634" y="312283"/>
                  </a:lnTo>
                  <a:cubicBezTo>
                    <a:pt x="132526" y="311909"/>
                    <a:pt x="127102" y="306120"/>
                    <a:pt x="127102" y="299116"/>
                  </a:cubicBezTo>
                  <a:lnTo>
                    <a:pt x="127102" y="298463"/>
                  </a:lnTo>
                  <a:lnTo>
                    <a:pt x="128037" y="279039"/>
                  </a:lnTo>
                  <a:cubicBezTo>
                    <a:pt x="111577" y="275211"/>
                    <a:pt x="95771" y="267834"/>
                    <a:pt x="81648" y="257281"/>
                  </a:cubicBezTo>
                  <a:lnTo>
                    <a:pt x="67058" y="270635"/>
                  </a:lnTo>
                  <a:cubicBezTo>
                    <a:pt x="61727" y="275491"/>
                    <a:pt x="53403" y="275117"/>
                    <a:pt x="48353" y="269701"/>
                  </a:cubicBezTo>
                  <a:lnTo>
                    <a:pt x="34511" y="254667"/>
                  </a:lnTo>
                  <a:cubicBezTo>
                    <a:pt x="32173" y="252052"/>
                    <a:pt x="31051" y="248970"/>
                    <a:pt x="31051" y="245702"/>
                  </a:cubicBezTo>
                  <a:cubicBezTo>
                    <a:pt x="31051" y="242247"/>
                    <a:pt x="32453" y="238605"/>
                    <a:pt x="35259" y="235990"/>
                  </a:cubicBezTo>
                  <a:lnTo>
                    <a:pt x="50036" y="222544"/>
                  </a:lnTo>
                  <a:cubicBezTo>
                    <a:pt x="40777" y="207696"/>
                    <a:pt x="35072" y="191261"/>
                    <a:pt x="32640" y="174639"/>
                  </a:cubicBezTo>
                  <a:lnTo>
                    <a:pt x="12626" y="173705"/>
                  </a:lnTo>
                  <a:cubicBezTo>
                    <a:pt x="5518" y="173332"/>
                    <a:pt x="0" y="167542"/>
                    <a:pt x="0" y="160539"/>
                  </a:cubicBezTo>
                  <a:lnTo>
                    <a:pt x="0" y="159885"/>
                  </a:lnTo>
                  <a:lnTo>
                    <a:pt x="842" y="139621"/>
                  </a:lnTo>
                  <a:cubicBezTo>
                    <a:pt x="1216" y="132431"/>
                    <a:pt x="7388" y="126642"/>
                    <a:pt x="14683" y="127015"/>
                  </a:cubicBezTo>
                  <a:lnTo>
                    <a:pt x="34885" y="127949"/>
                  </a:lnTo>
                  <a:cubicBezTo>
                    <a:pt x="38813" y="111514"/>
                    <a:pt x="46015" y="95826"/>
                    <a:pt x="56490" y="81819"/>
                  </a:cubicBezTo>
                  <a:lnTo>
                    <a:pt x="42741" y="66878"/>
                  </a:lnTo>
                  <a:cubicBezTo>
                    <a:pt x="40403" y="64263"/>
                    <a:pt x="39281" y="61182"/>
                    <a:pt x="39281" y="57913"/>
                  </a:cubicBezTo>
                  <a:cubicBezTo>
                    <a:pt x="39281" y="54458"/>
                    <a:pt x="40684" y="50816"/>
                    <a:pt x="43490" y="48202"/>
                  </a:cubicBezTo>
                  <a:lnTo>
                    <a:pt x="58641" y="34381"/>
                  </a:lnTo>
                  <a:cubicBezTo>
                    <a:pt x="63972" y="29526"/>
                    <a:pt x="72296" y="29899"/>
                    <a:pt x="77346" y="35315"/>
                  </a:cubicBezTo>
                  <a:lnTo>
                    <a:pt x="90627" y="50256"/>
                  </a:lnTo>
                  <a:cubicBezTo>
                    <a:pt x="105591" y="41011"/>
                    <a:pt x="121864" y="35128"/>
                    <a:pt x="138512" y="32794"/>
                  </a:cubicBezTo>
                  <a:lnTo>
                    <a:pt x="139447" y="12624"/>
                  </a:lnTo>
                  <a:cubicBezTo>
                    <a:pt x="139821" y="5433"/>
                    <a:pt x="145901" y="-356"/>
                    <a:pt x="153289" y="17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1" name="îṣḻïḓè">
              <a:extLst>
                <a:ext uri="{FF2B5EF4-FFF2-40B4-BE49-F238E27FC236}">
                  <a16:creationId xmlns:a16="http://schemas.microsoft.com/office/drawing/2014/main" id="{30C8A656-A69C-4844-9B4C-38593487F7D6}"/>
                </a:ext>
              </a:extLst>
            </p:cNvPr>
            <p:cNvSpPr/>
            <p:nvPr/>
          </p:nvSpPr>
          <p:spPr bwMode="auto">
            <a:xfrm>
              <a:off x="3563916" y="3658051"/>
              <a:ext cx="377806" cy="377072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81741" h="580612">
                  <a:moveTo>
                    <a:pt x="291612" y="187916"/>
                  </a:moveTo>
                  <a:cubicBezTo>
                    <a:pt x="304876" y="187916"/>
                    <a:pt x="315648" y="198758"/>
                    <a:pt x="315648" y="212088"/>
                  </a:cubicBezTo>
                  <a:lnTo>
                    <a:pt x="315648" y="491836"/>
                  </a:lnTo>
                  <a:lnTo>
                    <a:pt x="331227" y="473974"/>
                  </a:lnTo>
                  <a:cubicBezTo>
                    <a:pt x="339863" y="463932"/>
                    <a:pt x="355086" y="462866"/>
                    <a:pt x="365145" y="471574"/>
                  </a:cubicBezTo>
                  <a:cubicBezTo>
                    <a:pt x="375116" y="480372"/>
                    <a:pt x="376184" y="495657"/>
                    <a:pt x="367460" y="505699"/>
                  </a:cubicBezTo>
                  <a:lnTo>
                    <a:pt x="309773" y="572348"/>
                  </a:lnTo>
                  <a:cubicBezTo>
                    <a:pt x="305143" y="577502"/>
                    <a:pt x="298556" y="580612"/>
                    <a:pt x="291612" y="580612"/>
                  </a:cubicBezTo>
                  <a:cubicBezTo>
                    <a:pt x="284579" y="580612"/>
                    <a:pt x="278080" y="577680"/>
                    <a:pt x="273451" y="572348"/>
                  </a:cubicBezTo>
                  <a:lnTo>
                    <a:pt x="215764" y="505699"/>
                  </a:lnTo>
                  <a:cubicBezTo>
                    <a:pt x="207039" y="495657"/>
                    <a:pt x="208108" y="480372"/>
                    <a:pt x="218078" y="471574"/>
                  </a:cubicBezTo>
                  <a:cubicBezTo>
                    <a:pt x="228049" y="462866"/>
                    <a:pt x="243272" y="463932"/>
                    <a:pt x="252085" y="473974"/>
                  </a:cubicBezTo>
                  <a:lnTo>
                    <a:pt x="267486" y="491747"/>
                  </a:lnTo>
                  <a:lnTo>
                    <a:pt x="267486" y="212088"/>
                  </a:lnTo>
                  <a:cubicBezTo>
                    <a:pt x="267486" y="198758"/>
                    <a:pt x="278258" y="187916"/>
                    <a:pt x="291612" y="187916"/>
                  </a:cubicBezTo>
                  <a:close/>
                  <a:moveTo>
                    <a:pt x="329499" y="0"/>
                  </a:moveTo>
                  <a:cubicBezTo>
                    <a:pt x="426248" y="0"/>
                    <a:pt x="465322" y="80426"/>
                    <a:pt x="473332" y="108153"/>
                  </a:cubicBezTo>
                  <a:cubicBezTo>
                    <a:pt x="535280" y="120684"/>
                    <a:pt x="581474" y="175693"/>
                    <a:pt x="581741" y="241190"/>
                  </a:cubicBezTo>
                  <a:cubicBezTo>
                    <a:pt x="581741" y="315840"/>
                    <a:pt x="521306" y="376537"/>
                    <a:pt x="446987" y="376537"/>
                  </a:cubicBezTo>
                  <a:lnTo>
                    <a:pt x="372756" y="376537"/>
                  </a:lnTo>
                  <a:cubicBezTo>
                    <a:pt x="359316" y="376537"/>
                    <a:pt x="348546" y="365606"/>
                    <a:pt x="348546" y="352276"/>
                  </a:cubicBezTo>
                  <a:cubicBezTo>
                    <a:pt x="348546" y="338857"/>
                    <a:pt x="359316" y="327926"/>
                    <a:pt x="372756" y="327926"/>
                  </a:cubicBezTo>
                  <a:lnTo>
                    <a:pt x="446987" y="327926"/>
                  </a:lnTo>
                  <a:cubicBezTo>
                    <a:pt x="494605" y="327926"/>
                    <a:pt x="533322" y="289090"/>
                    <a:pt x="533322" y="241190"/>
                  </a:cubicBezTo>
                  <a:cubicBezTo>
                    <a:pt x="533322" y="195334"/>
                    <a:pt x="497720" y="157298"/>
                    <a:pt x="452238" y="154632"/>
                  </a:cubicBezTo>
                  <a:cubicBezTo>
                    <a:pt x="440934" y="153921"/>
                    <a:pt x="431589" y="145478"/>
                    <a:pt x="429809" y="134192"/>
                  </a:cubicBezTo>
                  <a:cubicBezTo>
                    <a:pt x="421709" y="84692"/>
                    <a:pt x="379609" y="48789"/>
                    <a:pt x="329677" y="48789"/>
                  </a:cubicBezTo>
                  <a:cubicBezTo>
                    <a:pt x="279567" y="48789"/>
                    <a:pt x="238001" y="84781"/>
                    <a:pt x="229457" y="134192"/>
                  </a:cubicBezTo>
                  <a:cubicBezTo>
                    <a:pt x="226520" y="151521"/>
                    <a:pt x="212190" y="162807"/>
                    <a:pt x="192964" y="151077"/>
                  </a:cubicBezTo>
                  <a:cubicBezTo>
                    <a:pt x="178011" y="141834"/>
                    <a:pt x="160922" y="136947"/>
                    <a:pt x="143299" y="136947"/>
                  </a:cubicBezTo>
                  <a:cubicBezTo>
                    <a:pt x="90964" y="136947"/>
                    <a:pt x="48419" y="179693"/>
                    <a:pt x="48419" y="232303"/>
                  </a:cubicBezTo>
                  <a:cubicBezTo>
                    <a:pt x="48419" y="284913"/>
                    <a:pt x="90964" y="327748"/>
                    <a:pt x="143299" y="327748"/>
                  </a:cubicBezTo>
                  <a:lnTo>
                    <a:pt x="218776" y="327748"/>
                  </a:lnTo>
                  <a:cubicBezTo>
                    <a:pt x="232216" y="327748"/>
                    <a:pt x="242986" y="338590"/>
                    <a:pt x="242986" y="352009"/>
                  </a:cubicBezTo>
                  <a:cubicBezTo>
                    <a:pt x="242986" y="365429"/>
                    <a:pt x="232216" y="376271"/>
                    <a:pt x="218776" y="376271"/>
                  </a:cubicBezTo>
                  <a:lnTo>
                    <a:pt x="143299" y="376271"/>
                  </a:lnTo>
                  <a:cubicBezTo>
                    <a:pt x="64262" y="376271"/>
                    <a:pt x="0" y="311574"/>
                    <a:pt x="0" y="232214"/>
                  </a:cubicBezTo>
                  <a:cubicBezTo>
                    <a:pt x="0" y="152854"/>
                    <a:pt x="64262" y="88158"/>
                    <a:pt x="143210" y="88158"/>
                  </a:cubicBezTo>
                  <a:cubicBezTo>
                    <a:pt x="159231" y="88158"/>
                    <a:pt x="174896" y="90735"/>
                    <a:pt x="189849" y="95978"/>
                  </a:cubicBezTo>
                  <a:cubicBezTo>
                    <a:pt x="198749" y="73050"/>
                    <a:pt x="238891" y="0"/>
                    <a:pt x="32949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2" name="iş1iḑe">
              <a:extLst>
                <a:ext uri="{FF2B5EF4-FFF2-40B4-BE49-F238E27FC236}">
                  <a16:creationId xmlns:a16="http://schemas.microsoft.com/office/drawing/2014/main" id="{79D5FAF9-096B-4C61-A299-6A26A276E128}"/>
                </a:ext>
              </a:extLst>
            </p:cNvPr>
            <p:cNvSpPr/>
            <p:nvPr/>
          </p:nvSpPr>
          <p:spPr bwMode="auto">
            <a:xfrm>
              <a:off x="3025037" y="4301073"/>
              <a:ext cx="377806" cy="377236"/>
            </a:xfrm>
            <a:custGeom>
              <a:avLst/>
              <a:gdLst>
                <a:gd name="connsiteX0" fmla="*/ 303820 w 607639"/>
                <a:gd name="connsiteY0" fmla="*/ 278099 h 606722"/>
                <a:gd name="connsiteX1" fmla="*/ 329118 w 607639"/>
                <a:gd name="connsiteY1" fmla="*/ 303362 h 606722"/>
                <a:gd name="connsiteX2" fmla="*/ 303820 w 607639"/>
                <a:gd name="connsiteY2" fmla="*/ 328625 h 606722"/>
                <a:gd name="connsiteX3" fmla="*/ 278522 w 607639"/>
                <a:gd name="connsiteY3" fmla="*/ 303362 h 606722"/>
                <a:gd name="connsiteX4" fmla="*/ 303820 w 607639"/>
                <a:gd name="connsiteY4" fmla="*/ 278099 h 606722"/>
                <a:gd name="connsiteX5" fmla="*/ 303775 w 607639"/>
                <a:gd name="connsiteY5" fmla="*/ 252735 h 606722"/>
                <a:gd name="connsiteX6" fmla="*/ 253140 w 607639"/>
                <a:gd name="connsiteY6" fmla="*/ 303317 h 606722"/>
                <a:gd name="connsiteX7" fmla="*/ 303775 w 607639"/>
                <a:gd name="connsiteY7" fmla="*/ 353900 h 606722"/>
                <a:gd name="connsiteX8" fmla="*/ 354410 w 607639"/>
                <a:gd name="connsiteY8" fmla="*/ 303317 h 606722"/>
                <a:gd name="connsiteX9" fmla="*/ 303775 w 607639"/>
                <a:gd name="connsiteY9" fmla="*/ 252735 h 606722"/>
                <a:gd name="connsiteX10" fmla="*/ 303775 w 607639"/>
                <a:gd name="connsiteY10" fmla="*/ 202241 h 606722"/>
                <a:gd name="connsiteX11" fmla="*/ 405045 w 607639"/>
                <a:gd name="connsiteY11" fmla="*/ 303317 h 606722"/>
                <a:gd name="connsiteX12" fmla="*/ 303775 w 607639"/>
                <a:gd name="connsiteY12" fmla="*/ 404482 h 606722"/>
                <a:gd name="connsiteX13" fmla="*/ 202593 w 607639"/>
                <a:gd name="connsiteY13" fmla="*/ 303317 h 606722"/>
                <a:gd name="connsiteX14" fmla="*/ 303775 w 607639"/>
                <a:gd name="connsiteY14" fmla="*/ 202241 h 606722"/>
                <a:gd name="connsiteX15" fmla="*/ 303775 w 607639"/>
                <a:gd name="connsiteY15" fmla="*/ 151703 h 606722"/>
                <a:gd name="connsiteX16" fmla="*/ 151932 w 607639"/>
                <a:gd name="connsiteY16" fmla="*/ 303317 h 606722"/>
                <a:gd name="connsiteX17" fmla="*/ 303775 w 607639"/>
                <a:gd name="connsiteY17" fmla="*/ 455019 h 606722"/>
                <a:gd name="connsiteX18" fmla="*/ 455707 w 607639"/>
                <a:gd name="connsiteY18" fmla="*/ 303317 h 606722"/>
                <a:gd name="connsiteX19" fmla="*/ 303775 w 607639"/>
                <a:gd name="connsiteY19" fmla="*/ 151703 h 606722"/>
                <a:gd name="connsiteX20" fmla="*/ 253131 w 607639"/>
                <a:gd name="connsiteY20" fmla="*/ 0 h 606722"/>
                <a:gd name="connsiteX21" fmla="*/ 354419 w 607639"/>
                <a:gd name="connsiteY21" fmla="*/ 0 h 606722"/>
                <a:gd name="connsiteX22" fmla="*/ 379786 w 607639"/>
                <a:gd name="connsiteY22" fmla="*/ 25239 h 606722"/>
                <a:gd name="connsiteX23" fmla="*/ 379786 w 607639"/>
                <a:gd name="connsiteY23" fmla="*/ 62387 h 606722"/>
                <a:gd name="connsiteX24" fmla="*/ 420639 w 607639"/>
                <a:gd name="connsiteY24" fmla="*/ 79451 h 606722"/>
                <a:gd name="connsiteX25" fmla="*/ 446985 w 607639"/>
                <a:gd name="connsiteY25" fmla="*/ 53145 h 606722"/>
                <a:gd name="connsiteX26" fmla="*/ 482854 w 607639"/>
                <a:gd name="connsiteY26" fmla="*/ 53145 h 606722"/>
                <a:gd name="connsiteX27" fmla="*/ 554414 w 607639"/>
                <a:gd name="connsiteY27" fmla="*/ 124597 h 606722"/>
                <a:gd name="connsiteX28" fmla="*/ 554414 w 607639"/>
                <a:gd name="connsiteY28" fmla="*/ 160323 h 606722"/>
                <a:gd name="connsiteX29" fmla="*/ 528069 w 607639"/>
                <a:gd name="connsiteY29" fmla="*/ 186629 h 606722"/>
                <a:gd name="connsiteX30" fmla="*/ 545158 w 607639"/>
                <a:gd name="connsiteY30" fmla="*/ 227510 h 606722"/>
                <a:gd name="connsiteX31" fmla="*/ 582273 w 607639"/>
                <a:gd name="connsiteY31" fmla="*/ 227510 h 606722"/>
                <a:gd name="connsiteX32" fmla="*/ 607639 w 607639"/>
                <a:gd name="connsiteY32" fmla="*/ 252749 h 606722"/>
                <a:gd name="connsiteX33" fmla="*/ 607639 w 607639"/>
                <a:gd name="connsiteY33" fmla="*/ 353884 h 606722"/>
                <a:gd name="connsiteX34" fmla="*/ 582273 w 607639"/>
                <a:gd name="connsiteY34" fmla="*/ 379212 h 606722"/>
                <a:gd name="connsiteX35" fmla="*/ 545158 w 607639"/>
                <a:gd name="connsiteY35" fmla="*/ 379212 h 606722"/>
                <a:gd name="connsiteX36" fmla="*/ 528069 w 607639"/>
                <a:gd name="connsiteY36" fmla="*/ 420004 h 606722"/>
                <a:gd name="connsiteX37" fmla="*/ 554414 w 607639"/>
                <a:gd name="connsiteY37" fmla="*/ 446310 h 606722"/>
                <a:gd name="connsiteX38" fmla="*/ 554414 w 607639"/>
                <a:gd name="connsiteY38" fmla="*/ 482125 h 606722"/>
                <a:gd name="connsiteX39" fmla="*/ 482854 w 607639"/>
                <a:gd name="connsiteY39" fmla="*/ 553577 h 606722"/>
                <a:gd name="connsiteX40" fmla="*/ 446985 w 607639"/>
                <a:gd name="connsiteY40" fmla="*/ 553577 h 606722"/>
                <a:gd name="connsiteX41" fmla="*/ 420639 w 607639"/>
                <a:gd name="connsiteY41" fmla="*/ 527271 h 606722"/>
                <a:gd name="connsiteX42" fmla="*/ 379786 w 607639"/>
                <a:gd name="connsiteY42" fmla="*/ 544246 h 606722"/>
                <a:gd name="connsiteX43" fmla="*/ 379786 w 607639"/>
                <a:gd name="connsiteY43" fmla="*/ 581394 h 606722"/>
                <a:gd name="connsiteX44" fmla="*/ 354419 w 607639"/>
                <a:gd name="connsiteY44" fmla="*/ 606722 h 606722"/>
                <a:gd name="connsiteX45" fmla="*/ 253131 w 607639"/>
                <a:gd name="connsiteY45" fmla="*/ 606722 h 606722"/>
                <a:gd name="connsiteX46" fmla="*/ 227854 w 607639"/>
                <a:gd name="connsiteY46" fmla="*/ 581394 h 606722"/>
                <a:gd name="connsiteX47" fmla="*/ 227854 w 607639"/>
                <a:gd name="connsiteY47" fmla="*/ 544246 h 606722"/>
                <a:gd name="connsiteX48" fmla="*/ 186911 w 607639"/>
                <a:gd name="connsiteY48" fmla="*/ 527271 h 606722"/>
                <a:gd name="connsiteX49" fmla="*/ 160566 w 607639"/>
                <a:gd name="connsiteY49" fmla="*/ 553577 h 606722"/>
                <a:gd name="connsiteX50" fmla="*/ 124786 w 607639"/>
                <a:gd name="connsiteY50" fmla="*/ 553577 h 606722"/>
                <a:gd name="connsiteX51" fmla="*/ 53225 w 607639"/>
                <a:gd name="connsiteY51" fmla="*/ 482125 h 606722"/>
                <a:gd name="connsiteX52" fmla="*/ 53225 w 607639"/>
                <a:gd name="connsiteY52" fmla="*/ 446310 h 606722"/>
                <a:gd name="connsiteX53" fmla="*/ 79482 w 607639"/>
                <a:gd name="connsiteY53" fmla="*/ 420004 h 606722"/>
                <a:gd name="connsiteX54" fmla="*/ 62482 w 607639"/>
                <a:gd name="connsiteY54" fmla="*/ 379212 h 606722"/>
                <a:gd name="connsiteX55" fmla="*/ 25278 w 607639"/>
                <a:gd name="connsiteY55" fmla="*/ 379212 h 606722"/>
                <a:gd name="connsiteX56" fmla="*/ 0 w 607639"/>
                <a:gd name="connsiteY56" fmla="*/ 353884 h 606722"/>
                <a:gd name="connsiteX57" fmla="*/ 0 w 607639"/>
                <a:gd name="connsiteY57" fmla="*/ 252749 h 606722"/>
                <a:gd name="connsiteX58" fmla="*/ 25278 w 607639"/>
                <a:gd name="connsiteY58" fmla="*/ 227510 h 606722"/>
                <a:gd name="connsiteX59" fmla="*/ 62482 w 607639"/>
                <a:gd name="connsiteY59" fmla="*/ 227510 h 606722"/>
                <a:gd name="connsiteX60" fmla="*/ 79482 w 607639"/>
                <a:gd name="connsiteY60" fmla="*/ 186629 h 606722"/>
                <a:gd name="connsiteX61" fmla="*/ 53225 w 607639"/>
                <a:gd name="connsiteY61" fmla="*/ 160323 h 606722"/>
                <a:gd name="connsiteX62" fmla="*/ 53225 w 607639"/>
                <a:gd name="connsiteY62" fmla="*/ 124597 h 606722"/>
                <a:gd name="connsiteX63" fmla="*/ 124786 w 607639"/>
                <a:gd name="connsiteY63" fmla="*/ 53145 h 606722"/>
                <a:gd name="connsiteX64" fmla="*/ 160566 w 607639"/>
                <a:gd name="connsiteY64" fmla="*/ 53145 h 606722"/>
                <a:gd name="connsiteX65" fmla="*/ 186911 w 607639"/>
                <a:gd name="connsiteY65" fmla="*/ 79451 h 606722"/>
                <a:gd name="connsiteX66" fmla="*/ 227854 w 607639"/>
                <a:gd name="connsiteY66" fmla="*/ 62387 h 606722"/>
                <a:gd name="connsiteX67" fmla="*/ 227854 w 607639"/>
                <a:gd name="connsiteY67" fmla="*/ 25239 h 606722"/>
                <a:gd name="connsiteX68" fmla="*/ 253131 w 607639"/>
                <a:gd name="connsiteY68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607639" h="606722">
                  <a:moveTo>
                    <a:pt x="303820" y="278099"/>
                  </a:moveTo>
                  <a:cubicBezTo>
                    <a:pt x="317792" y="278099"/>
                    <a:pt x="329118" y="289410"/>
                    <a:pt x="329118" y="303362"/>
                  </a:cubicBezTo>
                  <a:cubicBezTo>
                    <a:pt x="329118" y="317314"/>
                    <a:pt x="317792" y="328625"/>
                    <a:pt x="303820" y="328625"/>
                  </a:cubicBezTo>
                  <a:cubicBezTo>
                    <a:pt x="289848" y="328625"/>
                    <a:pt x="278522" y="317314"/>
                    <a:pt x="278522" y="303362"/>
                  </a:cubicBezTo>
                  <a:cubicBezTo>
                    <a:pt x="278522" y="289410"/>
                    <a:pt x="289848" y="278099"/>
                    <a:pt x="303820" y="278099"/>
                  </a:cubicBezTo>
                  <a:close/>
                  <a:moveTo>
                    <a:pt x="303775" y="252735"/>
                  </a:moveTo>
                  <a:cubicBezTo>
                    <a:pt x="275921" y="252735"/>
                    <a:pt x="253140" y="275492"/>
                    <a:pt x="253140" y="303317"/>
                  </a:cubicBezTo>
                  <a:cubicBezTo>
                    <a:pt x="253140" y="331231"/>
                    <a:pt x="275921" y="353900"/>
                    <a:pt x="303775" y="353900"/>
                  </a:cubicBezTo>
                  <a:cubicBezTo>
                    <a:pt x="331718" y="353900"/>
                    <a:pt x="354410" y="331231"/>
                    <a:pt x="354410" y="303317"/>
                  </a:cubicBezTo>
                  <a:cubicBezTo>
                    <a:pt x="354410" y="275492"/>
                    <a:pt x="331718" y="252735"/>
                    <a:pt x="303775" y="252735"/>
                  </a:cubicBezTo>
                  <a:close/>
                  <a:moveTo>
                    <a:pt x="303775" y="202241"/>
                  </a:moveTo>
                  <a:cubicBezTo>
                    <a:pt x="359660" y="202241"/>
                    <a:pt x="405045" y="247579"/>
                    <a:pt x="405045" y="303317"/>
                  </a:cubicBezTo>
                  <a:cubicBezTo>
                    <a:pt x="405045" y="359144"/>
                    <a:pt x="359660" y="404482"/>
                    <a:pt x="303775" y="404482"/>
                  </a:cubicBezTo>
                  <a:cubicBezTo>
                    <a:pt x="247978" y="404482"/>
                    <a:pt x="202593" y="359144"/>
                    <a:pt x="202593" y="303317"/>
                  </a:cubicBezTo>
                  <a:cubicBezTo>
                    <a:pt x="202593" y="247579"/>
                    <a:pt x="247978" y="202241"/>
                    <a:pt x="303775" y="202241"/>
                  </a:cubicBezTo>
                  <a:close/>
                  <a:moveTo>
                    <a:pt x="303775" y="151703"/>
                  </a:moveTo>
                  <a:cubicBezTo>
                    <a:pt x="220021" y="151703"/>
                    <a:pt x="151932" y="219689"/>
                    <a:pt x="151932" y="303317"/>
                  </a:cubicBezTo>
                  <a:cubicBezTo>
                    <a:pt x="151932" y="387033"/>
                    <a:pt x="220021" y="455019"/>
                    <a:pt x="303775" y="455019"/>
                  </a:cubicBezTo>
                  <a:cubicBezTo>
                    <a:pt x="387618" y="455019"/>
                    <a:pt x="455707" y="387033"/>
                    <a:pt x="455707" y="303317"/>
                  </a:cubicBezTo>
                  <a:cubicBezTo>
                    <a:pt x="455707" y="219689"/>
                    <a:pt x="387618" y="151703"/>
                    <a:pt x="303775" y="151703"/>
                  </a:cubicBezTo>
                  <a:close/>
                  <a:moveTo>
                    <a:pt x="253131" y="0"/>
                  </a:moveTo>
                  <a:lnTo>
                    <a:pt x="354419" y="0"/>
                  </a:lnTo>
                  <a:cubicBezTo>
                    <a:pt x="368482" y="0"/>
                    <a:pt x="379786" y="11287"/>
                    <a:pt x="379786" y="25239"/>
                  </a:cubicBezTo>
                  <a:lnTo>
                    <a:pt x="379786" y="62387"/>
                  </a:lnTo>
                  <a:cubicBezTo>
                    <a:pt x="393849" y="66831"/>
                    <a:pt x="407555" y="72519"/>
                    <a:pt x="420639" y="79451"/>
                  </a:cubicBezTo>
                  <a:lnTo>
                    <a:pt x="446985" y="53145"/>
                  </a:lnTo>
                  <a:cubicBezTo>
                    <a:pt x="456953" y="43191"/>
                    <a:pt x="472974" y="43191"/>
                    <a:pt x="482854" y="53145"/>
                  </a:cubicBezTo>
                  <a:lnTo>
                    <a:pt x="554414" y="124597"/>
                  </a:lnTo>
                  <a:cubicBezTo>
                    <a:pt x="564294" y="134462"/>
                    <a:pt x="564294" y="150459"/>
                    <a:pt x="554414" y="160323"/>
                  </a:cubicBezTo>
                  <a:lnTo>
                    <a:pt x="528069" y="186629"/>
                  </a:lnTo>
                  <a:cubicBezTo>
                    <a:pt x="535011" y="199782"/>
                    <a:pt x="540707" y="213468"/>
                    <a:pt x="545158" y="227510"/>
                  </a:cubicBezTo>
                  <a:lnTo>
                    <a:pt x="582273" y="227510"/>
                  </a:lnTo>
                  <a:cubicBezTo>
                    <a:pt x="596336" y="227510"/>
                    <a:pt x="607639" y="238796"/>
                    <a:pt x="607639" y="252749"/>
                  </a:cubicBezTo>
                  <a:lnTo>
                    <a:pt x="607639" y="353884"/>
                  </a:lnTo>
                  <a:cubicBezTo>
                    <a:pt x="607639" y="367926"/>
                    <a:pt x="596247" y="379212"/>
                    <a:pt x="582273" y="379212"/>
                  </a:cubicBezTo>
                  <a:lnTo>
                    <a:pt x="545158" y="379212"/>
                  </a:lnTo>
                  <a:cubicBezTo>
                    <a:pt x="540707" y="393254"/>
                    <a:pt x="535011" y="406940"/>
                    <a:pt x="528069" y="420004"/>
                  </a:cubicBezTo>
                  <a:lnTo>
                    <a:pt x="554414" y="446310"/>
                  </a:lnTo>
                  <a:cubicBezTo>
                    <a:pt x="564294" y="456263"/>
                    <a:pt x="564294" y="472260"/>
                    <a:pt x="554414" y="482125"/>
                  </a:cubicBezTo>
                  <a:lnTo>
                    <a:pt x="482854" y="553577"/>
                  </a:lnTo>
                  <a:cubicBezTo>
                    <a:pt x="472974" y="563442"/>
                    <a:pt x="456953" y="563442"/>
                    <a:pt x="446985" y="553577"/>
                  </a:cubicBezTo>
                  <a:lnTo>
                    <a:pt x="420639" y="527271"/>
                  </a:lnTo>
                  <a:cubicBezTo>
                    <a:pt x="407555" y="534203"/>
                    <a:pt x="393849" y="539802"/>
                    <a:pt x="379786" y="544246"/>
                  </a:cubicBezTo>
                  <a:lnTo>
                    <a:pt x="379786" y="581394"/>
                  </a:lnTo>
                  <a:cubicBezTo>
                    <a:pt x="379786" y="595435"/>
                    <a:pt x="368393" y="606722"/>
                    <a:pt x="354419" y="606722"/>
                  </a:cubicBezTo>
                  <a:lnTo>
                    <a:pt x="253131" y="606722"/>
                  </a:lnTo>
                  <a:cubicBezTo>
                    <a:pt x="239157" y="606722"/>
                    <a:pt x="227854" y="595435"/>
                    <a:pt x="227854" y="581394"/>
                  </a:cubicBezTo>
                  <a:lnTo>
                    <a:pt x="227854" y="544246"/>
                  </a:lnTo>
                  <a:cubicBezTo>
                    <a:pt x="213791" y="539802"/>
                    <a:pt x="200084" y="534203"/>
                    <a:pt x="186911" y="527271"/>
                  </a:cubicBezTo>
                  <a:lnTo>
                    <a:pt x="160566" y="553577"/>
                  </a:lnTo>
                  <a:cubicBezTo>
                    <a:pt x="150686" y="563442"/>
                    <a:pt x="134665" y="563442"/>
                    <a:pt x="124786" y="553577"/>
                  </a:cubicBezTo>
                  <a:lnTo>
                    <a:pt x="53225" y="482125"/>
                  </a:lnTo>
                  <a:cubicBezTo>
                    <a:pt x="43257" y="472260"/>
                    <a:pt x="43257" y="456263"/>
                    <a:pt x="53225" y="446310"/>
                  </a:cubicBezTo>
                  <a:lnTo>
                    <a:pt x="79482" y="420004"/>
                  </a:lnTo>
                  <a:cubicBezTo>
                    <a:pt x="72629" y="406940"/>
                    <a:pt x="66932" y="393254"/>
                    <a:pt x="62482" y="379212"/>
                  </a:cubicBezTo>
                  <a:lnTo>
                    <a:pt x="25278" y="379212"/>
                  </a:lnTo>
                  <a:cubicBezTo>
                    <a:pt x="11304" y="379212"/>
                    <a:pt x="0" y="367926"/>
                    <a:pt x="0" y="353884"/>
                  </a:cubicBezTo>
                  <a:lnTo>
                    <a:pt x="0" y="252749"/>
                  </a:lnTo>
                  <a:cubicBezTo>
                    <a:pt x="0" y="238796"/>
                    <a:pt x="11304" y="227510"/>
                    <a:pt x="25278" y="227510"/>
                  </a:cubicBezTo>
                  <a:lnTo>
                    <a:pt x="62482" y="227510"/>
                  </a:lnTo>
                  <a:cubicBezTo>
                    <a:pt x="66932" y="213468"/>
                    <a:pt x="72629" y="199782"/>
                    <a:pt x="79482" y="186629"/>
                  </a:cubicBezTo>
                  <a:lnTo>
                    <a:pt x="53225" y="160323"/>
                  </a:lnTo>
                  <a:cubicBezTo>
                    <a:pt x="43257" y="150459"/>
                    <a:pt x="43257" y="134462"/>
                    <a:pt x="53225" y="124597"/>
                  </a:cubicBezTo>
                  <a:lnTo>
                    <a:pt x="124786" y="53145"/>
                  </a:lnTo>
                  <a:cubicBezTo>
                    <a:pt x="134665" y="43191"/>
                    <a:pt x="150686" y="43191"/>
                    <a:pt x="160566" y="53145"/>
                  </a:cubicBezTo>
                  <a:lnTo>
                    <a:pt x="186911" y="79451"/>
                  </a:lnTo>
                  <a:cubicBezTo>
                    <a:pt x="200084" y="72519"/>
                    <a:pt x="213791" y="66831"/>
                    <a:pt x="227854" y="62387"/>
                  </a:cubicBezTo>
                  <a:lnTo>
                    <a:pt x="227854" y="25239"/>
                  </a:lnTo>
                  <a:cubicBezTo>
                    <a:pt x="227854" y="11287"/>
                    <a:pt x="239157" y="0"/>
                    <a:pt x="253131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3" name="ïṧľíďê">
              <a:extLst>
                <a:ext uri="{FF2B5EF4-FFF2-40B4-BE49-F238E27FC236}">
                  <a16:creationId xmlns:a16="http://schemas.microsoft.com/office/drawing/2014/main" id="{83AC56C8-BB22-4DB6-8372-AA84DFFA3A81}"/>
                </a:ext>
              </a:extLst>
            </p:cNvPr>
            <p:cNvSpPr/>
            <p:nvPr/>
          </p:nvSpPr>
          <p:spPr bwMode="auto">
            <a:xfrm>
              <a:off x="2498293" y="4944202"/>
              <a:ext cx="377806" cy="377188"/>
            </a:xfrm>
            <a:custGeom>
              <a:avLst/>
              <a:gdLst>
                <a:gd name="connsiteX0" fmla="*/ 380418 w 604181"/>
                <a:gd name="connsiteY0" fmla="*/ 268007 h 603193"/>
                <a:gd name="connsiteX1" fmla="*/ 519220 w 604181"/>
                <a:gd name="connsiteY1" fmla="*/ 339187 h 603193"/>
                <a:gd name="connsiteX2" fmla="*/ 519220 w 604181"/>
                <a:gd name="connsiteY2" fmla="*/ 355820 h 603193"/>
                <a:gd name="connsiteX3" fmla="*/ 380418 w 604181"/>
                <a:gd name="connsiteY3" fmla="*/ 426850 h 603193"/>
                <a:gd name="connsiteX4" fmla="*/ 380418 w 604181"/>
                <a:gd name="connsiteY4" fmla="*/ 406320 h 603193"/>
                <a:gd name="connsiteX5" fmla="*/ 498212 w 604181"/>
                <a:gd name="connsiteY5" fmla="*/ 347728 h 603193"/>
                <a:gd name="connsiteX6" fmla="*/ 498212 w 604181"/>
                <a:gd name="connsiteY6" fmla="*/ 347129 h 603193"/>
                <a:gd name="connsiteX7" fmla="*/ 380418 w 604181"/>
                <a:gd name="connsiteY7" fmla="*/ 288687 h 603193"/>
                <a:gd name="connsiteX8" fmla="*/ 216565 w 604181"/>
                <a:gd name="connsiteY8" fmla="*/ 268007 h 603193"/>
                <a:gd name="connsiteX9" fmla="*/ 216565 w 604181"/>
                <a:gd name="connsiteY9" fmla="*/ 288687 h 603193"/>
                <a:gd name="connsiteX10" fmla="*/ 99664 w 604181"/>
                <a:gd name="connsiteY10" fmla="*/ 347129 h 603193"/>
                <a:gd name="connsiteX11" fmla="*/ 99664 w 604181"/>
                <a:gd name="connsiteY11" fmla="*/ 347728 h 603193"/>
                <a:gd name="connsiteX12" fmla="*/ 216565 w 604181"/>
                <a:gd name="connsiteY12" fmla="*/ 406320 h 603193"/>
                <a:gd name="connsiteX13" fmla="*/ 216565 w 604181"/>
                <a:gd name="connsiteY13" fmla="*/ 426850 h 603193"/>
                <a:gd name="connsiteX14" fmla="*/ 77904 w 604181"/>
                <a:gd name="connsiteY14" fmla="*/ 355521 h 603193"/>
                <a:gd name="connsiteX15" fmla="*/ 77904 w 604181"/>
                <a:gd name="connsiteY15" fmla="*/ 339486 h 603193"/>
                <a:gd name="connsiteX16" fmla="*/ 338273 w 604181"/>
                <a:gd name="connsiteY16" fmla="*/ 222493 h 603193"/>
                <a:gd name="connsiteX17" fmla="*/ 358684 w 604181"/>
                <a:gd name="connsiteY17" fmla="*/ 222493 h 603193"/>
                <a:gd name="connsiteX18" fmla="*/ 253179 w 604181"/>
                <a:gd name="connsiteY18" fmla="*/ 482103 h 603193"/>
                <a:gd name="connsiteX19" fmla="*/ 233219 w 604181"/>
                <a:gd name="connsiteY19" fmla="*/ 482103 h 603193"/>
                <a:gd name="connsiteX20" fmla="*/ 28813 w 604181"/>
                <a:gd name="connsiteY20" fmla="*/ 128849 h 603193"/>
                <a:gd name="connsiteX21" fmla="*/ 28813 w 604181"/>
                <a:gd name="connsiteY21" fmla="*/ 557497 h 603193"/>
                <a:gd name="connsiteX22" fmla="*/ 45921 w 604181"/>
                <a:gd name="connsiteY22" fmla="*/ 574427 h 603193"/>
                <a:gd name="connsiteX23" fmla="*/ 558410 w 604181"/>
                <a:gd name="connsiteY23" fmla="*/ 574427 h 603193"/>
                <a:gd name="connsiteX24" fmla="*/ 575368 w 604181"/>
                <a:gd name="connsiteY24" fmla="*/ 557497 h 603193"/>
                <a:gd name="connsiteX25" fmla="*/ 575368 w 604181"/>
                <a:gd name="connsiteY25" fmla="*/ 128849 h 603193"/>
                <a:gd name="connsiteX26" fmla="*/ 502734 w 604181"/>
                <a:gd name="connsiteY26" fmla="*/ 43149 h 603193"/>
                <a:gd name="connsiteX27" fmla="*/ 502734 w 604181"/>
                <a:gd name="connsiteY27" fmla="*/ 77309 h 603193"/>
                <a:gd name="connsiteX28" fmla="*/ 537100 w 604181"/>
                <a:gd name="connsiteY28" fmla="*/ 77309 h 603193"/>
                <a:gd name="connsiteX29" fmla="*/ 537100 w 604181"/>
                <a:gd name="connsiteY29" fmla="*/ 43149 h 603193"/>
                <a:gd name="connsiteX30" fmla="*/ 423197 w 604181"/>
                <a:gd name="connsiteY30" fmla="*/ 43149 h 603193"/>
                <a:gd name="connsiteX31" fmla="*/ 423197 w 604181"/>
                <a:gd name="connsiteY31" fmla="*/ 77309 h 603193"/>
                <a:gd name="connsiteX32" fmla="*/ 457563 w 604181"/>
                <a:gd name="connsiteY32" fmla="*/ 77309 h 603193"/>
                <a:gd name="connsiteX33" fmla="*/ 457563 w 604181"/>
                <a:gd name="connsiteY33" fmla="*/ 43149 h 603193"/>
                <a:gd name="connsiteX34" fmla="*/ 45921 w 604181"/>
                <a:gd name="connsiteY34" fmla="*/ 0 h 603193"/>
                <a:gd name="connsiteX35" fmla="*/ 558410 w 604181"/>
                <a:gd name="connsiteY35" fmla="*/ 0 h 603193"/>
                <a:gd name="connsiteX36" fmla="*/ 604181 w 604181"/>
                <a:gd name="connsiteY36" fmla="*/ 45846 h 603193"/>
                <a:gd name="connsiteX37" fmla="*/ 604181 w 604181"/>
                <a:gd name="connsiteY37" fmla="*/ 557497 h 603193"/>
                <a:gd name="connsiteX38" fmla="*/ 558410 w 604181"/>
                <a:gd name="connsiteY38" fmla="*/ 603193 h 603193"/>
                <a:gd name="connsiteX39" fmla="*/ 45921 w 604181"/>
                <a:gd name="connsiteY39" fmla="*/ 603193 h 603193"/>
                <a:gd name="connsiteX40" fmla="*/ 0 w 604181"/>
                <a:gd name="connsiteY40" fmla="*/ 557497 h 603193"/>
                <a:gd name="connsiteX41" fmla="*/ 0 w 604181"/>
                <a:gd name="connsiteY41" fmla="*/ 45846 h 603193"/>
                <a:gd name="connsiteX42" fmla="*/ 45921 w 604181"/>
                <a:gd name="connsiteY42" fmla="*/ 0 h 603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04181" h="603193">
                  <a:moveTo>
                    <a:pt x="380418" y="268007"/>
                  </a:moveTo>
                  <a:lnTo>
                    <a:pt x="519220" y="339187"/>
                  </a:lnTo>
                  <a:lnTo>
                    <a:pt x="519220" y="355820"/>
                  </a:lnTo>
                  <a:lnTo>
                    <a:pt x="380418" y="426850"/>
                  </a:lnTo>
                  <a:lnTo>
                    <a:pt x="380418" y="406320"/>
                  </a:lnTo>
                  <a:lnTo>
                    <a:pt x="498212" y="347728"/>
                  </a:lnTo>
                  <a:lnTo>
                    <a:pt x="498212" y="347129"/>
                  </a:lnTo>
                  <a:lnTo>
                    <a:pt x="380418" y="288687"/>
                  </a:lnTo>
                  <a:close/>
                  <a:moveTo>
                    <a:pt x="216565" y="268007"/>
                  </a:moveTo>
                  <a:lnTo>
                    <a:pt x="216565" y="288687"/>
                  </a:lnTo>
                  <a:lnTo>
                    <a:pt x="99664" y="347129"/>
                  </a:lnTo>
                  <a:lnTo>
                    <a:pt x="99664" y="347728"/>
                  </a:lnTo>
                  <a:lnTo>
                    <a:pt x="216565" y="406320"/>
                  </a:lnTo>
                  <a:lnTo>
                    <a:pt x="216565" y="426850"/>
                  </a:lnTo>
                  <a:lnTo>
                    <a:pt x="77904" y="355521"/>
                  </a:lnTo>
                  <a:lnTo>
                    <a:pt x="77904" y="339486"/>
                  </a:lnTo>
                  <a:close/>
                  <a:moveTo>
                    <a:pt x="338273" y="222493"/>
                  </a:moveTo>
                  <a:lnTo>
                    <a:pt x="358684" y="222493"/>
                  </a:lnTo>
                  <a:lnTo>
                    <a:pt x="253179" y="482103"/>
                  </a:lnTo>
                  <a:lnTo>
                    <a:pt x="233219" y="482103"/>
                  </a:lnTo>
                  <a:close/>
                  <a:moveTo>
                    <a:pt x="28813" y="128849"/>
                  </a:moveTo>
                  <a:lnTo>
                    <a:pt x="28813" y="557497"/>
                  </a:lnTo>
                  <a:cubicBezTo>
                    <a:pt x="28813" y="566786"/>
                    <a:pt x="36467" y="574427"/>
                    <a:pt x="45921" y="574427"/>
                  </a:cubicBezTo>
                  <a:lnTo>
                    <a:pt x="558410" y="574427"/>
                  </a:lnTo>
                  <a:cubicBezTo>
                    <a:pt x="567714" y="574427"/>
                    <a:pt x="575368" y="566786"/>
                    <a:pt x="575368" y="557497"/>
                  </a:cubicBezTo>
                  <a:lnTo>
                    <a:pt x="575368" y="128849"/>
                  </a:lnTo>
                  <a:close/>
                  <a:moveTo>
                    <a:pt x="502734" y="43149"/>
                  </a:moveTo>
                  <a:lnTo>
                    <a:pt x="502734" y="77309"/>
                  </a:lnTo>
                  <a:lnTo>
                    <a:pt x="537100" y="77309"/>
                  </a:lnTo>
                  <a:lnTo>
                    <a:pt x="537100" y="43149"/>
                  </a:lnTo>
                  <a:close/>
                  <a:moveTo>
                    <a:pt x="423197" y="43149"/>
                  </a:moveTo>
                  <a:lnTo>
                    <a:pt x="423197" y="77309"/>
                  </a:lnTo>
                  <a:lnTo>
                    <a:pt x="457563" y="77309"/>
                  </a:lnTo>
                  <a:lnTo>
                    <a:pt x="457563" y="43149"/>
                  </a:lnTo>
                  <a:close/>
                  <a:moveTo>
                    <a:pt x="45921" y="0"/>
                  </a:moveTo>
                  <a:lnTo>
                    <a:pt x="558410" y="0"/>
                  </a:lnTo>
                  <a:cubicBezTo>
                    <a:pt x="583621" y="0"/>
                    <a:pt x="604181" y="20526"/>
                    <a:pt x="604181" y="45846"/>
                  </a:cubicBezTo>
                  <a:lnTo>
                    <a:pt x="604181" y="557497"/>
                  </a:lnTo>
                  <a:cubicBezTo>
                    <a:pt x="604181" y="582667"/>
                    <a:pt x="583621" y="603193"/>
                    <a:pt x="558410" y="603193"/>
                  </a:cubicBezTo>
                  <a:lnTo>
                    <a:pt x="45921" y="603193"/>
                  </a:lnTo>
                  <a:cubicBezTo>
                    <a:pt x="20560" y="603193"/>
                    <a:pt x="0" y="582667"/>
                    <a:pt x="0" y="557497"/>
                  </a:cubicBezTo>
                  <a:lnTo>
                    <a:pt x="0" y="45846"/>
                  </a:lnTo>
                  <a:cubicBezTo>
                    <a:pt x="0" y="20526"/>
                    <a:pt x="20560" y="0"/>
                    <a:pt x="45921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4" name="îṣḻîḍé">
              <a:extLst>
                <a:ext uri="{FF2B5EF4-FFF2-40B4-BE49-F238E27FC236}">
                  <a16:creationId xmlns:a16="http://schemas.microsoft.com/office/drawing/2014/main" id="{716A4AAF-66FE-4462-901E-658C29D84AD8}"/>
                </a:ext>
              </a:extLst>
            </p:cNvPr>
            <p:cNvSpPr/>
            <p:nvPr/>
          </p:nvSpPr>
          <p:spPr bwMode="auto">
            <a:xfrm>
              <a:off x="1959174" y="5587283"/>
              <a:ext cx="377806" cy="377235"/>
            </a:xfrm>
            <a:custGeom>
              <a:avLst/>
              <a:gdLst>
                <a:gd name="T0" fmla="*/ 6624 w 7154"/>
                <a:gd name="T1" fmla="*/ 2037 h 7154"/>
                <a:gd name="T2" fmla="*/ 6106 w 7154"/>
                <a:gd name="T3" fmla="*/ 1048 h 7154"/>
                <a:gd name="T4" fmla="*/ 5117 w 7154"/>
                <a:gd name="T5" fmla="*/ 530 h 7154"/>
                <a:gd name="T6" fmla="*/ 4643 w 7154"/>
                <a:gd name="T7" fmla="*/ 334 h 7154"/>
                <a:gd name="T8" fmla="*/ 3577 w 7154"/>
                <a:gd name="T9" fmla="*/ 0 h 7154"/>
                <a:gd name="T10" fmla="*/ 2511 w 7154"/>
                <a:gd name="T11" fmla="*/ 334 h 7154"/>
                <a:gd name="T12" fmla="*/ 2037 w 7154"/>
                <a:gd name="T13" fmla="*/ 530 h 7154"/>
                <a:gd name="T14" fmla="*/ 1048 w 7154"/>
                <a:gd name="T15" fmla="*/ 1048 h 7154"/>
                <a:gd name="T16" fmla="*/ 530 w 7154"/>
                <a:gd name="T17" fmla="*/ 2037 h 7154"/>
                <a:gd name="T18" fmla="*/ 334 w 7154"/>
                <a:gd name="T19" fmla="*/ 2511 h 7154"/>
                <a:gd name="T20" fmla="*/ 0 w 7154"/>
                <a:gd name="T21" fmla="*/ 3577 h 7154"/>
                <a:gd name="T22" fmla="*/ 334 w 7154"/>
                <a:gd name="T23" fmla="*/ 4643 h 7154"/>
                <a:gd name="T24" fmla="*/ 530 w 7154"/>
                <a:gd name="T25" fmla="*/ 5117 h 7154"/>
                <a:gd name="T26" fmla="*/ 1048 w 7154"/>
                <a:gd name="T27" fmla="*/ 6106 h 7154"/>
                <a:gd name="T28" fmla="*/ 2037 w 7154"/>
                <a:gd name="T29" fmla="*/ 6624 h 7154"/>
                <a:gd name="T30" fmla="*/ 2511 w 7154"/>
                <a:gd name="T31" fmla="*/ 6820 h 7154"/>
                <a:gd name="T32" fmla="*/ 3577 w 7154"/>
                <a:gd name="T33" fmla="*/ 7154 h 7154"/>
                <a:gd name="T34" fmla="*/ 4643 w 7154"/>
                <a:gd name="T35" fmla="*/ 6820 h 7154"/>
                <a:gd name="T36" fmla="*/ 5117 w 7154"/>
                <a:gd name="T37" fmla="*/ 6624 h 7154"/>
                <a:gd name="T38" fmla="*/ 6106 w 7154"/>
                <a:gd name="T39" fmla="*/ 6106 h 7154"/>
                <a:gd name="T40" fmla="*/ 6624 w 7154"/>
                <a:gd name="T41" fmla="*/ 5117 h 7154"/>
                <a:gd name="T42" fmla="*/ 6820 w 7154"/>
                <a:gd name="T43" fmla="*/ 4643 h 7154"/>
                <a:gd name="T44" fmla="*/ 7154 w 7154"/>
                <a:gd name="T45" fmla="*/ 3577 h 7154"/>
                <a:gd name="T46" fmla="*/ 6820 w 7154"/>
                <a:gd name="T47" fmla="*/ 2511 h 7154"/>
                <a:gd name="T48" fmla="*/ 6624 w 7154"/>
                <a:gd name="T49" fmla="*/ 2037 h 7154"/>
                <a:gd name="T50" fmla="*/ 5857 w 7154"/>
                <a:gd name="T51" fmla="*/ 2406 h 7154"/>
                <a:gd name="T52" fmla="*/ 3286 w 7154"/>
                <a:gd name="T53" fmla="*/ 4976 h 7154"/>
                <a:gd name="T54" fmla="*/ 2875 w 7154"/>
                <a:gd name="T55" fmla="*/ 5387 h 7154"/>
                <a:gd name="T56" fmla="*/ 2464 w 7154"/>
                <a:gd name="T57" fmla="*/ 5387 h 7154"/>
                <a:gd name="T58" fmla="*/ 2053 w 7154"/>
                <a:gd name="T59" fmla="*/ 4976 h 7154"/>
                <a:gd name="T60" fmla="*/ 1297 w 7154"/>
                <a:gd name="T61" fmla="*/ 4221 h 7154"/>
                <a:gd name="T62" fmla="*/ 1297 w 7154"/>
                <a:gd name="T63" fmla="*/ 3809 h 7154"/>
                <a:gd name="T64" fmla="*/ 1708 w 7154"/>
                <a:gd name="T65" fmla="*/ 3398 h 7154"/>
                <a:gd name="T66" fmla="*/ 2120 w 7154"/>
                <a:gd name="T67" fmla="*/ 3398 h 7154"/>
                <a:gd name="T68" fmla="*/ 2669 w 7154"/>
                <a:gd name="T69" fmla="*/ 3948 h 7154"/>
                <a:gd name="T70" fmla="*/ 5034 w 7154"/>
                <a:gd name="T71" fmla="*/ 1583 h 7154"/>
                <a:gd name="T72" fmla="*/ 5445 w 7154"/>
                <a:gd name="T73" fmla="*/ 1583 h 7154"/>
                <a:gd name="T74" fmla="*/ 5857 w 7154"/>
                <a:gd name="T75" fmla="*/ 1994 h 7154"/>
                <a:gd name="T76" fmla="*/ 5857 w 7154"/>
                <a:gd name="T77" fmla="*/ 2406 h 7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154" h="7154">
                  <a:moveTo>
                    <a:pt x="6624" y="2037"/>
                  </a:moveTo>
                  <a:cubicBezTo>
                    <a:pt x="6580" y="1703"/>
                    <a:pt x="6403" y="1345"/>
                    <a:pt x="6106" y="1048"/>
                  </a:cubicBezTo>
                  <a:cubicBezTo>
                    <a:pt x="5809" y="751"/>
                    <a:pt x="5451" y="574"/>
                    <a:pt x="5117" y="530"/>
                  </a:cubicBezTo>
                  <a:cubicBezTo>
                    <a:pt x="4966" y="510"/>
                    <a:pt x="4764" y="427"/>
                    <a:pt x="4643" y="334"/>
                  </a:cubicBezTo>
                  <a:cubicBezTo>
                    <a:pt x="4375" y="128"/>
                    <a:pt x="3997" y="0"/>
                    <a:pt x="3577" y="0"/>
                  </a:cubicBezTo>
                  <a:cubicBezTo>
                    <a:pt x="3157" y="0"/>
                    <a:pt x="2779" y="128"/>
                    <a:pt x="2511" y="334"/>
                  </a:cubicBezTo>
                  <a:cubicBezTo>
                    <a:pt x="2390" y="427"/>
                    <a:pt x="2188" y="510"/>
                    <a:pt x="2037" y="530"/>
                  </a:cubicBezTo>
                  <a:cubicBezTo>
                    <a:pt x="1702" y="574"/>
                    <a:pt x="1345" y="751"/>
                    <a:pt x="1048" y="1048"/>
                  </a:cubicBezTo>
                  <a:cubicBezTo>
                    <a:pt x="751" y="1345"/>
                    <a:pt x="574" y="1703"/>
                    <a:pt x="530" y="2037"/>
                  </a:cubicBezTo>
                  <a:cubicBezTo>
                    <a:pt x="510" y="2188"/>
                    <a:pt x="427" y="2390"/>
                    <a:pt x="334" y="2511"/>
                  </a:cubicBezTo>
                  <a:cubicBezTo>
                    <a:pt x="128" y="2779"/>
                    <a:pt x="0" y="3157"/>
                    <a:pt x="0" y="3577"/>
                  </a:cubicBezTo>
                  <a:cubicBezTo>
                    <a:pt x="0" y="3997"/>
                    <a:pt x="128" y="4375"/>
                    <a:pt x="334" y="4643"/>
                  </a:cubicBezTo>
                  <a:cubicBezTo>
                    <a:pt x="427" y="4764"/>
                    <a:pt x="510" y="4966"/>
                    <a:pt x="530" y="5117"/>
                  </a:cubicBezTo>
                  <a:cubicBezTo>
                    <a:pt x="574" y="5451"/>
                    <a:pt x="751" y="5809"/>
                    <a:pt x="1048" y="6106"/>
                  </a:cubicBezTo>
                  <a:cubicBezTo>
                    <a:pt x="1345" y="6403"/>
                    <a:pt x="1702" y="6580"/>
                    <a:pt x="2037" y="6624"/>
                  </a:cubicBezTo>
                  <a:cubicBezTo>
                    <a:pt x="2188" y="6644"/>
                    <a:pt x="2390" y="6727"/>
                    <a:pt x="2511" y="6820"/>
                  </a:cubicBezTo>
                  <a:cubicBezTo>
                    <a:pt x="2779" y="7025"/>
                    <a:pt x="3157" y="7154"/>
                    <a:pt x="3577" y="7154"/>
                  </a:cubicBezTo>
                  <a:cubicBezTo>
                    <a:pt x="3997" y="7154"/>
                    <a:pt x="4375" y="7025"/>
                    <a:pt x="4643" y="6820"/>
                  </a:cubicBezTo>
                  <a:cubicBezTo>
                    <a:pt x="4764" y="6727"/>
                    <a:pt x="4966" y="6644"/>
                    <a:pt x="5117" y="6624"/>
                  </a:cubicBezTo>
                  <a:cubicBezTo>
                    <a:pt x="5451" y="6580"/>
                    <a:pt x="5809" y="6403"/>
                    <a:pt x="6106" y="6106"/>
                  </a:cubicBezTo>
                  <a:cubicBezTo>
                    <a:pt x="6403" y="5809"/>
                    <a:pt x="6580" y="5451"/>
                    <a:pt x="6624" y="5117"/>
                  </a:cubicBezTo>
                  <a:cubicBezTo>
                    <a:pt x="6644" y="4966"/>
                    <a:pt x="6727" y="4764"/>
                    <a:pt x="6820" y="4643"/>
                  </a:cubicBezTo>
                  <a:cubicBezTo>
                    <a:pt x="7026" y="4375"/>
                    <a:pt x="7154" y="3997"/>
                    <a:pt x="7154" y="3577"/>
                  </a:cubicBezTo>
                  <a:cubicBezTo>
                    <a:pt x="7154" y="3157"/>
                    <a:pt x="7026" y="2779"/>
                    <a:pt x="6820" y="2511"/>
                  </a:cubicBezTo>
                  <a:cubicBezTo>
                    <a:pt x="6727" y="2390"/>
                    <a:pt x="6644" y="2188"/>
                    <a:pt x="6624" y="2037"/>
                  </a:cubicBezTo>
                  <a:close/>
                  <a:moveTo>
                    <a:pt x="5857" y="2406"/>
                  </a:moveTo>
                  <a:lnTo>
                    <a:pt x="3286" y="4976"/>
                  </a:lnTo>
                  <a:lnTo>
                    <a:pt x="2875" y="5387"/>
                  </a:lnTo>
                  <a:cubicBezTo>
                    <a:pt x="2762" y="5501"/>
                    <a:pt x="2577" y="5501"/>
                    <a:pt x="2464" y="5387"/>
                  </a:cubicBezTo>
                  <a:lnTo>
                    <a:pt x="2053" y="4976"/>
                  </a:lnTo>
                  <a:lnTo>
                    <a:pt x="1297" y="4221"/>
                  </a:lnTo>
                  <a:cubicBezTo>
                    <a:pt x="1183" y="4107"/>
                    <a:pt x="1183" y="3923"/>
                    <a:pt x="1297" y="3809"/>
                  </a:cubicBezTo>
                  <a:lnTo>
                    <a:pt x="1708" y="3398"/>
                  </a:lnTo>
                  <a:cubicBezTo>
                    <a:pt x="1822" y="3285"/>
                    <a:pt x="2006" y="3285"/>
                    <a:pt x="2120" y="3398"/>
                  </a:cubicBezTo>
                  <a:lnTo>
                    <a:pt x="2669" y="3948"/>
                  </a:lnTo>
                  <a:lnTo>
                    <a:pt x="5034" y="1583"/>
                  </a:lnTo>
                  <a:cubicBezTo>
                    <a:pt x="5148" y="1470"/>
                    <a:pt x="5332" y="1470"/>
                    <a:pt x="5445" y="1583"/>
                  </a:cubicBezTo>
                  <a:lnTo>
                    <a:pt x="5857" y="1994"/>
                  </a:lnTo>
                  <a:cubicBezTo>
                    <a:pt x="5970" y="2108"/>
                    <a:pt x="5970" y="2292"/>
                    <a:pt x="5857" y="2406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5" name="iṧḷiḑé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743264" y="4276135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按分布模式进行配置</a:t>
              </a:r>
              <a:endParaRPr lang="en-US" altLang="zh-CN" sz="1100" dirty="0"/>
            </a:p>
          </p:txBody>
        </p:sp>
        <p:sp>
          <p:nvSpPr>
            <p:cNvPr id="216" name="îṧḻiḑe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197100" y="4926511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>
                  <a:solidFill>
                    <a:schemeClr val="bg1"/>
                  </a:solidFill>
                </a:rPr>
                <a:t>运行第一个实例</a:t>
              </a: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17" name="îṣľïd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2651098" y="5576887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开心</a:t>
              </a:r>
              <a:r>
                <a:rPr lang="en-US" altLang="zh-CN" sz="1100" dirty="0" err="1"/>
                <a:t>ing</a:t>
              </a:r>
              <a:r>
                <a:rPr lang="en-US" altLang="zh-CN" sz="1100" dirty="0"/>
                <a:t>~</a:t>
              </a:r>
            </a:p>
          </p:txBody>
        </p:sp>
        <p:sp>
          <p:nvSpPr>
            <p:cNvPr id="218" name="íṧ1îd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289201" y="3625759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 解压</a:t>
              </a:r>
              <a:endParaRPr lang="en-US" altLang="zh-CN" sz="1100" dirty="0"/>
            </a:p>
          </p:txBody>
        </p:sp>
        <p:sp>
          <p:nvSpPr>
            <p:cNvPr id="219" name="îs1ïḋ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842020" y="2975382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配置环境变量 使之生效</a:t>
              </a:r>
              <a:endParaRPr lang="en-US" altLang="zh-CN" sz="1100" dirty="0"/>
            </a:p>
          </p:txBody>
        </p:sp>
        <p:sp>
          <p:nvSpPr>
            <p:cNvPr id="220" name="íšliḓ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5387990" y="2325006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</a:t>
              </a:r>
              <a:r>
                <a:rPr lang="en-US" altLang="zh-CN" sz="1100" dirty="0"/>
                <a:t> </a:t>
              </a:r>
              <a:r>
                <a:rPr lang="zh-CN" altLang="en-US" sz="1100" dirty="0"/>
                <a:t>解压</a:t>
              </a:r>
              <a:endParaRPr lang="en-US" altLang="zh-CN" sz="1100" dirty="0"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653777F-C200-4DD9-896D-DFE3FC5A0E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794" y="132609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93A47199-3394-45C5-BAF1-1A662A4488D0}"/>
              </a:ext>
            </a:extLst>
          </p:cNvPr>
          <p:cNvGrpSpPr/>
          <p:nvPr/>
        </p:nvGrpSpPr>
        <p:grpSpPr>
          <a:xfrm>
            <a:off x="1092994" y="1284288"/>
            <a:ext cx="6958012" cy="4695825"/>
            <a:chOff x="1092994" y="1284288"/>
            <a:chExt cx="6958012" cy="4695825"/>
          </a:xfrm>
        </p:grpSpPr>
        <p:pic>
          <p:nvPicPr>
            <p:cNvPr id="4097" name="Picture 1" descr="L:\Water\Documents\Tencent Files\1106367305\Image\C2C\S_~PNJLRA$(`BM~E~CRVP@6.jpg">
              <a:extLst>
                <a:ext uri="{FF2B5EF4-FFF2-40B4-BE49-F238E27FC236}">
                  <a16:creationId xmlns:a16="http://schemas.microsoft.com/office/drawing/2014/main" id="{870A9B0F-80D3-4BB8-9E6D-5163109C031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r:link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12"/>
            <a:stretch>
              <a:fillRect/>
            </a:stretch>
          </p:blipFill>
          <p:spPr bwMode="auto">
            <a:xfrm>
              <a:off x="1092994" y="1284288"/>
              <a:ext cx="6958012" cy="46958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矩形 4">
              <a:extLst>
                <a:ext uri="{FF2B5EF4-FFF2-40B4-BE49-F238E27FC236}">
                  <a16:creationId xmlns:a16="http://schemas.microsoft.com/office/drawing/2014/main" id="{104D7166-3B85-4412-9659-285206FA2824}"/>
                </a:ext>
              </a:extLst>
            </p:cNvPr>
            <p:cNvSpPr/>
            <p:nvPr/>
          </p:nvSpPr>
          <p:spPr>
            <a:xfrm>
              <a:off x="1092994" y="2047875"/>
              <a:ext cx="6958012" cy="3932238"/>
            </a:xfrm>
            <a:prstGeom prst="rect">
              <a:avLst/>
            </a:prstGeom>
            <a:solidFill>
              <a:srgbClr val="2D0A2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0648094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执行几个看看？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8</a:t>
            </a:fld>
            <a:endParaRPr lang="zh-CN" altLang="en-US"/>
          </a:p>
        </p:txBody>
      </p:sp>
      <p:grpSp>
        <p:nvGrpSpPr>
          <p:cNvPr id="194" name="180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4D56F3B-0686-4E9E-A675-DA7BF2C9F6C2}"/>
              </a:ext>
            </a:extLst>
          </p:cNvPr>
          <p:cNvGrpSpPr>
            <a:grpSpLocks noChangeAspect="1"/>
          </p:cNvGrpSpPr>
          <p:nvPr/>
        </p:nvGrpSpPr>
        <p:grpSpPr>
          <a:xfrm>
            <a:off x="1875381" y="-2460624"/>
            <a:ext cx="5393238" cy="2212975"/>
            <a:chOff x="938530" y="1805421"/>
            <a:chExt cx="10580370" cy="4341379"/>
          </a:xfrm>
        </p:grpSpPr>
        <p:sp>
          <p:nvSpPr>
            <p:cNvPr id="195" name="iṧḻîďè">
              <a:extLst>
                <a:ext uri="{FF2B5EF4-FFF2-40B4-BE49-F238E27FC236}">
                  <a16:creationId xmlns:a16="http://schemas.microsoft.com/office/drawing/2014/main" id="{6FC8272D-4563-47EB-B741-E738A21C2623}"/>
                </a:ext>
              </a:extLst>
            </p:cNvPr>
            <p:cNvSpPr/>
            <p:nvPr/>
          </p:nvSpPr>
          <p:spPr bwMode="auto">
            <a:xfrm>
              <a:off x="5637082" y="5226400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搞定！</a:t>
              </a:r>
              <a:endParaRPr lang="en-US" altLang="zh-CN" b="1" dirty="0"/>
            </a:p>
          </p:txBody>
        </p:sp>
        <p:sp>
          <p:nvSpPr>
            <p:cNvPr id="196" name="îŝḻiḋé">
              <a:extLst>
                <a:ext uri="{FF2B5EF4-FFF2-40B4-BE49-F238E27FC236}">
                  <a16:creationId xmlns:a16="http://schemas.microsoft.com/office/drawing/2014/main" id="{C05C75D7-4258-49B9-958F-F2EEF0B840E0}"/>
                </a:ext>
              </a:extLst>
            </p:cNvPr>
            <p:cNvSpPr/>
            <p:nvPr/>
          </p:nvSpPr>
          <p:spPr bwMode="auto">
            <a:xfrm>
              <a:off x="6176201" y="4576024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>
                  <a:solidFill>
                    <a:schemeClr val="bg1"/>
                  </a:solidFill>
                </a:rPr>
                <a:t>测试</a:t>
              </a:r>
              <a:endParaRPr lang="en-US" altLang="zh-CN" sz="1750" b="1" dirty="0">
                <a:solidFill>
                  <a:schemeClr val="bg1"/>
                </a:solidFill>
              </a:endParaRPr>
            </a:p>
          </p:txBody>
        </p:sp>
        <p:sp>
          <p:nvSpPr>
            <p:cNvPr id="197" name="íṥḷíďê">
              <a:extLst>
                <a:ext uri="{FF2B5EF4-FFF2-40B4-BE49-F238E27FC236}">
                  <a16:creationId xmlns:a16="http://schemas.microsoft.com/office/drawing/2014/main" id="{D4FCC7AE-5767-4EC4-BB68-B94457D3AE6D}"/>
                </a:ext>
              </a:extLst>
            </p:cNvPr>
            <p:cNvSpPr/>
            <p:nvPr/>
          </p:nvSpPr>
          <p:spPr bwMode="auto">
            <a:xfrm>
              <a:off x="6703850" y="3925648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/>
                <a:t>配置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8" name="ïś1ïḓè">
              <a:extLst>
                <a:ext uri="{FF2B5EF4-FFF2-40B4-BE49-F238E27FC236}">
                  <a16:creationId xmlns:a16="http://schemas.microsoft.com/office/drawing/2014/main" id="{F32E844B-E27C-4A92-9B60-95E4AD88D81F}"/>
                </a:ext>
              </a:extLst>
            </p:cNvPr>
            <p:cNvSpPr/>
            <p:nvPr/>
          </p:nvSpPr>
          <p:spPr bwMode="auto">
            <a:xfrm>
              <a:off x="7241823" y="3275272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 dirty="0"/>
                <a:t>安装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9" name="îśļïḍè">
              <a:extLst>
                <a:ext uri="{FF2B5EF4-FFF2-40B4-BE49-F238E27FC236}">
                  <a16:creationId xmlns:a16="http://schemas.microsoft.com/office/drawing/2014/main" id="{F812BB55-77DE-4E23-95E6-156A22FAD363}"/>
                </a:ext>
              </a:extLst>
            </p:cNvPr>
            <p:cNvSpPr/>
            <p:nvPr/>
          </p:nvSpPr>
          <p:spPr bwMode="auto">
            <a:xfrm>
              <a:off x="7743555" y="2624895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配置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0" name="ï$1íḍé">
              <a:extLst>
                <a:ext uri="{FF2B5EF4-FFF2-40B4-BE49-F238E27FC236}">
                  <a16:creationId xmlns:a16="http://schemas.microsoft.com/office/drawing/2014/main" id="{48245F16-84E7-4201-9485-85B5E5B15ECD}"/>
                </a:ext>
              </a:extLst>
            </p:cNvPr>
            <p:cNvSpPr/>
            <p:nvPr/>
          </p:nvSpPr>
          <p:spPr bwMode="auto">
            <a:xfrm>
              <a:off x="8263856" y="1974519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安装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1" name="îṥľïďê">
              <a:extLst>
                <a:ext uri="{FF2B5EF4-FFF2-40B4-BE49-F238E27FC236}">
                  <a16:creationId xmlns:a16="http://schemas.microsoft.com/office/drawing/2014/main" id="{920DFBAA-02E5-4206-86B0-FE10F93A7509}"/>
                </a:ext>
              </a:extLst>
            </p:cNvPr>
            <p:cNvSpPr/>
            <p:nvPr/>
          </p:nvSpPr>
          <p:spPr bwMode="auto">
            <a:xfrm>
              <a:off x="5220497" y="3438015"/>
              <a:ext cx="3741918" cy="1239562"/>
            </a:xfrm>
            <a:custGeom>
              <a:avLst/>
              <a:gdLst>
                <a:gd name="T0" fmla="*/ 179 w 203"/>
                <a:gd name="T1" fmla="*/ 82 h 82"/>
                <a:gd name="T2" fmla="*/ 203 w 203"/>
                <a:gd name="T3" fmla="*/ 29 h 82"/>
                <a:gd name="T4" fmla="*/ 65 w 203"/>
                <a:gd name="T5" fmla="*/ 27 h 82"/>
                <a:gd name="T6" fmla="*/ 59 w 203"/>
                <a:gd name="T7" fmla="*/ 0 h 82"/>
                <a:gd name="T8" fmla="*/ 59 w 203"/>
                <a:gd name="T9" fmla="*/ 0 h 82"/>
                <a:gd name="T10" fmla="*/ 0 w 203"/>
                <a:gd name="T11" fmla="*/ 80 h 82"/>
                <a:gd name="T12" fmla="*/ 61 w 203"/>
                <a:gd name="T13" fmla="*/ 82 h 82"/>
                <a:gd name="T14" fmla="*/ 179 w 203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82">
                  <a:moveTo>
                    <a:pt x="179" y="82"/>
                  </a:moveTo>
                  <a:lnTo>
                    <a:pt x="203" y="29"/>
                  </a:lnTo>
                  <a:lnTo>
                    <a:pt x="65" y="27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0" y="80"/>
                  </a:lnTo>
                  <a:lnTo>
                    <a:pt x="61" y="82"/>
                  </a:lnTo>
                  <a:lnTo>
                    <a:pt x="179" y="8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2" name="i$ḻíḋè">
              <a:extLst>
                <a:ext uri="{FF2B5EF4-FFF2-40B4-BE49-F238E27FC236}">
                  <a16:creationId xmlns:a16="http://schemas.microsoft.com/office/drawing/2014/main" id="{430BE7EB-B6F0-4F05-80EA-1F517165029F}"/>
                </a:ext>
              </a:extLst>
            </p:cNvPr>
            <p:cNvSpPr/>
            <p:nvPr/>
          </p:nvSpPr>
          <p:spPr bwMode="auto">
            <a:xfrm>
              <a:off x="8032938" y="1974519"/>
              <a:ext cx="1398307" cy="247664"/>
            </a:xfrm>
            <a:prstGeom prst="triangle">
              <a:avLst>
                <a:gd name="adj" fmla="val 14726"/>
              </a:avLst>
            </a:pr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3" name="işľiḋe">
              <a:extLst>
                <a:ext uri="{FF2B5EF4-FFF2-40B4-BE49-F238E27FC236}">
                  <a16:creationId xmlns:a16="http://schemas.microsoft.com/office/drawing/2014/main" id="{E4DECB97-43D1-4D26-8C48-41447675AE79}"/>
                </a:ext>
              </a:extLst>
            </p:cNvPr>
            <p:cNvSpPr/>
            <p:nvPr/>
          </p:nvSpPr>
          <p:spPr bwMode="auto">
            <a:xfrm>
              <a:off x="3675422" y="1805421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4" name="iś1íďé">
              <a:extLst>
                <a:ext uri="{FF2B5EF4-FFF2-40B4-BE49-F238E27FC236}">
                  <a16:creationId xmlns:a16="http://schemas.microsoft.com/office/drawing/2014/main" id="{6E7EA96A-F20A-4912-AC31-63A0F19E66DE}"/>
                </a:ext>
              </a:extLst>
            </p:cNvPr>
            <p:cNvSpPr/>
            <p:nvPr/>
          </p:nvSpPr>
          <p:spPr bwMode="auto">
            <a:xfrm>
              <a:off x="3129452" y="2455797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5" name="ïŝlíḋe">
              <a:extLst>
                <a:ext uri="{FF2B5EF4-FFF2-40B4-BE49-F238E27FC236}">
                  <a16:creationId xmlns:a16="http://schemas.microsoft.com/office/drawing/2014/main" id="{66D30D6F-26C9-4C2C-BC01-900AC07DC57E}"/>
                </a:ext>
              </a:extLst>
            </p:cNvPr>
            <p:cNvSpPr/>
            <p:nvPr/>
          </p:nvSpPr>
          <p:spPr bwMode="auto">
            <a:xfrm>
              <a:off x="2576633" y="3106174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6" name="îSliďè">
              <a:extLst>
                <a:ext uri="{FF2B5EF4-FFF2-40B4-BE49-F238E27FC236}">
                  <a16:creationId xmlns:a16="http://schemas.microsoft.com/office/drawing/2014/main" id="{2F6D5554-EACD-4DDD-892F-2E5F97A9C421}"/>
                </a:ext>
              </a:extLst>
            </p:cNvPr>
            <p:cNvSpPr/>
            <p:nvPr/>
          </p:nvSpPr>
          <p:spPr bwMode="auto">
            <a:xfrm>
              <a:off x="2030696" y="3756550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7" name="îSliďé">
              <a:extLst>
                <a:ext uri="{FF2B5EF4-FFF2-40B4-BE49-F238E27FC236}">
                  <a16:creationId xmlns:a16="http://schemas.microsoft.com/office/drawing/2014/main" id="{2E278F3F-C8D8-4E2A-A3EA-29ADCF1A02AA}"/>
                </a:ext>
              </a:extLst>
            </p:cNvPr>
            <p:cNvSpPr/>
            <p:nvPr/>
          </p:nvSpPr>
          <p:spPr bwMode="auto">
            <a:xfrm>
              <a:off x="1484532" y="4406926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8" name="îs1iďé">
              <a:extLst>
                <a:ext uri="{FF2B5EF4-FFF2-40B4-BE49-F238E27FC236}">
                  <a16:creationId xmlns:a16="http://schemas.microsoft.com/office/drawing/2014/main" id="{EB74D0C2-5677-4F3F-A043-44D01A3F3D48}"/>
                </a:ext>
              </a:extLst>
            </p:cNvPr>
            <p:cNvSpPr/>
            <p:nvPr/>
          </p:nvSpPr>
          <p:spPr bwMode="auto">
            <a:xfrm>
              <a:off x="938530" y="5057302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9" name="ïṣḻïḋe">
              <a:extLst>
                <a:ext uri="{FF2B5EF4-FFF2-40B4-BE49-F238E27FC236}">
                  <a16:creationId xmlns:a16="http://schemas.microsoft.com/office/drawing/2014/main" id="{7709F84E-C33F-462F-B538-51CB71C9284E}"/>
                </a:ext>
              </a:extLst>
            </p:cNvPr>
            <p:cNvSpPr/>
            <p:nvPr/>
          </p:nvSpPr>
          <p:spPr bwMode="auto">
            <a:xfrm>
              <a:off x="4585947" y="2371737"/>
              <a:ext cx="377807" cy="377281"/>
            </a:xfrm>
            <a:custGeom>
              <a:avLst/>
              <a:gdLst>
                <a:gd name="T0" fmla="*/ 400 w 11264"/>
                <a:gd name="T1" fmla="*/ 7099 h 11264"/>
                <a:gd name="T2" fmla="*/ 4165 w 11264"/>
                <a:gd name="T3" fmla="*/ 7099 h 11264"/>
                <a:gd name="T4" fmla="*/ 4165 w 11264"/>
                <a:gd name="T5" fmla="*/ 10864 h 11264"/>
                <a:gd name="T6" fmla="*/ 4565 w 11264"/>
                <a:gd name="T7" fmla="*/ 11264 h 11264"/>
                <a:gd name="T8" fmla="*/ 6699 w 11264"/>
                <a:gd name="T9" fmla="*/ 11264 h 11264"/>
                <a:gd name="T10" fmla="*/ 7099 w 11264"/>
                <a:gd name="T11" fmla="*/ 10864 h 11264"/>
                <a:gd name="T12" fmla="*/ 7099 w 11264"/>
                <a:gd name="T13" fmla="*/ 7099 h 11264"/>
                <a:gd name="T14" fmla="*/ 10864 w 11264"/>
                <a:gd name="T15" fmla="*/ 7099 h 11264"/>
                <a:gd name="T16" fmla="*/ 11264 w 11264"/>
                <a:gd name="T17" fmla="*/ 6699 h 11264"/>
                <a:gd name="T18" fmla="*/ 11264 w 11264"/>
                <a:gd name="T19" fmla="*/ 4565 h 11264"/>
                <a:gd name="T20" fmla="*/ 10864 w 11264"/>
                <a:gd name="T21" fmla="*/ 4165 h 11264"/>
                <a:gd name="T22" fmla="*/ 7099 w 11264"/>
                <a:gd name="T23" fmla="*/ 4165 h 11264"/>
                <a:gd name="T24" fmla="*/ 7099 w 11264"/>
                <a:gd name="T25" fmla="*/ 400 h 11264"/>
                <a:gd name="T26" fmla="*/ 6699 w 11264"/>
                <a:gd name="T27" fmla="*/ 0 h 11264"/>
                <a:gd name="T28" fmla="*/ 4565 w 11264"/>
                <a:gd name="T29" fmla="*/ 0 h 11264"/>
                <a:gd name="T30" fmla="*/ 4165 w 11264"/>
                <a:gd name="T31" fmla="*/ 400 h 11264"/>
                <a:gd name="T32" fmla="*/ 4165 w 11264"/>
                <a:gd name="T33" fmla="*/ 4165 h 11264"/>
                <a:gd name="T34" fmla="*/ 400 w 11264"/>
                <a:gd name="T35" fmla="*/ 4165 h 11264"/>
                <a:gd name="T36" fmla="*/ 0 w 11264"/>
                <a:gd name="T37" fmla="*/ 4565 h 11264"/>
                <a:gd name="T38" fmla="*/ 0 w 11264"/>
                <a:gd name="T39" fmla="*/ 6699 h 11264"/>
                <a:gd name="T40" fmla="*/ 400 w 11264"/>
                <a:gd name="T41" fmla="*/ 7099 h 1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64" h="11264">
                  <a:moveTo>
                    <a:pt x="400" y="7099"/>
                  </a:moveTo>
                  <a:lnTo>
                    <a:pt x="4165" y="7099"/>
                  </a:lnTo>
                  <a:lnTo>
                    <a:pt x="4165" y="10864"/>
                  </a:lnTo>
                  <a:cubicBezTo>
                    <a:pt x="4165" y="11085"/>
                    <a:pt x="4344" y="11264"/>
                    <a:pt x="4565" y="11264"/>
                  </a:cubicBezTo>
                  <a:lnTo>
                    <a:pt x="6699" y="11264"/>
                  </a:lnTo>
                  <a:cubicBezTo>
                    <a:pt x="6920" y="11264"/>
                    <a:pt x="7099" y="11085"/>
                    <a:pt x="7099" y="10864"/>
                  </a:cubicBezTo>
                  <a:lnTo>
                    <a:pt x="7099" y="7099"/>
                  </a:lnTo>
                  <a:lnTo>
                    <a:pt x="10864" y="7099"/>
                  </a:lnTo>
                  <a:cubicBezTo>
                    <a:pt x="11085" y="7099"/>
                    <a:pt x="11264" y="6920"/>
                    <a:pt x="11264" y="6699"/>
                  </a:cubicBezTo>
                  <a:lnTo>
                    <a:pt x="11264" y="4565"/>
                  </a:lnTo>
                  <a:cubicBezTo>
                    <a:pt x="11264" y="4344"/>
                    <a:pt x="11085" y="4165"/>
                    <a:pt x="10864" y="4165"/>
                  </a:cubicBezTo>
                  <a:lnTo>
                    <a:pt x="7099" y="4165"/>
                  </a:lnTo>
                  <a:lnTo>
                    <a:pt x="7099" y="400"/>
                  </a:lnTo>
                  <a:cubicBezTo>
                    <a:pt x="7099" y="179"/>
                    <a:pt x="6920" y="0"/>
                    <a:pt x="6699" y="0"/>
                  </a:cubicBezTo>
                  <a:lnTo>
                    <a:pt x="4565" y="0"/>
                  </a:lnTo>
                  <a:cubicBezTo>
                    <a:pt x="4344" y="0"/>
                    <a:pt x="4165" y="179"/>
                    <a:pt x="4165" y="400"/>
                  </a:cubicBezTo>
                  <a:lnTo>
                    <a:pt x="4165" y="4165"/>
                  </a:lnTo>
                  <a:lnTo>
                    <a:pt x="400" y="4165"/>
                  </a:lnTo>
                  <a:cubicBezTo>
                    <a:pt x="179" y="4165"/>
                    <a:pt x="0" y="4344"/>
                    <a:pt x="0" y="4565"/>
                  </a:cubicBezTo>
                  <a:lnTo>
                    <a:pt x="0" y="6699"/>
                  </a:lnTo>
                  <a:cubicBezTo>
                    <a:pt x="0" y="6920"/>
                    <a:pt x="179" y="7099"/>
                    <a:pt x="400" y="709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0" name="îsḷïde">
              <a:extLst>
                <a:ext uri="{FF2B5EF4-FFF2-40B4-BE49-F238E27FC236}">
                  <a16:creationId xmlns:a16="http://schemas.microsoft.com/office/drawing/2014/main" id="{F7027C89-1BCC-4A00-9535-016DE4C49FD7}"/>
                </a:ext>
              </a:extLst>
            </p:cNvPr>
            <p:cNvSpPr/>
            <p:nvPr/>
          </p:nvSpPr>
          <p:spPr bwMode="auto">
            <a:xfrm>
              <a:off x="4069565" y="3014578"/>
              <a:ext cx="369969" cy="377806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  <a:gd name="connsiteX107" fmla="*/ 373273 h 605239"/>
                <a:gd name="connsiteY107" fmla="*/ 373273 h 605239"/>
                <a:gd name="connsiteX108" fmla="*/ 373273 h 605239"/>
                <a:gd name="connsiteY108" fmla="*/ 373273 h 605239"/>
                <a:gd name="connsiteX109" fmla="*/ 373273 h 605239"/>
                <a:gd name="connsiteY109" fmla="*/ 373273 h 605239"/>
                <a:gd name="connsiteX110" fmla="*/ 373273 h 605239"/>
                <a:gd name="connsiteY110" fmla="*/ 373273 h 605239"/>
                <a:gd name="connsiteX111" fmla="*/ 373273 h 605239"/>
                <a:gd name="connsiteY111" fmla="*/ 373273 h 605239"/>
                <a:gd name="connsiteX112" fmla="*/ 373273 h 605239"/>
                <a:gd name="connsiteY112" fmla="*/ 373273 h 605239"/>
                <a:gd name="connsiteX113" fmla="*/ 373273 h 605239"/>
                <a:gd name="connsiteY113" fmla="*/ 373273 h 605239"/>
                <a:gd name="connsiteX114" fmla="*/ 373273 h 605239"/>
                <a:gd name="connsiteY114" fmla="*/ 373273 h 605239"/>
                <a:gd name="connsiteX115" fmla="*/ 373273 h 605239"/>
                <a:gd name="connsiteY115" fmla="*/ 373273 h 605239"/>
                <a:gd name="connsiteX116" fmla="*/ 373273 h 605239"/>
                <a:gd name="connsiteY116" fmla="*/ 373273 h 605239"/>
                <a:gd name="connsiteX117" fmla="*/ 373273 h 605239"/>
                <a:gd name="connsiteY117" fmla="*/ 373273 h 605239"/>
                <a:gd name="connsiteX118" fmla="*/ 373273 h 605239"/>
                <a:gd name="connsiteY118" fmla="*/ 373273 h 605239"/>
                <a:gd name="connsiteX119" fmla="*/ 373273 h 605239"/>
                <a:gd name="connsiteY119" fmla="*/ 373273 h 605239"/>
                <a:gd name="connsiteX120" fmla="*/ 373273 h 605239"/>
                <a:gd name="connsiteY120" fmla="*/ 373273 h 605239"/>
                <a:gd name="connsiteX121" fmla="*/ 373273 h 605239"/>
                <a:gd name="connsiteY121" fmla="*/ 373273 h 605239"/>
                <a:gd name="connsiteX122" fmla="*/ 373273 h 605239"/>
                <a:gd name="connsiteY122" fmla="*/ 373273 h 605239"/>
                <a:gd name="connsiteX123" fmla="*/ 373273 h 605239"/>
                <a:gd name="connsiteY123" fmla="*/ 373273 h 605239"/>
                <a:gd name="connsiteX124" fmla="*/ 373273 h 605239"/>
                <a:gd name="connsiteY124" fmla="*/ 373273 h 605239"/>
                <a:gd name="connsiteX125" fmla="*/ 373273 h 605239"/>
                <a:gd name="connsiteY125" fmla="*/ 373273 h 605239"/>
                <a:gd name="connsiteX126" fmla="*/ 373273 h 605239"/>
                <a:gd name="connsiteY126" fmla="*/ 373273 h 605239"/>
                <a:gd name="connsiteX127" fmla="*/ 373273 h 605239"/>
                <a:gd name="connsiteY127" fmla="*/ 373273 h 605239"/>
                <a:gd name="connsiteX128" fmla="*/ 373273 h 605239"/>
                <a:gd name="connsiteY128" fmla="*/ 373273 h 605239"/>
                <a:gd name="connsiteX129" fmla="*/ 373273 h 605239"/>
                <a:gd name="connsiteY12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593733" h="606309">
                  <a:moveTo>
                    <a:pt x="353250" y="302855"/>
                  </a:moveTo>
                  <a:cubicBezTo>
                    <a:pt x="318468" y="302855"/>
                    <a:pt x="290232" y="331146"/>
                    <a:pt x="290232" y="365879"/>
                  </a:cubicBezTo>
                  <a:cubicBezTo>
                    <a:pt x="290232" y="374189"/>
                    <a:pt x="296964" y="380912"/>
                    <a:pt x="305285" y="380912"/>
                  </a:cubicBezTo>
                  <a:cubicBezTo>
                    <a:pt x="313607" y="380912"/>
                    <a:pt x="320338" y="374189"/>
                    <a:pt x="320338" y="365879"/>
                  </a:cubicBezTo>
                  <a:cubicBezTo>
                    <a:pt x="320338" y="347672"/>
                    <a:pt x="335111" y="333014"/>
                    <a:pt x="353250" y="333014"/>
                  </a:cubicBezTo>
                  <a:cubicBezTo>
                    <a:pt x="361665" y="333014"/>
                    <a:pt x="368397" y="326291"/>
                    <a:pt x="368397" y="317888"/>
                  </a:cubicBezTo>
                  <a:cubicBezTo>
                    <a:pt x="368397" y="309578"/>
                    <a:pt x="361665" y="302855"/>
                    <a:pt x="353250" y="302855"/>
                  </a:cubicBezTo>
                  <a:close/>
                  <a:moveTo>
                    <a:pt x="353250" y="265041"/>
                  </a:moveTo>
                  <a:cubicBezTo>
                    <a:pt x="409163" y="265041"/>
                    <a:pt x="454229" y="310232"/>
                    <a:pt x="454229" y="365879"/>
                  </a:cubicBezTo>
                  <a:cubicBezTo>
                    <a:pt x="454229" y="421527"/>
                    <a:pt x="408976" y="466717"/>
                    <a:pt x="353250" y="466717"/>
                  </a:cubicBezTo>
                  <a:cubicBezTo>
                    <a:pt x="297525" y="466717"/>
                    <a:pt x="252271" y="421527"/>
                    <a:pt x="252271" y="365879"/>
                  </a:cubicBezTo>
                  <a:cubicBezTo>
                    <a:pt x="252271" y="310232"/>
                    <a:pt x="297431" y="265041"/>
                    <a:pt x="353250" y="265041"/>
                  </a:cubicBezTo>
                  <a:close/>
                  <a:moveTo>
                    <a:pt x="427779" y="133781"/>
                  </a:moveTo>
                  <a:cubicBezTo>
                    <a:pt x="432818" y="131960"/>
                    <a:pt x="438547" y="132054"/>
                    <a:pt x="443784" y="134482"/>
                  </a:cubicBezTo>
                  <a:lnTo>
                    <a:pt x="473245" y="148209"/>
                  </a:lnTo>
                  <a:cubicBezTo>
                    <a:pt x="483720" y="153158"/>
                    <a:pt x="488209" y="165671"/>
                    <a:pt x="483346" y="176130"/>
                  </a:cubicBezTo>
                  <a:lnTo>
                    <a:pt x="470252" y="203957"/>
                  </a:lnTo>
                  <a:cubicBezTo>
                    <a:pt x="492231" y="219646"/>
                    <a:pt x="511123" y="240003"/>
                    <a:pt x="525526" y="264095"/>
                  </a:cubicBezTo>
                  <a:lnTo>
                    <a:pt x="554426" y="253636"/>
                  </a:lnTo>
                  <a:cubicBezTo>
                    <a:pt x="565368" y="249714"/>
                    <a:pt x="577340" y="255411"/>
                    <a:pt x="581361" y="266243"/>
                  </a:cubicBezTo>
                  <a:lnTo>
                    <a:pt x="592491" y="296592"/>
                  </a:lnTo>
                  <a:cubicBezTo>
                    <a:pt x="596419" y="307612"/>
                    <a:pt x="590714" y="319564"/>
                    <a:pt x="579865" y="323486"/>
                  </a:cubicBezTo>
                  <a:lnTo>
                    <a:pt x="550965" y="333945"/>
                  </a:lnTo>
                  <a:cubicBezTo>
                    <a:pt x="555455" y="361586"/>
                    <a:pt x="553958" y="389414"/>
                    <a:pt x="547224" y="415561"/>
                  </a:cubicBezTo>
                  <a:lnTo>
                    <a:pt x="575095" y="428634"/>
                  </a:lnTo>
                  <a:cubicBezTo>
                    <a:pt x="585570" y="433490"/>
                    <a:pt x="590059" y="445910"/>
                    <a:pt x="585102" y="456649"/>
                  </a:cubicBezTo>
                  <a:lnTo>
                    <a:pt x="571354" y="485970"/>
                  </a:lnTo>
                  <a:cubicBezTo>
                    <a:pt x="566397" y="496429"/>
                    <a:pt x="553958" y="500911"/>
                    <a:pt x="543483" y="496056"/>
                  </a:cubicBezTo>
                  <a:lnTo>
                    <a:pt x="515238" y="482982"/>
                  </a:lnTo>
                  <a:cubicBezTo>
                    <a:pt x="499526" y="504833"/>
                    <a:pt x="479137" y="523510"/>
                    <a:pt x="455007" y="537704"/>
                  </a:cubicBezTo>
                  <a:lnTo>
                    <a:pt x="465763" y="567026"/>
                  </a:lnTo>
                  <a:cubicBezTo>
                    <a:pt x="469784" y="578045"/>
                    <a:pt x="463986" y="589997"/>
                    <a:pt x="453137" y="593919"/>
                  </a:cubicBezTo>
                  <a:lnTo>
                    <a:pt x="422741" y="605032"/>
                  </a:lnTo>
                  <a:cubicBezTo>
                    <a:pt x="411798" y="609047"/>
                    <a:pt x="399827" y="603258"/>
                    <a:pt x="395805" y="592425"/>
                  </a:cubicBezTo>
                  <a:lnTo>
                    <a:pt x="385050" y="562823"/>
                  </a:lnTo>
                  <a:cubicBezTo>
                    <a:pt x="357646" y="567212"/>
                    <a:pt x="330056" y="565718"/>
                    <a:pt x="304149" y="558995"/>
                  </a:cubicBezTo>
                  <a:lnTo>
                    <a:pt x="290682" y="587756"/>
                  </a:lnTo>
                  <a:cubicBezTo>
                    <a:pt x="285725" y="598215"/>
                    <a:pt x="273192" y="602697"/>
                    <a:pt x="262717" y="597841"/>
                  </a:cubicBezTo>
                  <a:lnTo>
                    <a:pt x="233350" y="584114"/>
                  </a:lnTo>
                  <a:cubicBezTo>
                    <a:pt x="222875" y="579165"/>
                    <a:pt x="218385" y="566652"/>
                    <a:pt x="223249" y="556193"/>
                  </a:cubicBezTo>
                  <a:lnTo>
                    <a:pt x="236810" y="527338"/>
                  </a:lnTo>
                  <a:cubicBezTo>
                    <a:pt x="215112" y="511650"/>
                    <a:pt x="196407" y="491480"/>
                    <a:pt x="182284" y="467668"/>
                  </a:cubicBezTo>
                  <a:lnTo>
                    <a:pt x="152169" y="478687"/>
                  </a:lnTo>
                  <a:cubicBezTo>
                    <a:pt x="141133" y="482609"/>
                    <a:pt x="129161" y="476912"/>
                    <a:pt x="125233" y="466080"/>
                  </a:cubicBezTo>
                  <a:lnTo>
                    <a:pt x="114104" y="435731"/>
                  </a:lnTo>
                  <a:cubicBezTo>
                    <a:pt x="110082" y="424712"/>
                    <a:pt x="115881" y="412759"/>
                    <a:pt x="126730" y="408837"/>
                  </a:cubicBezTo>
                  <a:lnTo>
                    <a:pt x="156845" y="397818"/>
                  </a:lnTo>
                  <a:cubicBezTo>
                    <a:pt x="153852" y="379422"/>
                    <a:pt x="153478" y="361026"/>
                    <a:pt x="155629" y="342910"/>
                  </a:cubicBezTo>
                  <a:lnTo>
                    <a:pt x="158622" y="343097"/>
                  </a:lnTo>
                  <a:cubicBezTo>
                    <a:pt x="181162" y="344030"/>
                    <a:pt x="200522" y="327408"/>
                    <a:pt x="203141" y="305370"/>
                  </a:cubicBezTo>
                  <a:cubicBezTo>
                    <a:pt x="207723" y="303876"/>
                    <a:pt x="212119" y="302195"/>
                    <a:pt x="216515" y="300515"/>
                  </a:cubicBezTo>
                  <a:cubicBezTo>
                    <a:pt x="220349" y="304063"/>
                    <a:pt x="224745" y="306958"/>
                    <a:pt x="229609" y="308919"/>
                  </a:cubicBezTo>
                  <a:cubicBezTo>
                    <a:pt x="219227" y="330957"/>
                    <a:pt x="214831" y="355983"/>
                    <a:pt x="217824" y="381943"/>
                  </a:cubicBezTo>
                  <a:cubicBezTo>
                    <a:pt x="226709" y="456462"/>
                    <a:pt x="294329" y="509876"/>
                    <a:pt x="368963" y="501192"/>
                  </a:cubicBezTo>
                  <a:cubicBezTo>
                    <a:pt x="443691" y="492320"/>
                    <a:pt x="497188" y="424899"/>
                    <a:pt x="488490" y="350287"/>
                  </a:cubicBezTo>
                  <a:cubicBezTo>
                    <a:pt x="479605" y="275675"/>
                    <a:pt x="411985" y="222260"/>
                    <a:pt x="337351" y="231038"/>
                  </a:cubicBezTo>
                  <a:cubicBezTo>
                    <a:pt x="324632" y="232532"/>
                    <a:pt x="312473" y="235707"/>
                    <a:pt x="301156" y="240376"/>
                  </a:cubicBezTo>
                  <a:cubicBezTo>
                    <a:pt x="299660" y="236268"/>
                    <a:pt x="297509" y="232345"/>
                    <a:pt x="294797" y="228890"/>
                  </a:cubicBezTo>
                  <a:cubicBezTo>
                    <a:pt x="297041" y="224688"/>
                    <a:pt x="299005" y="220393"/>
                    <a:pt x="300782" y="216097"/>
                  </a:cubicBezTo>
                  <a:cubicBezTo>
                    <a:pt x="311164" y="215817"/>
                    <a:pt x="320891" y="211802"/>
                    <a:pt x="328466" y="204891"/>
                  </a:cubicBezTo>
                  <a:cubicBezTo>
                    <a:pt x="336977" y="197141"/>
                    <a:pt x="341934" y="186589"/>
                    <a:pt x="342402" y="175103"/>
                  </a:cubicBezTo>
                  <a:lnTo>
                    <a:pt x="342776" y="166978"/>
                  </a:lnTo>
                  <a:cubicBezTo>
                    <a:pt x="363164" y="165764"/>
                    <a:pt x="383460" y="167912"/>
                    <a:pt x="402820" y="172768"/>
                  </a:cubicBezTo>
                  <a:lnTo>
                    <a:pt x="415913" y="144567"/>
                  </a:lnTo>
                  <a:cubicBezTo>
                    <a:pt x="418392" y="139338"/>
                    <a:pt x="422741" y="135602"/>
                    <a:pt x="427779" y="133781"/>
                  </a:cubicBezTo>
                  <a:close/>
                  <a:moveTo>
                    <a:pt x="159906" y="88589"/>
                  </a:moveTo>
                  <a:cubicBezTo>
                    <a:pt x="142487" y="87818"/>
                    <a:pt x="124764" y="93678"/>
                    <a:pt x="110828" y="106378"/>
                  </a:cubicBezTo>
                  <a:cubicBezTo>
                    <a:pt x="96145" y="119731"/>
                    <a:pt x="88663" y="138127"/>
                    <a:pt x="88663" y="156523"/>
                  </a:cubicBezTo>
                  <a:cubicBezTo>
                    <a:pt x="88663" y="172958"/>
                    <a:pt x="94555" y="189393"/>
                    <a:pt x="106526" y="202467"/>
                  </a:cubicBezTo>
                  <a:cubicBezTo>
                    <a:pt x="131965" y="230294"/>
                    <a:pt x="175081" y="232162"/>
                    <a:pt x="202764" y="206762"/>
                  </a:cubicBezTo>
                  <a:cubicBezTo>
                    <a:pt x="217448" y="193409"/>
                    <a:pt x="224930" y="175013"/>
                    <a:pt x="224930" y="156523"/>
                  </a:cubicBezTo>
                  <a:cubicBezTo>
                    <a:pt x="224930" y="140088"/>
                    <a:pt x="219132" y="123653"/>
                    <a:pt x="207160" y="110580"/>
                  </a:cubicBezTo>
                  <a:cubicBezTo>
                    <a:pt x="194441" y="96760"/>
                    <a:pt x="177325" y="89359"/>
                    <a:pt x="159906" y="88589"/>
                  </a:cubicBezTo>
                  <a:close/>
                  <a:moveTo>
                    <a:pt x="153289" y="17"/>
                  </a:moveTo>
                  <a:lnTo>
                    <a:pt x="173678" y="951"/>
                  </a:lnTo>
                  <a:cubicBezTo>
                    <a:pt x="180786" y="1325"/>
                    <a:pt x="186304" y="7114"/>
                    <a:pt x="186304" y="14118"/>
                  </a:cubicBezTo>
                  <a:lnTo>
                    <a:pt x="186304" y="14771"/>
                  </a:lnTo>
                  <a:lnTo>
                    <a:pt x="185462" y="34755"/>
                  </a:lnTo>
                  <a:cubicBezTo>
                    <a:pt x="201923" y="38677"/>
                    <a:pt x="217729" y="45774"/>
                    <a:pt x="231851" y="56232"/>
                  </a:cubicBezTo>
                  <a:lnTo>
                    <a:pt x="246535" y="42786"/>
                  </a:lnTo>
                  <a:cubicBezTo>
                    <a:pt x="251866" y="37930"/>
                    <a:pt x="260283" y="38303"/>
                    <a:pt x="265240" y="43626"/>
                  </a:cubicBezTo>
                  <a:lnTo>
                    <a:pt x="279082" y="58660"/>
                  </a:lnTo>
                  <a:cubicBezTo>
                    <a:pt x="281420" y="61275"/>
                    <a:pt x="282542" y="64450"/>
                    <a:pt x="282542" y="67625"/>
                  </a:cubicBezTo>
                  <a:cubicBezTo>
                    <a:pt x="282542" y="71173"/>
                    <a:pt x="281233" y="74722"/>
                    <a:pt x="278334" y="77337"/>
                  </a:cubicBezTo>
                  <a:lnTo>
                    <a:pt x="263744" y="90690"/>
                  </a:lnTo>
                  <a:cubicBezTo>
                    <a:pt x="273096" y="105537"/>
                    <a:pt x="278988" y="121973"/>
                    <a:pt x="281420" y="138781"/>
                  </a:cubicBezTo>
                  <a:lnTo>
                    <a:pt x="301061" y="139621"/>
                  </a:lnTo>
                  <a:cubicBezTo>
                    <a:pt x="308169" y="139995"/>
                    <a:pt x="313593" y="145878"/>
                    <a:pt x="313593" y="152788"/>
                  </a:cubicBezTo>
                  <a:lnTo>
                    <a:pt x="313593" y="153442"/>
                  </a:lnTo>
                  <a:lnTo>
                    <a:pt x="312751" y="173892"/>
                  </a:lnTo>
                  <a:cubicBezTo>
                    <a:pt x="312377" y="181083"/>
                    <a:pt x="306298" y="186779"/>
                    <a:pt x="298910" y="186405"/>
                  </a:cubicBezTo>
                  <a:lnTo>
                    <a:pt x="279456" y="185565"/>
                  </a:lnTo>
                  <a:cubicBezTo>
                    <a:pt x="275622" y="202093"/>
                    <a:pt x="268327" y="218061"/>
                    <a:pt x="257758" y="232162"/>
                  </a:cubicBezTo>
                  <a:lnTo>
                    <a:pt x="270852" y="246449"/>
                  </a:lnTo>
                  <a:cubicBezTo>
                    <a:pt x="273190" y="249064"/>
                    <a:pt x="274312" y="252145"/>
                    <a:pt x="274312" y="255414"/>
                  </a:cubicBezTo>
                  <a:cubicBezTo>
                    <a:pt x="274312" y="258869"/>
                    <a:pt x="273003" y="262511"/>
                    <a:pt x="270104" y="265126"/>
                  </a:cubicBezTo>
                  <a:lnTo>
                    <a:pt x="255046" y="278946"/>
                  </a:lnTo>
                  <a:cubicBezTo>
                    <a:pt x="249621" y="283802"/>
                    <a:pt x="241297" y="283428"/>
                    <a:pt x="236340" y="278106"/>
                  </a:cubicBezTo>
                  <a:lnTo>
                    <a:pt x="223247" y="263724"/>
                  </a:lnTo>
                  <a:cubicBezTo>
                    <a:pt x="208282" y="272970"/>
                    <a:pt x="191635" y="278853"/>
                    <a:pt x="174800" y="281187"/>
                  </a:cubicBezTo>
                  <a:lnTo>
                    <a:pt x="173958" y="300610"/>
                  </a:lnTo>
                  <a:cubicBezTo>
                    <a:pt x="173584" y="307801"/>
                    <a:pt x="167505" y="313590"/>
                    <a:pt x="160117" y="313217"/>
                  </a:cubicBezTo>
                  <a:lnTo>
                    <a:pt x="139634" y="312283"/>
                  </a:lnTo>
                  <a:cubicBezTo>
                    <a:pt x="132526" y="311909"/>
                    <a:pt x="127102" y="306120"/>
                    <a:pt x="127102" y="299116"/>
                  </a:cubicBezTo>
                  <a:lnTo>
                    <a:pt x="127102" y="298463"/>
                  </a:lnTo>
                  <a:lnTo>
                    <a:pt x="128037" y="279039"/>
                  </a:lnTo>
                  <a:cubicBezTo>
                    <a:pt x="111577" y="275211"/>
                    <a:pt x="95771" y="267834"/>
                    <a:pt x="81648" y="257281"/>
                  </a:cubicBezTo>
                  <a:lnTo>
                    <a:pt x="67058" y="270635"/>
                  </a:lnTo>
                  <a:cubicBezTo>
                    <a:pt x="61727" y="275491"/>
                    <a:pt x="53403" y="275117"/>
                    <a:pt x="48353" y="269701"/>
                  </a:cubicBezTo>
                  <a:lnTo>
                    <a:pt x="34511" y="254667"/>
                  </a:lnTo>
                  <a:cubicBezTo>
                    <a:pt x="32173" y="252052"/>
                    <a:pt x="31051" y="248970"/>
                    <a:pt x="31051" y="245702"/>
                  </a:cubicBezTo>
                  <a:cubicBezTo>
                    <a:pt x="31051" y="242247"/>
                    <a:pt x="32453" y="238605"/>
                    <a:pt x="35259" y="235990"/>
                  </a:cubicBezTo>
                  <a:lnTo>
                    <a:pt x="50036" y="222544"/>
                  </a:lnTo>
                  <a:cubicBezTo>
                    <a:pt x="40777" y="207696"/>
                    <a:pt x="35072" y="191261"/>
                    <a:pt x="32640" y="174639"/>
                  </a:cubicBezTo>
                  <a:lnTo>
                    <a:pt x="12626" y="173705"/>
                  </a:lnTo>
                  <a:cubicBezTo>
                    <a:pt x="5518" y="173332"/>
                    <a:pt x="0" y="167542"/>
                    <a:pt x="0" y="160539"/>
                  </a:cubicBezTo>
                  <a:lnTo>
                    <a:pt x="0" y="159885"/>
                  </a:lnTo>
                  <a:lnTo>
                    <a:pt x="842" y="139621"/>
                  </a:lnTo>
                  <a:cubicBezTo>
                    <a:pt x="1216" y="132431"/>
                    <a:pt x="7388" y="126642"/>
                    <a:pt x="14683" y="127015"/>
                  </a:cubicBezTo>
                  <a:lnTo>
                    <a:pt x="34885" y="127949"/>
                  </a:lnTo>
                  <a:cubicBezTo>
                    <a:pt x="38813" y="111514"/>
                    <a:pt x="46015" y="95826"/>
                    <a:pt x="56490" y="81819"/>
                  </a:cubicBezTo>
                  <a:lnTo>
                    <a:pt x="42741" y="66878"/>
                  </a:lnTo>
                  <a:cubicBezTo>
                    <a:pt x="40403" y="64263"/>
                    <a:pt x="39281" y="61182"/>
                    <a:pt x="39281" y="57913"/>
                  </a:cubicBezTo>
                  <a:cubicBezTo>
                    <a:pt x="39281" y="54458"/>
                    <a:pt x="40684" y="50816"/>
                    <a:pt x="43490" y="48202"/>
                  </a:cubicBezTo>
                  <a:lnTo>
                    <a:pt x="58641" y="34381"/>
                  </a:lnTo>
                  <a:cubicBezTo>
                    <a:pt x="63972" y="29526"/>
                    <a:pt x="72296" y="29899"/>
                    <a:pt x="77346" y="35315"/>
                  </a:cubicBezTo>
                  <a:lnTo>
                    <a:pt x="90627" y="50256"/>
                  </a:lnTo>
                  <a:cubicBezTo>
                    <a:pt x="105591" y="41011"/>
                    <a:pt x="121864" y="35128"/>
                    <a:pt x="138512" y="32794"/>
                  </a:cubicBezTo>
                  <a:lnTo>
                    <a:pt x="139447" y="12624"/>
                  </a:lnTo>
                  <a:cubicBezTo>
                    <a:pt x="139821" y="5433"/>
                    <a:pt x="145901" y="-356"/>
                    <a:pt x="153289" y="17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1" name="îṣḻïḓè">
              <a:extLst>
                <a:ext uri="{FF2B5EF4-FFF2-40B4-BE49-F238E27FC236}">
                  <a16:creationId xmlns:a16="http://schemas.microsoft.com/office/drawing/2014/main" id="{30C8A656-A69C-4844-9B4C-38593487F7D6}"/>
                </a:ext>
              </a:extLst>
            </p:cNvPr>
            <p:cNvSpPr/>
            <p:nvPr/>
          </p:nvSpPr>
          <p:spPr bwMode="auto">
            <a:xfrm>
              <a:off x="3563916" y="3658051"/>
              <a:ext cx="377806" cy="377072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81741" h="580612">
                  <a:moveTo>
                    <a:pt x="291612" y="187916"/>
                  </a:moveTo>
                  <a:cubicBezTo>
                    <a:pt x="304876" y="187916"/>
                    <a:pt x="315648" y="198758"/>
                    <a:pt x="315648" y="212088"/>
                  </a:cubicBezTo>
                  <a:lnTo>
                    <a:pt x="315648" y="491836"/>
                  </a:lnTo>
                  <a:lnTo>
                    <a:pt x="331227" y="473974"/>
                  </a:lnTo>
                  <a:cubicBezTo>
                    <a:pt x="339863" y="463932"/>
                    <a:pt x="355086" y="462866"/>
                    <a:pt x="365145" y="471574"/>
                  </a:cubicBezTo>
                  <a:cubicBezTo>
                    <a:pt x="375116" y="480372"/>
                    <a:pt x="376184" y="495657"/>
                    <a:pt x="367460" y="505699"/>
                  </a:cubicBezTo>
                  <a:lnTo>
                    <a:pt x="309773" y="572348"/>
                  </a:lnTo>
                  <a:cubicBezTo>
                    <a:pt x="305143" y="577502"/>
                    <a:pt x="298556" y="580612"/>
                    <a:pt x="291612" y="580612"/>
                  </a:cubicBezTo>
                  <a:cubicBezTo>
                    <a:pt x="284579" y="580612"/>
                    <a:pt x="278080" y="577680"/>
                    <a:pt x="273451" y="572348"/>
                  </a:cubicBezTo>
                  <a:lnTo>
                    <a:pt x="215764" y="505699"/>
                  </a:lnTo>
                  <a:cubicBezTo>
                    <a:pt x="207039" y="495657"/>
                    <a:pt x="208108" y="480372"/>
                    <a:pt x="218078" y="471574"/>
                  </a:cubicBezTo>
                  <a:cubicBezTo>
                    <a:pt x="228049" y="462866"/>
                    <a:pt x="243272" y="463932"/>
                    <a:pt x="252085" y="473974"/>
                  </a:cubicBezTo>
                  <a:lnTo>
                    <a:pt x="267486" y="491747"/>
                  </a:lnTo>
                  <a:lnTo>
                    <a:pt x="267486" y="212088"/>
                  </a:lnTo>
                  <a:cubicBezTo>
                    <a:pt x="267486" y="198758"/>
                    <a:pt x="278258" y="187916"/>
                    <a:pt x="291612" y="187916"/>
                  </a:cubicBezTo>
                  <a:close/>
                  <a:moveTo>
                    <a:pt x="329499" y="0"/>
                  </a:moveTo>
                  <a:cubicBezTo>
                    <a:pt x="426248" y="0"/>
                    <a:pt x="465322" y="80426"/>
                    <a:pt x="473332" y="108153"/>
                  </a:cubicBezTo>
                  <a:cubicBezTo>
                    <a:pt x="535280" y="120684"/>
                    <a:pt x="581474" y="175693"/>
                    <a:pt x="581741" y="241190"/>
                  </a:cubicBezTo>
                  <a:cubicBezTo>
                    <a:pt x="581741" y="315840"/>
                    <a:pt x="521306" y="376537"/>
                    <a:pt x="446987" y="376537"/>
                  </a:cubicBezTo>
                  <a:lnTo>
                    <a:pt x="372756" y="376537"/>
                  </a:lnTo>
                  <a:cubicBezTo>
                    <a:pt x="359316" y="376537"/>
                    <a:pt x="348546" y="365606"/>
                    <a:pt x="348546" y="352276"/>
                  </a:cubicBezTo>
                  <a:cubicBezTo>
                    <a:pt x="348546" y="338857"/>
                    <a:pt x="359316" y="327926"/>
                    <a:pt x="372756" y="327926"/>
                  </a:cubicBezTo>
                  <a:lnTo>
                    <a:pt x="446987" y="327926"/>
                  </a:lnTo>
                  <a:cubicBezTo>
                    <a:pt x="494605" y="327926"/>
                    <a:pt x="533322" y="289090"/>
                    <a:pt x="533322" y="241190"/>
                  </a:cubicBezTo>
                  <a:cubicBezTo>
                    <a:pt x="533322" y="195334"/>
                    <a:pt x="497720" y="157298"/>
                    <a:pt x="452238" y="154632"/>
                  </a:cubicBezTo>
                  <a:cubicBezTo>
                    <a:pt x="440934" y="153921"/>
                    <a:pt x="431589" y="145478"/>
                    <a:pt x="429809" y="134192"/>
                  </a:cubicBezTo>
                  <a:cubicBezTo>
                    <a:pt x="421709" y="84692"/>
                    <a:pt x="379609" y="48789"/>
                    <a:pt x="329677" y="48789"/>
                  </a:cubicBezTo>
                  <a:cubicBezTo>
                    <a:pt x="279567" y="48789"/>
                    <a:pt x="238001" y="84781"/>
                    <a:pt x="229457" y="134192"/>
                  </a:cubicBezTo>
                  <a:cubicBezTo>
                    <a:pt x="226520" y="151521"/>
                    <a:pt x="212190" y="162807"/>
                    <a:pt x="192964" y="151077"/>
                  </a:cubicBezTo>
                  <a:cubicBezTo>
                    <a:pt x="178011" y="141834"/>
                    <a:pt x="160922" y="136947"/>
                    <a:pt x="143299" y="136947"/>
                  </a:cubicBezTo>
                  <a:cubicBezTo>
                    <a:pt x="90964" y="136947"/>
                    <a:pt x="48419" y="179693"/>
                    <a:pt x="48419" y="232303"/>
                  </a:cubicBezTo>
                  <a:cubicBezTo>
                    <a:pt x="48419" y="284913"/>
                    <a:pt x="90964" y="327748"/>
                    <a:pt x="143299" y="327748"/>
                  </a:cubicBezTo>
                  <a:lnTo>
                    <a:pt x="218776" y="327748"/>
                  </a:lnTo>
                  <a:cubicBezTo>
                    <a:pt x="232216" y="327748"/>
                    <a:pt x="242986" y="338590"/>
                    <a:pt x="242986" y="352009"/>
                  </a:cubicBezTo>
                  <a:cubicBezTo>
                    <a:pt x="242986" y="365429"/>
                    <a:pt x="232216" y="376271"/>
                    <a:pt x="218776" y="376271"/>
                  </a:cubicBezTo>
                  <a:lnTo>
                    <a:pt x="143299" y="376271"/>
                  </a:lnTo>
                  <a:cubicBezTo>
                    <a:pt x="64262" y="376271"/>
                    <a:pt x="0" y="311574"/>
                    <a:pt x="0" y="232214"/>
                  </a:cubicBezTo>
                  <a:cubicBezTo>
                    <a:pt x="0" y="152854"/>
                    <a:pt x="64262" y="88158"/>
                    <a:pt x="143210" y="88158"/>
                  </a:cubicBezTo>
                  <a:cubicBezTo>
                    <a:pt x="159231" y="88158"/>
                    <a:pt x="174896" y="90735"/>
                    <a:pt x="189849" y="95978"/>
                  </a:cubicBezTo>
                  <a:cubicBezTo>
                    <a:pt x="198749" y="73050"/>
                    <a:pt x="238891" y="0"/>
                    <a:pt x="32949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2" name="iş1iḑe">
              <a:extLst>
                <a:ext uri="{FF2B5EF4-FFF2-40B4-BE49-F238E27FC236}">
                  <a16:creationId xmlns:a16="http://schemas.microsoft.com/office/drawing/2014/main" id="{79D5FAF9-096B-4C61-A299-6A26A276E128}"/>
                </a:ext>
              </a:extLst>
            </p:cNvPr>
            <p:cNvSpPr/>
            <p:nvPr/>
          </p:nvSpPr>
          <p:spPr bwMode="auto">
            <a:xfrm>
              <a:off x="3025037" y="4301073"/>
              <a:ext cx="377806" cy="377236"/>
            </a:xfrm>
            <a:custGeom>
              <a:avLst/>
              <a:gdLst>
                <a:gd name="connsiteX0" fmla="*/ 303820 w 607639"/>
                <a:gd name="connsiteY0" fmla="*/ 278099 h 606722"/>
                <a:gd name="connsiteX1" fmla="*/ 329118 w 607639"/>
                <a:gd name="connsiteY1" fmla="*/ 303362 h 606722"/>
                <a:gd name="connsiteX2" fmla="*/ 303820 w 607639"/>
                <a:gd name="connsiteY2" fmla="*/ 328625 h 606722"/>
                <a:gd name="connsiteX3" fmla="*/ 278522 w 607639"/>
                <a:gd name="connsiteY3" fmla="*/ 303362 h 606722"/>
                <a:gd name="connsiteX4" fmla="*/ 303820 w 607639"/>
                <a:gd name="connsiteY4" fmla="*/ 278099 h 606722"/>
                <a:gd name="connsiteX5" fmla="*/ 303775 w 607639"/>
                <a:gd name="connsiteY5" fmla="*/ 252735 h 606722"/>
                <a:gd name="connsiteX6" fmla="*/ 253140 w 607639"/>
                <a:gd name="connsiteY6" fmla="*/ 303317 h 606722"/>
                <a:gd name="connsiteX7" fmla="*/ 303775 w 607639"/>
                <a:gd name="connsiteY7" fmla="*/ 353900 h 606722"/>
                <a:gd name="connsiteX8" fmla="*/ 354410 w 607639"/>
                <a:gd name="connsiteY8" fmla="*/ 303317 h 606722"/>
                <a:gd name="connsiteX9" fmla="*/ 303775 w 607639"/>
                <a:gd name="connsiteY9" fmla="*/ 252735 h 606722"/>
                <a:gd name="connsiteX10" fmla="*/ 303775 w 607639"/>
                <a:gd name="connsiteY10" fmla="*/ 202241 h 606722"/>
                <a:gd name="connsiteX11" fmla="*/ 405045 w 607639"/>
                <a:gd name="connsiteY11" fmla="*/ 303317 h 606722"/>
                <a:gd name="connsiteX12" fmla="*/ 303775 w 607639"/>
                <a:gd name="connsiteY12" fmla="*/ 404482 h 606722"/>
                <a:gd name="connsiteX13" fmla="*/ 202593 w 607639"/>
                <a:gd name="connsiteY13" fmla="*/ 303317 h 606722"/>
                <a:gd name="connsiteX14" fmla="*/ 303775 w 607639"/>
                <a:gd name="connsiteY14" fmla="*/ 202241 h 606722"/>
                <a:gd name="connsiteX15" fmla="*/ 303775 w 607639"/>
                <a:gd name="connsiteY15" fmla="*/ 151703 h 606722"/>
                <a:gd name="connsiteX16" fmla="*/ 151932 w 607639"/>
                <a:gd name="connsiteY16" fmla="*/ 303317 h 606722"/>
                <a:gd name="connsiteX17" fmla="*/ 303775 w 607639"/>
                <a:gd name="connsiteY17" fmla="*/ 455019 h 606722"/>
                <a:gd name="connsiteX18" fmla="*/ 455707 w 607639"/>
                <a:gd name="connsiteY18" fmla="*/ 303317 h 606722"/>
                <a:gd name="connsiteX19" fmla="*/ 303775 w 607639"/>
                <a:gd name="connsiteY19" fmla="*/ 151703 h 606722"/>
                <a:gd name="connsiteX20" fmla="*/ 253131 w 607639"/>
                <a:gd name="connsiteY20" fmla="*/ 0 h 606722"/>
                <a:gd name="connsiteX21" fmla="*/ 354419 w 607639"/>
                <a:gd name="connsiteY21" fmla="*/ 0 h 606722"/>
                <a:gd name="connsiteX22" fmla="*/ 379786 w 607639"/>
                <a:gd name="connsiteY22" fmla="*/ 25239 h 606722"/>
                <a:gd name="connsiteX23" fmla="*/ 379786 w 607639"/>
                <a:gd name="connsiteY23" fmla="*/ 62387 h 606722"/>
                <a:gd name="connsiteX24" fmla="*/ 420639 w 607639"/>
                <a:gd name="connsiteY24" fmla="*/ 79451 h 606722"/>
                <a:gd name="connsiteX25" fmla="*/ 446985 w 607639"/>
                <a:gd name="connsiteY25" fmla="*/ 53145 h 606722"/>
                <a:gd name="connsiteX26" fmla="*/ 482854 w 607639"/>
                <a:gd name="connsiteY26" fmla="*/ 53145 h 606722"/>
                <a:gd name="connsiteX27" fmla="*/ 554414 w 607639"/>
                <a:gd name="connsiteY27" fmla="*/ 124597 h 606722"/>
                <a:gd name="connsiteX28" fmla="*/ 554414 w 607639"/>
                <a:gd name="connsiteY28" fmla="*/ 160323 h 606722"/>
                <a:gd name="connsiteX29" fmla="*/ 528069 w 607639"/>
                <a:gd name="connsiteY29" fmla="*/ 186629 h 606722"/>
                <a:gd name="connsiteX30" fmla="*/ 545158 w 607639"/>
                <a:gd name="connsiteY30" fmla="*/ 227510 h 606722"/>
                <a:gd name="connsiteX31" fmla="*/ 582273 w 607639"/>
                <a:gd name="connsiteY31" fmla="*/ 227510 h 606722"/>
                <a:gd name="connsiteX32" fmla="*/ 607639 w 607639"/>
                <a:gd name="connsiteY32" fmla="*/ 252749 h 606722"/>
                <a:gd name="connsiteX33" fmla="*/ 607639 w 607639"/>
                <a:gd name="connsiteY33" fmla="*/ 353884 h 606722"/>
                <a:gd name="connsiteX34" fmla="*/ 582273 w 607639"/>
                <a:gd name="connsiteY34" fmla="*/ 379212 h 606722"/>
                <a:gd name="connsiteX35" fmla="*/ 545158 w 607639"/>
                <a:gd name="connsiteY35" fmla="*/ 379212 h 606722"/>
                <a:gd name="connsiteX36" fmla="*/ 528069 w 607639"/>
                <a:gd name="connsiteY36" fmla="*/ 420004 h 606722"/>
                <a:gd name="connsiteX37" fmla="*/ 554414 w 607639"/>
                <a:gd name="connsiteY37" fmla="*/ 446310 h 606722"/>
                <a:gd name="connsiteX38" fmla="*/ 554414 w 607639"/>
                <a:gd name="connsiteY38" fmla="*/ 482125 h 606722"/>
                <a:gd name="connsiteX39" fmla="*/ 482854 w 607639"/>
                <a:gd name="connsiteY39" fmla="*/ 553577 h 606722"/>
                <a:gd name="connsiteX40" fmla="*/ 446985 w 607639"/>
                <a:gd name="connsiteY40" fmla="*/ 553577 h 606722"/>
                <a:gd name="connsiteX41" fmla="*/ 420639 w 607639"/>
                <a:gd name="connsiteY41" fmla="*/ 527271 h 606722"/>
                <a:gd name="connsiteX42" fmla="*/ 379786 w 607639"/>
                <a:gd name="connsiteY42" fmla="*/ 544246 h 606722"/>
                <a:gd name="connsiteX43" fmla="*/ 379786 w 607639"/>
                <a:gd name="connsiteY43" fmla="*/ 581394 h 606722"/>
                <a:gd name="connsiteX44" fmla="*/ 354419 w 607639"/>
                <a:gd name="connsiteY44" fmla="*/ 606722 h 606722"/>
                <a:gd name="connsiteX45" fmla="*/ 253131 w 607639"/>
                <a:gd name="connsiteY45" fmla="*/ 606722 h 606722"/>
                <a:gd name="connsiteX46" fmla="*/ 227854 w 607639"/>
                <a:gd name="connsiteY46" fmla="*/ 581394 h 606722"/>
                <a:gd name="connsiteX47" fmla="*/ 227854 w 607639"/>
                <a:gd name="connsiteY47" fmla="*/ 544246 h 606722"/>
                <a:gd name="connsiteX48" fmla="*/ 186911 w 607639"/>
                <a:gd name="connsiteY48" fmla="*/ 527271 h 606722"/>
                <a:gd name="connsiteX49" fmla="*/ 160566 w 607639"/>
                <a:gd name="connsiteY49" fmla="*/ 553577 h 606722"/>
                <a:gd name="connsiteX50" fmla="*/ 124786 w 607639"/>
                <a:gd name="connsiteY50" fmla="*/ 553577 h 606722"/>
                <a:gd name="connsiteX51" fmla="*/ 53225 w 607639"/>
                <a:gd name="connsiteY51" fmla="*/ 482125 h 606722"/>
                <a:gd name="connsiteX52" fmla="*/ 53225 w 607639"/>
                <a:gd name="connsiteY52" fmla="*/ 446310 h 606722"/>
                <a:gd name="connsiteX53" fmla="*/ 79482 w 607639"/>
                <a:gd name="connsiteY53" fmla="*/ 420004 h 606722"/>
                <a:gd name="connsiteX54" fmla="*/ 62482 w 607639"/>
                <a:gd name="connsiteY54" fmla="*/ 379212 h 606722"/>
                <a:gd name="connsiteX55" fmla="*/ 25278 w 607639"/>
                <a:gd name="connsiteY55" fmla="*/ 379212 h 606722"/>
                <a:gd name="connsiteX56" fmla="*/ 0 w 607639"/>
                <a:gd name="connsiteY56" fmla="*/ 353884 h 606722"/>
                <a:gd name="connsiteX57" fmla="*/ 0 w 607639"/>
                <a:gd name="connsiteY57" fmla="*/ 252749 h 606722"/>
                <a:gd name="connsiteX58" fmla="*/ 25278 w 607639"/>
                <a:gd name="connsiteY58" fmla="*/ 227510 h 606722"/>
                <a:gd name="connsiteX59" fmla="*/ 62482 w 607639"/>
                <a:gd name="connsiteY59" fmla="*/ 227510 h 606722"/>
                <a:gd name="connsiteX60" fmla="*/ 79482 w 607639"/>
                <a:gd name="connsiteY60" fmla="*/ 186629 h 606722"/>
                <a:gd name="connsiteX61" fmla="*/ 53225 w 607639"/>
                <a:gd name="connsiteY61" fmla="*/ 160323 h 606722"/>
                <a:gd name="connsiteX62" fmla="*/ 53225 w 607639"/>
                <a:gd name="connsiteY62" fmla="*/ 124597 h 606722"/>
                <a:gd name="connsiteX63" fmla="*/ 124786 w 607639"/>
                <a:gd name="connsiteY63" fmla="*/ 53145 h 606722"/>
                <a:gd name="connsiteX64" fmla="*/ 160566 w 607639"/>
                <a:gd name="connsiteY64" fmla="*/ 53145 h 606722"/>
                <a:gd name="connsiteX65" fmla="*/ 186911 w 607639"/>
                <a:gd name="connsiteY65" fmla="*/ 79451 h 606722"/>
                <a:gd name="connsiteX66" fmla="*/ 227854 w 607639"/>
                <a:gd name="connsiteY66" fmla="*/ 62387 h 606722"/>
                <a:gd name="connsiteX67" fmla="*/ 227854 w 607639"/>
                <a:gd name="connsiteY67" fmla="*/ 25239 h 606722"/>
                <a:gd name="connsiteX68" fmla="*/ 253131 w 607639"/>
                <a:gd name="connsiteY68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607639" h="606722">
                  <a:moveTo>
                    <a:pt x="303820" y="278099"/>
                  </a:moveTo>
                  <a:cubicBezTo>
                    <a:pt x="317792" y="278099"/>
                    <a:pt x="329118" y="289410"/>
                    <a:pt x="329118" y="303362"/>
                  </a:cubicBezTo>
                  <a:cubicBezTo>
                    <a:pt x="329118" y="317314"/>
                    <a:pt x="317792" y="328625"/>
                    <a:pt x="303820" y="328625"/>
                  </a:cubicBezTo>
                  <a:cubicBezTo>
                    <a:pt x="289848" y="328625"/>
                    <a:pt x="278522" y="317314"/>
                    <a:pt x="278522" y="303362"/>
                  </a:cubicBezTo>
                  <a:cubicBezTo>
                    <a:pt x="278522" y="289410"/>
                    <a:pt x="289848" y="278099"/>
                    <a:pt x="303820" y="278099"/>
                  </a:cubicBezTo>
                  <a:close/>
                  <a:moveTo>
                    <a:pt x="303775" y="252735"/>
                  </a:moveTo>
                  <a:cubicBezTo>
                    <a:pt x="275921" y="252735"/>
                    <a:pt x="253140" y="275492"/>
                    <a:pt x="253140" y="303317"/>
                  </a:cubicBezTo>
                  <a:cubicBezTo>
                    <a:pt x="253140" y="331231"/>
                    <a:pt x="275921" y="353900"/>
                    <a:pt x="303775" y="353900"/>
                  </a:cubicBezTo>
                  <a:cubicBezTo>
                    <a:pt x="331718" y="353900"/>
                    <a:pt x="354410" y="331231"/>
                    <a:pt x="354410" y="303317"/>
                  </a:cubicBezTo>
                  <a:cubicBezTo>
                    <a:pt x="354410" y="275492"/>
                    <a:pt x="331718" y="252735"/>
                    <a:pt x="303775" y="252735"/>
                  </a:cubicBezTo>
                  <a:close/>
                  <a:moveTo>
                    <a:pt x="303775" y="202241"/>
                  </a:moveTo>
                  <a:cubicBezTo>
                    <a:pt x="359660" y="202241"/>
                    <a:pt x="405045" y="247579"/>
                    <a:pt x="405045" y="303317"/>
                  </a:cubicBezTo>
                  <a:cubicBezTo>
                    <a:pt x="405045" y="359144"/>
                    <a:pt x="359660" y="404482"/>
                    <a:pt x="303775" y="404482"/>
                  </a:cubicBezTo>
                  <a:cubicBezTo>
                    <a:pt x="247978" y="404482"/>
                    <a:pt x="202593" y="359144"/>
                    <a:pt x="202593" y="303317"/>
                  </a:cubicBezTo>
                  <a:cubicBezTo>
                    <a:pt x="202593" y="247579"/>
                    <a:pt x="247978" y="202241"/>
                    <a:pt x="303775" y="202241"/>
                  </a:cubicBezTo>
                  <a:close/>
                  <a:moveTo>
                    <a:pt x="303775" y="151703"/>
                  </a:moveTo>
                  <a:cubicBezTo>
                    <a:pt x="220021" y="151703"/>
                    <a:pt x="151932" y="219689"/>
                    <a:pt x="151932" y="303317"/>
                  </a:cubicBezTo>
                  <a:cubicBezTo>
                    <a:pt x="151932" y="387033"/>
                    <a:pt x="220021" y="455019"/>
                    <a:pt x="303775" y="455019"/>
                  </a:cubicBezTo>
                  <a:cubicBezTo>
                    <a:pt x="387618" y="455019"/>
                    <a:pt x="455707" y="387033"/>
                    <a:pt x="455707" y="303317"/>
                  </a:cubicBezTo>
                  <a:cubicBezTo>
                    <a:pt x="455707" y="219689"/>
                    <a:pt x="387618" y="151703"/>
                    <a:pt x="303775" y="151703"/>
                  </a:cubicBezTo>
                  <a:close/>
                  <a:moveTo>
                    <a:pt x="253131" y="0"/>
                  </a:moveTo>
                  <a:lnTo>
                    <a:pt x="354419" y="0"/>
                  </a:lnTo>
                  <a:cubicBezTo>
                    <a:pt x="368482" y="0"/>
                    <a:pt x="379786" y="11287"/>
                    <a:pt x="379786" y="25239"/>
                  </a:cubicBezTo>
                  <a:lnTo>
                    <a:pt x="379786" y="62387"/>
                  </a:lnTo>
                  <a:cubicBezTo>
                    <a:pt x="393849" y="66831"/>
                    <a:pt x="407555" y="72519"/>
                    <a:pt x="420639" y="79451"/>
                  </a:cubicBezTo>
                  <a:lnTo>
                    <a:pt x="446985" y="53145"/>
                  </a:lnTo>
                  <a:cubicBezTo>
                    <a:pt x="456953" y="43191"/>
                    <a:pt x="472974" y="43191"/>
                    <a:pt x="482854" y="53145"/>
                  </a:cubicBezTo>
                  <a:lnTo>
                    <a:pt x="554414" y="124597"/>
                  </a:lnTo>
                  <a:cubicBezTo>
                    <a:pt x="564294" y="134462"/>
                    <a:pt x="564294" y="150459"/>
                    <a:pt x="554414" y="160323"/>
                  </a:cubicBezTo>
                  <a:lnTo>
                    <a:pt x="528069" y="186629"/>
                  </a:lnTo>
                  <a:cubicBezTo>
                    <a:pt x="535011" y="199782"/>
                    <a:pt x="540707" y="213468"/>
                    <a:pt x="545158" y="227510"/>
                  </a:cubicBezTo>
                  <a:lnTo>
                    <a:pt x="582273" y="227510"/>
                  </a:lnTo>
                  <a:cubicBezTo>
                    <a:pt x="596336" y="227510"/>
                    <a:pt x="607639" y="238796"/>
                    <a:pt x="607639" y="252749"/>
                  </a:cubicBezTo>
                  <a:lnTo>
                    <a:pt x="607639" y="353884"/>
                  </a:lnTo>
                  <a:cubicBezTo>
                    <a:pt x="607639" y="367926"/>
                    <a:pt x="596247" y="379212"/>
                    <a:pt x="582273" y="379212"/>
                  </a:cubicBezTo>
                  <a:lnTo>
                    <a:pt x="545158" y="379212"/>
                  </a:lnTo>
                  <a:cubicBezTo>
                    <a:pt x="540707" y="393254"/>
                    <a:pt x="535011" y="406940"/>
                    <a:pt x="528069" y="420004"/>
                  </a:cubicBezTo>
                  <a:lnTo>
                    <a:pt x="554414" y="446310"/>
                  </a:lnTo>
                  <a:cubicBezTo>
                    <a:pt x="564294" y="456263"/>
                    <a:pt x="564294" y="472260"/>
                    <a:pt x="554414" y="482125"/>
                  </a:cubicBezTo>
                  <a:lnTo>
                    <a:pt x="482854" y="553577"/>
                  </a:lnTo>
                  <a:cubicBezTo>
                    <a:pt x="472974" y="563442"/>
                    <a:pt x="456953" y="563442"/>
                    <a:pt x="446985" y="553577"/>
                  </a:cubicBezTo>
                  <a:lnTo>
                    <a:pt x="420639" y="527271"/>
                  </a:lnTo>
                  <a:cubicBezTo>
                    <a:pt x="407555" y="534203"/>
                    <a:pt x="393849" y="539802"/>
                    <a:pt x="379786" y="544246"/>
                  </a:cubicBezTo>
                  <a:lnTo>
                    <a:pt x="379786" y="581394"/>
                  </a:lnTo>
                  <a:cubicBezTo>
                    <a:pt x="379786" y="595435"/>
                    <a:pt x="368393" y="606722"/>
                    <a:pt x="354419" y="606722"/>
                  </a:cubicBezTo>
                  <a:lnTo>
                    <a:pt x="253131" y="606722"/>
                  </a:lnTo>
                  <a:cubicBezTo>
                    <a:pt x="239157" y="606722"/>
                    <a:pt x="227854" y="595435"/>
                    <a:pt x="227854" y="581394"/>
                  </a:cubicBezTo>
                  <a:lnTo>
                    <a:pt x="227854" y="544246"/>
                  </a:lnTo>
                  <a:cubicBezTo>
                    <a:pt x="213791" y="539802"/>
                    <a:pt x="200084" y="534203"/>
                    <a:pt x="186911" y="527271"/>
                  </a:cubicBezTo>
                  <a:lnTo>
                    <a:pt x="160566" y="553577"/>
                  </a:lnTo>
                  <a:cubicBezTo>
                    <a:pt x="150686" y="563442"/>
                    <a:pt x="134665" y="563442"/>
                    <a:pt x="124786" y="553577"/>
                  </a:cubicBezTo>
                  <a:lnTo>
                    <a:pt x="53225" y="482125"/>
                  </a:lnTo>
                  <a:cubicBezTo>
                    <a:pt x="43257" y="472260"/>
                    <a:pt x="43257" y="456263"/>
                    <a:pt x="53225" y="446310"/>
                  </a:cubicBezTo>
                  <a:lnTo>
                    <a:pt x="79482" y="420004"/>
                  </a:lnTo>
                  <a:cubicBezTo>
                    <a:pt x="72629" y="406940"/>
                    <a:pt x="66932" y="393254"/>
                    <a:pt x="62482" y="379212"/>
                  </a:cubicBezTo>
                  <a:lnTo>
                    <a:pt x="25278" y="379212"/>
                  </a:lnTo>
                  <a:cubicBezTo>
                    <a:pt x="11304" y="379212"/>
                    <a:pt x="0" y="367926"/>
                    <a:pt x="0" y="353884"/>
                  </a:cubicBezTo>
                  <a:lnTo>
                    <a:pt x="0" y="252749"/>
                  </a:lnTo>
                  <a:cubicBezTo>
                    <a:pt x="0" y="238796"/>
                    <a:pt x="11304" y="227510"/>
                    <a:pt x="25278" y="227510"/>
                  </a:cubicBezTo>
                  <a:lnTo>
                    <a:pt x="62482" y="227510"/>
                  </a:lnTo>
                  <a:cubicBezTo>
                    <a:pt x="66932" y="213468"/>
                    <a:pt x="72629" y="199782"/>
                    <a:pt x="79482" y="186629"/>
                  </a:cubicBezTo>
                  <a:lnTo>
                    <a:pt x="53225" y="160323"/>
                  </a:lnTo>
                  <a:cubicBezTo>
                    <a:pt x="43257" y="150459"/>
                    <a:pt x="43257" y="134462"/>
                    <a:pt x="53225" y="124597"/>
                  </a:cubicBezTo>
                  <a:lnTo>
                    <a:pt x="124786" y="53145"/>
                  </a:lnTo>
                  <a:cubicBezTo>
                    <a:pt x="134665" y="43191"/>
                    <a:pt x="150686" y="43191"/>
                    <a:pt x="160566" y="53145"/>
                  </a:cubicBezTo>
                  <a:lnTo>
                    <a:pt x="186911" y="79451"/>
                  </a:lnTo>
                  <a:cubicBezTo>
                    <a:pt x="200084" y="72519"/>
                    <a:pt x="213791" y="66831"/>
                    <a:pt x="227854" y="62387"/>
                  </a:cubicBezTo>
                  <a:lnTo>
                    <a:pt x="227854" y="25239"/>
                  </a:lnTo>
                  <a:cubicBezTo>
                    <a:pt x="227854" y="11287"/>
                    <a:pt x="239157" y="0"/>
                    <a:pt x="253131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3" name="ïṧľíďê">
              <a:extLst>
                <a:ext uri="{FF2B5EF4-FFF2-40B4-BE49-F238E27FC236}">
                  <a16:creationId xmlns:a16="http://schemas.microsoft.com/office/drawing/2014/main" id="{83AC56C8-BB22-4DB6-8372-AA84DFFA3A81}"/>
                </a:ext>
              </a:extLst>
            </p:cNvPr>
            <p:cNvSpPr/>
            <p:nvPr/>
          </p:nvSpPr>
          <p:spPr bwMode="auto">
            <a:xfrm>
              <a:off x="2498293" y="4944202"/>
              <a:ext cx="377806" cy="377188"/>
            </a:xfrm>
            <a:custGeom>
              <a:avLst/>
              <a:gdLst>
                <a:gd name="connsiteX0" fmla="*/ 380418 w 604181"/>
                <a:gd name="connsiteY0" fmla="*/ 268007 h 603193"/>
                <a:gd name="connsiteX1" fmla="*/ 519220 w 604181"/>
                <a:gd name="connsiteY1" fmla="*/ 339187 h 603193"/>
                <a:gd name="connsiteX2" fmla="*/ 519220 w 604181"/>
                <a:gd name="connsiteY2" fmla="*/ 355820 h 603193"/>
                <a:gd name="connsiteX3" fmla="*/ 380418 w 604181"/>
                <a:gd name="connsiteY3" fmla="*/ 426850 h 603193"/>
                <a:gd name="connsiteX4" fmla="*/ 380418 w 604181"/>
                <a:gd name="connsiteY4" fmla="*/ 406320 h 603193"/>
                <a:gd name="connsiteX5" fmla="*/ 498212 w 604181"/>
                <a:gd name="connsiteY5" fmla="*/ 347728 h 603193"/>
                <a:gd name="connsiteX6" fmla="*/ 498212 w 604181"/>
                <a:gd name="connsiteY6" fmla="*/ 347129 h 603193"/>
                <a:gd name="connsiteX7" fmla="*/ 380418 w 604181"/>
                <a:gd name="connsiteY7" fmla="*/ 288687 h 603193"/>
                <a:gd name="connsiteX8" fmla="*/ 216565 w 604181"/>
                <a:gd name="connsiteY8" fmla="*/ 268007 h 603193"/>
                <a:gd name="connsiteX9" fmla="*/ 216565 w 604181"/>
                <a:gd name="connsiteY9" fmla="*/ 288687 h 603193"/>
                <a:gd name="connsiteX10" fmla="*/ 99664 w 604181"/>
                <a:gd name="connsiteY10" fmla="*/ 347129 h 603193"/>
                <a:gd name="connsiteX11" fmla="*/ 99664 w 604181"/>
                <a:gd name="connsiteY11" fmla="*/ 347728 h 603193"/>
                <a:gd name="connsiteX12" fmla="*/ 216565 w 604181"/>
                <a:gd name="connsiteY12" fmla="*/ 406320 h 603193"/>
                <a:gd name="connsiteX13" fmla="*/ 216565 w 604181"/>
                <a:gd name="connsiteY13" fmla="*/ 426850 h 603193"/>
                <a:gd name="connsiteX14" fmla="*/ 77904 w 604181"/>
                <a:gd name="connsiteY14" fmla="*/ 355521 h 603193"/>
                <a:gd name="connsiteX15" fmla="*/ 77904 w 604181"/>
                <a:gd name="connsiteY15" fmla="*/ 339486 h 603193"/>
                <a:gd name="connsiteX16" fmla="*/ 338273 w 604181"/>
                <a:gd name="connsiteY16" fmla="*/ 222493 h 603193"/>
                <a:gd name="connsiteX17" fmla="*/ 358684 w 604181"/>
                <a:gd name="connsiteY17" fmla="*/ 222493 h 603193"/>
                <a:gd name="connsiteX18" fmla="*/ 253179 w 604181"/>
                <a:gd name="connsiteY18" fmla="*/ 482103 h 603193"/>
                <a:gd name="connsiteX19" fmla="*/ 233219 w 604181"/>
                <a:gd name="connsiteY19" fmla="*/ 482103 h 603193"/>
                <a:gd name="connsiteX20" fmla="*/ 28813 w 604181"/>
                <a:gd name="connsiteY20" fmla="*/ 128849 h 603193"/>
                <a:gd name="connsiteX21" fmla="*/ 28813 w 604181"/>
                <a:gd name="connsiteY21" fmla="*/ 557497 h 603193"/>
                <a:gd name="connsiteX22" fmla="*/ 45921 w 604181"/>
                <a:gd name="connsiteY22" fmla="*/ 574427 h 603193"/>
                <a:gd name="connsiteX23" fmla="*/ 558410 w 604181"/>
                <a:gd name="connsiteY23" fmla="*/ 574427 h 603193"/>
                <a:gd name="connsiteX24" fmla="*/ 575368 w 604181"/>
                <a:gd name="connsiteY24" fmla="*/ 557497 h 603193"/>
                <a:gd name="connsiteX25" fmla="*/ 575368 w 604181"/>
                <a:gd name="connsiteY25" fmla="*/ 128849 h 603193"/>
                <a:gd name="connsiteX26" fmla="*/ 502734 w 604181"/>
                <a:gd name="connsiteY26" fmla="*/ 43149 h 603193"/>
                <a:gd name="connsiteX27" fmla="*/ 502734 w 604181"/>
                <a:gd name="connsiteY27" fmla="*/ 77309 h 603193"/>
                <a:gd name="connsiteX28" fmla="*/ 537100 w 604181"/>
                <a:gd name="connsiteY28" fmla="*/ 77309 h 603193"/>
                <a:gd name="connsiteX29" fmla="*/ 537100 w 604181"/>
                <a:gd name="connsiteY29" fmla="*/ 43149 h 603193"/>
                <a:gd name="connsiteX30" fmla="*/ 423197 w 604181"/>
                <a:gd name="connsiteY30" fmla="*/ 43149 h 603193"/>
                <a:gd name="connsiteX31" fmla="*/ 423197 w 604181"/>
                <a:gd name="connsiteY31" fmla="*/ 77309 h 603193"/>
                <a:gd name="connsiteX32" fmla="*/ 457563 w 604181"/>
                <a:gd name="connsiteY32" fmla="*/ 77309 h 603193"/>
                <a:gd name="connsiteX33" fmla="*/ 457563 w 604181"/>
                <a:gd name="connsiteY33" fmla="*/ 43149 h 603193"/>
                <a:gd name="connsiteX34" fmla="*/ 45921 w 604181"/>
                <a:gd name="connsiteY34" fmla="*/ 0 h 603193"/>
                <a:gd name="connsiteX35" fmla="*/ 558410 w 604181"/>
                <a:gd name="connsiteY35" fmla="*/ 0 h 603193"/>
                <a:gd name="connsiteX36" fmla="*/ 604181 w 604181"/>
                <a:gd name="connsiteY36" fmla="*/ 45846 h 603193"/>
                <a:gd name="connsiteX37" fmla="*/ 604181 w 604181"/>
                <a:gd name="connsiteY37" fmla="*/ 557497 h 603193"/>
                <a:gd name="connsiteX38" fmla="*/ 558410 w 604181"/>
                <a:gd name="connsiteY38" fmla="*/ 603193 h 603193"/>
                <a:gd name="connsiteX39" fmla="*/ 45921 w 604181"/>
                <a:gd name="connsiteY39" fmla="*/ 603193 h 603193"/>
                <a:gd name="connsiteX40" fmla="*/ 0 w 604181"/>
                <a:gd name="connsiteY40" fmla="*/ 557497 h 603193"/>
                <a:gd name="connsiteX41" fmla="*/ 0 w 604181"/>
                <a:gd name="connsiteY41" fmla="*/ 45846 h 603193"/>
                <a:gd name="connsiteX42" fmla="*/ 45921 w 604181"/>
                <a:gd name="connsiteY42" fmla="*/ 0 h 603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04181" h="603193">
                  <a:moveTo>
                    <a:pt x="380418" y="268007"/>
                  </a:moveTo>
                  <a:lnTo>
                    <a:pt x="519220" y="339187"/>
                  </a:lnTo>
                  <a:lnTo>
                    <a:pt x="519220" y="355820"/>
                  </a:lnTo>
                  <a:lnTo>
                    <a:pt x="380418" y="426850"/>
                  </a:lnTo>
                  <a:lnTo>
                    <a:pt x="380418" y="406320"/>
                  </a:lnTo>
                  <a:lnTo>
                    <a:pt x="498212" y="347728"/>
                  </a:lnTo>
                  <a:lnTo>
                    <a:pt x="498212" y="347129"/>
                  </a:lnTo>
                  <a:lnTo>
                    <a:pt x="380418" y="288687"/>
                  </a:lnTo>
                  <a:close/>
                  <a:moveTo>
                    <a:pt x="216565" y="268007"/>
                  </a:moveTo>
                  <a:lnTo>
                    <a:pt x="216565" y="288687"/>
                  </a:lnTo>
                  <a:lnTo>
                    <a:pt x="99664" y="347129"/>
                  </a:lnTo>
                  <a:lnTo>
                    <a:pt x="99664" y="347728"/>
                  </a:lnTo>
                  <a:lnTo>
                    <a:pt x="216565" y="406320"/>
                  </a:lnTo>
                  <a:lnTo>
                    <a:pt x="216565" y="426850"/>
                  </a:lnTo>
                  <a:lnTo>
                    <a:pt x="77904" y="355521"/>
                  </a:lnTo>
                  <a:lnTo>
                    <a:pt x="77904" y="339486"/>
                  </a:lnTo>
                  <a:close/>
                  <a:moveTo>
                    <a:pt x="338273" y="222493"/>
                  </a:moveTo>
                  <a:lnTo>
                    <a:pt x="358684" y="222493"/>
                  </a:lnTo>
                  <a:lnTo>
                    <a:pt x="253179" y="482103"/>
                  </a:lnTo>
                  <a:lnTo>
                    <a:pt x="233219" y="482103"/>
                  </a:lnTo>
                  <a:close/>
                  <a:moveTo>
                    <a:pt x="28813" y="128849"/>
                  </a:moveTo>
                  <a:lnTo>
                    <a:pt x="28813" y="557497"/>
                  </a:lnTo>
                  <a:cubicBezTo>
                    <a:pt x="28813" y="566786"/>
                    <a:pt x="36467" y="574427"/>
                    <a:pt x="45921" y="574427"/>
                  </a:cubicBezTo>
                  <a:lnTo>
                    <a:pt x="558410" y="574427"/>
                  </a:lnTo>
                  <a:cubicBezTo>
                    <a:pt x="567714" y="574427"/>
                    <a:pt x="575368" y="566786"/>
                    <a:pt x="575368" y="557497"/>
                  </a:cubicBezTo>
                  <a:lnTo>
                    <a:pt x="575368" y="128849"/>
                  </a:lnTo>
                  <a:close/>
                  <a:moveTo>
                    <a:pt x="502734" y="43149"/>
                  </a:moveTo>
                  <a:lnTo>
                    <a:pt x="502734" y="77309"/>
                  </a:lnTo>
                  <a:lnTo>
                    <a:pt x="537100" y="77309"/>
                  </a:lnTo>
                  <a:lnTo>
                    <a:pt x="537100" y="43149"/>
                  </a:lnTo>
                  <a:close/>
                  <a:moveTo>
                    <a:pt x="423197" y="43149"/>
                  </a:moveTo>
                  <a:lnTo>
                    <a:pt x="423197" y="77309"/>
                  </a:lnTo>
                  <a:lnTo>
                    <a:pt x="457563" y="77309"/>
                  </a:lnTo>
                  <a:lnTo>
                    <a:pt x="457563" y="43149"/>
                  </a:lnTo>
                  <a:close/>
                  <a:moveTo>
                    <a:pt x="45921" y="0"/>
                  </a:moveTo>
                  <a:lnTo>
                    <a:pt x="558410" y="0"/>
                  </a:lnTo>
                  <a:cubicBezTo>
                    <a:pt x="583621" y="0"/>
                    <a:pt x="604181" y="20526"/>
                    <a:pt x="604181" y="45846"/>
                  </a:cubicBezTo>
                  <a:lnTo>
                    <a:pt x="604181" y="557497"/>
                  </a:lnTo>
                  <a:cubicBezTo>
                    <a:pt x="604181" y="582667"/>
                    <a:pt x="583621" y="603193"/>
                    <a:pt x="558410" y="603193"/>
                  </a:cubicBezTo>
                  <a:lnTo>
                    <a:pt x="45921" y="603193"/>
                  </a:lnTo>
                  <a:cubicBezTo>
                    <a:pt x="20560" y="603193"/>
                    <a:pt x="0" y="582667"/>
                    <a:pt x="0" y="557497"/>
                  </a:cubicBezTo>
                  <a:lnTo>
                    <a:pt x="0" y="45846"/>
                  </a:lnTo>
                  <a:cubicBezTo>
                    <a:pt x="0" y="20526"/>
                    <a:pt x="20560" y="0"/>
                    <a:pt x="45921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4" name="îṣḻîḍé">
              <a:extLst>
                <a:ext uri="{FF2B5EF4-FFF2-40B4-BE49-F238E27FC236}">
                  <a16:creationId xmlns:a16="http://schemas.microsoft.com/office/drawing/2014/main" id="{716A4AAF-66FE-4462-901E-658C29D84AD8}"/>
                </a:ext>
              </a:extLst>
            </p:cNvPr>
            <p:cNvSpPr/>
            <p:nvPr/>
          </p:nvSpPr>
          <p:spPr bwMode="auto">
            <a:xfrm>
              <a:off x="1959174" y="5587283"/>
              <a:ext cx="377806" cy="377235"/>
            </a:xfrm>
            <a:custGeom>
              <a:avLst/>
              <a:gdLst>
                <a:gd name="T0" fmla="*/ 6624 w 7154"/>
                <a:gd name="T1" fmla="*/ 2037 h 7154"/>
                <a:gd name="T2" fmla="*/ 6106 w 7154"/>
                <a:gd name="T3" fmla="*/ 1048 h 7154"/>
                <a:gd name="T4" fmla="*/ 5117 w 7154"/>
                <a:gd name="T5" fmla="*/ 530 h 7154"/>
                <a:gd name="T6" fmla="*/ 4643 w 7154"/>
                <a:gd name="T7" fmla="*/ 334 h 7154"/>
                <a:gd name="T8" fmla="*/ 3577 w 7154"/>
                <a:gd name="T9" fmla="*/ 0 h 7154"/>
                <a:gd name="T10" fmla="*/ 2511 w 7154"/>
                <a:gd name="T11" fmla="*/ 334 h 7154"/>
                <a:gd name="T12" fmla="*/ 2037 w 7154"/>
                <a:gd name="T13" fmla="*/ 530 h 7154"/>
                <a:gd name="T14" fmla="*/ 1048 w 7154"/>
                <a:gd name="T15" fmla="*/ 1048 h 7154"/>
                <a:gd name="T16" fmla="*/ 530 w 7154"/>
                <a:gd name="T17" fmla="*/ 2037 h 7154"/>
                <a:gd name="T18" fmla="*/ 334 w 7154"/>
                <a:gd name="T19" fmla="*/ 2511 h 7154"/>
                <a:gd name="T20" fmla="*/ 0 w 7154"/>
                <a:gd name="T21" fmla="*/ 3577 h 7154"/>
                <a:gd name="T22" fmla="*/ 334 w 7154"/>
                <a:gd name="T23" fmla="*/ 4643 h 7154"/>
                <a:gd name="T24" fmla="*/ 530 w 7154"/>
                <a:gd name="T25" fmla="*/ 5117 h 7154"/>
                <a:gd name="T26" fmla="*/ 1048 w 7154"/>
                <a:gd name="T27" fmla="*/ 6106 h 7154"/>
                <a:gd name="T28" fmla="*/ 2037 w 7154"/>
                <a:gd name="T29" fmla="*/ 6624 h 7154"/>
                <a:gd name="T30" fmla="*/ 2511 w 7154"/>
                <a:gd name="T31" fmla="*/ 6820 h 7154"/>
                <a:gd name="T32" fmla="*/ 3577 w 7154"/>
                <a:gd name="T33" fmla="*/ 7154 h 7154"/>
                <a:gd name="T34" fmla="*/ 4643 w 7154"/>
                <a:gd name="T35" fmla="*/ 6820 h 7154"/>
                <a:gd name="T36" fmla="*/ 5117 w 7154"/>
                <a:gd name="T37" fmla="*/ 6624 h 7154"/>
                <a:gd name="T38" fmla="*/ 6106 w 7154"/>
                <a:gd name="T39" fmla="*/ 6106 h 7154"/>
                <a:gd name="T40" fmla="*/ 6624 w 7154"/>
                <a:gd name="T41" fmla="*/ 5117 h 7154"/>
                <a:gd name="T42" fmla="*/ 6820 w 7154"/>
                <a:gd name="T43" fmla="*/ 4643 h 7154"/>
                <a:gd name="T44" fmla="*/ 7154 w 7154"/>
                <a:gd name="T45" fmla="*/ 3577 h 7154"/>
                <a:gd name="T46" fmla="*/ 6820 w 7154"/>
                <a:gd name="T47" fmla="*/ 2511 h 7154"/>
                <a:gd name="T48" fmla="*/ 6624 w 7154"/>
                <a:gd name="T49" fmla="*/ 2037 h 7154"/>
                <a:gd name="T50" fmla="*/ 5857 w 7154"/>
                <a:gd name="T51" fmla="*/ 2406 h 7154"/>
                <a:gd name="T52" fmla="*/ 3286 w 7154"/>
                <a:gd name="T53" fmla="*/ 4976 h 7154"/>
                <a:gd name="T54" fmla="*/ 2875 w 7154"/>
                <a:gd name="T55" fmla="*/ 5387 h 7154"/>
                <a:gd name="T56" fmla="*/ 2464 w 7154"/>
                <a:gd name="T57" fmla="*/ 5387 h 7154"/>
                <a:gd name="T58" fmla="*/ 2053 w 7154"/>
                <a:gd name="T59" fmla="*/ 4976 h 7154"/>
                <a:gd name="T60" fmla="*/ 1297 w 7154"/>
                <a:gd name="T61" fmla="*/ 4221 h 7154"/>
                <a:gd name="T62" fmla="*/ 1297 w 7154"/>
                <a:gd name="T63" fmla="*/ 3809 h 7154"/>
                <a:gd name="T64" fmla="*/ 1708 w 7154"/>
                <a:gd name="T65" fmla="*/ 3398 h 7154"/>
                <a:gd name="T66" fmla="*/ 2120 w 7154"/>
                <a:gd name="T67" fmla="*/ 3398 h 7154"/>
                <a:gd name="T68" fmla="*/ 2669 w 7154"/>
                <a:gd name="T69" fmla="*/ 3948 h 7154"/>
                <a:gd name="T70" fmla="*/ 5034 w 7154"/>
                <a:gd name="T71" fmla="*/ 1583 h 7154"/>
                <a:gd name="T72" fmla="*/ 5445 w 7154"/>
                <a:gd name="T73" fmla="*/ 1583 h 7154"/>
                <a:gd name="T74" fmla="*/ 5857 w 7154"/>
                <a:gd name="T75" fmla="*/ 1994 h 7154"/>
                <a:gd name="T76" fmla="*/ 5857 w 7154"/>
                <a:gd name="T77" fmla="*/ 2406 h 7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154" h="7154">
                  <a:moveTo>
                    <a:pt x="6624" y="2037"/>
                  </a:moveTo>
                  <a:cubicBezTo>
                    <a:pt x="6580" y="1703"/>
                    <a:pt x="6403" y="1345"/>
                    <a:pt x="6106" y="1048"/>
                  </a:cubicBezTo>
                  <a:cubicBezTo>
                    <a:pt x="5809" y="751"/>
                    <a:pt x="5451" y="574"/>
                    <a:pt x="5117" y="530"/>
                  </a:cubicBezTo>
                  <a:cubicBezTo>
                    <a:pt x="4966" y="510"/>
                    <a:pt x="4764" y="427"/>
                    <a:pt x="4643" y="334"/>
                  </a:cubicBezTo>
                  <a:cubicBezTo>
                    <a:pt x="4375" y="128"/>
                    <a:pt x="3997" y="0"/>
                    <a:pt x="3577" y="0"/>
                  </a:cubicBezTo>
                  <a:cubicBezTo>
                    <a:pt x="3157" y="0"/>
                    <a:pt x="2779" y="128"/>
                    <a:pt x="2511" y="334"/>
                  </a:cubicBezTo>
                  <a:cubicBezTo>
                    <a:pt x="2390" y="427"/>
                    <a:pt x="2188" y="510"/>
                    <a:pt x="2037" y="530"/>
                  </a:cubicBezTo>
                  <a:cubicBezTo>
                    <a:pt x="1702" y="574"/>
                    <a:pt x="1345" y="751"/>
                    <a:pt x="1048" y="1048"/>
                  </a:cubicBezTo>
                  <a:cubicBezTo>
                    <a:pt x="751" y="1345"/>
                    <a:pt x="574" y="1703"/>
                    <a:pt x="530" y="2037"/>
                  </a:cubicBezTo>
                  <a:cubicBezTo>
                    <a:pt x="510" y="2188"/>
                    <a:pt x="427" y="2390"/>
                    <a:pt x="334" y="2511"/>
                  </a:cubicBezTo>
                  <a:cubicBezTo>
                    <a:pt x="128" y="2779"/>
                    <a:pt x="0" y="3157"/>
                    <a:pt x="0" y="3577"/>
                  </a:cubicBezTo>
                  <a:cubicBezTo>
                    <a:pt x="0" y="3997"/>
                    <a:pt x="128" y="4375"/>
                    <a:pt x="334" y="4643"/>
                  </a:cubicBezTo>
                  <a:cubicBezTo>
                    <a:pt x="427" y="4764"/>
                    <a:pt x="510" y="4966"/>
                    <a:pt x="530" y="5117"/>
                  </a:cubicBezTo>
                  <a:cubicBezTo>
                    <a:pt x="574" y="5451"/>
                    <a:pt x="751" y="5809"/>
                    <a:pt x="1048" y="6106"/>
                  </a:cubicBezTo>
                  <a:cubicBezTo>
                    <a:pt x="1345" y="6403"/>
                    <a:pt x="1702" y="6580"/>
                    <a:pt x="2037" y="6624"/>
                  </a:cubicBezTo>
                  <a:cubicBezTo>
                    <a:pt x="2188" y="6644"/>
                    <a:pt x="2390" y="6727"/>
                    <a:pt x="2511" y="6820"/>
                  </a:cubicBezTo>
                  <a:cubicBezTo>
                    <a:pt x="2779" y="7025"/>
                    <a:pt x="3157" y="7154"/>
                    <a:pt x="3577" y="7154"/>
                  </a:cubicBezTo>
                  <a:cubicBezTo>
                    <a:pt x="3997" y="7154"/>
                    <a:pt x="4375" y="7025"/>
                    <a:pt x="4643" y="6820"/>
                  </a:cubicBezTo>
                  <a:cubicBezTo>
                    <a:pt x="4764" y="6727"/>
                    <a:pt x="4966" y="6644"/>
                    <a:pt x="5117" y="6624"/>
                  </a:cubicBezTo>
                  <a:cubicBezTo>
                    <a:pt x="5451" y="6580"/>
                    <a:pt x="5809" y="6403"/>
                    <a:pt x="6106" y="6106"/>
                  </a:cubicBezTo>
                  <a:cubicBezTo>
                    <a:pt x="6403" y="5809"/>
                    <a:pt x="6580" y="5451"/>
                    <a:pt x="6624" y="5117"/>
                  </a:cubicBezTo>
                  <a:cubicBezTo>
                    <a:pt x="6644" y="4966"/>
                    <a:pt x="6727" y="4764"/>
                    <a:pt x="6820" y="4643"/>
                  </a:cubicBezTo>
                  <a:cubicBezTo>
                    <a:pt x="7026" y="4375"/>
                    <a:pt x="7154" y="3997"/>
                    <a:pt x="7154" y="3577"/>
                  </a:cubicBezTo>
                  <a:cubicBezTo>
                    <a:pt x="7154" y="3157"/>
                    <a:pt x="7026" y="2779"/>
                    <a:pt x="6820" y="2511"/>
                  </a:cubicBezTo>
                  <a:cubicBezTo>
                    <a:pt x="6727" y="2390"/>
                    <a:pt x="6644" y="2188"/>
                    <a:pt x="6624" y="2037"/>
                  </a:cubicBezTo>
                  <a:close/>
                  <a:moveTo>
                    <a:pt x="5857" y="2406"/>
                  </a:moveTo>
                  <a:lnTo>
                    <a:pt x="3286" y="4976"/>
                  </a:lnTo>
                  <a:lnTo>
                    <a:pt x="2875" y="5387"/>
                  </a:lnTo>
                  <a:cubicBezTo>
                    <a:pt x="2762" y="5501"/>
                    <a:pt x="2577" y="5501"/>
                    <a:pt x="2464" y="5387"/>
                  </a:cubicBezTo>
                  <a:lnTo>
                    <a:pt x="2053" y="4976"/>
                  </a:lnTo>
                  <a:lnTo>
                    <a:pt x="1297" y="4221"/>
                  </a:lnTo>
                  <a:cubicBezTo>
                    <a:pt x="1183" y="4107"/>
                    <a:pt x="1183" y="3923"/>
                    <a:pt x="1297" y="3809"/>
                  </a:cubicBezTo>
                  <a:lnTo>
                    <a:pt x="1708" y="3398"/>
                  </a:lnTo>
                  <a:cubicBezTo>
                    <a:pt x="1822" y="3285"/>
                    <a:pt x="2006" y="3285"/>
                    <a:pt x="2120" y="3398"/>
                  </a:cubicBezTo>
                  <a:lnTo>
                    <a:pt x="2669" y="3948"/>
                  </a:lnTo>
                  <a:lnTo>
                    <a:pt x="5034" y="1583"/>
                  </a:lnTo>
                  <a:cubicBezTo>
                    <a:pt x="5148" y="1470"/>
                    <a:pt x="5332" y="1470"/>
                    <a:pt x="5445" y="1583"/>
                  </a:cubicBezTo>
                  <a:lnTo>
                    <a:pt x="5857" y="1994"/>
                  </a:lnTo>
                  <a:cubicBezTo>
                    <a:pt x="5970" y="2108"/>
                    <a:pt x="5970" y="2292"/>
                    <a:pt x="5857" y="2406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5" name="iṧḷiḑé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743264" y="4276135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按分布模式进行配置</a:t>
              </a:r>
              <a:endParaRPr lang="en-US" altLang="zh-CN" sz="1100" dirty="0"/>
            </a:p>
          </p:txBody>
        </p:sp>
        <p:sp>
          <p:nvSpPr>
            <p:cNvPr id="216" name="îṧḻiḑe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197100" y="4926511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>
                  <a:solidFill>
                    <a:schemeClr val="bg1"/>
                  </a:solidFill>
                </a:rPr>
                <a:t>运行第一个实例</a:t>
              </a: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17" name="îṣľïd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2651098" y="5576887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开心</a:t>
              </a:r>
              <a:r>
                <a:rPr lang="en-US" altLang="zh-CN" sz="1100" dirty="0" err="1"/>
                <a:t>ing</a:t>
              </a:r>
              <a:r>
                <a:rPr lang="en-US" altLang="zh-CN" sz="1100" dirty="0"/>
                <a:t>~</a:t>
              </a:r>
            </a:p>
          </p:txBody>
        </p:sp>
        <p:sp>
          <p:nvSpPr>
            <p:cNvPr id="218" name="íṧ1îd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289201" y="3625759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 解压</a:t>
              </a:r>
              <a:endParaRPr lang="en-US" altLang="zh-CN" sz="1100" dirty="0"/>
            </a:p>
          </p:txBody>
        </p:sp>
        <p:sp>
          <p:nvSpPr>
            <p:cNvPr id="219" name="îs1ïḋ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842020" y="2975382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配置环境变量 使之生效</a:t>
              </a:r>
              <a:endParaRPr lang="en-US" altLang="zh-CN" sz="1100" dirty="0"/>
            </a:p>
          </p:txBody>
        </p:sp>
        <p:sp>
          <p:nvSpPr>
            <p:cNvPr id="220" name="íšliḓ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5387990" y="2325006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</a:t>
              </a:r>
              <a:r>
                <a:rPr lang="en-US" altLang="zh-CN" sz="1100" dirty="0"/>
                <a:t> </a:t>
              </a:r>
              <a:r>
                <a:rPr lang="zh-CN" altLang="en-US" sz="1100" dirty="0"/>
                <a:t>解压</a:t>
              </a:r>
              <a:endParaRPr lang="en-US" altLang="zh-CN" sz="1100" dirty="0"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653777F-C200-4DD9-896D-DFE3FC5A0E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794" y="132609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4097" name="Picture 1" descr="L:\Water\Documents\Tencent Files\1106367305\Image\C2C\S_~PNJLRA$(`BM~E~CRVP@6.jpg">
            <a:extLst>
              <a:ext uri="{FF2B5EF4-FFF2-40B4-BE49-F238E27FC236}">
                <a16:creationId xmlns:a16="http://schemas.microsoft.com/office/drawing/2014/main" id="{870A9B0F-80D3-4BB8-9E6D-5163109C031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2"/>
          <a:stretch>
            <a:fillRect/>
          </a:stretch>
        </p:blipFill>
        <p:spPr bwMode="auto">
          <a:xfrm>
            <a:off x="1092994" y="1284288"/>
            <a:ext cx="6958012" cy="4695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104D7166-3B85-4412-9659-285206FA2824}"/>
              </a:ext>
            </a:extLst>
          </p:cNvPr>
          <p:cNvSpPr/>
          <p:nvPr/>
        </p:nvSpPr>
        <p:spPr>
          <a:xfrm>
            <a:off x="1092994" y="2047875"/>
            <a:ext cx="6958012" cy="3932238"/>
          </a:xfrm>
          <a:prstGeom prst="rect">
            <a:avLst/>
          </a:prstGeom>
          <a:solidFill>
            <a:srgbClr val="2D0A2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69021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执行几个看看？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9</a:t>
            </a:fld>
            <a:endParaRPr lang="zh-CN" altLang="en-US"/>
          </a:p>
        </p:txBody>
      </p:sp>
      <p:grpSp>
        <p:nvGrpSpPr>
          <p:cNvPr id="194" name="180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4D56F3B-0686-4E9E-A675-DA7BF2C9F6C2}"/>
              </a:ext>
            </a:extLst>
          </p:cNvPr>
          <p:cNvGrpSpPr>
            <a:grpSpLocks noChangeAspect="1"/>
          </p:cNvGrpSpPr>
          <p:nvPr/>
        </p:nvGrpSpPr>
        <p:grpSpPr>
          <a:xfrm>
            <a:off x="1875381" y="-2460624"/>
            <a:ext cx="5393238" cy="2212975"/>
            <a:chOff x="938530" y="1805421"/>
            <a:chExt cx="10580370" cy="4341379"/>
          </a:xfrm>
        </p:grpSpPr>
        <p:sp>
          <p:nvSpPr>
            <p:cNvPr id="195" name="iṧḻîďè">
              <a:extLst>
                <a:ext uri="{FF2B5EF4-FFF2-40B4-BE49-F238E27FC236}">
                  <a16:creationId xmlns:a16="http://schemas.microsoft.com/office/drawing/2014/main" id="{6FC8272D-4563-47EB-B741-E738A21C2623}"/>
                </a:ext>
              </a:extLst>
            </p:cNvPr>
            <p:cNvSpPr/>
            <p:nvPr/>
          </p:nvSpPr>
          <p:spPr bwMode="auto">
            <a:xfrm>
              <a:off x="5637082" y="5226400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搞定！</a:t>
              </a:r>
              <a:endParaRPr lang="en-US" altLang="zh-CN" b="1" dirty="0"/>
            </a:p>
          </p:txBody>
        </p:sp>
        <p:sp>
          <p:nvSpPr>
            <p:cNvPr id="196" name="îŝḻiḋé">
              <a:extLst>
                <a:ext uri="{FF2B5EF4-FFF2-40B4-BE49-F238E27FC236}">
                  <a16:creationId xmlns:a16="http://schemas.microsoft.com/office/drawing/2014/main" id="{C05C75D7-4258-49B9-958F-F2EEF0B840E0}"/>
                </a:ext>
              </a:extLst>
            </p:cNvPr>
            <p:cNvSpPr/>
            <p:nvPr/>
          </p:nvSpPr>
          <p:spPr bwMode="auto">
            <a:xfrm>
              <a:off x="6176201" y="4576024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>
                  <a:solidFill>
                    <a:schemeClr val="bg1"/>
                  </a:solidFill>
                </a:rPr>
                <a:t>测试</a:t>
              </a:r>
              <a:endParaRPr lang="en-US" altLang="zh-CN" sz="1750" b="1" dirty="0">
                <a:solidFill>
                  <a:schemeClr val="bg1"/>
                </a:solidFill>
              </a:endParaRPr>
            </a:p>
          </p:txBody>
        </p:sp>
        <p:sp>
          <p:nvSpPr>
            <p:cNvPr id="197" name="íṥḷíďê">
              <a:extLst>
                <a:ext uri="{FF2B5EF4-FFF2-40B4-BE49-F238E27FC236}">
                  <a16:creationId xmlns:a16="http://schemas.microsoft.com/office/drawing/2014/main" id="{D4FCC7AE-5767-4EC4-BB68-B94457D3AE6D}"/>
                </a:ext>
              </a:extLst>
            </p:cNvPr>
            <p:cNvSpPr/>
            <p:nvPr/>
          </p:nvSpPr>
          <p:spPr bwMode="auto">
            <a:xfrm>
              <a:off x="6703850" y="3925648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/>
                <a:t>配置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8" name="ïś1ïḓè">
              <a:extLst>
                <a:ext uri="{FF2B5EF4-FFF2-40B4-BE49-F238E27FC236}">
                  <a16:creationId xmlns:a16="http://schemas.microsoft.com/office/drawing/2014/main" id="{F32E844B-E27C-4A92-9B60-95E4AD88D81F}"/>
                </a:ext>
              </a:extLst>
            </p:cNvPr>
            <p:cNvSpPr/>
            <p:nvPr/>
          </p:nvSpPr>
          <p:spPr bwMode="auto">
            <a:xfrm>
              <a:off x="7241823" y="3275272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 dirty="0"/>
                <a:t>安装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9" name="îśļïḍè">
              <a:extLst>
                <a:ext uri="{FF2B5EF4-FFF2-40B4-BE49-F238E27FC236}">
                  <a16:creationId xmlns:a16="http://schemas.microsoft.com/office/drawing/2014/main" id="{F812BB55-77DE-4E23-95E6-156A22FAD363}"/>
                </a:ext>
              </a:extLst>
            </p:cNvPr>
            <p:cNvSpPr/>
            <p:nvPr/>
          </p:nvSpPr>
          <p:spPr bwMode="auto">
            <a:xfrm>
              <a:off x="7743555" y="2624895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配置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0" name="ï$1íḍé">
              <a:extLst>
                <a:ext uri="{FF2B5EF4-FFF2-40B4-BE49-F238E27FC236}">
                  <a16:creationId xmlns:a16="http://schemas.microsoft.com/office/drawing/2014/main" id="{48245F16-84E7-4201-9485-85B5E5B15ECD}"/>
                </a:ext>
              </a:extLst>
            </p:cNvPr>
            <p:cNvSpPr/>
            <p:nvPr/>
          </p:nvSpPr>
          <p:spPr bwMode="auto">
            <a:xfrm>
              <a:off x="8263856" y="1974519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安装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1" name="îṥľïďê">
              <a:extLst>
                <a:ext uri="{FF2B5EF4-FFF2-40B4-BE49-F238E27FC236}">
                  <a16:creationId xmlns:a16="http://schemas.microsoft.com/office/drawing/2014/main" id="{920DFBAA-02E5-4206-86B0-FE10F93A7509}"/>
                </a:ext>
              </a:extLst>
            </p:cNvPr>
            <p:cNvSpPr/>
            <p:nvPr/>
          </p:nvSpPr>
          <p:spPr bwMode="auto">
            <a:xfrm>
              <a:off x="5220497" y="3438015"/>
              <a:ext cx="3741918" cy="1239562"/>
            </a:xfrm>
            <a:custGeom>
              <a:avLst/>
              <a:gdLst>
                <a:gd name="T0" fmla="*/ 179 w 203"/>
                <a:gd name="T1" fmla="*/ 82 h 82"/>
                <a:gd name="T2" fmla="*/ 203 w 203"/>
                <a:gd name="T3" fmla="*/ 29 h 82"/>
                <a:gd name="T4" fmla="*/ 65 w 203"/>
                <a:gd name="T5" fmla="*/ 27 h 82"/>
                <a:gd name="T6" fmla="*/ 59 w 203"/>
                <a:gd name="T7" fmla="*/ 0 h 82"/>
                <a:gd name="T8" fmla="*/ 59 w 203"/>
                <a:gd name="T9" fmla="*/ 0 h 82"/>
                <a:gd name="T10" fmla="*/ 0 w 203"/>
                <a:gd name="T11" fmla="*/ 80 h 82"/>
                <a:gd name="T12" fmla="*/ 61 w 203"/>
                <a:gd name="T13" fmla="*/ 82 h 82"/>
                <a:gd name="T14" fmla="*/ 179 w 203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82">
                  <a:moveTo>
                    <a:pt x="179" y="82"/>
                  </a:moveTo>
                  <a:lnTo>
                    <a:pt x="203" y="29"/>
                  </a:lnTo>
                  <a:lnTo>
                    <a:pt x="65" y="27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0" y="80"/>
                  </a:lnTo>
                  <a:lnTo>
                    <a:pt x="61" y="82"/>
                  </a:lnTo>
                  <a:lnTo>
                    <a:pt x="179" y="8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2" name="i$ḻíḋè">
              <a:extLst>
                <a:ext uri="{FF2B5EF4-FFF2-40B4-BE49-F238E27FC236}">
                  <a16:creationId xmlns:a16="http://schemas.microsoft.com/office/drawing/2014/main" id="{430BE7EB-B6F0-4F05-80EA-1F517165029F}"/>
                </a:ext>
              </a:extLst>
            </p:cNvPr>
            <p:cNvSpPr/>
            <p:nvPr/>
          </p:nvSpPr>
          <p:spPr bwMode="auto">
            <a:xfrm>
              <a:off x="8032938" y="1974519"/>
              <a:ext cx="1398307" cy="247664"/>
            </a:xfrm>
            <a:prstGeom prst="triangle">
              <a:avLst>
                <a:gd name="adj" fmla="val 14726"/>
              </a:avLst>
            </a:pr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3" name="işľiḋe">
              <a:extLst>
                <a:ext uri="{FF2B5EF4-FFF2-40B4-BE49-F238E27FC236}">
                  <a16:creationId xmlns:a16="http://schemas.microsoft.com/office/drawing/2014/main" id="{E4DECB97-43D1-4D26-8C48-41447675AE79}"/>
                </a:ext>
              </a:extLst>
            </p:cNvPr>
            <p:cNvSpPr/>
            <p:nvPr/>
          </p:nvSpPr>
          <p:spPr bwMode="auto">
            <a:xfrm>
              <a:off x="3675422" y="1805421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4" name="iś1íďé">
              <a:extLst>
                <a:ext uri="{FF2B5EF4-FFF2-40B4-BE49-F238E27FC236}">
                  <a16:creationId xmlns:a16="http://schemas.microsoft.com/office/drawing/2014/main" id="{6E7EA96A-F20A-4912-AC31-63A0F19E66DE}"/>
                </a:ext>
              </a:extLst>
            </p:cNvPr>
            <p:cNvSpPr/>
            <p:nvPr/>
          </p:nvSpPr>
          <p:spPr bwMode="auto">
            <a:xfrm>
              <a:off x="3129452" y="2455797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5" name="ïŝlíḋe">
              <a:extLst>
                <a:ext uri="{FF2B5EF4-FFF2-40B4-BE49-F238E27FC236}">
                  <a16:creationId xmlns:a16="http://schemas.microsoft.com/office/drawing/2014/main" id="{66D30D6F-26C9-4C2C-BC01-900AC07DC57E}"/>
                </a:ext>
              </a:extLst>
            </p:cNvPr>
            <p:cNvSpPr/>
            <p:nvPr/>
          </p:nvSpPr>
          <p:spPr bwMode="auto">
            <a:xfrm>
              <a:off x="2576633" y="3106174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6" name="îSliďè">
              <a:extLst>
                <a:ext uri="{FF2B5EF4-FFF2-40B4-BE49-F238E27FC236}">
                  <a16:creationId xmlns:a16="http://schemas.microsoft.com/office/drawing/2014/main" id="{2F6D5554-EACD-4DDD-892F-2E5F97A9C421}"/>
                </a:ext>
              </a:extLst>
            </p:cNvPr>
            <p:cNvSpPr/>
            <p:nvPr/>
          </p:nvSpPr>
          <p:spPr bwMode="auto">
            <a:xfrm>
              <a:off x="2030696" y="3756550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7" name="îSliďé">
              <a:extLst>
                <a:ext uri="{FF2B5EF4-FFF2-40B4-BE49-F238E27FC236}">
                  <a16:creationId xmlns:a16="http://schemas.microsoft.com/office/drawing/2014/main" id="{2E278F3F-C8D8-4E2A-A3EA-29ADCF1A02AA}"/>
                </a:ext>
              </a:extLst>
            </p:cNvPr>
            <p:cNvSpPr/>
            <p:nvPr/>
          </p:nvSpPr>
          <p:spPr bwMode="auto">
            <a:xfrm>
              <a:off x="1484532" y="4406926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8" name="îs1iďé">
              <a:extLst>
                <a:ext uri="{FF2B5EF4-FFF2-40B4-BE49-F238E27FC236}">
                  <a16:creationId xmlns:a16="http://schemas.microsoft.com/office/drawing/2014/main" id="{EB74D0C2-5677-4F3F-A043-44D01A3F3D48}"/>
                </a:ext>
              </a:extLst>
            </p:cNvPr>
            <p:cNvSpPr/>
            <p:nvPr/>
          </p:nvSpPr>
          <p:spPr bwMode="auto">
            <a:xfrm>
              <a:off x="938530" y="5057302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9" name="ïṣḻïḋe">
              <a:extLst>
                <a:ext uri="{FF2B5EF4-FFF2-40B4-BE49-F238E27FC236}">
                  <a16:creationId xmlns:a16="http://schemas.microsoft.com/office/drawing/2014/main" id="{7709F84E-C33F-462F-B538-51CB71C9284E}"/>
                </a:ext>
              </a:extLst>
            </p:cNvPr>
            <p:cNvSpPr/>
            <p:nvPr/>
          </p:nvSpPr>
          <p:spPr bwMode="auto">
            <a:xfrm>
              <a:off x="4585947" y="2371737"/>
              <a:ext cx="377807" cy="377281"/>
            </a:xfrm>
            <a:custGeom>
              <a:avLst/>
              <a:gdLst>
                <a:gd name="T0" fmla="*/ 400 w 11264"/>
                <a:gd name="T1" fmla="*/ 7099 h 11264"/>
                <a:gd name="T2" fmla="*/ 4165 w 11264"/>
                <a:gd name="T3" fmla="*/ 7099 h 11264"/>
                <a:gd name="T4" fmla="*/ 4165 w 11264"/>
                <a:gd name="T5" fmla="*/ 10864 h 11264"/>
                <a:gd name="T6" fmla="*/ 4565 w 11264"/>
                <a:gd name="T7" fmla="*/ 11264 h 11264"/>
                <a:gd name="T8" fmla="*/ 6699 w 11264"/>
                <a:gd name="T9" fmla="*/ 11264 h 11264"/>
                <a:gd name="T10" fmla="*/ 7099 w 11264"/>
                <a:gd name="T11" fmla="*/ 10864 h 11264"/>
                <a:gd name="T12" fmla="*/ 7099 w 11264"/>
                <a:gd name="T13" fmla="*/ 7099 h 11264"/>
                <a:gd name="T14" fmla="*/ 10864 w 11264"/>
                <a:gd name="T15" fmla="*/ 7099 h 11264"/>
                <a:gd name="T16" fmla="*/ 11264 w 11264"/>
                <a:gd name="T17" fmla="*/ 6699 h 11264"/>
                <a:gd name="T18" fmla="*/ 11264 w 11264"/>
                <a:gd name="T19" fmla="*/ 4565 h 11264"/>
                <a:gd name="T20" fmla="*/ 10864 w 11264"/>
                <a:gd name="T21" fmla="*/ 4165 h 11264"/>
                <a:gd name="T22" fmla="*/ 7099 w 11264"/>
                <a:gd name="T23" fmla="*/ 4165 h 11264"/>
                <a:gd name="T24" fmla="*/ 7099 w 11264"/>
                <a:gd name="T25" fmla="*/ 400 h 11264"/>
                <a:gd name="T26" fmla="*/ 6699 w 11264"/>
                <a:gd name="T27" fmla="*/ 0 h 11264"/>
                <a:gd name="T28" fmla="*/ 4565 w 11264"/>
                <a:gd name="T29" fmla="*/ 0 h 11264"/>
                <a:gd name="T30" fmla="*/ 4165 w 11264"/>
                <a:gd name="T31" fmla="*/ 400 h 11264"/>
                <a:gd name="T32" fmla="*/ 4165 w 11264"/>
                <a:gd name="T33" fmla="*/ 4165 h 11264"/>
                <a:gd name="T34" fmla="*/ 400 w 11264"/>
                <a:gd name="T35" fmla="*/ 4165 h 11264"/>
                <a:gd name="T36" fmla="*/ 0 w 11264"/>
                <a:gd name="T37" fmla="*/ 4565 h 11264"/>
                <a:gd name="T38" fmla="*/ 0 w 11264"/>
                <a:gd name="T39" fmla="*/ 6699 h 11264"/>
                <a:gd name="T40" fmla="*/ 400 w 11264"/>
                <a:gd name="T41" fmla="*/ 7099 h 1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64" h="11264">
                  <a:moveTo>
                    <a:pt x="400" y="7099"/>
                  </a:moveTo>
                  <a:lnTo>
                    <a:pt x="4165" y="7099"/>
                  </a:lnTo>
                  <a:lnTo>
                    <a:pt x="4165" y="10864"/>
                  </a:lnTo>
                  <a:cubicBezTo>
                    <a:pt x="4165" y="11085"/>
                    <a:pt x="4344" y="11264"/>
                    <a:pt x="4565" y="11264"/>
                  </a:cubicBezTo>
                  <a:lnTo>
                    <a:pt x="6699" y="11264"/>
                  </a:lnTo>
                  <a:cubicBezTo>
                    <a:pt x="6920" y="11264"/>
                    <a:pt x="7099" y="11085"/>
                    <a:pt x="7099" y="10864"/>
                  </a:cubicBezTo>
                  <a:lnTo>
                    <a:pt x="7099" y="7099"/>
                  </a:lnTo>
                  <a:lnTo>
                    <a:pt x="10864" y="7099"/>
                  </a:lnTo>
                  <a:cubicBezTo>
                    <a:pt x="11085" y="7099"/>
                    <a:pt x="11264" y="6920"/>
                    <a:pt x="11264" y="6699"/>
                  </a:cubicBezTo>
                  <a:lnTo>
                    <a:pt x="11264" y="4565"/>
                  </a:lnTo>
                  <a:cubicBezTo>
                    <a:pt x="11264" y="4344"/>
                    <a:pt x="11085" y="4165"/>
                    <a:pt x="10864" y="4165"/>
                  </a:cubicBezTo>
                  <a:lnTo>
                    <a:pt x="7099" y="4165"/>
                  </a:lnTo>
                  <a:lnTo>
                    <a:pt x="7099" y="400"/>
                  </a:lnTo>
                  <a:cubicBezTo>
                    <a:pt x="7099" y="179"/>
                    <a:pt x="6920" y="0"/>
                    <a:pt x="6699" y="0"/>
                  </a:cubicBezTo>
                  <a:lnTo>
                    <a:pt x="4565" y="0"/>
                  </a:lnTo>
                  <a:cubicBezTo>
                    <a:pt x="4344" y="0"/>
                    <a:pt x="4165" y="179"/>
                    <a:pt x="4165" y="400"/>
                  </a:cubicBezTo>
                  <a:lnTo>
                    <a:pt x="4165" y="4165"/>
                  </a:lnTo>
                  <a:lnTo>
                    <a:pt x="400" y="4165"/>
                  </a:lnTo>
                  <a:cubicBezTo>
                    <a:pt x="179" y="4165"/>
                    <a:pt x="0" y="4344"/>
                    <a:pt x="0" y="4565"/>
                  </a:cubicBezTo>
                  <a:lnTo>
                    <a:pt x="0" y="6699"/>
                  </a:lnTo>
                  <a:cubicBezTo>
                    <a:pt x="0" y="6920"/>
                    <a:pt x="179" y="7099"/>
                    <a:pt x="400" y="709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0" name="îsḷïde">
              <a:extLst>
                <a:ext uri="{FF2B5EF4-FFF2-40B4-BE49-F238E27FC236}">
                  <a16:creationId xmlns:a16="http://schemas.microsoft.com/office/drawing/2014/main" id="{F7027C89-1BCC-4A00-9535-016DE4C49FD7}"/>
                </a:ext>
              </a:extLst>
            </p:cNvPr>
            <p:cNvSpPr/>
            <p:nvPr/>
          </p:nvSpPr>
          <p:spPr bwMode="auto">
            <a:xfrm>
              <a:off x="4069565" y="3014578"/>
              <a:ext cx="369969" cy="377806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  <a:gd name="connsiteX107" fmla="*/ 373273 h 605239"/>
                <a:gd name="connsiteY107" fmla="*/ 373273 h 605239"/>
                <a:gd name="connsiteX108" fmla="*/ 373273 h 605239"/>
                <a:gd name="connsiteY108" fmla="*/ 373273 h 605239"/>
                <a:gd name="connsiteX109" fmla="*/ 373273 h 605239"/>
                <a:gd name="connsiteY109" fmla="*/ 373273 h 605239"/>
                <a:gd name="connsiteX110" fmla="*/ 373273 h 605239"/>
                <a:gd name="connsiteY110" fmla="*/ 373273 h 605239"/>
                <a:gd name="connsiteX111" fmla="*/ 373273 h 605239"/>
                <a:gd name="connsiteY111" fmla="*/ 373273 h 605239"/>
                <a:gd name="connsiteX112" fmla="*/ 373273 h 605239"/>
                <a:gd name="connsiteY112" fmla="*/ 373273 h 605239"/>
                <a:gd name="connsiteX113" fmla="*/ 373273 h 605239"/>
                <a:gd name="connsiteY113" fmla="*/ 373273 h 605239"/>
                <a:gd name="connsiteX114" fmla="*/ 373273 h 605239"/>
                <a:gd name="connsiteY114" fmla="*/ 373273 h 605239"/>
                <a:gd name="connsiteX115" fmla="*/ 373273 h 605239"/>
                <a:gd name="connsiteY115" fmla="*/ 373273 h 605239"/>
                <a:gd name="connsiteX116" fmla="*/ 373273 h 605239"/>
                <a:gd name="connsiteY116" fmla="*/ 373273 h 605239"/>
                <a:gd name="connsiteX117" fmla="*/ 373273 h 605239"/>
                <a:gd name="connsiteY117" fmla="*/ 373273 h 605239"/>
                <a:gd name="connsiteX118" fmla="*/ 373273 h 605239"/>
                <a:gd name="connsiteY118" fmla="*/ 373273 h 605239"/>
                <a:gd name="connsiteX119" fmla="*/ 373273 h 605239"/>
                <a:gd name="connsiteY119" fmla="*/ 373273 h 605239"/>
                <a:gd name="connsiteX120" fmla="*/ 373273 h 605239"/>
                <a:gd name="connsiteY120" fmla="*/ 373273 h 605239"/>
                <a:gd name="connsiteX121" fmla="*/ 373273 h 605239"/>
                <a:gd name="connsiteY121" fmla="*/ 373273 h 605239"/>
                <a:gd name="connsiteX122" fmla="*/ 373273 h 605239"/>
                <a:gd name="connsiteY122" fmla="*/ 373273 h 605239"/>
                <a:gd name="connsiteX123" fmla="*/ 373273 h 605239"/>
                <a:gd name="connsiteY123" fmla="*/ 373273 h 605239"/>
                <a:gd name="connsiteX124" fmla="*/ 373273 h 605239"/>
                <a:gd name="connsiteY124" fmla="*/ 373273 h 605239"/>
                <a:gd name="connsiteX125" fmla="*/ 373273 h 605239"/>
                <a:gd name="connsiteY125" fmla="*/ 373273 h 605239"/>
                <a:gd name="connsiteX126" fmla="*/ 373273 h 605239"/>
                <a:gd name="connsiteY126" fmla="*/ 373273 h 605239"/>
                <a:gd name="connsiteX127" fmla="*/ 373273 h 605239"/>
                <a:gd name="connsiteY127" fmla="*/ 373273 h 605239"/>
                <a:gd name="connsiteX128" fmla="*/ 373273 h 605239"/>
                <a:gd name="connsiteY128" fmla="*/ 373273 h 605239"/>
                <a:gd name="connsiteX129" fmla="*/ 373273 h 605239"/>
                <a:gd name="connsiteY12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593733" h="606309">
                  <a:moveTo>
                    <a:pt x="353250" y="302855"/>
                  </a:moveTo>
                  <a:cubicBezTo>
                    <a:pt x="318468" y="302855"/>
                    <a:pt x="290232" y="331146"/>
                    <a:pt x="290232" y="365879"/>
                  </a:cubicBezTo>
                  <a:cubicBezTo>
                    <a:pt x="290232" y="374189"/>
                    <a:pt x="296964" y="380912"/>
                    <a:pt x="305285" y="380912"/>
                  </a:cubicBezTo>
                  <a:cubicBezTo>
                    <a:pt x="313607" y="380912"/>
                    <a:pt x="320338" y="374189"/>
                    <a:pt x="320338" y="365879"/>
                  </a:cubicBezTo>
                  <a:cubicBezTo>
                    <a:pt x="320338" y="347672"/>
                    <a:pt x="335111" y="333014"/>
                    <a:pt x="353250" y="333014"/>
                  </a:cubicBezTo>
                  <a:cubicBezTo>
                    <a:pt x="361665" y="333014"/>
                    <a:pt x="368397" y="326291"/>
                    <a:pt x="368397" y="317888"/>
                  </a:cubicBezTo>
                  <a:cubicBezTo>
                    <a:pt x="368397" y="309578"/>
                    <a:pt x="361665" y="302855"/>
                    <a:pt x="353250" y="302855"/>
                  </a:cubicBezTo>
                  <a:close/>
                  <a:moveTo>
                    <a:pt x="353250" y="265041"/>
                  </a:moveTo>
                  <a:cubicBezTo>
                    <a:pt x="409163" y="265041"/>
                    <a:pt x="454229" y="310232"/>
                    <a:pt x="454229" y="365879"/>
                  </a:cubicBezTo>
                  <a:cubicBezTo>
                    <a:pt x="454229" y="421527"/>
                    <a:pt x="408976" y="466717"/>
                    <a:pt x="353250" y="466717"/>
                  </a:cubicBezTo>
                  <a:cubicBezTo>
                    <a:pt x="297525" y="466717"/>
                    <a:pt x="252271" y="421527"/>
                    <a:pt x="252271" y="365879"/>
                  </a:cubicBezTo>
                  <a:cubicBezTo>
                    <a:pt x="252271" y="310232"/>
                    <a:pt x="297431" y="265041"/>
                    <a:pt x="353250" y="265041"/>
                  </a:cubicBezTo>
                  <a:close/>
                  <a:moveTo>
                    <a:pt x="427779" y="133781"/>
                  </a:moveTo>
                  <a:cubicBezTo>
                    <a:pt x="432818" y="131960"/>
                    <a:pt x="438547" y="132054"/>
                    <a:pt x="443784" y="134482"/>
                  </a:cubicBezTo>
                  <a:lnTo>
                    <a:pt x="473245" y="148209"/>
                  </a:lnTo>
                  <a:cubicBezTo>
                    <a:pt x="483720" y="153158"/>
                    <a:pt x="488209" y="165671"/>
                    <a:pt x="483346" y="176130"/>
                  </a:cubicBezTo>
                  <a:lnTo>
                    <a:pt x="470252" y="203957"/>
                  </a:lnTo>
                  <a:cubicBezTo>
                    <a:pt x="492231" y="219646"/>
                    <a:pt x="511123" y="240003"/>
                    <a:pt x="525526" y="264095"/>
                  </a:cubicBezTo>
                  <a:lnTo>
                    <a:pt x="554426" y="253636"/>
                  </a:lnTo>
                  <a:cubicBezTo>
                    <a:pt x="565368" y="249714"/>
                    <a:pt x="577340" y="255411"/>
                    <a:pt x="581361" y="266243"/>
                  </a:cubicBezTo>
                  <a:lnTo>
                    <a:pt x="592491" y="296592"/>
                  </a:lnTo>
                  <a:cubicBezTo>
                    <a:pt x="596419" y="307612"/>
                    <a:pt x="590714" y="319564"/>
                    <a:pt x="579865" y="323486"/>
                  </a:cubicBezTo>
                  <a:lnTo>
                    <a:pt x="550965" y="333945"/>
                  </a:lnTo>
                  <a:cubicBezTo>
                    <a:pt x="555455" y="361586"/>
                    <a:pt x="553958" y="389414"/>
                    <a:pt x="547224" y="415561"/>
                  </a:cubicBezTo>
                  <a:lnTo>
                    <a:pt x="575095" y="428634"/>
                  </a:lnTo>
                  <a:cubicBezTo>
                    <a:pt x="585570" y="433490"/>
                    <a:pt x="590059" y="445910"/>
                    <a:pt x="585102" y="456649"/>
                  </a:cubicBezTo>
                  <a:lnTo>
                    <a:pt x="571354" y="485970"/>
                  </a:lnTo>
                  <a:cubicBezTo>
                    <a:pt x="566397" y="496429"/>
                    <a:pt x="553958" y="500911"/>
                    <a:pt x="543483" y="496056"/>
                  </a:cubicBezTo>
                  <a:lnTo>
                    <a:pt x="515238" y="482982"/>
                  </a:lnTo>
                  <a:cubicBezTo>
                    <a:pt x="499526" y="504833"/>
                    <a:pt x="479137" y="523510"/>
                    <a:pt x="455007" y="537704"/>
                  </a:cubicBezTo>
                  <a:lnTo>
                    <a:pt x="465763" y="567026"/>
                  </a:lnTo>
                  <a:cubicBezTo>
                    <a:pt x="469784" y="578045"/>
                    <a:pt x="463986" y="589997"/>
                    <a:pt x="453137" y="593919"/>
                  </a:cubicBezTo>
                  <a:lnTo>
                    <a:pt x="422741" y="605032"/>
                  </a:lnTo>
                  <a:cubicBezTo>
                    <a:pt x="411798" y="609047"/>
                    <a:pt x="399827" y="603258"/>
                    <a:pt x="395805" y="592425"/>
                  </a:cubicBezTo>
                  <a:lnTo>
                    <a:pt x="385050" y="562823"/>
                  </a:lnTo>
                  <a:cubicBezTo>
                    <a:pt x="357646" y="567212"/>
                    <a:pt x="330056" y="565718"/>
                    <a:pt x="304149" y="558995"/>
                  </a:cubicBezTo>
                  <a:lnTo>
                    <a:pt x="290682" y="587756"/>
                  </a:lnTo>
                  <a:cubicBezTo>
                    <a:pt x="285725" y="598215"/>
                    <a:pt x="273192" y="602697"/>
                    <a:pt x="262717" y="597841"/>
                  </a:cubicBezTo>
                  <a:lnTo>
                    <a:pt x="233350" y="584114"/>
                  </a:lnTo>
                  <a:cubicBezTo>
                    <a:pt x="222875" y="579165"/>
                    <a:pt x="218385" y="566652"/>
                    <a:pt x="223249" y="556193"/>
                  </a:cubicBezTo>
                  <a:lnTo>
                    <a:pt x="236810" y="527338"/>
                  </a:lnTo>
                  <a:cubicBezTo>
                    <a:pt x="215112" y="511650"/>
                    <a:pt x="196407" y="491480"/>
                    <a:pt x="182284" y="467668"/>
                  </a:cubicBezTo>
                  <a:lnTo>
                    <a:pt x="152169" y="478687"/>
                  </a:lnTo>
                  <a:cubicBezTo>
                    <a:pt x="141133" y="482609"/>
                    <a:pt x="129161" y="476912"/>
                    <a:pt x="125233" y="466080"/>
                  </a:cubicBezTo>
                  <a:lnTo>
                    <a:pt x="114104" y="435731"/>
                  </a:lnTo>
                  <a:cubicBezTo>
                    <a:pt x="110082" y="424712"/>
                    <a:pt x="115881" y="412759"/>
                    <a:pt x="126730" y="408837"/>
                  </a:cubicBezTo>
                  <a:lnTo>
                    <a:pt x="156845" y="397818"/>
                  </a:lnTo>
                  <a:cubicBezTo>
                    <a:pt x="153852" y="379422"/>
                    <a:pt x="153478" y="361026"/>
                    <a:pt x="155629" y="342910"/>
                  </a:cubicBezTo>
                  <a:lnTo>
                    <a:pt x="158622" y="343097"/>
                  </a:lnTo>
                  <a:cubicBezTo>
                    <a:pt x="181162" y="344030"/>
                    <a:pt x="200522" y="327408"/>
                    <a:pt x="203141" y="305370"/>
                  </a:cubicBezTo>
                  <a:cubicBezTo>
                    <a:pt x="207723" y="303876"/>
                    <a:pt x="212119" y="302195"/>
                    <a:pt x="216515" y="300515"/>
                  </a:cubicBezTo>
                  <a:cubicBezTo>
                    <a:pt x="220349" y="304063"/>
                    <a:pt x="224745" y="306958"/>
                    <a:pt x="229609" y="308919"/>
                  </a:cubicBezTo>
                  <a:cubicBezTo>
                    <a:pt x="219227" y="330957"/>
                    <a:pt x="214831" y="355983"/>
                    <a:pt x="217824" y="381943"/>
                  </a:cubicBezTo>
                  <a:cubicBezTo>
                    <a:pt x="226709" y="456462"/>
                    <a:pt x="294329" y="509876"/>
                    <a:pt x="368963" y="501192"/>
                  </a:cubicBezTo>
                  <a:cubicBezTo>
                    <a:pt x="443691" y="492320"/>
                    <a:pt x="497188" y="424899"/>
                    <a:pt x="488490" y="350287"/>
                  </a:cubicBezTo>
                  <a:cubicBezTo>
                    <a:pt x="479605" y="275675"/>
                    <a:pt x="411985" y="222260"/>
                    <a:pt x="337351" y="231038"/>
                  </a:cubicBezTo>
                  <a:cubicBezTo>
                    <a:pt x="324632" y="232532"/>
                    <a:pt x="312473" y="235707"/>
                    <a:pt x="301156" y="240376"/>
                  </a:cubicBezTo>
                  <a:cubicBezTo>
                    <a:pt x="299660" y="236268"/>
                    <a:pt x="297509" y="232345"/>
                    <a:pt x="294797" y="228890"/>
                  </a:cubicBezTo>
                  <a:cubicBezTo>
                    <a:pt x="297041" y="224688"/>
                    <a:pt x="299005" y="220393"/>
                    <a:pt x="300782" y="216097"/>
                  </a:cubicBezTo>
                  <a:cubicBezTo>
                    <a:pt x="311164" y="215817"/>
                    <a:pt x="320891" y="211802"/>
                    <a:pt x="328466" y="204891"/>
                  </a:cubicBezTo>
                  <a:cubicBezTo>
                    <a:pt x="336977" y="197141"/>
                    <a:pt x="341934" y="186589"/>
                    <a:pt x="342402" y="175103"/>
                  </a:cubicBezTo>
                  <a:lnTo>
                    <a:pt x="342776" y="166978"/>
                  </a:lnTo>
                  <a:cubicBezTo>
                    <a:pt x="363164" y="165764"/>
                    <a:pt x="383460" y="167912"/>
                    <a:pt x="402820" y="172768"/>
                  </a:cubicBezTo>
                  <a:lnTo>
                    <a:pt x="415913" y="144567"/>
                  </a:lnTo>
                  <a:cubicBezTo>
                    <a:pt x="418392" y="139338"/>
                    <a:pt x="422741" y="135602"/>
                    <a:pt x="427779" y="133781"/>
                  </a:cubicBezTo>
                  <a:close/>
                  <a:moveTo>
                    <a:pt x="159906" y="88589"/>
                  </a:moveTo>
                  <a:cubicBezTo>
                    <a:pt x="142487" y="87818"/>
                    <a:pt x="124764" y="93678"/>
                    <a:pt x="110828" y="106378"/>
                  </a:cubicBezTo>
                  <a:cubicBezTo>
                    <a:pt x="96145" y="119731"/>
                    <a:pt x="88663" y="138127"/>
                    <a:pt x="88663" y="156523"/>
                  </a:cubicBezTo>
                  <a:cubicBezTo>
                    <a:pt x="88663" y="172958"/>
                    <a:pt x="94555" y="189393"/>
                    <a:pt x="106526" y="202467"/>
                  </a:cubicBezTo>
                  <a:cubicBezTo>
                    <a:pt x="131965" y="230294"/>
                    <a:pt x="175081" y="232162"/>
                    <a:pt x="202764" y="206762"/>
                  </a:cubicBezTo>
                  <a:cubicBezTo>
                    <a:pt x="217448" y="193409"/>
                    <a:pt x="224930" y="175013"/>
                    <a:pt x="224930" y="156523"/>
                  </a:cubicBezTo>
                  <a:cubicBezTo>
                    <a:pt x="224930" y="140088"/>
                    <a:pt x="219132" y="123653"/>
                    <a:pt x="207160" y="110580"/>
                  </a:cubicBezTo>
                  <a:cubicBezTo>
                    <a:pt x="194441" y="96760"/>
                    <a:pt x="177325" y="89359"/>
                    <a:pt x="159906" y="88589"/>
                  </a:cubicBezTo>
                  <a:close/>
                  <a:moveTo>
                    <a:pt x="153289" y="17"/>
                  </a:moveTo>
                  <a:lnTo>
                    <a:pt x="173678" y="951"/>
                  </a:lnTo>
                  <a:cubicBezTo>
                    <a:pt x="180786" y="1325"/>
                    <a:pt x="186304" y="7114"/>
                    <a:pt x="186304" y="14118"/>
                  </a:cubicBezTo>
                  <a:lnTo>
                    <a:pt x="186304" y="14771"/>
                  </a:lnTo>
                  <a:lnTo>
                    <a:pt x="185462" y="34755"/>
                  </a:lnTo>
                  <a:cubicBezTo>
                    <a:pt x="201923" y="38677"/>
                    <a:pt x="217729" y="45774"/>
                    <a:pt x="231851" y="56232"/>
                  </a:cubicBezTo>
                  <a:lnTo>
                    <a:pt x="246535" y="42786"/>
                  </a:lnTo>
                  <a:cubicBezTo>
                    <a:pt x="251866" y="37930"/>
                    <a:pt x="260283" y="38303"/>
                    <a:pt x="265240" y="43626"/>
                  </a:cubicBezTo>
                  <a:lnTo>
                    <a:pt x="279082" y="58660"/>
                  </a:lnTo>
                  <a:cubicBezTo>
                    <a:pt x="281420" y="61275"/>
                    <a:pt x="282542" y="64450"/>
                    <a:pt x="282542" y="67625"/>
                  </a:cubicBezTo>
                  <a:cubicBezTo>
                    <a:pt x="282542" y="71173"/>
                    <a:pt x="281233" y="74722"/>
                    <a:pt x="278334" y="77337"/>
                  </a:cubicBezTo>
                  <a:lnTo>
                    <a:pt x="263744" y="90690"/>
                  </a:lnTo>
                  <a:cubicBezTo>
                    <a:pt x="273096" y="105537"/>
                    <a:pt x="278988" y="121973"/>
                    <a:pt x="281420" y="138781"/>
                  </a:cubicBezTo>
                  <a:lnTo>
                    <a:pt x="301061" y="139621"/>
                  </a:lnTo>
                  <a:cubicBezTo>
                    <a:pt x="308169" y="139995"/>
                    <a:pt x="313593" y="145878"/>
                    <a:pt x="313593" y="152788"/>
                  </a:cubicBezTo>
                  <a:lnTo>
                    <a:pt x="313593" y="153442"/>
                  </a:lnTo>
                  <a:lnTo>
                    <a:pt x="312751" y="173892"/>
                  </a:lnTo>
                  <a:cubicBezTo>
                    <a:pt x="312377" y="181083"/>
                    <a:pt x="306298" y="186779"/>
                    <a:pt x="298910" y="186405"/>
                  </a:cubicBezTo>
                  <a:lnTo>
                    <a:pt x="279456" y="185565"/>
                  </a:lnTo>
                  <a:cubicBezTo>
                    <a:pt x="275622" y="202093"/>
                    <a:pt x="268327" y="218061"/>
                    <a:pt x="257758" y="232162"/>
                  </a:cubicBezTo>
                  <a:lnTo>
                    <a:pt x="270852" y="246449"/>
                  </a:lnTo>
                  <a:cubicBezTo>
                    <a:pt x="273190" y="249064"/>
                    <a:pt x="274312" y="252145"/>
                    <a:pt x="274312" y="255414"/>
                  </a:cubicBezTo>
                  <a:cubicBezTo>
                    <a:pt x="274312" y="258869"/>
                    <a:pt x="273003" y="262511"/>
                    <a:pt x="270104" y="265126"/>
                  </a:cubicBezTo>
                  <a:lnTo>
                    <a:pt x="255046" y="278946"/>
                  </a:lnTo>
                  <a:cubicBezTo>
                    <a:pt x="249621" y="283802"/>
                    <a:pt x="241297" y="283428"/>
                    <a:pt x="236340" y="278106"/>
                  </a:cubicBezTo>
                  <a:lnTo>
                    <a:pt x="223247" y="263724"/>
                  </a:lnTo>
                  <a:cubicBezTo>
                    <a:pt x="208282" y="272970"/>
                    <a:pt x="191635" y="278853"/>
                    <a:pt x="174800" y="281187"/>
                  </a:cubicBezTo>
                  <a:lnTo>
                    <a:pt x="173958" y="300610"/>
                  </a:lnTo>
                  <a:cubicBezTo>
                    <a:pt x="173584" y="307801"/>
                    <a:pt x="167505" y="313590"/>
                    <a:pt x="160117" y="313217"/>
                  </a:cubicBezTo>
                  <a:lnTo>
                    <a:pt x="139634" y="312283"/>
                  </a:lnTo>
                  <a:cubicBezTo>
                    <a:pt x="132526" y="311909"/>
                    <a:pt x="127102" y="306120"/>
                    <a:pt x="127102" y="299116"/>
                  </a:cubicBezTo>
                  <a:lnTo>
                    <a:pt x="127102" y="298463"/>
                  </a:lnTo>
                  <a:lnTo>
                    <a:pt x="128037" y="279039"/>
                  </a:lnTo>
                  <a:cubicBezTo>
                    <a:pt x="111577" y="275211"/>
                    <a:pt x="95771" y="267834"/>
                    <a:pt x="81648" y="257281"/>
                  </a:cubicBezTo>
                  <a:lnTo>
                    <a:pt x="67058" y="270635"/>
                  </a:lnTo>
                  <a:cubicBezTo>
                    <a:pt x="61727" y="275491"/>
                    <a:pt x="53403" y="275117"/>
                    <a:pt x="48353" y="269701"/>
                  </a:cubicBezTo>
                  <a:lnTo>
                    <a:pt x="34511" y="254667"/>
                  </a:lnTo>
                  <a:cubicBezTo>
                    <a:pt x="32173" y="252052"/>
                    <a:pt x="31051" y="248970"/>
                    <a:pt x="31051" y="245702"/>
                  </a:cubicBezTo>
                  <a:cubicBezTo>
                    <a:pt x="31051" y="242247"/>
                    <a:pt x="32453" y="238605"/>
                    <a:pt x="35259" y="235990"/>
                  </a:cubicBezTo>
                  <a:lnTo>
                    <a:pt x="50036" y="222544"/>
                  </a:lnTo>
                  <a:cubicBezTo>
                    <a:pt x="40777" y="207696"/>
                    <a:pt x="35072" y="191261"/>
                    <a:pt x="32640" y="174639"/>
                  </a:cubicBezTo>
                  <a:lnTo>
                    <a:pt x="12626" y="173705"/>
                  </a:lnTo>
                  <a:cubicBezTo>
                    <a:pt x="5518" y="173332"/>
                    <a:pt x="0" y="167542"/>
                    <a:pt x="0" y="160539"/>
                  </a:cubicBezTo>
                  <a:lnTo>
                    <a:pt x="0" y="159885"/>
                  </a:lnTo>
                  <a:lnTo>
                    <a:pt x="842" y="139621"/>
                  </a:lnTo>
                  <a:cubicBezTo>
                    <a:pt x="1216" y="132431"/>
                    <a:pt x="7388" y="126642"/>
                    <a:pt x="14683" y="127015"/>
                  </a:cubicBezTo>
                  <a:lnTo>
                    <a:pt x="34885" y="127949"/>
                  </a:lnTo>
                  <a:cubicBezTo>
                    <a:pt x="38813" y="111514"/>
                    <a:pt x="46015" y="95826"/>
                    <a:pt x="56490" y="81819"/>
                  </a:cubicBezTo>
                  <a:lnTo>
                    <a:pt x="42741" y="66878"/>
                  </a:lnTo>
                  <a:cubicBezTo>
                    <a:pt x="40403" y="64263"/>
                    <a:pt x="39281" y="61182"/>
                    <a:pt x="39281" y="57913"/>
                  </a:cubicBezTo>
                  <a:cubicBezTo>
                    <a:pt x="39281" y="54458"/>
                    <a:pt x="40684" y="50816"/>
                    <a:pt x="43490" y="48202"/>
                  </a:cubicBezTo>
                  <a:lnTo>
                    <a:pt x="58641" y="34381"/>
                  </a:lnTo>
                  <a:cubicBezTo>
                    <a:pt x="63972" y="29526"/>
                    <a:pt x="72296" y="29899"/>
                    <a:pt x="77346" y="35315"/>
                  </a:cubicBezTo>
                  <a:lnTo>
                    <a:pt x="90627" y="50256"/>
                  </a:lnTo>
                  <a:cubicBezTo>
                    <a:pt x="105591" y="41011"/>
                    <a:pt x="121864" y="35128"/>
                    <a:pt x="138512" y="32794"/>
                  </a:cubicBezTo>
                  <a:lnTo>
                    <a:pt x="139447" y="12624"/>
                  </a:lnTo>
                  <a:cubicBezTo>
                    <a:pt x="139821" y="5433"/>
                    <a:pt x="145901" y="-356"/>
                    <a:pt x="153289" y="17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1" name="îṣḻïḓè">
              <a:extLst>
                <a:ext uri="{FF2B5EF4-FFF2-40B4-BE49-F238E27FC236}">
                  <a16:creationId xmlns:a16="http://schemas.microsoft.com/office/drawing/2014/main" id="{30C8A656-A69C-4844-9B4C-38593487F7D6}"/>
                </a:ext>
              </a:extLst>
            </p:cNvPr>
            <p:cNvSpPr/>
            <p:nvPr/>
          </p:nvSpPr>
          <p:spPr bwMode="auto">
            <a:xfrm>
              <a:off x="3563916" y="3658051"/>
              <a:ext cx="377806" cy="377072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81741" h="580612">
                  <a:moveTo>
                    <a:pt x="291612" y="187916"/>
                  </a:moveTo>
                  <a:cubicBezTo>
                    <a:pt x="304876" y="187916"/>
                    <a:pt x="315648" y="198758"/>
                    <a:pt x="315648" y="212088"/>
                  </a:cubicBezTo>
                  <a:lnTo>
                    <a:pt x="315648" y="491836"/>
                  </a:lnTo>
                  <a:lnTo>
                    <a:pt x="331227" y="473974"/>
                  </a:lnTo>
                  <a:cubicBezTo>
                    <a:pt x="339863" y="463932"/>
                    <a:pt x="355086" y="462866"/>
                    <a:pt x="365145" y="471574"/>
                  </a:cubicBezTo>
                  <a:cubicBezTo>
                    <a:pt x="375116" y="480372"/>
                    <a:pt x="376184" y="495657"/>
                    <a:pt x="367460" y="505699"/>
                  </a:cubicBezTo>
                  <a:lnTo>
                    <a:pt x="309773" y="572348"/>
                  </a:lnTo>
                  <a:cubicBezTo>
                    <a:pt x="305143" y="577502"/>
                    <a:pt x="298556" y="580612"/>
                    <a:pt x="291612" y="580612"/>
                  </a:cubicBezTo>
                  <a:cubicBezTo>
                    <a:pt x="284579" y="580612"/>
                    <a:pt x="278080" y="577680"/>
                    <a:pt x="273451" y="572348"/>
                  </a:cubicBezTo>
                  <a:lnTo>
                    <a:pt x="215764" y="505699"/>
                  </a:lnTo>
                  <a:cubicBezTo>
                    <a:pt x="207039" y="495657"/>
                    <a:pt x="208108" y="480372"/>
                    <a:pt x="218078" y="471574"/>
                  </a:cubicBezTo>
                  <a:cubicBezTo>
                    <a:pt x="228049" y="462866"/>
                    <a:pt x="243272" y="463932"/>
                    <a:pt x="252085" y="473974"/>
                  </a:cubicBezTo>
                  <a:lnTo>
                    <a:pt x="267486" y="491747"/>
                  </a:lnTo>
                  <a:lnTo>
                    <a:pt x="267486" y="212088"/>
                  </a:lnTo>
                  <a:cubicBezTo>
                    <a:pt x="267486" y="198758"/>
                    <a:pt x="278258" y="187916"/>
                    <a:pt x="291612" y="187916"/>
                  </a:cubicBezTo>
                  <a:close/>
                  <a:moveTo>
                    <a:pt x="329499" y="0"/>
                  </a:moveTo>
                  <a:cubicBezTo>
                    <a:pt x="426248" y="0"/>
                    <a:pt x="465322" y="80426"/>
                    <a:pt x="473332" y="108153"/>
                  </a:cubicBezTo>
                  <a:cubicBezTo>
                    <a:pt x="535280" y="120684"/>
                    <a:pt x="581474" y="175693"/>
                    <a:pt x="581741" y="241190"/>
                  </a:cubicBezTo>
                  <a:cubicBezTo>
                    <a:pt x="581741" y="315840"/>
                    <a:pt x="521306" y="376537"/>
                    <a:pt x="446987" y="376537"/>
                  </a:cubicBezTo>
                  <a:lnTo>
                    <a:pt x="372756" y="376537"/>
                  </a:lnTo>
                  <a:cubicBezTo>
                    <a:pt x="359316" y="376537"/>
                    <a:pt x="348546" y="365606"/>
                    <a:pt x="348546" y="352276"/>
                  </a:cubicBezTo>
                  <a:cubicBezTo>
                    <a:pt x="348546" y="338857"/>
                    <a:pt x="359316" y="327926"/>
                    <a:pt x="372756" y="327926"/>
                  </a:cubicBezTo>
                  <a:lnTo>
                    <a:pt x="446987" y="327926"/>
                  </a:lnTo>
                  <a:cubicBezTo>
                    <a:pt x="494605" y="327926"/>
                    <a:pt x="533322" y="289090"/>
                    <a:pt x="533322" y="241190"/>
                  </a:cubicBezTo>
                  <a:cubicBezTo>
                    <a:pt x="533322" y="195334"/>
                    <a:pt x="497720" y="157298"/>
                    <a:pt x="452238" y="154632"/>
                  </a:cubicBezTo>
                  <a:cubicBezTo>
                    <a:pt x="440934" y="153921"/>
                    <a:pt x="431589" y="145478"/>
                    <a:pt x="429809" y="134192"/>
                  </a:cubicBezTo>
                  <a:cubicBezTo>
                    <a:pt x="421709" y="84692"/>
                    <a:pt x="379609" y="48789"/>
                    <a:pt x="329677" y="48789"/>
                  </a:cubicBezTo>
                  <a:cubicBezTo>
                    <a:pt x="279567" y="48789"/>
                    <a:pt x="238001" y="84781"/>
                    <a:pt x="229457" y="134192"/>
                  </a:cubicBezTo>
                  <a:cubicBezTo>
                    <a:pt x="226520" y="151521"/>
                    <a:pt x="212190" y="162807"/>
                    <a:pt x="192964" y="151077"/>
                  </a:cubicBezTo>
                  <a:cubicBezTo>
                    <a:pt x="178011" y="141834"/>
                    <a:pt x="160922" y="136947"/>
                    <a:pt x="143299" y="136947"/>
                  </a:cubicBezTo>
                  <a:cubicBezTo>
                    <a:pt x="90964" y="136947"/>
                    <a:pt x="48419" y="179693"/>
                    <a:pt x="48419" y="232303"/>
                  </a:cubicBezTo>
                  <a:cubicBezTo>
                    <a:pt x="48419" y="284913"/>
                    <a:pt x="90964" y="327748"/>
                    <a:pt x="143299" y="327748"/>
                  </a:cubicBezTo>
                  <a:lnTo>
                    <a:pt x="218776" y="327748"/>
                  </a:lnTo>
                  <a:cubicBezTo>
                    <a:pt x="232216" y="327748"/>
                    <a:pt x="242986" y="338590"/>
                    <a:pt x="242986" y="352009"/>
                  </a:cubicBezTo>
                  <a:cubicBezTo>
                    <a:pt x="242986" y="365429"/>
                    <a:pt x="232216" y="376271"/>
                    <a:pt x="218776" y="376271"/>
                  </a:cubicBezTo>
                  <a:lnTo>
                    <a:pt x="143299" y="376271"/>
                  </a:lnTo>
                  <a:cubicBezTo>
                    <a:pt x="64262" y="376271"/>
                    <a:pt x="0" y="311574"/>
                    <a:pt x="0" y="232214"/>
                  </a:cubicBezTo>
                  <a:cubicBezTo>
                    <a:pt x="0" y="152854"/>
                    <a:pt x="64262" y="88158"/>
                    <a:pt x="143210" y="88158"/>
                  </a:cubicBezTo>
                  <a:cubicBezTo>
                    <a:pt x="159231" y="88158"/>
                    <a:pt x="174896" y="90735"/>
                    <a:pt x="189849" y="95978"/>
                  </a:cubicBezTo>
                  <a:cubicBezTo>
                    <a:pt x="198749" y="73050"/>
                    <a:pt x="238891" y="0"/>
                    <a:pt x="32949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2" name="iş1iḑe">
              <a:extLst>
                <a:ext uri="{FF2B5EF4-FFF2-40B4-BE49-F238E27FC236}">
                  <a16:creationId xmlns:a16="http://schemas.microsoft.com/office/drawing/2014/main" id="{79D5FAF9-096B-4C61-A299-6A26A276E128}"/>
                </a:ext>
              </a:extLst>
            </p:cNvPr>
            <p:cNvSpPr/>
            <p:nvPr/>
          </p:nvSpPr>
          <p:spPr bwMode="auto">
            <a:xfrm>
              <a:off x="3025037" y="4301073"/>
              <a:ext cx="377806" cy="377236"/>
            </a:xfrm>
            <a:custGeom>
              <a:avLst/>
              <a:gdLst>
                <a:gd name="connsiteX0" fmla="*/ 303820 w 607639"/>
                <a:gd name="connsiteY0" fmla="*/ 278099 h 606722"/>
                <a:gd name="connsiteX1" fmla="*/ 329118 w 607639"/>
                <a:gd name="connsiteY1" fmla="*/ 303362 h 606722"/>
                <a:gd name="connsiteX2" fmla="*/ 303820 w 607639"/>
                <a:gd name="connsiteY2" fmla="*/ 328625 h 606722"/>
                <a:gd name="connsiteX3" fmla="*/ 278522 w 607639"/>
                <a:gd name="connsiteY3" fmla="*/ 303362 h 606722"/>
                <a:gd name="connsiteX4" fmla="*/ 303820 w 607639"/>
                <a:gd name="connsiteY4" fmla="*/ 278099 h 606722"/>
                <a:gd name="connsiteX5" fmla="*/ 303775 w 607639"/>
                <a:gd name="connsiteY5" fmla="*/ 252735 h 606722"/>
                <a:gd name="connsiteX6" fmla="*/ 253140 w 607639"/>
                <a:gd name="connsiteY6" fmla="*/ 303317 h 606722"/>
                <a:gd name="connsiteX7" fmla="*/ 303775 w 607639"/>
                <a:gd name="connsiteY7" fmla="*/ 353900 h 606722"/>
                <a:gd name="connsiteX8" fmla="*/ 354410 w 607639"/>
                <a:gd name="connsiteY8" fmla="*/ 303317 h 606722"/>
                <a:gd name="connsiteX9" fmla="*/ 303775 w 607639"/>
                <a:gd name="connsiteY9" fmla="*/ 252735 h 606722"/>
                <a:gd name="connsiteX10" fmla="*/ 303775 w 607639"/>
                <a:gd name="connsiteY10" fmla="*/ 202241 h 606722"/>
                <a:gd name="connsiteX11" fmla="*/ 405045 w 607639"/>
                <a:gd name="connsiteY11" fmla="*/ 303317 h 606722"/>
                <a:gd name="connsiteX12" fmla="*/ 303775 w 607639"/>
                <a:gd name="connsiteY12" fmla="*/ 404482 h 606722"/>
                <a:gd name="connsiteX13" fmla="*/ 202593 w 607639"/>
                <a:gd name="connsiteY13" fmla="*/ 303317 h 606722"/>
                <a:gd name="connsiteX14" fmla="*/ 303775 w 607639"/>
                <a:gd name="connsiteY14" fmla="*/ 202241 h 606722"/>
                <a:gd name="connsiteX15" fmla="*/ 303775 w 607639"/>
                <a:gd name="connsiteY15" fmla="*/ 151703 h 606722"/>
                <a:gd name="connsiteX16" fmla="*/ 151932 w 607639"/>
                <a:gd name="connsiteY16" fmla="*/ 303317 h 606722"/>
                <a:gd name="connsiteX17" fmla="*/ 303775 w 607639"/>
                <a:gd name="connsiteY17" fmla="*/ 455019 h 606722"/>
                <a:gd name="connsiteX18" fmla="*/ 455707 w 607639"/>
                <a:gd name="connsiteY18" fmla="*/ 303317 h 606722"/>
                <a:gd name="connsiteX19" fmla="*/ 303775 w 607639"/>
                <a:gd name="connsiteY19" fmla="*/ 151703 h 606722"/>
                <a:gd name="connsiteX20" fmla="*/ 253131 w 607639"/>
                <a:gd name="connsiteY20" fmla="*/ 0 h 606722"/>
                <a:gd name="connsiteX21" fmla="*/ 354419 w 607639"/>
                <a:gd name="connsiteY21" fmla="*/ 0 h 606722"/>
                <a:gd name="connsiteX22" fmla="*/ 379786 w 607639"/>
                <a:gd name="connsiteY22" fmla="*/ 25239 h 606722"/>
                <a:gd name="connsiteX23" fmla="*/ 379786 w 607639"/>
                <a:gd name="connsiteY23" fmla="*/ 62387 h 606722"/>
                <a:gd name="connsiteX24" fmla="*/ 420639 w 607639"/>
                <a:gd name="connsiteY24" fmla="*/ 79451 h 606722"/>
                <a:gd name="connsiteX25" fmla="*/ 446985 w 607639"/>
                <a:gd name="connsiteY25" fmla="*/ 53145 h 606722"/>
                <a:gd name="connsiteX26" fmla="*/ 482854 w 607639"/>
                <a:gd name="connsiteY26" fmla="*/ 53145 h 606722"/>
                <a:gd name="connsiteX27" fmla="*/ 554414 w 607639"/>
                <a:gd name="connsiteY27" fmla="*/ 124597 h 606722"/>
                <a:gd name="connsiteX28" fmla="*/ 554414 w 607639"/>
                <a:gd name="connsiteY28" fmla="*/ 160323 h 606722"/>
                <a:gd name="connsiteX29" fmla="*/ 528069 w 607639"/>
                <a:gd name="connsiteY29" fmla="*/ 186629 h 606722"/>
                <a:gd name="connsiteX30" fmla="*/ 545158 w 607639"/>
                <a:gd name="connsiteY30" fmla="*/ 227510 h 606722"/>
                <a:gd name="connsiteX31" fmla="*/ 582273 w 607639"/>
                <a:gd name="connsiteY31" fmla="*/ 227510 h 606722"/>
                <a:gd name="connsiteX32" fmla="*/ 607639 w 607639"/>
                <a:gd name="connsiteY32" fmla="*/ 252749 h 606722"/>
                <a:gd name="connsiteX33" fmla="*/ 607639 w 607639"/>
                <a:gd name="connsiteY33" fmla="*/ 353884 h 606722"/>
                <a:gd name="connsiteX34" fmla="*/ 582273 w 607639"/>
                <a:gd name="connsiteY34" fmla="*/ 379212 h 606722"/>
                <a:gd name="connsiteX35" fmla="*/ 545158 w 607639"/>
                <a:gd name="connsiteY35" fmla="*/ 379212 h 606722"/>
                <a:gd name="connsiteX36" fmla="*/ 528069 w 607639"/>
                <a:gd name="connsiteY36" fmla="*/ 420004 h 606722"/>
                <a:gd name="connsiteX37" fmla="*/ 554414 w 607639"/>
                <a:gd name="connsiteY37" fmla="*/ 446310 h 606722"/>
                <a:gd name="connsiteX38" fmla="*/ 554414 w 607639"/>
                <a:gd name="connsiteY38" fmla="*/ 482125 h 606722"/>
                <a:gd name="connsiteX39" fmla="*/ 482854 w 607639"/>
                <a:gd name="connsiteY39" fmla="*/ 553577 h 606722"/>
                <a:gd name="connsiteX40" fmla="*/ 446985 w 607639"/>
                <a:gd name="connsiteY40" fmla="*/ 553577 h 606722"/>
                <a:gd name="connsiteX41" fmla="*/ 420639 w 607639"/>
                <a:gd name="connsiteY41" fmla="*/ 527271 h 606722"/>
                <a:gd name="connsiteX42" fmla="*/ 379786 w 607639"/>
                <a:gd name="connsiteY42" fmla="*/ 544246 h 606722"/>
                <a:gd name="connsiteX43" fmla="*/ 379786 w 607639"/>
                <a:gd name="connsiteY43" fmla="*/ 581394 h 606722"/>
                <a:gd name="connsiteX44" fmla="*/ 354419 w 607639"/>
                <a:gd name="connsiteY44" fmla="*/ 606722 h 606722"/>
                <a:gd name="connsiteX45" fmla="*/ 253131 w 607639"/>
                <a:gd name="connsiteY45" fmla="*/ 606722 h 606722"/>
                <a:gd name="connsiteX46" fmla="*/ 227854 w 607639"/>
                <a:gd name="connsiteY46" fmla="*/ 581394 h 606722"/>
                <a:gd name="connsiteX47" fmla="*/ 227854 w 607639"/>
                <a:gd name="connsiteY47" fmla="*/ 544246 h 606722"/>
                <a:gd name="connsiteX48" fmla="*/ 186911 w 607639"/>
                <a:gd name="connsiteY48" fmla="*/ 527271 h 606722"/>
                <a:gd name="connsiteX49" fmla="*/ 160566 w 607639"/>
                <a:gd name="connsiteY49" fmla="*/ 553577 h 606722"/>
                <a:gd name="connsiteX50" fmla="*/ 124786 w 607639"/>
                <a:gd name="connsiteY50" fmla="*/ 553577 h 606722"/>
                <a:gd name="connsiteX51" fmla="*/ 53225 w 607639"/>
                <a:gd name="connsiteY51" fmla="*/ 482125 h 606722"/>
                <a:gd name="connsiteX52" fmla="*/ 53225 w 607639"/>
                <a:gd name="connsiteY52" fmla="*/ 446310 h 606722"/>
                <a:gd name="connsiteX53" fmla="*/ 79482 w 607639"/>
                <a:gd name="connsiteY53" fmla="*/ 420004 h 606722"/>
                <a:gd name="connsiteX54" fmla="*/ 62482 w 607639"/>
                <a:gd name="connsiteY54" fmla="*/ 379212 h 606722"/>
                <a:gd name="connsiteX55" fmla="*/ 25278 w 607639"/>
                <a:gd name="connsiteY55" fmla="*/ 379212 h 606722"/>
                <a:gd name="connsiteX56" fmla="*/ 0 w 607639"/>
                <a:gd name="connsiteY56" fmla="*/ 353884 h 606722"/>
                <a:gd name="connsiteX57" fmla="*/ 0 w 607639"/>
                <a:gd name="connsiteY57" fmla="*/ 252749 h 606722"/>
                <a:gd name="connsiteX58" fmla="*/ 25278 w 607639"/>
                <a:gd name="connsiteY58" fmla="*/ 227510 h 606722"/>
                <a:gd name="connsiteX59" fmla="*/ 62482 w 607639"/>
                <a:gd name="connsiteY59" fmla="*/ 227510 h 606722"/>
                <a:gd name="connsiteX60" fmla="*/ 79482 w 607639"/>
                <a:gd name="connsiteY60" fmla="*/ 186629 h 606722"/>
                <a:gd name="connsiteX61" fmla="*/ 53225 w 607639"/>
                <a:gd name="connsiteY61" fmla="*/ 160323 h 606722"/>
                <a:gd name="connsiteX62" fmla="*/ 53225 w 607639"/>
                <a:gd name="connsiteY62" fmla="*/ 124597 h 606722"/>
                <a:gd name="connsiteX63" fmla="*/ 124786 w 607639"/>
                <a:gd name="connsiteY63" fmla="*/ 53145 h 606722"/>
                <a:gd name="connsiteX64" fmla="*/ 160566 w 607639"/>
                <a:gd name="connsiteY64" fmla="*/ 53145 h 606722"/>
                <a:gd name="connsiteX65" fmla="*/ 186911 w 607639"/>
                <a:gd name="connsiteY65" fmla="*/ 79451 h 606722"/>
                <a:gd name="connsiteX66" fmla="*/ 227854 w 607639"/>
                <a:gd name="connsiteY66" fmla="*/ 62387 h 606722"/>
                <a:gd name="connsiteX67" fmla="*/ 227854 w 607639"/>
                <a:gd name="connsiteY67" fmla="*/ 25239 h 606722"/>
                <a:gd name="connsiteX68" fmla="*/ 253131 w 607639"/>
                <a:gd name="connsiteY68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607639" h="606722">
                  <a:moveTo>
                    <a:pt x="303820" y="278099"/>
                  </a:moveTo>
                  <a:cubicBezTo>
                    <a:pt x="317792" y="278099"/>
                    <a:pt x="329118" y="289410"/>
                    <a:pt x="329118" y="303362"/>
                  </a:cubicBezTo>
                  <a:cubicBezTo>
                    <a:pt x="329118" y="317314"/>
                    <a:pt x="317792" y="328625"/>
                    <a:pt x="303820" y="328625"/>
                  </a:cubicBezTo>
                  <a:cubicBezTo>
                    <a:pt x="289848" y="328625"/>
                    <a:pt x="278522" y="317314"/>
                    <a:pt x="278522" y="303362"/>
                  </a:cubicBezTo>
                  <a:cubicBezTo>
                    <a:pt x="278522" y="289410"/>
                    <a:pt x="289848" y="278099"/>
                    <a:pt x="303820" y="278099"/>
                  </a:cubicBezTo>
                  <a:close/>
                  <a:moveTo>
                    <a:pt x="303775" y="252735"/>
                  </a:moveTo>
                  <a:cubicBezTo>
                    <a:pt x="275921" y="252735"/>
                    <a:pt x="253140" y="275492"/>
                    <a:pt x="253140" y="303317"/>
                  </a:cubicBezTo>
                  <a:cubicBezTo>
                    <a:pt x="253140" y="331231"/>
                    <a:pt x="275921" y="353900"/>
                    <a:pt x="303775" y="353900"/>
                  </a:cubicBezTo>
                  <a:cubicBezTo>
                    <a:pt x="331718" y="353900"/>
                    <a:pt x="354410" y="331231"/>
                    <a:pt x="354410" y="303317"/>
                  </a:cubicBezTo>
                  <a:cubicBezTo>
                    <a:pt x="354410" y="275492"/>
                    <a:pt x="331718" y="252735"/>
                    <a:pt x="303775" y="252735"/>
                  </a:cubicBezTo>
                  <a:close/>
                  <a:moveTo>
                    <a:pt x="303775" y="202241"/>
                  </a:moveTo>
                  <a:cubicBezTo>
                    <a:pt x="359660" y="202241"/>
                    <a:pt x="405045" y="247579"/>
                    <a:pt x="405045" y="303317"/>
                  </a:cubicBezTo>
                  <a:cubicBezTo>
                    <a:pt x="405045" y="359144"/>
                    <a:pt x="359660" y="404482"/>
                    <a:pt x="303775" y="404482"/>
                  </a:cubicBezTo>
                  <a:cubicBezTo>
                    <a:pt x="247978" y="404482"/>
                    <a:pt x="202593" y="359144"/>
                    <a:pt x="202593" y="303317"/>
                  </a:cubicBezTo>
                  <a:cubicBezTo>
                    <a:pt x="202593" y="247579"/>
                    <a:pt x="247978" y="202241"/>
                    <a:pt x="303775" y="202241"/>
                  </a:cubicBezTo>
                  <a:close/>
                  <a:moveTo>
                    <a:pt x="303775" y="151703"/>
                  </a:moveTo>
                  <a:cubicBezTo>
                    <a:pt x="220021" y="151703"/>
                    <a:pt x="151932" y="219689"/>
                    <a:pt x="151932" y="303317"/>
                  </a:cubicBezTo>
                  <a:cubicBezTo>
                    <a:pt x="151932" y="387033"/>
                    <a:pt x="220021" y="455019"/>
                    <a:pt x="303775" y="455019"/>
                  </a:cubicBezTo>
                  <a:cubicBezTo>
                    <a:pt x="387618" y="455019"/>
                    <a:pt x="455707" y="387033"/>
                    <a:pt x="455707" y="303317"/>
                  </a:cubicBezTo>
                  <a:cubicBezTo>
                    <a:pt x="455707" y="219689"/>
                    <a:pt x="387618" y="151703"/>
                    <a:pt x="303775" y="151703"/>
                  </a:cubicBezTo>
                  <a:close/>
                  <a:moveTo>
                    <a:pt x="253131" y="0"/>
                  </a:moveTo>
                  <a:lnTo>
                    <a:pt x="354419" y="0"/>
                  </a:lnTo>
                  <a:cubicBezTo>
                    <a:pt x="368482" y="0"/>
                    <a:pt x="379786" y="11287"/>
                    <a:pt x="379786" y="25239"/>
                  </a:cubicBezTo>
                  <a:lnTo>
                    <a:pt x="379786" y="62387"/>
                  </a:lnTo>
                  <a:cubicBezTo>
                    <a:pt x="393849" y="66831"/>
                    <a:pt x="407555" y="72519"/>
                    <a:pt x="420639" y="79451"/>
                  </a:cubicBezTo>
                  <a:lnTo>
                    <a:pt x="446985" y="53145"/>
                  </a:lnTo>
                  <a:cubicBezTo>
                    <a:pt x="456953" y="43191"/>
                    <a:pt x="472974" y="43191"/>
                    <a:pt x="482854" y="53145"/>
                  </a:cubicBezTo>
                  <a:lnTo>
                    <a:pt x="554414" y="124597"/>
                  </a:lnTo>
                  <a:cubicBezTo>
                    <a:pt x="564294" y="134462"/>
                    <a:pt x="564294" y="150459"/>
                    <a:pt x="554414" y="160323"/>
                  </a:cubicBezTo>
                  <a:lnTo>
                    <a:pt x="528069" y="186629"/>
                  </a:lnTo>
                  <a:cubicBezTo>
                    <a:pt x="535011" y="199782"/>
                    <a:pt x="540707" y="213468"/>
                    <a:pt x="545158" y="227510"/>
                  </a:cubicBezTo>
                  <a:lnTo>
                    <a:pt x="582273" y="227510"/>
                  </a:lnTo>
                  <a:cubicBezTo>
                    <a:pt x="596336" y="227510"/>
                    <a:pt x="607639" y="238796"/>
                    <a:pt x="607639" y="252749"/>
                  </a:cubicBezTo>
                  <a:lnTo>
                    <a:pt x="607639" y="353884"/>
                  </a:lnTo>
                  <a:cubicBezTo>
                    <a:pt x="607639" y="367926"/>
                    <a:pt x="596247" y="379212"/>
                    <a:pt x="582273" y="379212"/>
                  </a:cubicBezTo>
                  <a:lnTo>
                    <a:pt x="545158" y="379212"/>
                  </a:lnTo>
                  <a:cubicBezTo>
                    <a:pt x="540707" y="393254"/>
                    <a:pt x="535011" y="406940"/>
                    <a:pt x="528069" y="420004"/>
                  </a:cubicBezTo>
                  <a:lnTo>
                    <a:pt x="554414" y="446310"/>
                  </a:lnTo>
                  <a:cubicBezTo>
                    <a:pt x="564294" y="456263"/>
                    <a:pt x="564294" y="472260"/>
                    <a:pt x="554414" y="482125"/>
                  </a:cubicBezTo>
                  <a:lnTo>
                    <a:pt x="482854" y="553577"/>
                  </a:lnTo>
                  <a:cubicBezTo>
                    <a:pt x="472974" y="563442"/>
                    <a:pt x="456953" y="563442"/>
                    <a:pt x="446985" y="553577"/>
                  </a:cubicBezTo>
                  <a:lnTo>
                    <a:pt x="420639" y="527271"/>
                  </a:lnTo>
                  <a:cubicBezTo>
                    <a:pt x="407555" y="534203"/>
                    <a:pt x="393849" y="539802"/>
                    <a:pt x="379786" y="544246"/>
                  </a:cubicBezTo>
                  <a:lnTo>
                    <a:pt x="379786" y="581394"/>
                  </a:lnTo>
                  <a:cubicBezTo>
                    <a:pt x="379786" y="595435"/>
                    <a:pt x="368393" y="606722"/>
                    <a:pt x="354419" y="606722"/>
                  </a:cubicBezTo>
                  <a:lnTo>
                    <a:pt x="253131" y="606722"/>
                  </a:lnTo>
                  <a:cubicBezTo>
                    <a:pt x="239157" y="606722"/>
                    <a:pt x="227854" y="595435"/>
                    <a:pt x="227854" y="581394"/>
                  </a:cubicBezTo>
                  <a:lnTo>
                    <a:pt x="227854" y="544246"/>
                  </a:lnTo>
                  <a:cubicBezTo>
                    <a:pt x="213791" y="539802"/>
                    <a:pt x="200084" y="534203"/>
                    <a:pt x="186911" y="527271"/>
                  </a:cubicBezTo>
                  <a:lnTo>
                    <a:pt x="160566" y="553577"/>
                  </a:lnTo>
                  <a:cubicBezTo>
                    <a:pt x="150686" y="563442"/>
                    <a:pt x="134665" y="563442"/>
                    <a:pt x="124786" y="553577"/>
                  </a:cubicBezTo>
                  <a:lnTo>
                    <a:pt x="53225" y="482125"/>
                  </a:lnTo>
                  <a:cubicBezTo>
                    <a:pt x="43257" y="472260"/>
                    <a:pt x="43257" y="456263"/>
                    <a:pt x="53225" y="446310"/>
                  </a:cubicBezTo>
                  <a:lnTo>
                    <a:pt x="79482" y="420004"/>
                  </a:lnTo>
                  <a:cubicBezTo>
                    <a:pt x="72629" y="406940"/>
                    <a:pt x="66932" y="393254"/>
                    <a:pt x="62482" y="379212"/>
                  </a:cubicBezTo>
                  <a:lnTo>
                    <a:pt x="25278" y="379212"/>
                  </a:lnTo>
                  <a:cubicBezTo>
                    <a:pt x="11304" y="379212"/>
                    <a:pt x="0" y="367926"/>
                    <a:pt x="0" y="353884"/>
                  </a:cubicBezTo>
                  <a:lnTo>
                    <a:pt x="0" y="252749"/>
                  </a:lnTo>
                  <a:cubicBezTo>
                    <a:pt x="0" y="238796"/>
                    <a:pt x="11304" y="227510"/>
                    <a:pt x="25278" y="227510"/>
                  </a:cubicBezTo>
                  <a:lnTo>
                    <a:pt x="62482" y="227510"/>
                  </a:lnTo>
                  <a:cubicBezTo>
                    <a:pt x="66932" y="213468"/>
                    <a:pt x="72629" y="199782"/>
                    <a:pt x="79482" y="186629"/>
                  </a:cubicBezTo>
                  <a:lnTo>
                    <a:pt x="53225" y="160323"/>
                  </a:lnTo>
                  <a:cubicBezTo>
                    <a:pt x="43257" y="150459"/>
                    <a:pt x="43257" y="134462"/>
                    <a:pt x="53225" y="124597"/>
                  </a:cubicBezTo>
                  <a:lnTo>
                    <a:pt x="124786" y="53145"/>
                  </a:lnTo>
                  <a:cubicBezTo>
                    <a:pt x="134665" y="43191"/>
                    <a:pt x="150686" y="43191"/>
                    <a:pt x="160566" y="53145"/>
                  </a:cubicBezTo>
                  <a:lnTo>
                    <a:pt x="186911" y="79451"/>
                  </a:lnTo>
                  <a:cubicBezTo>
                    <a:pt x="200084" y="72519"/>
                    <a:pt x="213791" y="66831"/>
                    <a:pt x="227854" y="62387"/>
                  </a:cubicBezTo>
                  <a:lnTo>
                    <a:pt x="227854" y="25239"/>
                  </a:lnTo>
                  <a:cubicBezTo>
                    <a:pt x="227854" y="11287"/>
                    <a:pt x="239157" y="0"/>
                    <a:pt x="253131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3" name="ïṧľíďê">
              <a:extLst>
                <a:ext uri="{FF2B5EF4-FFF2-40B4-BE49-F238E27FC236}">
                  <a16:creationId xmlns:a16="http://schemas.microsoft.com/office/drawing/2014/main" id="{83AC56C8-BB22-4DB6-8372-AA84DFFA3A81}"/>
                </a:ext>
              </a:extLst>
            </p:cNvPr>
            <p:cNvSpPr/>
            <p:nvPr/>
          </p:nvSpPr>
          <p:spPr bwMode="auto">
            <a:xfrm>
              <a:off x="2498293" y="4944202"/>
              <a:ext cx="377806" cy="377188"/>
            </a:xfrm>
            <a:custGeom>
              <a:avLst/>
              <a:gdLst>
                <a:gd name="connsiteX0" fmla="*/ 380418 w 604181"/>
                <a:gd name="connsiteY0" fmla="*/ 268007 h 603193"/>
                <a:gd name="connsiteX1" fmla="*/ 519220 w 604181"/>
                <a:gd name="connsiteY1" fmla="*/ 339187 h 603193"/>
                <a:gd name="connsiteX2" fmla="*/ 519220 w 604181"/>
                <a:gd name="connsiteY2" fmla="*/ 355820 h 603193"/>
                <a:gd name="connsiteX3" fmla="*/ 380418 w 604181"/>
                <a:gd name="connsiteY3" fmla="*/ 426850 h 603193"/>
                <a:gd name="connsiteX4" fmla="*/ 380418 w 604181"/>
                <a:gd name="connsiteY4" fmla="*/ 406320 h 603193"/>
                <a:gd name="connsiteX5" fmla="*/ 498212 w 604181"/>
                <a:gd name="connsiteY5" fmla="*/ 347728 h 603193"/>
                <a:gd name="connsiteX6" fmla="*/ 498212 w 604181"/>
                <a:gd name="connsiteY6" fmla="*/ 347129 h 603193"/>
                <a:gd name="connsiteX7" fmla="*/ 380418 w 604181"/>
                <a:gd name="connsiteY7" fmla="*/ 288687 h 603193"/>
                <a:gd name="connsiteX8" fmla="*/ 216565 w 604181"/>
                <a:gd name="connsiteY8" fmla="*/ 268007 h 603193"/>
                <a:gd name="connsiteX9" fmla="*/ 216565 w 604181"/>
                <a:gd name="connsiteY9" fmla="*/ 288687 h 603193"/>
                <a:gd name="connsiteX10" fmla="*/ 99664 w 604181"/>
                <a:gd name="connsiteY10" fmla="*/ 347129 h 603193"/>
                <a:gd name="connsiteX11" fmla="*/ 99664 w 604181"/>
                <a:gd name="connsiteY11" fmla="*/ 347728 h 603193"/>
                <a:gd name="connsiteX12" fmla="*/ 216565 w 604181"/>
                <a:gd name="connsiteY12" fmla="*/ 406320 h 603193"/>
                <a:gd name="connsiteX13" fmla="*/ 216565 w 604181"/>
                <a:gd name="connsiteY13" fmla="*/ 426850 h 603193"/>
                <a:gd name="connsiteX14" fmla="*/ 77904 w 604181"/>
                <a:gd name="connsiteY14" fmla="*/ 355521 h 603193"/>
                <a:gd name="connsiteX15" fmla="*/ 77904 w 604181"/>
                <a:gd name="connsiteY15" fmla="*/ 339486 h 603193"/>
                <a:gd name="connsiteX16" fmla="*/ 338273 w 604181"/>
                <a:gd name="connsiteY16" fmla="*/ 222493 h 603193"/>
                <a:gd name="connsiteX17" fmla="*/ 358684 w 604181"/>
                <a:gd name="connsiteY17" fmla="*/ 222493 h 603193"/>
                <a:gd name="connsiteX18" fmla="*/ 253179 w 604181"/>
                <a:gd name="connsiteY18" fmla="*/ 482103 h 603193"/>
                <a:gd name="connsiteX19" fmla="*/ 233219 w 604181"/>
                <a:gd name="connsiteY19" fmla="*/ 482103 h 603193"/>
                <a:gd name="connsiteX20" fmla="*/ 28813 w 604181"/>
                <a:gd name="connsiteY20" fmla="*/ 128849 h 603193"/>
                <a:gd name="connsiteX21" fmla="*/ 28813 w 604181"/>
                <a:gd name="connsiteY21" fmla="*/ 557497 h 603193"/>
                <a:gd name="connsiteX22" fmla="*/ 45921 w 604181"/>
                <a:gd name="connsiteY22" fmla="*/ 574427 h 603193"/>
                <a:gd name="connsiteX23" fmla="*/ 558410 w 604181"/>
                <a:gd name="connsiteY23" fmla="*/ 574427 h 603193"/>
                <a:gd name="connsiteX24" fmla="*/ 575368 w 604181"/>
                <a:gd name="connsiteY24" fmla="*/ 557497 h 603193"/>
                <a:gd name="connsiteX25" fmla="*/ 575368 w 604181"/>
                <a:gd name="connsiteY25" fmla="*/ 128849 h 603193"/>
                <a:gd name="connsiteX26" fmla="*/ 502734 w 604181"/>
                <a:gd name="connsiteY26" fmla="*/ 43149 h 603193"/>
                <a:gd name="connsiteX27" fmla="*/ 502734 w 604181"/>
                <a:gd name="connsiteY27" fmla="*/ 77309 h 603193"/>
                <a:gd name="connsiteX28" fmla="*/ 537100 w 604181"/>
                <a:gd name="connsiteY28" fmla="*/ 77309 h 603193"/>
                <a:gd name="connsiteX29" fmla="*/ 537100 w 604181"/>
                <a:gd name="connsiteY29" fmla="*/ 43149 h 603193"/>
                <a:gd name="connsiteX30" fmla="*/ 423197 w 604181"/>
                <a:gd name="connsiteY30" fmla="*/ 43149 h 603193"/>
                <a:gd name="connsiteX31" fmla="*/ 423197 w 604181"/>
                <a:gd name="connsiteY31" fmla="*/ 77309 h 603193"/>
                <a:gd name="connsiteX32" fmla="*/ 457563 w 604181"/>
                <a:gd name="connsiteY32" fmla="*/ 77309 h 603193"/>
                <a:gd name="connsiteX33" fmla="*/ 457563 w 604181"/>
                <a:gd name="connsiteY33" fmla="*/ 43149 h 603193"/>
                <a:gd name="connsiteX34" fmla="*/ 45921 w 604181"/>
                <a:gd name="connsiteY34" fmla="*/ 0 h 603193"/>
                <a:gd name="connsiteX35" fmla="*/ 558410 w 604181"/>
                <a:gd name="connsiteY35" fmla="*/ 0 h 603193"/>
                <a:gd name="connsiteX36" fmla="*/ 604181 w 604181"/>
                <a:gd name="connsiteY36" fmla="*/ 45846 h 603193"/>
                <a:gd name="connsiteX37" fmla="*/ 604181 w 604181"/>
                <a:gd name="connsiteY37" fmla="*/ 557497 h 603193"/>
                <a:gd name="connsiteX38" fmla="*/ 558410 w 604181"/>
                <a:gd name="connsiteY38" fmla="*/ 603193 h 603193"/>
                <a:gd name="connsiteX39" fmla="*/ 45921 w 604181"/>
                <a:gd name="connsiteY39" fmla="*/ 603193 h 603193"/>
                <a:gd name="connsiteX40" fmla="*/ 0 w 604181"/>
                <a:gd name="connsiteY40" fmla="*/ 557497 h 603193"/>
                <a:gd name="connsiteX41" fmla="*/ 0 w 604181"/>
                <a:gd name="connsiteY41" fmla="*/ 45846 h 603193"/>
                <a:gd name="connsiteX42" fmla="*/ 45921 w 604181"/>
                <a:gd name="connsiteY42" fmla="*/ 0 h 603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04181" h="603193">
                  <a:moveTo>
                    <a:pt x="380418" y="268007"/>
                  </a:moveTo>
                  <a:lnTo>
                    <a:pt x="519220" y="339187"/>
                  </a:lnTo>
                  <a:lnTo>
                    <a:pt x="519220" y="355820"/>
                  </a:lnTo>
                  <a:lnTo>
                    <a:pt x="380418" y="426850"/>
                  </a:lnTo>
                  <a:lnTo>
                    <a:pt x="380418" y="406320"/>
                  </a:lnTo>
                  <a:lnTo>
                    <a:pt x="498212" y="347728"/>
                  </a:lnTo>
                  <a:lnTo>
                    <a:pt x="498212" y="347129"/>
                  </a:lnTo>
                  <a:lnTo>
                    <a:pt x="380418" y="288687"/>
                  </a:lnTo>
                  <a:close/>
                  <a:moveTo>
                    <a:pt x="216565" y="268007"/>
                  </a:moveTo>
                  <a:lnTo>
                    <a:pt x="216565" y="288687"/>
                  </a:lnTo>
                  <a:lnTo>
                    <a:pt x="99664" y="347129"/>
                  </a:lnTo>
                  <a:lnTo>
                    <a:pt x="99664" y="347728"/>
                  </a:lnTo>
                  <a:lnTo>
                    <a:pt x="216565" y="406320"/>
                  </a:lnTo>
                  <a:lnTo>
                    <a:pt x="216565" y="426850"/>
                  </a:lnTo>
                  <a:lnTo>
                    <a:pt x="77904" y="355521"/>
                  </a:lnTo>
                  <a:lnTo>
                    <a:pt x="77904" y="339486"/>
                  </a:lnTo>
                  <a:close/>
                  <a:moveTo>
                    <a:pt x="338273" y="222493"/>
                  </a:moveTo>
                  <a:lnTo>
                    <a:pt x="358684" y="222493"/>
                  </a:lnTo>
                  <a:lnTo>
                    <a:pt x="253179" y="482103"/>
                  </a:lnTo>
                  <a:lnTo>
                    <a:pt x="233219" y="482103"/>
                  </a:lnTo>
                  <a:close/>
                  <a:moveTo>
                    <a:pt x="28813" y="128849"/>
                  </a:moveTo>
                  <a:lnTo>
                    <a:pt x="28813" y="557497"/>
                  </a:lnTo>
                  <a:cubicBezTo>
                    <a:pt x="28813" y="566786"/>
                    <a:pt x="36467" y="574427"/>
                    <a:pt x="45921" y="574427"/>
                  </a:cubicBezTo>
                  <a:lnTo>
                    <a:pt x="558410" y="574427"/>
                  </a:lnTo>
                  <a:cubicBezTo>
                    <a:pt x="567714" y="574427"/>
                    <a:pt x="575368" y="566786"/>
                    <a:pt x="575368" y="557497"/>
                  </a:cubicBezTo>
                  <a:lnTo>
                    <a:pt x="575368" y="128849"/>
                  </a:lnTo>
                  <a:close/>
                  <a:moveTo>
                    <a:pt x="502734" y="43149"/>
                  </a:moveTo>
                  <a:lnTo>
                    <a:pt x="502734" y="77309"/>
                  </a:lnTo>
                  <a:lnTo>
                    <a:pt x="537100" y="77309"/>
                  </a:lnTo>
                  <a:lnTo>
                    <a:pt x="537100" y="43149"/>
                  </a:lnTo>
                  <a:close/>
                  <a:moveTo>
                    <a:pt x="423197" y="43149"/>
                  </a:moveTo>
                  <a:lnTo>
                    <a:pt x="423197" y="77309"/>
                  </a:lnTo>
                  <a:lnTo>
                    <a:pt x="457563" y="77309"/>
                  </a:lnTo>
                  <a:lnTo>
                    <a:pt x="457563" y="43149"/>
                  </a:lnTo>
                  <a:close/>
                  <a:moveTo>
                    <a:pt x="45921" y="0"/>
                  </a:moveTo>
                  <a:lnTo>
                    <a:pt x="558410" y="0"/>
                  </a:lnTo>
                  <a:cubicBezTo>
                    <a:pt x="583621" y="0"/>
                    <a:pt x="604181" y="20526"/>
                    <a:pt x="604181" y="45846"/>
                  </a:cubicBezTo>
                  <a:lnTo>
                    <a:pt x="604181" y="557497"/>
                  </a:lnTo>
                  <a:cubicBezTo>
                    <a:pt x="604181" y="582667"/>
                    <a:pt x="583621" y="603193"/>
                    <a:pt x="558410" y="603193"/>
                  </a:cubicBezTo>
                  <a:lnTo>
                    <a:pt x="45921" y="603193"/>
                  </a:lnTo>
                  <a:cubicBezTo>
                    <a:pt x="20560" y="603193"/>
                    <a:pt x="0" y="582667"/>
                    <a:pt x="0" y="557497"/>
                  </a:cubicBezTo>
                  <a:lnTo>
                    <a:pt x="0" y="45846"/>
                  </a:lnTo>
                  <a:cubicBezTo>
                    <a:pt x="0" y="20526"/>
                    <a:pt x="20560" y="0"/>
                    <a:pt x="45921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4" name="îṣḻîḍé">
              <a:extLst>
                <a:ext uri="{FF2B5EF4-FFF2-40B4-BE49-F238E27FC236}">
                  <a16:creationId xmlns:a16="http://schemas.microsoft.com/office/drawing/2014/main" id="{716A4AAF-66FE-4462-901E-658C29D84AD8}"/>
                </a:ext>
              </a:extLst>
            </p:cNvPr>
            <p:cNvSpPr/>
            <p:nvPr/>
          </p:nvSpPr>
          <p:spPr bwMode="auto">
            <a:xfrm>
              <a:off x="1959174" y="5587283"/>
              <a:ext cx="377806" cy="377235"/>
            </a:xfrm>
            <a:custGeom>
              <a:avLst/>
              <a:gdLst>
                <a:gd name="T0" fmla="*/ 6624 w 7154"/>
                <a:gd name="T1" fmla="*/ 2037 h 7154"/>
                <a:gd name="T2" fmla="*/ 6106 w 7154"/>
                <a:gd name="T3" fmla="*/ 1048 h 7154"/>
                <a:gd name="T4" fmla="*/ 5117 w 7154"/>
                <a:gd name="T5" fmla="*/ 530 h 7154"/>
                <a:gd name="T6" fmla="*/ 4643 w 7154"/>
                <a:gd name="T7" fmla="*/ 334 h 7154"/>
                <a:gd name="T8" fmla="*/ 3577 w 7154"/>
                <a:gd name="T9" fmla="*/ 0 h 7154"/>
                <a:gd name="T10" fmla="*/ 2511 w 7154"/>
                <a:gd name="T11" fmla="*/ 334 h 7154"/>
                <a:gd name="T12" fmla="*/ 2037 w 7154"/>
                <a:gd name="T13" fmla="*/ 530 h 7154"/>
                <a:gd name="T14" fmla="*/ 1048 w 7154"/>
                <a:gd name="T15" fmla="*/ 1048 h 7154"/>
                <a:gd name="T16" fmla="*/ 530 w 7154"/>
                <a:gd name="T17" fmla="*/ 2037 h 7154"/>
                <a:gd name="T18" fmla="*/ 334 w 7154"/>
                <a:gd name="T19" fmla="*/ 2511 h 7154"/>
                <a:gd name="T20" fmla="*/ 0 w 7154"/>
                <a:gd name="T21" fmla="*/ 3577 h 7154"/>
                <a:gd name="T22" fmla="*/ 334 w 7154"/>
                <a:gd name="T23" fmla="*/ 4643 h 7154"/>
                <a:gd name="T24" fmla="*/ 530 w 7154"/>
                <a:gd name="T25" fmla="*/ 5117 h 7154"/>
                <a:gd name="T26" fmla="*/ 1048 w 7154"/>
                <a:gd name="T27" fmla="*/ 6106 h 7154"/>
                <a:gd name="T28" fmla="*/ 2037 w 7154"/>
                <a:gd name="T29" fmla="*/ 6624 h 7154"/>
                <a:gd name="T30" fmla="*/ 2511 w 7154"/>
                <a:gd name="T31" fmla="*/ 6820 h 7154"/>
                <a:gd name="T32" fmla="*/ 3577 w 7154"/>
                <a:gd name="T33" fmla="*/ 7154 h 7154"/>
                <a:gd name="T34" fmla="*/ 4643 w 7154"/>
                <a:gd name="T35" fmla="*/ 6820 h 7154"/>
                <a:gd name="T36" fmla="*/ 5117 w 7154"/>
                <a:gd name="T37" fmla="*/ 6624 h 7154"/>
                <a:gd name="T38" fmla="*/ 6106 w 7154"/>
                <a:gd name="T39" fmla="*/ 6106 h 7154"/>
                <a:gd name="T40" fmla="*/ 6624 w 7154"/>
                <a:gd name="T41" fmla="*/ 5117 h 7154"/>
                <a:gd name="T42" fmla="*/ 6820 w 7154"/>
                <a:gd name="T43" fmla="*/ 4643 h 7154"/>
                <a:gd name="T44" fmla="*/ 7154 w 7154"/>
                <a:gd name="T45" fmla="*/ 3577 h 7154"/>
                <a:gd name="T46" fmla="*/ 6820 w 7154"/>
                <a:gd name="T47" fmla="*/ 2511 h 7154"/>
                <a:gd name="T48" fmla="*/ 6624 w 7154"/>
                <a:gd name="T49" fmla="*/ 2037 h 7154"/>
                <a:gd name="T50" fmla="*/ 5857 w 7154"/>
                <a:gd name="T51" fmla="*/ 2406 h 7154"/>
                <a:gd name="T52" fmla="*/ 3286 w 7154"/>
                <a:gd name="T53" fmla="*/ 4976 h 7154"/>
                <a:gd name="T54" fmla="*/ 2875 w 7154"/>
                <a:gd name="T55" fmla="*/ 5387 h 7154"/>
                <a:gd name="T56" fmla="*/ 2464 w 7154"/>
                <a:gd name="T57" fmla="*/ 5387 h 7154"/>
                <a:gd name="T58" fmla="*/ 2053 w 7154"/>
                <a:gd name="T59" fmla="*/ 4976 h 7154"/>
                <a:gd name="T60" fmla="*/ 1297 w 7154"/>
                <a:gd name="T61" fmla="*/ 4221 h 7154"/>
                <a:gd name="T62" fmla="*/ 1297 w 7154"/>
                <a:gd name="T63" fmla="*/ 3809 h 7154"/>
                <a:gd name="T64" fmla="*/ 1708 w 7154"/>
                <a:gd name="T65" fmla="*/ 3398 h 7154"/>
                <a:gd name="T66" fmla="*/ 2120 w 7154"/>
                <a:gd name="T67" fmla="*/ 3398 h 7154"/>
                <a:gd name="T68" fmla="*/ 2669 w 7154"/>
                <a:gd name="T69" fmla="*/ 3948 h 7154"/>
                <a:gd name="T70" fmla="*/ 5034 w 7154"/>
                <a:gd name="T71" fmla="*/ 1583 h 7154"/>
                <a:gd name="T72" fmla="*/ 5445 w 7154"/>
                <a:gd name="T73" fmla="*/ 1583 h 7154"/>
                <a:gd name="T74" fmla="*/ 5857 w 7154"/>
                <a:gd name="T75" fmla="*/ 1994 h 7154"/>
                <a:gd name="T76" fmla="*/ 5857 w 7154"/>
                <a:gd name="T77" fmla="*/ 2406 h 7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154" h="7154">
                  <a:moveTo>
                    <a:pt x="6624" y="2037"/>
                  </a:moveTo>
                  <a:cubicBezTo>
                    <a:pt x="6580" y="1703"/>
                    <a:pt x="6403" y="1345"/>
                    <a:pt x="6106" y="1048"/>
                  </a:cubicBezTo>
                  <a:cubicBezTo>
                    <a:pt x="5809" y="751"/>
                    <a:pt x="5451" y="574"/>
                    <a:pt x="5117" y="530"/>
                  </a:cubicBezTo>
                  <a:cubicBezTo>
                    <a:pt x="4966" y="510"/>
                    <a:pt x="4764" y="427"/>
                    <a:pt x="4643" y="334"/>
                  </a:cubicBezTo>
                  <a:cubicBezTo>
                    <a:pt x="4375" y="128"/>
                    <a:pt x="3997" y="0"/>
                    <a:pt x="3577" y="0"/>
                  </a:cubicBezTo>
                  <a:cubicBezTo>
                    <a:pt x="3157" y="0"/>
                    <a:pt x="2779" y="128"/>
                    <a:pt x="2511" y="334"/>
                  </a:cubicBezTo>
                  <a:cubicBezTo>
                    <a:pt x="2390" y="427"/>
                    <a:pt x="2188" y="510"/>
                    <a:pt x="2037" y="530"/>
                  </a:cubicBezTo>
                  <a:cubicBezTo>
                    <a:pt x="1702" y="574"/>
                    <a:pt x="1345" y="751"/>
                    <a:pt x="1048" y="1048"/>
                  </a:cubicBezTo>
                  <a:cubicBezTo>
                    <a:pt x="751" y="1345"/>
                    <a:pt x="574" y="1703"/>
                    <a:pt x="530" y="2037"/>
                  </a:cubicBezTo>
                  <a:cubicBezTo>
                    <a:pt x="510" y="2188"/>
                    <a:pt x="427" y="2390"/>
                    <a:pt x="334" y="2511"/>
                  </a:cubicBezTo>
                  <a:cubicBezTo>
                    <a:pt x="128" y="2779"/>
                    <a:pt x="0" y="3157"/>
                    <a:pt x="0" y="3577"/>
                  </a:cubicBezTo>
                  <a:cubicBezTo>
                    <a:pt x="0" y="3997"/>
                    <a:pt x="128" y="4375"/>
                    <a:pt x="334" y="4643"/>
                  </a:cubicBezTo>
                  <a:cubicBezTo>
                    <a:pt x="427" y="4764"/>
                    <a:pt x="510" y="4966"/>
                    <a:pt x="530" y="5117"/>
                  </a:cubicBezTo>
                  <a:cubicBezTo>
                    <a:pt x="574" y="5451"/>
                    <a:pt x="751" y="5809"/>
                    <a:pt x="1048" y="6106"/>
                  </a:cubicBezTo>
                  <a:cubicBezTo>
                    <a:pt x="1345" y="6403"/>
                    <a:pt x="1702" y="6580"/>
                    <a:pt x="2037" y="6624"/>
                  </a:cubicBezTo>
                  <a:cubicBezTo>
                    <a:pt x="2188" y="6644"/>
                    <a:pt x="2390" y="6727"/>
                    <a:pt x="2511" y="6820"/>
                  </a:cubicBezTo>
                  <a:cubicBezTo>
                    <a:pt x="2779" y="7025"/>
                    <a:pt x="3157" y="7154"/>
                    <a:pt x="3577" y="7154"/>
                  </a:cubicBezTo>
                  <a:cubicBezTo>
                    <a:pt x="3997" y="7154"/>
                    <a:pt x="4375" y="7025"/>
                    <a:pt x="4643" y="6820"/>
                  </a:cubicBezTo>
                  <a:cubicBezTo>
                    <a:pt x="4764" y="6727"/>
                    <a:pt x="4966" y="6644"/>
                    <a:pt x="5117" y="6624"/>
                  </a:cubicBezTo>
                  <a:cubicBezTo>
                    <a:pt x="5451" y="6580"/>
                    <a:pt x="5809" y="6403"/>
                    <a:pt x="6106" y="6106"/>
                  </a:cubicBezTo>
                  <a:cubicBezTo>
                    <a:pt x="6403" y="5809"/>
                    <a:pt x="6580" y="5451"/>
                    <a:pt x="6624" y="5117"/>
                  </a:cubicBezTo>
                  <a:cubicBezTo>
                    <a:pt x="6644" y="4966"/>
                    <a:pt x="6727" y="4764"/>
                    <a:pt x="6820" y="4643"/>
                  </a:cubicBezTo>
                  <a:cubicBezTo>
                    <a:pt x="7026" y="4375"/>
                    <a:pt x="7154" y="3997"/>
                    <a:pt x="7154" y="3577"/>
                  </a:cubicBezTo>
                  <a:cubicBezTo>
                    <a:pt x="7154" y="3157"/>
                    <a:pt x="7026" y="2779"/>
                    <a:pt x="6820" y="2511"/>
                  </a:cubicBezTo>
                  <a:cubicBezTo>
                    <a:pt x="6727" y="2390"/>
                    <a:pt x="6644" y="2188"/>
                    <a:pt x="6624" y="2037"/>
                  </a:cubicBezTo>
                  <a:close/>
                  <a:moveTo>
                    <a:pt x="5857" y="2406"/>
                  </a:moveTo>
                  <a:lnTo>
                    <a:pt x="3286" y="4976"/>
                  </a:lnTo>
                  <a:lnTo>
                    <a:pt x="2875" y="5387"/>
                  </a:lnTo>
                  <a:cubicBezTo>
                    <a:pt x="2762" y="5501"/>
                    <a:pt x="2577" y="5501"/>
                    <a:pt x="2464" y="5387"/>
                  </a:cubicBezTo>
                  <a:lnTo>
                    <a:pt x="2053" y="4976"/>
                  </a:lnTo>
                  <a:lnTo>
                    <a:pt x="1297" y="4221"/>
                  </a:lnTo>
                  <a:cubicBezTo>
                    <a:pt x="1183" y="4107"/>
                    <a:pt x="1183" y="3923"/>
                    <a:pt x="1297" y="3809"/>
                  </a:cubicBezTo>
                  <a:lnTo>
                    <a:pt x="1708" y="3398"/>
                  </a:lnTo>
                  <a:cubicBezTo>
                    <a:pt x="1822" y="3285"/>
                    <a:pt x="2006" y="3285"/>
                    <a:pt x="2120" y="3398"/>
                  </a:cubicBezTo>
                  <a:lnTo>
                    <a:pt x="2669" y="3948"/>
                  </a:lnTo>
                  <a:lnTo>
                    <a:pt x="5034" y="1583"/>
                  </a:lnTo>
                  <a:cubicBezTo>
                    <a:pt x="5148" y="1470"/>
                    <a:pt x="5332" y="1470"/>
                    <a:pt x="5445" y="1583"/>
                  </a:cubicBezTo>
                  <a:lnTo>
                    <a:pt x="5857" y="1994"/>
                  </a:lnTo>
                  <a:cubicBezTo>
                    <a:pt x="5970" y="2108"/>
                    <a:pt x="5970" y="2292"/>
                    <a:pt x="5857" y="2406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5" name="iṧḷiḑé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743264" y="4276135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按分布模式进行配置</a:t>
              </a:r>
              <a:endParaRPr lang="en-US" altLang="zh-CN" sz="1100" dirty="0"/>
            </a:p>
          </p:txBody>
        </p:sp>
        <p:sp>
          <p:nvSpPr>
            <p:cNvPr id="216" name="îṧḻiḑe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197100" y="4926511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>
                  <a:solidFill>
                    <a:schemeClr val="bg1"/>
                  </a:solidFill>
                </a:rPr>
                <a:t>运行第一个实例</a:t>
              </a: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17" name="îṣľïd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2651098" y="5576887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开心</a:t>
              </a:r>
              <a:r>
                <a:rPr lang="en-US" altLang="zh-CN" sz="1100" dirty="0" err="1"/>
                <a:t>ing</a:t>
              </a:r>
              <a:r>
                <a:rPr lang="en-US" altLang="zh-CN" sz="1100" dirty="0"/>
                <a:t>~</a:t>
              </a:r>
            </a:p>
          </p:txBody>
        </p:sp>
        <p:sp>
          <p:nvSpPr>
            <p:cNvPr id="218" name="íṧ1îd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289201" y="3625759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 解压</a:t>
              </a:r>
              <a:endParaRPr lang="en-US" altLang="zh-CN" sz="1100" dirty="0"/>
            </a:p>
          </p:txBody>
        </p:sp>
        <p:sp>
          <p:nvSpPr>
            <p:cNvPr id="219" name="îs1ïḋ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842020" y="2975382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配置环境变量 使之生效</a:t>
              </a:r>
              <a:endParaRPr lang="en-US" altLang="zh-CN" sz="1100" dirty="0"/>
            </a:p>
          </p:txBody>
        </p:sp>
        <p:sp>
          <p:nvSpPr>
            <p:cNvPr id="220" name="íšliḓ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5387990" y="2325006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</a:t>
              </a:r>
              <a:r>
                <a:rPr lang="en-US" altLang="zh-CN" sz="1100" dirty="0"/>
                <a:t> </a:t>
              </a:r>
              <a:r>
                <a:rPr lang="zh-CN" altLang="en-US" sz="1100" dirty="0"/>
                <a:t>解压</a:t>
              </a:r>
              <a:endParaRPr lang="en-US" altLang="zh-CN" sz="1100" dirty="0"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653777F-C200-4DD9-896D-DFE3FC5A0E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794" y="132609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4097" name="Picture 1" descr="L:\Water\Documents\Tencent Files\1106367305\Image\C2C\S_~PNJLRA$(`BM~E~CRVP@6.jpg">
            <a:extLst>
              <a:ext uri="{FF2B5EF4-FFF2-40B4-BE49-F238E27FC236}">
                <a16:creationId xmlns:a16="http://schemas.microsoft.com/office/drawing/2014/main" id="{870A9B0F-80D3-4BB8-9E6D-5163109C031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2"/>
          <a:stretch>
            <a:fillRect/>
          </a:stretch>
        </p:blipFill>
        <p:spPr bwMode="auto">
          <a:xfrm>
            <a:off x="1092994" y="1284288"/>
            <a:ext cx="6958012" cy="4695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104D7166-3B85-4412-9659-285206FA2824}"/>
              </a:ext>
            </a:extLst>
          </p:cNvPr>
          <p:cNvSpPr/>
          <p:nvPr/>
        </p:nvSpPr>
        <p:spPr>
          <a:xfrm>
            <a:off x="1092994" y="2200275"/>
            <a:ext cx="6958012" cy="3779837"/>
          </a:xfrm>
          <a:prstGeom prst="rect">
            <a:avLst/>
          </a:prstGeom>
          <a:solidFill>
            <a:srgbClr val="2D0A2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734436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250">
        <p159:morph option="byObject"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>
            <a:extLst>
              <a:ext uri="{FF2B5EF4-FFF2-40B4-BE49-F238E27FC236}">
                <a16:creationId xmlns:a16="http://schemas.microsoft.com/office/drawing/2014/main" id="{966613C7-E84C-43AA-A4DB-C7D5501BFF46}"/>
              </a:ext>
            </a:extLst>
          </p:cNvPr>
          <p:cNvGrpSpPr/>
          <p:nvPr/>
        </p:nvGrpSpPr>
        <p:grpSpPr>
          <a:xfrm>
            <a:off x="3557588" y="1453475"/>
            <a:ext cx="2028825" cy="897308"/>
            <a:chOff x="1112462" y="1546057"/>
            <a:chExt cx="2028825" cy="897308"/>
          </a:xfrm>
        </p:grpSpPr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6EDFB08A-F515-442A-A04F-49CC15354E6B}"/>
                </a:ext>
              </a:extLst>
            </p:cNvPr>
            <p:cNvGrpSpPr/>
            <p:nvPr/>
          </p:nvGrpSpPr>
          <p:grpSpPr>
            <a:xfrm>
              <a:off x="1112462" y="1546057"/>
              <a:ext cx="2028825" cy="897308"/>
              <a:chOff x="1206466" y="2225304"/>
              <a:chExt cx="2028825" cy="897308"/>
            </a:xfrm>
          </p:grpSpPr>
          <p:sp>
            <p:nvSpPr>
              <p:cNvPr id="5" name="矩形: 圆角 4">
                <a:extLst>
                  <a:ext uri="{FF2B5EF4-FFF2-40B4-BE49-F238E27FC236}">
                    <a16:creationId xmlns:a16="http://schemas.microsoft.com/office/drawing/2014/main" id="{9BFFD150-1DFB-4EC0-B868-C84FBB6CAD81}"/>
                  </a:ext>
                </a:extLst>
              </p:cNvPr>
              <p:cNvSpPr/>
              <p:nvPr/>
            </p:nvSpPr>
            <p:spPr>
              <a:xfrm>
                <a:off x="1206466" y="2225304"/>
                <a:ext cx="2028825" cy="897308"/>
              </a:xfrm>
              <a:prstGeom prst="round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74064CE7-7844-4E24-9F35-1B66F369FDE1}"/>
                  </a:ext>
                </a:extLst>
              </p:cNvPr>
              <p:cNvSpPr txBox="1"/>
              <p:nvPr/>
            </p:nvSpPr>
            <p:spPr>
              <a:xfrm>
                <a:off x="1989160" y="2468928"/>
                <a:ext cx="1225521" cy="3693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2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en-US" altLang="zh-CN" dirty="0">
                    <a:solidFill>
                      <a:schemeClr val="accent1"/>
                    </a:solidFill>
                  </a:rPr>
                  <a:t>1.txt</a:t>
                </a:r>
                <a:endParaRPr lang="zh-CN" altLang="en-US" dirty="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8" name="txt_180898">
              <a:extLst>
                <a:ext uri="{FF2B5EF4-FFF2-40B4-BE49-F238E27FC236}">
                  <a16:creationId xmlns:a16="http://schemas.microsoft.com/office/drawing/2014/main" id="{5F11913E-C3DB-4598-A626-109DC1219D8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389945" y="1689869"/>
              <a:ext cx="484602" cy="609685"/>
            </a:xfrm>
            <a:custGeom>
              <a:avLst/>
              <a:gdLst>
                <a:gd name="connsiteX0" fmla="*/ 289671 w 482808"/>
                <a:gd name="connsiteY0" fmla="*/ 445479 h 607427"/>
                <a:gd name="connsiteX1" fmla="*/ 359107 w 482808"/>
                <a:gd name="connsiteY1" fmla="*/ 445479 h 607427"/>
                <a:gd name="connsiteX2" fmla="*/ 359107 w 482808"/>
                <a:gd name="connsiteY2" fmla="*/ 465674 h 607427"/>
                <a:gd name="connsiteX3" fmla="*/ 336870 w 482808"/>
                <a:gd name="connsiteY3" fmla="*/ 465674 h 607427"/>
                <a:gd name="connsiteX4" fmla="*/ 336870 w 482808"/>
                <a:gd name="connsiteY4" fmla="*/ 537143 h 607427"/>
                <a:gd name="connsiteX5" fmla="*/ 312051 w 482808"/>
                <a:gd name="connsiteY5" fmla="*/ 537143 h 607427"/>
                <a:gd name="connsiteX6" fmla="*/ 312051 w 482808"/>
                <a:gd name="connsiteY6" fmla="*/ 465674 h 607427"/>
                <a:gd name="connsiteX7" fmla="*/ 289671 w 482808"/>
                <a:gd name="connsiteY7" fmla="*/ 465674 h 607427"/>
                <a:gd name="connsiteX8" fmla="*/ 195635 w 482808"/>
                <a:gd name="connsiteY8" fmla="*/ 445479 h 607427"/>
                <a:gd name="connsiteX9" fmla="*/ 223010 w 482808"/>
                <a:gd name="connsiteY9" fmla="*/ 445479 h 607427"/>
                <a:gd name="connsiteX10" fmla="*/ 239635 w 482808"/>
                <a:gd name="connsiteY10" fmla="*/ 473838 h 607427"/>
                <a:gd name="connsiteX11" fmla="*/ 255544 w 482808"/>
                <a:gd name="connsiteY11" fmla="*/ 445479 h 607427"/>
                <a:gd name="connsiteX12" fmla="*/ 283778 w 482808"/>
                <a:gd name="connsiteY12" fmla="*/ 445479 h 607427"/>
                <a:gd name="connsiteX13" fmla="*/ 254827 w 482808"/>
                <a:gd name="connsiteY13" fmla="*/ 492170 h 607427"/>
                <a:gd name="connsiteX14" fmla="*/ 286071 w 482808"/>
                <a:gd name="connsiteY14" fmla="*/ 537143 h 607427"/>
                <a:gd name="connsiteX15" fmla="*/ 257407 w 482808"/>
                <a:gd name="connsiteY15" fmla="*/ 537143 h 607427"/>
                <a:gd name="connsiteX16" fmla="*/ 239492 w 482808"/>
                <a:gd name="connsiteY16" fmla="*/ 508498 h 607427"/>
                <a:gd name="connsiteX17" fmla="*/ 221863 w 482808"/>
                <a:gd name="connsiteY17" fmla="*/ 537143 h 607427"/>
                <a:gd name="connsiteX18" fmla="*/ 193772 w 482808"/>
                <a:gd name="connsiteY18" fmla="*/ 537143 h 607427"/>
                <a:gd name="connsiteX19" fmla="*/ 224156 w 482808"/>
                <a:gd name="connsiteY19" fmla="*/ 490165 h 607427"/>
                <a:gd name="connsiteX20" fmla="*/ 120737 w 482808"/>
                <a:gd name="connsiteY20" fmla="*/ 445479 h 607427"/>
                <a:gd name="connsiteX21" fmla="*/ 190314 w 482808"/>
                <a:gd name="connsiteY21" fmla="*/ 445479 h 607427"/>
                <a:gd name="connsiteX22" fmla="*/ 190314 w 482808"/>
                <a:gd name="connsiteY22" fmla="*/ 465674 h 607427"/>
                <a:gd name="connsiteX23" fmla="*/ 167935 w 482808"/>
                <a:gd name="connsiteY23" fmla="*/ 465674 h 607427"/>
                <a:gd name="connsiteX24" fmla="*/ 167935 w 482808"/>
                <a:gd name="connsiteY24" fmla="*/ 537143 h 607427"/>
                <a:gd name="connsiteX25" fmla="*/ 143116 w 482808"/>
                <a:gd name="connsiteY25" fmla="*/ 537143 h 607427"/>
                <a:gd name="connsiteX26" fmla="*/ 143116 w 482808"/>
                <a:gd name="connsiteY26" fmla="*/ 465674 h 607427"/>
                <a:gd name="connsiteX27" fmla="*/ 120737 w 482808"/>
                <a:gd name="connsiteY27" fmla="*/ 465674 h 607427"/>
                <a:gd name="connsiteX28" fmla="*/ 129064 w 482808"/>
                <a:gd name="connsiteY28" fmla="*/ 329823 h 607427"/>
                <a:gd name="connsiteX29" fmla="*/ 223692 w 482808"/>
                <a:gd name="connsiteY29" fmla="*/ 329823 h 607427"/>
                <a:gd name="connsiteX30" fmla="*/ 223692 w 482808"/>
                <a:gd name="connsiteY30" fmla="*/ 358473 h 607427"/>
                <a:gd name="connsiteX31" fmla="*/ 129064 w 482808"/>
                <a:gd name="connsiteY31" fmla="*/ 358473 h 607427"/>
                <a:gd name="connsiteX32" fmla="*/ 129064 w 482808"/>
                <a:gd name="connsiteY32" fmla="*/ 282756 h 607427"/>
                <a:gd name="connsiteX33" fmla="*/ 334550 w 482808"/>
                <a:gd name="connsiteY33" fmla="*/ 282756 h 607427"/>
                <a:gd name="connsiteX34" fmla="*/ 334550 w 482808"/>
                <a:gd name="connsiteY34" fmla="*/ 311335 h 607427"/>
                <a:gd name="connsiteX35" fmla="*/ 129064 w 482808"/>
                <a:gd name="connsiteY35" fmla="*/ 311335 h 607427"/>
                <a:gd name="connsiteX36" fmla="*/ 129064 w 482808"/>
                <a:gd name="connsiteY36" fmla="*/ 235759 h 607427"/>
                <a:gd name="connsiteX37" fmla="*/ 353744 w 482808"/>
                <a:gd name="connsiteY37" fmla="*/ 235759 h 607427"/>
                <a:gd name="connsiteX38" fmla="*/ 353744 w 482808"/>
                <a:gd name="connsiteY38" fmla="*/ 264409 h 607427"/>
                <a:gd name="connsiteX39" fmla="*/ 129064 w 482808"/>
                <a:gd name="connsiteY39" fmla="*/ 264409 h 607427"/>
                <a:gd name="connsiteX40" fmla="*/ 129064 w 482808"/>
                <a:gd name="connsiteY40" fmla="*/ 188692 h 607427"/>
                <a:gd name="connsiteX41" fmla="*/ 286213 w 482808"/>
                <a:gd name="connsiteY41" fmla="*/ 188692 h 607427"/>
                <a:gd name="connsiteX42" fmla="*/ 286213 w 482808"/>
                <a:gd name="connsiteY42" fmla="*/ 217342 h 607427"/>
                <a:gd name="connsiteX43" fmla="*/ 129064 w 482808"/>
                <a:gd name="connsiteY43" fmla="*/ 217342 h 607427"/>
                <a:gd name="connsiteX44" fmla="*/ 129064 w 482808"/>
                <a:gd name="connsiteY44" fmla="*/ 141695 h 607427"/>
                <a:gd name="connsiteX45" fmla="*/ 353744 w 482808"/>
                <a:gd name="connsiteY45" fmla="*/ 141695 h 607427"/>
                <a:gd name="connsiteX46" fmla="*/ 353744 w 482808"/>
                <a:gd name="connsiteY46" fmla="*/ 170345 h 607427"/>
                <a:gd name="connsiteX47" fmla="*/ 129064 w 482808"/>
                <a:gd name="connsiteY47" fmla="*/ 170345 h 607427"/>
                <a:gd name="connsiteX48" fmla="*/ 28679 w 482808"/>
                <a:gd name="connsiteY48" fmla="*/ 76877 h 607427"/>
                <a:gd name="connsiteX49" fmla="*/ 28679 w 482808"/>
                <a:gd name="connsiteY49" fmla="*/ 578795 h 607427"/>
                <a:gd name="connsiteX50" fmla="*/ 454129 w 482808"/>
                <a:gd name="connsiteY50" fmla="*/ 578795 h 607427"/>
                <a:gd name="connsiteX51" fmla="*/ 454129 w 482808"/>
                <a:gd name="connsiteY51" fmla="*/ 125122 h 607427"/>
                <a:gd name="connsiteX52" fmla="*/ 371821 w 482808"/>
                <a:gd name="connsiteY52" fmla="*/ 125122 h 607427"/>
                <a:gd name="connsiteX53" fmla="*/ 357482 w 482808"/>
                <a:gd name="connsiteY53" fmla="*/ 110806 h 607427"/>
                <a:gd name="connsiteX54" fmla="*/ 357482 w 482808"/>
                <a:gd name="connsiteY54" fmla="*/ 76877 h 607427"/>
                <a:gd name="connsiteX55" fmla="*/ 386160 w 482808"/>
                <a:gd name="connsiteY55" fmla="*/ 48817 h 607427"/>
                <a:gd name="connsiteX56" fmla="*/ 386160 w 482808"/>
                <a:gd name="connsiteY56" fmla="*/ 96490 h 607427"/>
                <a:gd name="connsiteX57" fmla="*/ 433767 w 482808"/>
                <a:gd name="connsiteY57" fmla="*/ 96490 h 607427"/>
                <a:gd name="connsiteX58" fmla="*/ 28679 w 482808"/>
                <a:gd name="connsiteY58" fmla="*/ 28632 h 607427"/>
                <a:gd name="connsiteX59" fmla="*/ 28679 w 482808"/>
                <a:gd name="connsiteY59" fmla="*/ 48245 h 607427"/>
                <a:gd name="connsiteX60" fmla="*/ 357482 w 482808"/>
                <a:gd name="connsiteY60" fmla="*/ 48245 h 607427"/>
                <a:gd name="connsiteX61" fmla="*/ 357482 w 482808"/>
                <a:gd name="connsiteY61" fmla="*/ 28632 h 607427"/>
                <a:gd name="connsiteX62" fmla="*/ 14339 w 482808"/>
                <a:gd name="connsiteY62" fmla="*/ 0 h 607427"/>
                <a:gd name="connsiteX63" fmla="*/ 371821 w 482808"/>
                <a:gd name="connsiteY63" fmla="*/ 0 h 607427"/>
                <a:gd name="connsiteX64" fmla="*/ 382002 w 482808"/>
                <a:gd name="connsiteY64" fmla="*/ 4152 h 607427"/>
                <a:gd name="connsiteX65" fmla="*/ 478506 w 482808"/>
                <a:gd name="connsiteY65" fmla="*/ 100641 h 607427"/>
                <a:gd name="connsiteX66" fmla="*/ 482808 w 482808"/>
                <a:gd name="connsiteY66" fmla="*/ 110806 h 607427"/>
                <a:gd name="connsiteX67" fmla="*/ 482808 w 482808"/>
                <a:gd name="connsiteY67" fmla="*/ 593111 h 607427"/>
                <a:gd name="connsiteX68" fmla="*/ 468469 w 482808"/>
                <a:gd name="connsiteY68" fmla="*/ 607427 h 607427"/>
                <a:gd name="connsiteX69" fmla="*/ 14339 w 482808"/>
                <a:gd name="connsiteY69" fmla="*/ 607427 h 607427"/>
                <a:gd name="connsiteX70" fmla="*/ 0 w 482808"/>
                <a:gd name="connsiteY70" fmla="*/ 593111 h 607427"/>
                <a:gd name="connsiteX71" fmla="*/ 0 w 482808"/>
                <a:gd name="connsiteY71" fmla="*/ 14316 h 607427"/>
                <a:gd name="connsiteX72" fmla="*/ 14339 w 482808"/>
                <a:gd name="connsiteY72" fmla="*/ 0 h 607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482808" h="607427">
                  <a:moveTo>
                    <a:pt x="289671" y="445479"/>
                  </a:moveTo>
                  <a:lnTo>
                    <a:pt x="359107" y="445479"/>
                  </a:lnTo>
                  <a:lnTo>
                    <a:pt x="359107" y="465674"/>
                  </a:lnTo>
                  <a:lnTo>
                    <a:pt x="336870" y="465674"/>
                  </a:lnTo>
                  <a:lnTo>
                    <a:pt x="336870" y="537143"/>
                  </a:lnTo>
                  <a:lnTo>
                    <a:pt x="312051" y="537143"/>
                  </a:lnTo>
                  <a:lnTo>
                    <a:pt x="312051" y="465674"/>
                  </a:lnTo>
                  <a:lnTo>
                    <a:pt x="289671" y="465674"/>
                  </a:lnTo>
                  <a:close/>
                  <a:moveTo>
                    <a:pt x="195635" y="445479"/>
                  </a:moveTo>
                  <a:lnTo>
                    <a:pt x="223010" y="445479"/>
                  </a:lnTo>
                  <a:lnTo>
                    <a:pt x="239635" y="473838"/>
                  </a:lnTo>
                  <a:lnTo>
                    <a:pt x="255544" y="445479"/>
                  </a:lnTo>
                  <a:lnTo>
                    <a:pt x="283778" y="445479"/>
                  </a:lnTo>
                  <a:lnTo>
                    <a:pt x="254827" y="492170"/>
                  </a:lnTo>
                  <a:lnTo>
                    <a:pt x="286071" y="537143"/>
                  </a:lnTo>
                  <a:lnTo>
                    <a:pt x="257407" y="537143"/>
                  </a:lnTo>
                  <a:lnTo>
                    <a:pt x="239492" y="508498"/>
                  </a:lnTo>
                  <a:lnTo>
                    <a:pt x="221863" y="537143"/>
                  </a:lnTo>
                  <a:lnTo>
                    <a:pt x="193772" y="537143"/>
                  </a:lnTo>
                  <a:lnTo>
                    <a:pt x="224156" y="490165"/>
                  </a:lnTo>
                  <a:close/>
                  <a:moveTo>
                    <a:pt x="120737" y="445479"/>
                  </a:moveTo>
                  <a:lnTo>
                    <a:pt x="190314" y="445479"/>
                  </a:lnTo>
                  <a:lnTo>
                    <a:pt x="190314" y="465674"/>
                  </a:lnTo>
                  <a:lnTo>
                    <a:pt x="167935" y="465674"/>
                  </a:lnTo>
                  <a:lnTo>
                    <a:pt x="167935" y="537143"/>
                  </a:lnTo>
                  <a:lnTo>
                    <a:pt x="143116" y="537143"/>
                  </a:lnTo>
                  <a:lnTo>
                    <a:pt x="143116" y="465674"/>
                  </a:lnTo>
                  <a:lnTo>
                    <a:pt x="120737" y="465674"/>
                  </a:lnTo>
                  <a:close/>
                  <a:moveTo>
                    <a:pt x="129064" y="329823"/>
                  </a:moveTo>
                  <a:lnTo>
                    <a:pt x="223692" y="329823"/>
                  </a:lnTo>
                  <a:lnTo>
                    <a:pt x="223692" y="358473"/>
                  </a:lnTo>
                  <a:lnTo>
                    <a:pt x="129064" y="358473"/>
                  </a:lnTo>
                  <a:close/>
                  <a:moveTo>
                    <a:pt x="129064" y="282756"/>
                  </a:moveTo>
                  <a:lnTo>
                    <a:pt x="334550" y="282756"/>
                  </a:lnTo>
                  <a:lnTo>
                    <a:pt x="334550" y="311335"/>
                  </a:lnTo>
                  <a:lnTo>
                    <a:pt x="129064" y="311335"/>
                  </a:lnTo>
                  <a:close/>
                  <a:moveTo>
                    <a:pt x="129064" y="235759"/>
                  </a:moveTo>
                  <a:lnTo>
                    <a:pt x="353744" y="235759"/>
                  </a:lnTo>
                  <a:lnTo>
                    <a:pt x="353744" y="264409"/>
                  </a:lnTo>
                  <a:lnTo>
                    <a:pt x="129064" y="264409"/>
                  </a:lnTo>
                  <a:close/>
                  <a:moveTo>
                    <a:pt x="129064" y="188692"/>
                  </a:moveTo>
                  <a:lnTo>
                    <a:pt x="286213" y="188692"/>
                  </a:lnTo>
                  <a:lnTo>
                    <a:pt x="286213" y="217342"/>
                  </a:lnTo>
                  <a:lnTo>
                    <a:pt x="129064" y="217342"/>
                  </a:lnTo>
                  <a:close/>
                  <a:moveTo>
                    <a:pt x="129064" y="141695"/>
                  </a:moveTo>
                  <a:lnTo>
                    <a:pt x="353744" y="141695"/>
                  </a:lnTo>
                  <a:lnTo>
                    <a:pt x="353744" y="170345"/>
                  </a:lnTo>
                  <a:lnTo>
                    <a:pt x="129064" y="170345"/>
                  </a:lnTo>
                  <a:close/>
                  <a:moveTo>
                    <a:pt x="28679" y="76877"/>
                  </a:moveTo>
                  <a:lnTo>
                    <a:pt x="28679" y="578795"/>
                  </a:lnTo>
                  <a:lnTo>
                    <a:pt x="454129" y="578795"/>
                  </a:lnTo>
                  <a:lnTo>
                    <a:pt x="454129" y="125122"/>
                  </a:lnTo>
                  <a:lnTo>
                    <a:pt x="371821" y="125122"/>
                  </a:lnTo>
                  <a:cubicBezTo>
                    <a:pt x="363934" y="125122"/>
                    <a:pt x="357482" y="118679"/>
                    <a:pt x="357482" y="110806"/>
                  </a:cubicBezTo>
                  <a:lnTo>
                    <a:pt x="357482" y="76877"/>
                  </a:lnTo>
                  <a:close/>
                  <a:moveTo>
                    <a:pt x="386160" y="48817"/>
                  </a:moveTo>
                  <a:lnTo>
                    <a:pt x="386160" y="96490"/>
                  </a:lnTo>
                  <a:lnTo>
                    <a:pt x="433767" y="96490"/>
                  </a:lnTo>
                  <a:close/>
                  <a:moveTo>
                    <a:pt x="28679" y="28632"/>
                  </a:moveTo>
                  <a:lnTo>
                    <a:pt x="28679" y="48245"/>
                  </a:lnTo>
                  <a:lnTo>
                    <a:pt x="357482" y="48245"/>
                  </a:lnTo>
                  <a:lnTo>
                    <a:pt x="357482" y="28632"/>
                  </a:lnTo>
                  <a:close/>
                  <a:moveTo>
                    <a:pt x="14339" y="0"/>
                  </a:moveTo>
                  <a:lnTo>
                    <a:pt x="371821" y="0"/>
                  </a:lnTo>
                  <a:cubicBezTo>
                    <a:pt x="375549" y="0"/>
                    <a:pt x="379278" y="1575"/>
                    <a:pt x="382002" y="4152"/>
                  </a:cubicBezTo>
                  <a:lnTo>
                    <a:pt x="478506" y="100641"/>
                  </a:lnTo>
                  <a:cubicBezTo>
                    <a:pt x="481231" y="103361"/>
                    <a:pt x="482808" y="106940"/>
                    <a:pt x="482808" y="110806"/>
                  </a:cubicBezTo>
                  <a:lnTo>
                    <a:pt x="482808" y="593111"/>
                  </a:lnTo>
                  <a:cubicBezTo>
                    <a:pt x="482808" y="600985"/>
                    <a:pt x="476355" y="607427"/>
                    <a:pt x="468469" y="607427"/>
                  </a:cubicBezTo>
                  <a:lnTo>
                    <a:pt x="14339" y="607427"/>
                  </a:lnTo>
                  <a:cubicBezTo>
                    <a:pt x="6453" y="607427"/>
                    <a:pt x="0" y="600985"/>
                    <a:pt x="0" y="593111"/>
                  </a:cubicBezTo>
                  <a:lnTo>
                    <a:pt x="0" y="14316"/>
                  </a:lnTo>
                  <a:cubicBezTo>
                    <a:pt x="0" y="6442"/>
                    <a:pt x="6453" y="0"/>
                    <a:pt x="1433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727979A8-1BA4-463A-9A84-4A70CC52EF6B}"/>
              </a:ext>
            </a:extLst>
          </p:cNvPr>
          <p:cNvGrpSpPr/>
          <p:nvPr/>
        </p:nvGrpSpPr>
        <p:grpSpPr>
          <a:xfrm>
            <a:off x="3557588" y="3183546"/>
            <a:ext cx="2028825" cy="897308"/>
            <a:chOff x="1112462" y="1546057"/>
            <a:chExt cx="2028825" cy="897308"/>
          </a:xfrm>
        </p:grpSpPr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55C61EF9-6EEC-4865-BFDE-04C257CB7FDB}"/>
                </a:ext>
              </a:extLst>
            </p:cNvPr>
            <p:cNvGrpSpPr/>
            <p:nvPr/>
          </p:nvGrpSpPr>
          <p:grpSpPr>
            <a:xfrm>
              <a:off x="1112462" y="1546057"/>
              <a:ext cx="2028825" cy="897308"/>
              <a:chOff x="1206466" y="2225304"/>
              <a:chExt cx="2028825" cy="897308"/>
            </a:xfrm>
          </p:grpSpPr>
          <p:sp>
            <p:nvSpPr>
              <p:cNvPr id="25" name="矩形: 圆角 24">
                <a:extLst>
                  <a:ext uri="{FF2B5EF4-FFF2-40B4-BE49-F238E27FC236}">
                    <a16:creationId xmlns:a16="http://schemas.microsoft.com/office/drawing/2014/main" id="{9EB1461F-3059-48FF-AC43-5E6AA71994EC}"/>
                  </a:ext>
                </a:extLst>
              </p:cNvPr>
              <p:cNvSpPr/>
              <p:nvPr/>
            </p:nvSpPr>
            <p:spPr>
              <a:xfrm>
                <a:off x="1206466" y="2225304"/>
                <a:ext cx="2028825" cy="897308"/>
              </a:xfrm>
              <a:prstGeom prst="round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26" name="文本框 25">
                <a:extLst>
                  <a:ext uri="{FF2B5EF4-FFF2-40B4-BE49-F238E27FC236}">
                    <a16:creationId xmlns:a16="http://schemas.microsoft.com/office/drawing/2014/main" id="{866799B6-4D4B-4945-851B-8A3B725DBA1C}"/>
                  </a:ext>
                </a:extLst>
              </p:cNvPr>
              <p:cNvSpPr txBox="1"/>
              <p:nvPr/>
            </p:nvSpPr>
            <p:spPr>
              <a:xfrm>
                <a:off x="1989160" y="2468928"/>
                <a:ext cx="1225521" cy="3693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2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en-US" altLang="zh-CN" dirty="0">
                    <a:solidFill>
                      <a:schemeClr val="accent1"/>
                    </a:solidFill>
                  </a:rPr>
                  <a:t>2.txt</a:t>
                </a:r>
                <a:endParaRPr lang="zh-CN" altLang="en-US" dirty="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24" name="txt_180898">
              <a:extLst>
                <a:ext uri="{FF2B5EF4-FFF2-40B4-BE49-F238E27FC236}">
                  <a16:creationId xmlns:a16="http://schemas.microsoft.com/office/drawing/2014/main" id="{7F22C685-B0C5-4281-B44E-1453F5B6336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389945" y="1689869"/>
              <a:ext cx="484602" cy="609685"/>
            </a:xfrm>
            <a:custGeom>
              <a:avLst/>
              <a:gdLst>
                <a:gd name="connsiteX0" fmla="*/ 289671 w 482808"/>
                <a:gd name="connsiteY0" fmla="*/ 445479 h 607427"/>
                <a:gd name="connsiteX1" fmla="*/ 359107 w 482808"/>
                <a:gd name="connsiteY1" fmla="*/ 445479 h 607427"/>
                <a:gd name="connsiteX2" fmla="*/ 359107 w 482808"/>
                <a:gd name="connsiteY2" fmla="*/ 465674 h 607427"/>
                <a:gd name="connsiteX3" fmla="*/ 336870 w 482808"/>
                <a:gd name="connsiteY3" fmla="*/ 465674 h 607427"/>
                <a:gd name="connsiteX4" fmla="*/ 336870 w 482808"/>
                <a:gd name="connsiteY4" fmla="*/ 537143 h 607427"/>
                <a:gd name="connsiteX5" fmla="*/ 312051 w 482808"/>
                <a:gd name="connsiteY5" fmla="*/ 537143 h 607427"/>
                <a:gd name="connsiteX6" fmla="*/ 312051 w 482808"/>
                <a:gd name="connsiteY6" fmla="*/ 465674 h 607427"/>
                <a:gd name="connsiteX7" fmla="*/ 289671 w 482808"/>
                <a:gd name="connsiteY7" fmla="*/ 465674 h 607427"/>
                <a:gd name="connsiteX8" fmla="*/ 195635 w 482808"/>
                <a:gd name="connsiteY8" fmla="*/ 445479 h 607427"/>
                <a:gd name="connsiteX9" fmla="*/ 223010 w 482808"/>
                <a:gd name="connsiteY9" fmla="*/ 445479 h 607427"/>
                <a:gd name="connsiteX10" fmla="*/ 239635 w 482808"/>
                <a:gd name="connsiteY10" fmla="*/ 473838 h 607427"/>
                <a:gd name="connsiteX11" fmla="*/ 255544 w 482808"/>
                <a:gd name="connsiteY11" fmla="*/ 445479 h 607427"/>
                <a:gd name="connsiteX12" fmla="*/ 283778 w 482808"/>
                <a:gd name="connsiteY12" fmla="*/ 445479 h 607427"/>
                <a:gd name="connsiteX13" fmla="*/ 254827 w 482808"/>
                <a:gd name="connsiteY13" fmla="*/ 492170 h 607427"/>
                <a:gd name="connsiteX14" fmla="*/ 286071 w 482808"/>
                <a:gd name="connsiteY14" fmla="*/ 537143 h 607427"/>
                <a:gd name="connsiteX15" fmla="*/ 257407 w 482808"/>
                <a:gd name="connsiteY15" fmla="*/ 537143 h 607427"/>
                <a:gd name="connsiteX16" fmla="*/ 239492 w 482808"/>
                <a:gd name="connsiteY16" fmla="*/ 508498 h 607427"/>
                <a:gd name="connsiteX17" fmla="*/ 221863 w 482808"/>
                <a:gd name="connsiteY17" fmla="*/ 537143 h 607427"/>
                <a:gd name="connsiteX18" fmla="*/ 193772 w 482808"/>
                <a:gd name="connsiteY18" fmla="*/ 537143 h 607427"/>
                <a:gd name="connsiteX19" fmla="*/ 224156 w 482808"/>
                <a:gd name="connsiteY19" fmla="*/ 490165 h 607427"/>
                <a:gd name="connsiteX20" fmla="*/ 120737 w 482808"/>
                <a:gd name="connsiteY20" fmla="*/ 445479 h 607427"/>
                <a:gd name="connsiteX21" fmla="*/ 190314 w 482808"/>
                <a:gd name="connsiteY21" fmla="*/ 445479 h 607427"/>
                <a:gd name="connsiteX22" fmla="*/ 190314 w 482808"/>
                <a:gd name="connsiteY22" fmla="*/ 465674 h 607427"/>
                <a:gd name="connsiteX23" fmla="*/ 167935 w 482808"/>
                <a:gd name="connsiteY23" fmla="*/ 465674 h 607427"/>
                <a:gd name="connsiteX24" fmla="*/ 167935 w 482808"/>
                <a:gd name="connsiteY24" fmla="*/ 537143 h 607427"/>
                <a:gd name="connsiteX25" fmla="*/ 143116 w 482808"/>
                <a:gd name="connsiteY25" fmla="*/ 537143 h 607427"/>
                <a:gd name="connsiteX26" fmla="*/ 143116 w 482808"/>
                <a:gd name="connsiteY26" fmla="*/ 465674 h 607427"/>
                <a:gd name="connsiteX27" fmla="*/ 120737 w 482808"/>
                <a:gd name="connsiteY27" fmla="*/ 465674 h 607427"/>
                <a:gd name="connsiteX28" fmla="*/ 129064 w 482808"/>
                <a:gd name="connsiteY28" fmla="*/ 329823 h 607427"/>
                <a:gd name="connsiteX29" fmla="*/ 223692 w 482808"/>
                <a:gd name="connsiteY29" fmla="*/ 329823 h 607427"/>
                <a:gd name="connsiteX30" fmla="*/ 223692 w 482808"/>
                <a:gd name="connsiteY30" fmla="*/ 358473 h 607427"/>
                <a:gd name="connsiteX31" fmla="*/ 129064 w 482808"/>
                <a:gd name="connsiteY31" fmla="*/ 358473 h 607427"/>
                <a:gd name="connsiteX32" fmla="*/ 129064 w 482808"/>
                <a:gd name="connsiteY32" fmla="*/ 282756 h 607427"/>
                <a:gd name="connsiteX33" fmla="*/ 334550 w 482808"/>
                <a:gd name="connsiteY33" fmla="*/ 282756 h 607427"/>
                <a:gd name="connsiteX34" fmla="*/ 334550 w 482808"/>
                <a:gd name="connsiteY34" fmla="*/ 311335 h 607427"/>
                <a:gd name="connsiteX35" fmla="*/ 129064 w 482808"/>
                <a:gd name="connsiteY35" fmla="*/ 311335 h 607427"/>
                <a:gd name="connsiteX36" fmla="*/ 129064 w 482808"/>
                <a:gd name="connsiteY36" fmla="*/ 235759 h 607427"/>
                <a:gd name="connsiteX37" fmla="*/ 353744 w 482808"/>
                <a:gd name="connsiteY37" fmla="*/ 235759 h 607427"/>
                <a:gd name="connsiteX38" fmla="*/ 353744 w 482808"/>
                <a:gd name="connsiteY38" fmla="*/ 264409 h 607427"/>
                <a:gd name="connsiteX39" fmla="*/ 129064 w 482808"/>
                <a:gd name="connsiteY39" fmla="*/ 264409 h 607427"/>
                <a:gd name="connsiteX40" fmla="*/ 129064 w 482808"/>
                <a:gd name="connsiteY40" fmla="*/ 188692 h 607427"/>
                <a:gd name="connsiteX41" fmla="*/ 286213 w 482808"/>
                <a:gd name="connsiteY41" fmla="*/ 188692 h 607427"/>
                <a:gd name="connsiteX42" fmla="*/ 286213 w 482808"/>
                <a:gd name="connsiteY42" fmla="*/ 217342 h 607427"/>
                <a:gd name="connsiteX43" fmla="*/ 129064 w 482808"/>
                <a:gd name="connsiteY43" fmla="*/ 217342 h 607427"/>
                <a:gd name="connsiteX44" fmla="*/ 129064 w 482808"/>
                <a:gd name="connsiteY44" fmla="*/ 141695 h 607427"/>
                <a:gd name="connsiteX45" fmla="*/ 353744 w 482808"/>
                <a:gd name="connsiteY45" fmla="*/ 141695 h 607427"/>
                <a:gd name="connsiteX46" fmla="*/ 353744 w 482808"/>
                <a:gd name="connsiteY46" fmla="*/ 170345 h 607427"/>
                <a:gd name="connsiteX47" fmla="*/ 129064 w 482808"/>
                <a:gd name="connsiteY47" fmla="*/ 170345 h 607427"/>
                <a:gd name="connsiteX48" fmla="*/ 28679 w 482808"/>
                <a:gd name="connsiteY48" fmla="*/ 76877 h 607427"/>
                <a:gd name="connsiteX49" fmla="*/ 28679 w 482808"/>
                <a:gd name="connsiteY49" fmla="*/ 578795 h 607427"/>
                <a:gd name="connsiteX50" fmla="*/ 454129 w 482808"/>
                <a:gd name="connsiteY50" fmla="*/ 578795 h 607427"/>
                <a:gd name="connsiteX51" fmla="*/ 454129 w 482808"/>
                <a:gd name="connsiteY51" fmla="*/ 125122 h 607427"/>
                <a:gd name="connsiteX52" fmla="*/ 371821 w 482808"/>
                <a:gd name="connsiteY52" fmla="*/ 125122 h 607427"/>
                <a:gd name="connsiteX53" fmla="*/ 357482 w 482808"/>
                <a:gd name="connsiteY53" fmla="*/ 110806 h 607427"/>
                <a:gd name="connsiteX54" fmla="*/ 357482 w 482808"/>
                <a:gd name="connsiteY54" fmla="*/ 76877 h 607427"/>
                <a:gd name="connsiteX55" fmla="*/ 386160 w 482808"/>
                <a:gd name="connsiteY55" fmla="*/ 48817 h 607427"/>
                <a:gd name="connsiteX56" fmla="*/ 386160 w 482808"/>
                <a:gd name="connsiteY56" fmla="*/ 96490 h 607427"/>
                <a:gd name="connsiteX57" fmla="*/ 433767 w 482808"/>
                <a:gd name="connsiteY57" fmla="*/ 96490 h 607427"/>
                <a:gd name="connsiteX58" fmla="*/ 28679 w 482808"/>
                <a:gd name="connsiteY58" fmla="*/ 28632 h 607427"/>
                <a:gd name="connsiteX59" fmla="*/ 28679 w 482808"/>
                <a:gd name="connsiteY59" fmla="*/ 48245 h 607427"/>
                <a:gd name="connsiteX60" fmla="*/ 357482 w 482808"/>
                <a:gd name="connsiteY60" fmla="*/ 48245 h 607427"/>
                <a:gd name="connsiteX61" fmla="*/ 357482 w 482808"/>
                <a:gd name="connsiteY61" fmla="*/ 28632 h 607427"/>
                <a:gd name="connsiteX62" fmla="*/ 14339 w 482808"/>
                <a:gd name="connsiteY62" fmla="*/ 0 h 607427"/>
                <a:gd name="connsiteX63" fmla="*/ 371821 w 482808"/>
                <a:gd name="connsiteY63" fmla="*/ 0 h 607427"/>
                <a:gd name="connsiteX64" fmla="*/ 382002 w 482808"/>
                <a:gd name="connsiteY64" fmla="*/ 4152 h 607427"/>
                <a:gd name="connsiteX65" fmla="*/ 478506 w 482808"/>
                <a:gd name="connsiteY65" fmla="*/ 100641 h 607427"/>
                <a:gd name="connsiteX66" fmla="*/ 482808 w 482808"/>
                <a:gd name="connsiteY66" fmla="*/ 110806 h 607427"/>
                <a:gd name="connsiteX67" fmla="*/ 482808 w 482808"/>
                <a:gd name="connsiteY67" fmla="*/ 593111 h 607427"/>
                <a:gd name="connsiteX68" fmla="*/ 468469 w 482808"/>
                <a:gd name="connsiteY68" fmla="*/ 607427 h 607427"/>
                <a:gd name="connsiteX69" fmla="*/ 14339 w 482808"/>
                <a:gd name="connsiteY69" fmla="*/ 607427 h 607427"/>
                <a:gd name="connsiteX70" fmla="*/ 0 w 482808"/>
                <a:gd name="connsiteY70" fmla="*/ 593111 h 607427"/>
                <a:gd name="connsiteX71" fmla="*/ 0 w 482808"/>
                <a:gd name="connsiteY71" fmla="*/ 14316 h 607427"/>
                <a:gd name="connsiteX72" fmla="*/ 14339 w 482808"/>
                <a:gd name="connsiteY72" fmla="*/ 0 h 607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482808" h="607427">
                  <a:moveTo>
                    <a:pt x="289671" y="445479"/>
                  </a:moveTo>
                  <a:lnTo>
                    <a:pt x="359107" y="445479"/>
                  </a:lnTo>
                  <a:lnTo>
                    <a:pt x="359107" y="465674"/>
                  </a:lnTo>
                  <a:lnTo>
                    <a:pt x="336870" y="465674"/>
                  </a:lnTo>
                  <a:lnTo>
                    <a:pt x="336870" y="537143"/>
                  </a:lnTo>
                  <a:lnTo>
                    <a:pt x="312051" y="537143"/>
                  </a:lnTo>
                  <a:lnTo>
                    <a:pt x="312051" y="465674"/>
                  </a:lnTo>
                  <a:lnTo>
                    <a:pt x="289671" y="465674"/>
                  </a:lnTo>
                  <a:close/>
                  <a:moveTo>
                    <a:pt x="195635" y="445479"/>
                  </a:moveTo>
                  <a:lnTo>
                    <a:pt x="223010" y="445479"/>
                  </a:lnTo>
                  <a:lnTo>
                    <a:pt x="239635" y="473838"/>
                  </a:lnTo>
                  <a:lnTo>
                    <a:pt x="255544" y="445479"/>
                  </a:lnTo>
                  <a:lnTo>
                    <a:pt x="283778" y="445479"/>
                  </a:lnTo>
                  <a:lnTo>
                    <a:pt x="254827" y="492170"/>
                  </a:lnTo>
                  <a:lnTo>
                    <a:pt x="286071" y="537143"/>
                  </a:lnTo>
                  <a:lnTo>
                    <a:pt x="257407" y="537143"/>
                  </a:lnTo>
                  <a:lnTo>
                    <a:pt x="239492" y="508498"/>
                  </a:lnTo>
                  <a:lnTo>
                    <a:pt x="221863" y="537143"/>
                  </a:lnTo>
                  <a:lnTo>
                    <a:pt x="193772" y="537143"/>
                  </a:lnTo>
                  <a:lnTo>
                    <a:pt x="224156" y="490165"/>
                  </a:lnTo>
                  <a:close/>
                  <a:moveTo>
                    <a:pt x="120737" y="445479"/>
                  </a:moveTo>
                  <a:lnTo>
                    <a:pt x="190314" y="445479"/>
                  </a:lnTo>
                  <a:lnTo>
                    <a:pt x="190314" y="465674"/>
                  </a:lnTo>
                  <a:lnTo>
                    <a:pt x="167935" y="465674"/>
                  </a:lnTo>
                  <a:lnTo>
                    <a:pt x="167935" y="537143"/>
                  </a:lnTo>
                  <a:lnTo>
                    <a:pt x="143116" y="537143"/>
                  </a:lnTo>
                  <a:lnTo>
                    <a:pt x="143116" y="465674"/>
                  </a:lnTo>
                  <a:lnTo>
                    <a:pt x="120737" y="465674"/>
                  </a:lnTo>
                  <a:close/>
                  <a:moveTo>
                    <a:pt x="129064" y="329823"/>
                  </a:moveTo>
                  <a:lnTo>
                    <a:pt x="223692" y="329823"/>
                  </a:lnTo>
                  <a:lnTo>
                    <a:pt x="223692" y="358473"/>
                  </a:lnTo>
                  <a:lnTo>
                    <a:pt x="129064" y="358473"/>
                  </a:lnTo>
                  <a:close/>
                  <a:moveTo>
                    <a:pt x="129064" y="282756"/>
                  </a:moveTo>
                  <a:lnTo>
                    <a:pt x="334550" y="282756"/>
                  </a:lnTo>
                  <a:lnTo>
                    <a:pt x="334550" y="311335"/>
                  </a:lnTo>
                  <a:lnTo>
                    <a:pt x="129064" y="311335"/>
                  </a:lnTo>
                  <a:close/>
                  <a:moveTo>
                    <a:pt x="129064" y="235759"/>
                  </a:moveTo>
                  <a:lnTo>
                    <a:pt x="353744" y="235759"/>
                  </a:lnTo>
                  <a:lnTo>
                    <a:pt x="353744" y="264409"/>
                  </a:lnTo>
                  <a:lnTo>
                    <a:pt x="129064" y="264409"/>
                  </a:lnTo>
                  <a:close/>
                  <a:moveTo>
                    <a:pt x="129064" y="188692"/>
                  </a:moveTo>
                  <a:lnTo>
                    <a:pt x="286213" y="188692"/>
                  </a:lnTo>
                  <a:lnTo>
                    <a:pt x="286213" y="217342"/>
                  </a:lnTo>
                  <a:lnTo>
                    <a:pt x="129064" y="217342"/>
                  </a:lnTo>
                  <a:close/>
                  <a:moveTo>
                    <a:pt x="129064" y="141695"/>
                  </a:moveTo>
                  <a:lnTo>
                    <a:pt x="353744" y="141695"/>
                  </a:lnTo>
                  <a:lnTo>
                    <a:pt x="353744" y="170345"/>
                  </a:lnTo>
                  <a:lnTo>
                    <a:pt x="129064" y="170345"/>
                  </a:lnTo>
                  <a:close/>
                  <a:moveTo>
                    <a:pt x="28679" y="76877"/>
                  </a:moveTo>
                  <a:lnTo>
                    <a:pt x="28679" y="578795"/>
                  </a:lnTo>
                  <a:lnTo>
                    <a:pt x="454129" y="578795"/>
                  </a:lnTo>
                  <a:lnTo>
                    <a:pt x="454129" y="125122"/>
                  </a:lnTo>
                  <a:lnTo>
                    <a:pt x="371821" y="125122"/>
                  </a:lnTo>
                  <a:cubicBezTo>
                    <a:pt x="363934" y="125122"/>
                    <a:pt x="357482" y="118679"/>
                    <a:pt x="357482" y="110806"/>
                  </a:cubicBezTo>
                  <a:lnTo>
                    <a:pt x="357482" y="76877"/>
                  </a:lnTo>
                  <a:close/>
                  <a:moveTo>
                    <a:pt x="386160" y="48817"/>
                  </a:moveTo>
                  <a:lnTo>
                    <a:pt x="386160" y="96490"/>
                  </a:lnTo>
                  <a:lnTo>
                    <a:pt x="433767" y="96490"/>
                  </a:lnTo>
                  <a:close/>
                  <a:moveTo>
                    <a:pt x="28679" y="28632"/>
                  </a:moveTo>
                  <a:lnTo>
                    <a:pt x="28679" y="48245"/>
                  </a:lnTo>
                  <a:lnTo>
                    <a:pt x="357482" y="48245"/>
                  </a:lnTo>
                  <a:lnTo>
                    <a:pt x="357482" y="28632"/>
                  </a:lnTo>
                  <a:close/>
                  <a:moveTo>
                    <a:pt x="14339" y="0"/>
                  </a:moveTo>
                  <a:lnTo>
                    <a:pt x="371821" y="0"/>
                  </a:lnTo>
                  <a:cubicBezTo>
                    <a:pt x="375549" y="0"/>
                    <a:pt x="379278" y="1575"/>
                    <a:pt x="382002" y="4152"/>
                  </a:cubicBezTo>
                  <a:lnTo>
                    <a:pt x="478506" y="100641"/>
                  </a:lnTo>
                  <a:cubicBezTo>
                    <a:pt x="481231" y="103361"/>
                    <a:pt x="482808" y="106940"/>
                    <a:pt x="482808" y="110806"/>
                  </a:cubicBezTo>
                  <a:lnTo>
                    <a:pt x="482808" y="593111"/>
                  </a:lnTo>
                  <a:cubicBezTo>
                    <a:pt x="482808" y="600985"/>
                    <a:pt x="476355" y="607427"/>
                    <a:pt x="468469" y="607427"/>
                  </a:cubicBezTo>
                  <a:lnTo>
                    <a:pt x="14339" y="607427"/>
                  </a:lnTo>
                  <a:cubicBezTo>
                    <a:pt x="6453" y="607427"/>
                    <a:pt x="0" y="600985"/>
                    <a:pt x="0" y="593111"/>
                  </a:cubicBezTo>
                  <a:lnTo>
                    <a:pt x="0" y="14316"/>
                  </a:lnTo>
                  <a:cubicBezTo>
                    <a:pt x="0" y="6442"/>
                    <a:pt x="6453" y="0"/>
                    <a:pt x="1433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C89E5299-5D42-4A97-A5A7-52432DFC8602}"/>
              </a:ext>
            </a:extLst>
          </p:cNvPr>
          <p:cNvGrpSpPr/>
          <p:nvPr/>
        </p:nvGrpSpPr>
        <p:grpSpPr>
          <a:xfrm>
            <a:off x="3557588" y="4913617"/>
            <a:ext cx="2028825" cy="897308"/>
            <a:chOff x="1112462" y="1546057"/>
            <a:chExt cx="2028825" cy="897308"/>
          </a:xfrm>
        </p:grpSpPr>
        <p:grpSp>
          <p:nvGrpSpPr>
            <p:cNvPr id="28" name="组合 27">
              <a:extLst>
                <a:ext uri="{FF2B5EF4-FFF2-40B4-BE49-F238E27FC236}">
                  <a16:creationId xmlns:a16="http://schemas.microsoft.com/office/drawing/2014/main" id="{80407D01-EAA1-415C-92A4-31875662F7A1}"/>
                </a:ext>
              </a:extLst>
            </p:cNvPr>
            <p:cNvGrpSpPr/>
            <p:nvPr/>
          </p:nvGrpSpPr>
          <p:grpSpPr>
            <a:xfrm>
              <a:off x="1112462" y="1546057"/>
              <a:ext cx="2028825" cy="897308"/>
              <a:chOff x="1206466" y="2225304"/>
              <a:chExt cx="2028825" cy="897308"/>
            </a:xfrm>
          </p:grpSpPr>
          <p:sp>
            <p:nvSpPr>
              <p:cNvPr id="30" name="矩形: 圆角 29">
                <a:extLst>
                  <a:ext uri="{FF2B5EF4-FFF2-40B4-BE49-F238E27FC236}">
                    <a16:creationId xmlns:a16="http://schemas.microsoft.com/office/drawing/2014/main" id="{2A6789C7-B1C4-4034-A6A6-842CDD885DA2}"/>
                  </a:ext>
                </a:extLst>
              </p:cNvPr>
              <p:cNvSpPr/>
              <p:nvPr/>
            </p:nvSpPr>
            <p:spPr>
              <a:xfrm>
                <a:off x="1206466" y="2225304"/>
                <a:ext cx="2028825" cy="897308"/>
              </a:xfrm>
              <a:prstGeom prst="round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31" name="文本框 30">
                <a:extLst>
                  <a:ext uri="{FF2B5EF4-FFF2-40B4-BE49-F238E27FC236}">
                    <a16:creationId xmlns:a16="http://schemas.microsoft.com/office/drawing/2014/main" id="{D1288082-5FA7-4C46-B87B-1994916D4976}"/>
                  </a:ext>
                </a:extLst>
              </p:cNvPr>
              <p:cNvSpPr txBox="1"/>
              <p:nvPr/>
            </p:nvSpPr>
            <p:spPr>
              <a:xfrm>
                <a:off x="1989160" y="2468928"/>
                <a:ext cx="1225521" cy="3693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2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en-US" altLang="zh-CN" dirty="0">
                    <a:solidFill>
                      <a:schemeClr val="accent1"/>
                    </a:solidFill>
                  </a:rPr>
                  <a:t>3.txt</a:t>
                </a:r>
                <a:endParaRPr lang="zh-CN" altLang="en-US" dirty="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29" name="txt_180898">
              <a:extLst>
                <a:ext uri="{FF2B5EF4-FFF2-40B4-BE49-F238E27FC236}">
                  <a16:creationId xmlns:a16="http://schemas.microsoft.com/office/drawing/2014/main" id="{98848DB1-8924-453C-AE97-567DD5933F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389945" y="1689869"/>
              <a:ext cx="484602" cy="609685"/>
            </a:xfrm>
            <a:custGeom>
              <a:avLst/>
              <a:gdLst>
                <a:gd name="connsiteX0" fmla="*/ 289671 w 482808"/>
                <a:gd name="connsiteY0" fmla="*/ 445479 h 607427"/>
                <a:gd name="connsiteX1" fmla="*/ 359107 w 482808"/>
                <a:gd name="connsiteY1" fmla="*/ 445479 h 607427"/>
                <a:gd name="connsiteX2" fmla="*/ 359107 w 482808"/>
                <a:gd name="connsiteY2" fmla="*/ 465674 h 607427"/>
                <a:gd name="connsiteX3" fmla="*/ 336870 w 482808"/>
                <a:gd name="connsiteY3" fmla="*/ 465674 h 607427"/>
                <a:gd name="connsiteX4" fmla="*/ 336870 w 482808"/>
                <a:gd name="connsiteY4" fmla="*/ 537143 h 607427"/>
                <a:gd name="connsiteX5" fmla="*/ 312051 w 482808"/>
                <a:gd name="connsiteY5" fmla="*/ 537143 h 607427"/>
                <a:gd name="connsiteX6" fmla="*/ 312051 w 482808"/>
                <a:gd name="connsiteY6" fmla="*/ 465674 h 607427"/>
                <a:gd name="connsiteX7" fmla="*/ 289671 w 482808"/>
                <a:gd name="connsiteY7" fmla="*/ 465674 h 607427"/>
                <a:gd name="connsiteX8" fmla="*/ 195635 w 482808"/>
                <a:gd name="connsiteY8" fmla="*/ 445479 h 607427"/>
                <a:gd name="connsiteX9" fmla="*/ 223010 w 482808"/>
                <a:gd name="connsiteY9" fmla="*/ 445479 h 607427"/>
                <a:gd name="connsiteX10" fmla="*/ 239635 w 482808"/>
                <a:gd name="connsiteY10" fmla="*/ 473838 h 607427"/>
                <a:gd name="connsiteX11" fmla="*/ 255544 w 482808"/>
                <a:gd name="connsiteY11" fmla="*/ 445479 h 607427"/>
                <a:gd name="connsiteX12" fmla="*/ 283778 w 482808"/>
                <a:gd name="connsiteY12" fmla="*/ 445479 h 607427"/>
                <a:gd name="connsiteX13" fmla="*/ 254827 w 482808"/>
                <a:gd name="connsiteY13" fmla="*/ 492170 h 607427"/>
                <a:gd name="connsiteX14" fmla="*/ 286071 w 482808"/>
                <a:gd name="connsiteY14" fmla="*/ 537143 h 607427"/>
                <a:gd name="connsiteX15" fmla="*/ 257407 w 482808"/>
                <a:gd name="connsiteY15" fmla="*/ 537143 h 607427"/>
                <a:gd name="connsiteX16" fmla="*/ 239492 w 482808"/>
                <a:gd name="connsiteY16" fmla="*/ 508498 h 607427"/>
                <a:gd name="connsiteX17" fmla="*/ 221863 w 482808"/>
                <a:gd name="connsiteY17" fmla="*/ 537143 h 607427"/>
                <a:gd name="connsiteX18" fmla="*/ 193772 w 482808"/>
                <a:gd name="connsiteY18" fmla="*/ 537143 h 607427"/>
                <a:gd name="connsiteX19" fmla="*/ 224156 w 482808"/>
                <a:gd name="connsiteY19" fmla="*/ 490165 h 607427"/>
                <a:gd name="connsiteX20" fmla="*/ 120737 w 482808"/>
                <a:gd name="connsiteY20" fmla="*/ 445479 h 607427"/>
                <a:gd name="connsiteX21" fmla="*/ 190314 w 482808"/>
                <a:gd name="connsiteY21" fmla="*/ 445479 h 607427"/>
                <a:gd name="connsiteX22" fmla="*/ 190314 w 482808"/>
                <a:gd name="connsiteY22" fmla="*/ 465674 h 607427"/>
                <a:gd name="connsiteX23" fmla="*/ 167935 w 482808"/>
                <a:gd name="connsiteY23" fmla="*/ 465674 h 607427"/>
                <a:gd name="connsiteX24" fmla="*/ 167935 w 482808"/>
                <a:gd name="connsiteY24" fmla="*/ 537143 h 607427"/>
                <a:gd name="connsiteX25" fmla="*/ 143116 w 482808"/>
                <a:gd name="connsiteY25" fmla="*/ 537143 h 607427"/>
                <a:gd name="connsiteX26" fmla="*/ 143116 w 482808"/>
                <a:gd name="connsiteY26" fmla="*/ 465674 h 607427"/>
                <a:gd name="connsiteX27" fmla="*/ 120737 w 482808"/>
                <a:gd name="connsiteY27" fmla="*/ 465674 h 607427"/>
                <a:gd name="connsiteX28" fmla="*/ 129064 w 482808"/>
                <a:gd name="connsiteY28" fmla="*/ 329823 h 607427"/>
                <a:gd name="connsiteX29" fmla="*/ 223692 w 482808"/>
                <a:gd name="connsiteY29" fmla="*/ 329823 h 607427"/>
                <a:gd name="connsiteX30" fmla="*/ 223692 w 482808"/>
                <a:gd name="connsiteY30" fmla="*/ 358473 h 607427"/>
                <a:gd name="connsiteX31" fmla="*/ 129064 w 482808"/>
                <a:gd name="connsiteY31" fmla="*/ 358473 h 607427"/>
                <a:gd name="connsiteX32" fmla="*/ 129064 w 482808"/>
                <a:gd name="connsiteY32" fmla="*/ 282756 h 607427"/>
                <a:gd name="connsiteX33" fmla="*/ 334550 w 482808"/>
                <a:gd name="connsiteY33" fmla="*/ 282756 h 607427"/>
                <a:gd name="connsiteX34" fmla="*/ 334550 w 482808"/>
                <a:gd name="connsiteY34" fmla="*/ 311335 h 607427"/>
                <a:gd name="connsiteX35" fmla="*/ 129064 w 482808"/>
                <a:gd name="connsiteY35" fmla="*/ 311335 h 607427"/>
                <a:gd name="connsiteX36" fmla="*/ 129064 w 482808"/>
                <a:gd name="connsiteY36" fmla="*/ 235759 h 607427"/>
                <a:gd name="connsiteX37" fmla="*/ 353744 w 482808"/>
                <a:gd name="connsiteY37" fmla="*/ 235759 h 607427"/>
                <a:gd name="connsiteX38" fmla="*/ 353744 w 482808"/>
                <a:gd name="connsiteY38" fmla="*/ 264409 h 607427"/>
                <a:gd name="connsiteX39" fmla="*/ 129064 w 482808"/>
                <a:gd name="connsiteY39" fmla="*/ 264409 h 607427"/>
                <a:gd name="connsiteX40" fmla="*/ 129064 w 482808"/>
                <a:gd name="connsiteY40" fmla="*/ 188692 h 607427"/>
                <a:gd name="connsiteX41" fmla="*/ 286213 w 482808"/>
                <a:gd name="connsiteY41" fmla="*/ 188692 h 607427"/>
                <a:gd name="connsiteX42" fmla="*/ 286213 w 482808"/>
                <a:gd name="connsiteY42" fmla="*/ 217342 h 607427"/>
                <a:gd name="connsiteX43" fmla="*/ 129064 w 482808"/>
                <a:gd name="connsiteY43" fmla="*/ 217342 h 607427"/>
                <a:gd name="connsiteX44" fmla="*/ 129064 w 482808"/>
                <a:gd name="connsiteY44" fmla="*/ 141695 h 607427"/>
                <a:gd name="connsiteX45" fmla="*/ 353744 w 482808"/>
                <a:gd name="connsiteY45" fmla="*/ 141695 h 607427"/>
                <a:gd name="connsiteX46" fmla="*/ 353744 w 482808"/>
                <a:gd name="connsiteY46" fmla="*/ 170345 h 607427"/>
                <a:gd name="connsiteX47" fmla="*/ 129064 w 482808"/>
                <a:gd name="connsiteY47" fmla="*/ 170345 h 607427"/>
                <a:gd name="connsiteX48" fmla="*/ 28679 w 482808"/>
                <a:gd name="connsiteY48" fmla="*/ 76877 h 607427"/>
                <a:gd name="connsiteX49" fmla="*/ 28679 w 482808"/>
                <a:gd name="connsiteY49" fmla="*/ 578795 h 607427"/>
                <a:gd name="connsiteX50" fmla="*/ 454129 w 482808"/>
                <a:gd name="connsiteY50" fmla="*/ 578795 h 607427"/>
                <a:gd name="connsiteX51" fmla="*/ 454129 w 482808"/>
                <a:gd name="connsiteY51" fmla="*/ 125122 h 607427"/>
                <a:gd name="connsiteX52" fmla="*/ 371821 w 482808"/>
                <a:gd name="connsiteY52" fmla="*/ 125122 h 607427"/>
                <a:gd name="connsiteX53" fmla="*/ 357482 w 482808"/>
                <a:gd name="connsiteY53" fmla="*/ 110806 h 607427"/>
                <a:gd name="connsiteX54" fmla="*/ 357482 w 482808"/>
                <a:gd name="connsiteY54" fmla="*/ 76877 h 607427"/>
                <a:gd name="connsiteX55" fmla="*/ 386160 w 482808"/>
                <a:gd name="connsiteY55" fmla="*/ 48817 h 607427"/>
                <a:gd name="connsiteX56" fmla="*/ 386160 w 482808"/>
                <a:gd name="connsiteY56" fmla="*/ 96490 h 607427"/>
                <a:gd name="connsiteX57" fmla="*/ 433767 w 482808"/>
                <a:gd name="connsiteY57" fmla="*/ 96490 h 607427"/>
                <a:gd name="connsiteX58" fmla="*/ 28679 w 482808"/>
                <a:gd name="connsiteY58" fmla="*/ 28632 h 607427"/>
                <a:gd name="connsiteX59" fmla="*/ 28679 w 482808"/>
                <a:gd name="connsiteY59" fmla="*/ 48245 h 607427"/>
                <a:gd name="connsiteX60" fmla="*/ 357482 w 482808"/>
                <a:gd name="connsiteY60" fmla="*/ 48245 h 607427"/>
                <a:gd name="connsiteX61" fmla="*/ 357482 w 482808"/>
                <a:gd name="connsiteY61" fmla="*/ 28632 h 607427"/>
                <a:gd name="connsiteX62" fmla="*/ 14339 w 482808"/>
                <a:gd name="connsiteY62" fmla="*/ 0 h 607427"/>
                <a:gd name="connsiteX63" fmla="*/ 371821 w 482808"/>
                <a:gd name="connsiteY63" fmla="*/ 0 h 607427"/>
                <a:gd name="connsiteX64" fmla="*/ 382002 w 482808"/>
                <a:gd name="connsiteY64" fmla="*/ 4152 h 607427"/>
                <a:gd name="connsiteX65" fmla="*/ 478506 w 482808"/>
                <a:gd name="connsiteY65" fmla="*/ 100641 h 607427"/>
                <a:gd name="connsiteX66" fmla="*/ 482808 w 482808"/>
                <a:gd name="connsiteY66" fmla="*/ 110806 h 607427"/>
                <a:gd name="connsiteX67" fmla="*/ 482808 w 482808"/>
                <a:gd name="connsiteY67" fmla="*/ 593111 h 607427"/>
                <a:gd name="connsiteX68" fmla="*/ 468469 w 482808"/>
                <a:gd name="connsiteY68" fmla="*/ 607427 h 607427"/>
                <a:gd name="connsiteX69" fmla="*/ 14339 w 482808"/>
                <a:gd name="connsiteY69" fmla="*/ 607427 h 607427"/>
                <a:gd name="connsiteX70" fmla="*/ 0 w 482808"/>
                <a:gd name="connsiteY70" fmla="*/ 593111 h 607427"/>
                <a:gd name="connsiteX71" fmla="*/ 0 w 482808"/>
                <a:gd name="connsiteY71" fmla="*/ 14316 h 607427"/>
                <a:gd name="connsiteX72" fmla="*/ 14339 w 482808"/>
                <a:gd name="connsiteY72" fmla="*/ 0 h 607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482808" h="607427">
                  <a:moveTo>
                    <a:pt x="289671" y="445479"/>
                  </a:moveTo>
                  <a:lnTo>
                    <a:pt x="359107" y="445479"/>
                  </a:lnTo>
                  <a:lnTo>
                    <a:pt x="359107" y="465674"/>
                  </a:lnTo>
                  <a:lnTo>
                    <a:pt x="336870" y="465674"/>
                  </a:lnTo>
                  <a:lnTo>
                    <a:pt x="336870" y="537143"/>
                  </a:lnTo>
                  <a:lnTo>
                    <a:pt x="312051" y="537143"/>
                  </a:lnTo>
                  <a:lnTo>
                    <a:pt x="312051" y="465674"/>
                  </a:lnTo>
                  <a:lnTo>
                    <a:pt x="289671" y="465674"/>
                  </a:lnTo>
                  <a:close/>
                  <a:moveTo>
                    <a:pt x="195635" y="445479"/>
                  </a:moveTo>
                  <a:lnTo>
                    <a:pt x="223010" y="445479"/>
                  </a:lnTo>
                  <a:lnTo>
                    <a:pt x="239635" y="473838"/>
                  </a:lnTo>
                  <a:lnTo>
                    <a:pt x="255544" y="445479"/>
                  </a:lnTo>
                  <a:lnTo>
                    <a:pt x="283778" y="445479"/>
                  </a:lnTo>
                  <a:lnTo>
                    <a:pt x="254827" y="492170"/>
                  </a:lnTo>
                  <a:lnTo>
                    <a:pt x="286071" y="537143"/>
                  </a:lnTo>
                  <a:lnTo>
                    <a:pt x="257407" y="537143"/>
                  </a:lnTo>
                  <a:lnTo>
                    <a:pt x="239492" y="508498"/>
                  </a:lnTo>
                  <a:lnTo>
                    <a:pt x="221863" y="537143"/>
                  </a:lnTo>
                  <a:lnTo>
                    <a:pt x="193772" y="537143"/>
                  </a:lnTo>
                  <a:lnTo>
                    <a:pt x="224156" y="490165"/>
                  </a:lnTo>
                  <a:close/>
                  <a:moveTo>
                    <a:pt x="120737" y="445479"/>
                  </a:moveTo>
                  <a:lnTo>
                    <a:pt x="190314" y="445479"/>
                  </a:lnTo>
                  <a:lnTo>
                    <a:pt x="190314" y="465674"/>
                  </a:lnTo>
                  <a:lnTo>
                    <a:pt x="167935" y="465674"/>
                  </a:lnTo>
                  <a:lnTo>
                    <a:pt x="167935" y="537143"/>
                  </a:lnTo>
                  <a:lnTo>
                    <a:pt x="143116" y="537143"/>
                  </a:lnTo>
                  <a:lnTo>
                    <a:pt x="143116" y="465674"/>
                  </a:lnTo>
                  <a:lnTo>
                    <a:pt x="120737" y="465674"/>
                  </a:lnTo>
                  <a:close/>
                  <a:moveTo>
                    <a:pt x="129064" y="329823"/>
                  </a:moveTo>
                  <a:lnTo>
                    <a:pt x="223692" y="329823"/>
                  </a:lnTo>
                  <a:lnTo>
                    <a:pt x="223692" y="358473"/>
                  </a:lnTo>
                  <a:lnTo>
                    <a:pt x="129064" y="358473"/>
                  </a:lnTo>
                  <a:close/>
                  <a:moveTo>
                    <a:pt x="129064" y="282756"/>
                  </a:moveTo>
                  <a:lnTo>
                    <a:pt x="334550" y="282756"/>
                  </a:lnTo>
                  <a:lnTo>
                    <a:pt x="334550" y="311335"/>
                  </a:lnTo>
                  <a:lnTo>
                    <a:pt x="129064" y="311335"/>
                  </a:lnTo>
                  <a:close/>
                  <a:moveTo>
                    <a:pt x="129064" y="235759"/>
                  </a:moveTo>
                  <a:lnTo>
                    <a:pt x="353744" y="235759"/>
                  </a:lnTo>
                  <a:lnTo>
                    <a:pt x="353744" y="264409"/>
                  </a:lnTo>
                  <a:lnTo>
                    <a:pt x="129064" y="264409"/>
                  </a:lnTo>
                  <a:close/>
                  <a:moveTo>
                    <a:pt x="129064" y="188692"/>
                  </a:moveTo>
                  <a:lnTo>
                    <a:pt x="286213" y="188692"/>
                  </a:lnTo>
                  <a:lnTo>
                    <a:pt x="286213" y="217342"/>
                  </a:lnTo>
                  <a:lnTo>
                    <a:pt x="129064" y="217342"/>
                  </a:lnTo>
                  <a:close/>
                  <a:moveTo>
                    <a:pt x="129064" y="141695"/>
                  </a:moveTo>
                  <a:lnTo>
                    <a:pt x="353744" y="141695"/>
                  </a:lnTo>
                  <a:lnTo>
                    <a:pt x="353744" y="170345"/>
                  </a:lnTo>
                  <a:lnTo>
                    <a:pt x="129064" y="170345"/>
                  </a:lnTo>
                  <a:close/>
                  <a:moveTo>
                    <a:pt x="28679" y="76877"/>
                  </a:moveTo>
                  <a:lnTo>
                    <a:pt x="28679" y="578795"/>
                  </a:lnTo>
                  <a:lnTo>
                    <a:pt x="454129" y="578795"/>
                  </a:lnTo>
                  <a:lnTo>
                    <a:pt x="454129" y="125122"/>
                  </a:lnTo>
                  <a:lnTo>
                    <a:pt x="371821" y="125122"/>
                  </a:lnTo>
                  <a:cubicBezTo>
                    <a:pt x="363934" y="125122"/>
                    <a:pt x="357482" y="118679"/>
                    <a:pt x="357482" y="110806"/>
                  </a:cubicBezTo>
                  <a:lnTo>
                    <a:pt x="357482" y="76877"/>
                  </a:lnTo>
                  <a:close/>
                  <a:moveTo>
                    <a:pt x="386160" y="48817"/>
                  </a:moveTo>
                  <a:lnTo>
                    <a:pt x="386160" y="96490"/>
                  </a:lnTo>
                  <a:lnTo>
                    <a:pt x="433767" y="96490"/>
                  </a:lnTo>
                  <a:close/>
                  <a:moveTo>
                    <a:pt x="28679" y="28632"/>
                  </a:moveTo>
                  <a:lnTo>
                    <a:pt x="28679" y="48245"/>
                  </a:lnTo>
                  <a:lnTo>
                    <a:pt x="357482" y="48245"/>
                  </a:lnTo>
                  <a:lnTo>
                    <a:pt x="357482" y="28632"/>
                  </a:lnTo>
                  <a:close/>
                  <a:moveTo>
                    <a:pt x="14339" y="0"/>
                  </a:moveTo>
                  <a:lnTo>
                    <a:pt x="371821" y="0"/>
                  </a:lnTo>
                  <a:cubicBezTo>
                    <a:pt x="375549" y="0"/>
                    <a:pt x="379278" y="1575"/>
                    <a:pt x="382002" y="4152"/>
                  </a:cubicBezTo>
                  <a:lnTo>
                    <a:pt x="478506" y="100641"/>
                  </a:lnTo>
                  <a:cubicBezTo>
                    <a:pt x="481231" y="103361"/>
                    <a:pt x="482808" y="106940"/>
                    <a:pt x="482808" y="110806"/>
                  </a:cubicBezTo>
                  <a:lnTo>
                    <a:pt x="482808" y="593111"/>
                  </a:lnTo>
                  <a:cubicBezTo>
                    <a:pt x="482808" y="600985"/>
                    <a:pt x="476355" y="607427"/>
                    <a:pt x="468469" y="607427"/>
                  </a:cubicBezTo>
                  <a:lnTo>
                    <a:pt x="14339" y="607427"/>
                  </a:lnTo>
                  <a:cubicBezTo>
                    <a:pt x="6453" y="607427"/>
                    <a:pt x="0" y="600985"/>
                    <a:pt x="0" y="593111"/>
                  </a:cubicBezTo>
                  <a:lnTo>
                    <a:pt x="0" y="14316"/>
                  </a:lnTo>
                  <a:cubicBezTo>
                    <a:pt x="0" y="6442"/>
                    <a:pt x="6453" y="0"/>
                    <a:pt x="1433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2900AFE4-C899-455C-AECA-CE83C79CE577}"/>
              </a:ext>
            </a:extLst>
          </p:cNvPr>
          <p:cNvSpPr/>
          <p:nvPr/>
        </p:nvSpPr>
        <p:spPr>
          <a:xfrm>
            <a:off x="10415723" y="1130300"/>
            <a:ext cx="2028825" cy="1543658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Hello world</a:t>
            </a:r>
          </a:p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I like Hadoop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91A342C0-220F-4EE6-8E94-FDE79F5160AA}"/>
              </a:ext>
            </a:extLst>
          </p:cNvPr>
          <p:cNvSpPr/>
          <p:nvPr/>
        </p:nvSpPr>
        <p:spPr>
          <a:xfrm>
            <a:off x="10406198" y="2860371"/>
            <a:ext cx="2028825" cy="1543658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Hello Hadoop</a:t>
            </a:r>
          </a:p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I like MapReduce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12AB1DF8-9F59-459D-861B-0997412FBF92}"/>
              </a:ext>
            </a:extLst>
          </p:cNvPr>
          <p:cNvSpPr/>
          <p:nvPr/>
        </p:nvSpPr>
        <p:spPr>
          <a:xfrm>
            <a:off x="10406198" y="4590442"/>
            <a:ext cx="2028825" cy="1543658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Hello MapReduce</a:t>
            </a:r>
          </a:p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I like Java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3372978F-E17A-40CA-89B5-F22260ABED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apReduce</a:t>
            </a:r>
            <a:r>
              <a:rPr lang="zh-CN" altLang="en-US" dirty="0"/>
              <a:t>工作流程</a:t>
            </a:r>
          </a:p>
        </p:txBody>
      </p: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7264C33D-144C-4D7C-A873-63220E341674}"/>
              </a:ext>
            </a:extLst>
          </p:cNvPr>
          <p:cNvGrpSpPr/>
          <p:nvPr/>
        </p:nvGrpSpPr>
        <p:grpSpPr>
          <a:xfrm>
            <a:off x="12949546" y="1758157"/>
            <a:ext cx="7134227" cy="3752850"/>
            <a:chOff x="502443" y="1758157"/>
            <a:chExt cx="7134227" cy="3752850"/>
          </a:xfrm>
        </p:grpSpPr>
        <p:grpSp>
          <p:nvGrpSpPr>
            <p:cNvPr id="65" name="27252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2D4C94CE-F54B-481C-BEAC-13EDCA0AD783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502443" y="1758157"/>
              <a:ext cx="7134227" cy="3752850"/>
              <a:chOff x="660399" y="1130300"/>
              <a:chExt cx="9512302" cy="5003800"/>
            </a:xfrm>
          </p:grpSpPr>
          <p:sp>
            <p:nvSpPr>
              <p:cNvPr id="76" name="îşľiḑè">
                <a:extLst>
                  <a:ext uri="{FF2B5EF4-FFF2-40B4-BE49-F238E27FC236}">
                    <a16:creationId xmlns:a16="http://schemas.microsoft.com/office/drawing/2014/main" id="{B52F23B0-BB44-4EBE-8ACB-761AC1441FE4}"/>
                  </a:ext>
                </a:extLst>
              </p:cNvPr>
              <p:cNvSpPr/>
              <p:nvPr/>
            </p:nvSpPr>
            <p:spPr>
              <a:xfrm>
                <a:off x="660399" y="1130300"/>
                <a:ext cx="2816225" cy="5003800"/>
              </a:xfrm>
              <a:prstGeom prst="roundRect">
                <a:avLst>
                  <a:gd name="adj" fmla="val 2174"/>
                </a:avLst>
              </a:prstGeom>
              <a:noFill/>
              <a:ln w="9525" cap="rnd">
                <a:solidFill>
                  <a:schemeClr val="bg1">
                    <a:lumMod val="75000"/>
                  </a:schemeClr>
                </a:solidFill>
                <a:prstDash val="dash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iṧḷîḍè">
                <a:extLst>
                  <a:ext uri="{FF2B5EF4-FFF2-40B4-BE49-F238E27FC236}">
                    <a16:creationId xmlns:a16="http://schemas.microsoft.com/office/drawing/2014/main" id="{9BA022B1-345C-488E-9D63-3B1341F41447}"/>
                  </a:ext>
                </a:extLst>
              </p:cNvPr>
              <p:cNvSpPr/>
              <p:nvPr/>
            </p:nvSpPr>
            <p:spPr>
              <a:xfrm>
                <a:off x="898524" y="1287596"/>
                <a:ext cx="2339975" cy="644567"/>
              </a:xfrm>
              <a:prstGeom prst="rect">
                <a:avLst/>
              </a:prstGeom>
              <a:noFill/>
              <a:ln w="31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lang="zh-CN" altLang="en-US" sz="2000" b="1" dirty="0">
                    <a:solidFill>
                      <a:schemeClr val="tx1"/>
                    </a:solidFill>
                  </a:rPr>
                  <a:t>数据输入</a:t>
                </a:r>
                <a:endParaRPr lang="id-ID" altLang="zh-CN" sz="2000" b="1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78" name="ïšļîďê">
                <a:extLst>
                  <a:ext uri="{FF2B5EF4-FFF2-40B4-BE49-F238E27FC236}">
                    <a16:creationId xmlns:a16="http://schemas.microsoft.com/office/drawing/2014/main" id="{F0F79F8D-846C-443A-87CF-8CFA8E64B5AE}"/>
                  </a:ext>
                </a:extLst>
              </p:cNvPr>
              <p:cNvGrpSpPr/>
              <p:nvPr/>
            </p:nvGrpSpPr>
            <p:grpSpPr>
              <a:xfrm>
                <a:off x="898524" y="2144266"/>
                <a:ext cx="2339975" cy="3122984"/>
                <a:chOff x="898524" y="2144266"/>
                <a:chExt cx="2339975" cy="3122984"/>
              </a:xfrm>
            </p:grpSpPr>
            <p:sp>
              <p:nvSpPr>
                <p:cNvPr id="93" name="îs1ídè">
                  <a:extLst>
                    <a:ext uri="{FF2B5EF4-FFF2-40B4-BE49-F238E27FC236}">
                      <a16:creationId xmlns:a16="http://schemas.microsoft.com/office/drawing/2014/main" id="{57F2795D-FDDE-4DCB-B1BB-15D0A8368225}"/>
                    </a:ext>
                  </a:extLst>
                </p:cNvPr>
                <p:cNvSpPr/>
                <p:nvPr/>
              </p:nvSpPr>
              <p:spPr bwMode="auto">
                <a:xfrm>
                  <a:off x="898524" y="2144266"/>
                  <a:ext cx="2339975" cy="504000"/>
                </a:xfrm>
                <a:prstGeom prst="roundRect">
                  <a:avLst>
                    <a:gd name="adj" fmla="val 8508"/>
                  </a:avLst>
                </a:prstGeom>
                <a:ln/>
              </p:spPr>
              <p:style>
                <a:lnRef idx="0">
                  <a:schemeClr val="accent5"/>
                </a:lnRef>
                <a:fillRef idx="3">
                  <a:schemeClr val="accent5"/>
                </a:fillRef>
                <a:effectRef idx="3">
                  <a:schemeClr val="accent5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000" dirty="0"/>
                    <a:t>InputSplit1</a:t>
                  </a:r>
                </a:p>
              </p:txBody>
            </p:sp>
            <p:sp>
              <p:nvSpPr>
                <p:cNvPr id="94" name="îṧḷîḓé">
                  <a:extLst>
                    <a:ext uri="{FF2B5EF4-FFF2-40B4-BE49-F238E27FC236}">
                      <a16:creationId xmlns:a16="http://schemas.microsoft.com/office/drawing/2014/main" id="{7CBF6969-F910-475A-896A-FD21C8491D73}"/>
                    </a:ext>
                  </a:extLst>
                </p:cNvPr>
                <p:cNvSpPr/>
                <p:nvPr/>
              </p:nvSpPr>
              <p:spPr bwMode="auto">
                <a:xfrm>
                  <a:off x="898524" y="3453758"/>
                  <a:ext cx="2339975" cy="504000"/>
                </a:xfrm>
                <a:prstGeom prst="roundRect">
                  <a:avLst>
                    <a:gd name="adj" fmla="val 8508"/>
                  </a:avLst>
                </a:prstGeom>
                <a:ln/>
              </p:spPr>
              <p:style>
                <a:lnRef idx="0">
                  <a:schemeClr val="accent5"/>
                </a:lnRef>
                <a:fillRef idx="3">
                  <a:schemeClr val="accent5"/>
                </a:fillRef>
                <a:effectRef idx="3">
                  <a:schemeClr val="accent5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000" dirty="0"/>
                    <a:t>InputSplit3</a:t>
                  </a:r>
                </a:p>
              </p:txBody>
            </p:sp>
            <p:sp>
              <p:nvSpPr>
                <p:cNvPr id="95" name="îṩḷiḋè">
                  <a:extLst>
                    <a:ext uri="{FF2B5EF4-FFF2-40B4-BE49-F238E27FC236}">
                      <a16:creationId xmlns:a16="http://schemas.microsoft.com/office/drawing/2014/main" id="{FC18F9FB-DF30-4EB2-96BA-B532812B8BA1}"/>
                    </a:ext>
                  </a:extLst>
                </p:cNvPr>
                <p:cNvSpPr/>
                <p:nvPr/>
              </p:nvSpPr>
              <p:spPr bwMode="auto">
                <a:xfrm>
                  <a:off x="898524" y="4763250"/>
                  <a:ext cx="2339975" cy="504000"/>
                </a:xfrm>
                <a:prstGeom prst="roundRect">
                  <a:avLst>
                    <a:gd name="adj" fmla="val 8508"/>
                  </a:avLst>
                </a:prstGeom>
                <a:ln/>
              </p:spPr>
              <p:style>
                <a:lnRef idx="0">
                  <a:schemeClr val="accent5"/>
                </a:lnRef>
                <a:fillRef idx="3">
                  <a:schemeClr val="accent5"/>
                </a:fillRef>
                <a:effectRef idx="3">
                  <a:schemeClr val="accent5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000" dirty="0"/>
                    <a:t>InputSplit5</a:t>
                  </a:r>
                </a:p>
              </p:txBody>
            </p:sp>
          </p:grpSp>
          <p:sp>
            <p:nvSpPr>
              <p:cNvPr id="79" name="íşlíde">
                <a:extLst>
                  <a:ext uri="{FF2B5EF4-FFF2-40B4-BE49-F238E27FC236}">
                    <a16:creationId xmlns:a16="http://schemas.microsoft.com/office/drawing/2014/main" id="{52C2466E-BBE7-4AD7-B1C2-DA437773D1FB}"/>
                  </a:ext>
                </a:extLst>
              </p:cNvPr>
              <p:cNvSpPr/>
              <p:nvPr/>
            </p:nvSpPr>
            <p:spPr>
              <a:xfrm>
                <a:off x="4008438" y="1130300"/>
                <a:ext cx="2816225" cy="5003800"/>
              </a:xfrm>
              <a:prstGeom prst="roundRect">
                <a:avLst>
                  <a:gd name="adj" fmla="val 2174"/>
                </a:avLst>
              </a:prstGeom>
              <a:noFill/>
              <a:ln w="9525" cap="rnd">
                <a:solidFill>
                  <a:schemeClr val="bg1">
                    <a:lumMod val="75000"/>
                  </a:schemeClr>
                </a:solidFill>
                <a:prstDash val="dash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i$ḻïḑé">
                <a:extLst>
                  <a:ext uri="{FF2B5EF4-FFF2-40B4-BE49-F238E27FC236}">
                    <a16:creationId xmlns:a16="http://schemas.microsoft.com/office/drawing/2014/main" id="{31196F61-A30E-41F9-B148-5C040759421B}"/>
                  </a:ext>
                </a:extLst>
              </p:cNvPr>
              <p:cNvSpPr/>
              <p:nvPr/>
            </p:nvSpPr>
            <p:spPr>
              <a:xfrm>
                <a:off x="4246563" y="1287596"/>
                <a:ext cx="2339975" cy="644567"/>
              </a:xfrm>
              <a:prstGeom prst="rect">
                <a:avLst/>
              </a:prstGeom>
              <a:noFill/>
              <a:ln w="31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lang="en-US" altLang="zh-CN" sz="2000" b="1" dirty="0">
                    <a:solidFill>
                      <a:schemeClr val="tx1"/>
                    </a:solidFill>
                  </a:rPr>
                  <a:t>Map()</a:t>
                </a:r>
                <a:endParaRPr lang="id-ID" altLang="zh-CN" sz="2000" b="1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81" name="îşľíďê">
                <a:extLst>
                  <a:ext uri="{FF2B5EF4-FFF2-40B4-BE49-F238E27FC236}">
                    <a16:creationId xmlns:a16="http://schemas.microsoft.com/office/drawing/2014/main" id="{97C1F7A5-327D-4288-B2C5-53A3A10563D7}"/>
                  </a:ext>
                </a:extLst>
              </p:cNvPr>
              <p:cNvGrpSpPr/>
              <p:nvPr/>
            </p:nvGrpSpPr>
            <p:grpSpPr>
              <a:xfrm>
                <a:off x="4246563" y="2144266"/>
                <a:ext cx="2339975" cy="3777731"/>
                <a:chOff x="4246563" y="2144266"/>
                <a:chExt cx="2339975" cy="3777731"/>
              </a:xfrm>
            </p:grpSpPr>
            <p:sp>
              <p:nvSpPr>
                <p:cNvPr id="87" name="îṩ1iḋe">
                  <a:extLst>
                    <a:ext uri="{FF2B5EF4-FFF2-40B4-BE49-F238E27FC236}">
                      <a16:creationId xmlns:a16="http://schemas.microsoft.com/office/drawing/2014/main" id="{5B44BFB1-942D-49CD-AF2C-CF5E70B8537B}"/>
                    </a:ext>
                  </a:extLst>
                </p:cNvPr>
                <p:cNvSpPr/>
                <p:nvPr/>
              </p:nvSpPr>
              <p:spPr bwMode="auto">
                <a:xfrm>
                  <a:off x="4246563" y="2144266"/>
                  <a:ext cx="2339975" cy="504000"/>
                </a:xfrm>
                <a:prstGeom prst="roundRect">
                  <a:avLst>
                    <a:gd name="adj" fmla="val 8508"/>
                  </a:avLst>
                </a:prstGeom>
                <a:ln/>
              </p:spPr>
              <p:style>
                <a:lnRef idx="0">
                  <a:schemeClr val="accent2"/>
                </a:lnRef>
                <a:fillRef idx="3">
                  <a:schemeClr val="accent2"/>
                </a:fillRef>
                <a:effectRef idx="3">
                  <a:schemeClr val="accent2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000" dirty="0"/>
                    <a:t>Map()</a:t>
                  </a:r>
                  <a:endParaRPr lang="id-ID" altLang="zh-CN" sz="1000" dirty="0"/>
                </a:p>
              </p:txBody>
            </p:sp>
            <p:sp>
              <p:nvSpPr>
                <p:cNvPr id="88" name="íş1îḑé">
                  <a:extLst>
                    <a:ext uri="{FF2B5EF4-FFF2-40B4-BE49-F238E27FC236}">
                      <a16:creationId xmlns:a16="http://schemas.microsoft.com/office/drawing/2014/main" id="{33A38B44-588F-4AF8-825B-155ABB2F8C52}"/>
                    </a:ext>
                  </a:extLst>
                </p:cNvPr>
                <p:cNvSpPr/>
                <p:nvPr/>
              </p:nvSpPr>
              <p:spPr bwMode="auto">
                <a:xfrm>
                  <a:off x="4246563" y="2799011"/>
                  <a:ext cx="2339975" cy="504000"/>
                </a:xfrm>
                <a:prstGeom prst="roundRect">
                  <a:avLst>
                    <a:gd name="adj" fmla="val 8508"/>
                  </a:avLst>
                </a:prstGeom>
                <a:ln/>
              </p:spPr>
              <p:style>
                <a:lnRef idx="0">
                  <a:schemeClr val="accent2"/>
                </a:lnRef>
                <a:fillRef idx="3">
                  <a:schemeClr val="accent2"/>
                </a:fillRef>
                <a:effectRef idx="3">
                  <a:schemeClr val="accent2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000" dirty="0"/>
                    <a:t>Map()</a:t>
                  </a:r>
                  <a:endParaRPr lang="id-ID" altLang="zh-CN" sz="1000" dirty="0"/>
                </a:p>
              </p:txBody>
            </p:sp>
            <p:sp>
              <p:nvSpPr>
                <p:cNvPr id="89" name="îSľiḓé">
                  <a:extLst>
                    <a:ext uri="{FF2B5EF4-FFF2-40B4-BE49-F238E27FC236}">
                      <a16:creationId xmlns:a16="http://schemas.microsoft.com/office/drawing/2014/main" id="{5F3CBA30-C6AC-47A4-B981-9867FC6DEA0B}"/>
                    </a:ext>
                  </a:extLst>
                </p:cNvPr>
                <p:cNvSpPr/>
                <p:nvPr/>
              </p:nvSpPr>
              <p:spPr bwMode="auto">
                <a:xfrm>
                  <a:off x="4246563" y="3453758"/>
                  <a:ext cx="2339975" cy="504000"/>
                </a:xfrm>
                <a:prstGeom prst="roundRect">
                  <a:avLst>
                    <a:gd name="adj" fmla="val 8508"/>
                  </a:avLst>
                </a:prstGeom>
                <a:ln/>
              </p:spPr>
              <p:style>
                <a:lnRef idx="0">
                  <a:schemeClr val="accent2"/>
                </a:lnRef>
                <a:fillRef idx="3">
                  <a:schemeClr val="accent2"/>
                </a:fillRef>
                <a:effectRef idx="3">
                  <a:schemeClr val="accent2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000" dirty="0"/>
                    <a:t>Map()</a:t>
                  </a:r>
                  <a:endParaRPr lang="id-ID" altLang="zh-CN" sz="1000" dirty="0"/>
                </a:p>
              </p:txBody>
            </p:sp>
            <p:sp>
              <p:nvSpPr>
                <p:cNvPr id="90" name="íṩľîḋé">
                  <a:extLst>
                    <a:ext uri="{FF2B5EF4-FFF2-40B4-BE49-F238E27FC236}">
                      <a16:creationId xmlns:a16="http://schemas.microsoft.com/office/drawing/2014/main" id="{B9683D5D-3F0D-4923-B2A3-586A841FB367}"/>
                    </a:ext>
                  </a:extLst>
                </p:cNvPr>
                <p:cNvSpPr/>
                <p:nvPr/>
              </p:nvSpPr>
              <p:spPr bwMode="auto">
                <a:xfrm>
                  <a:off x="4246563" y="4108504"/>
                  <a:ext cx="2339975" cy="504000"/>
                </a:xfrm>
                <a:prstGeom prst="roundRect">
                  <a:avLst>
                    <a:gd name="adj" fmla="val 8508"/>
                  </a:avLst>
                </a:prstGeom>
                <a:ln/>
              </p:spPr>
              <p:style>
                <a:lnRef idx="0">
                  <a:schemeClr val="accent2"/>
                </a:lnRef>
                <a:fillRef idx="3">
                  <a:schemeClr val="accent2"/>
                </a:fillRef>
                <a:effectRef idx="3">
                  <a:schemeClr val="accent2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000" dirty="0"/>
                    <a:t>Map()</a:t>
                  </a:r>
                  <a:endParaRPr lang="id-ID" altLang="zh-CN" sz="1000" dirty="0"/>
                </a:p>
              </p:txBody>
            </p:sp>
            <p:sp>
              <p:nvSpPr>
                <p:cNvPr id="91" name="íş1iḍê">
                  <a:extLst>
                    <a:ext uri="{FF2B5EF4-FFF2-40B4-BE49-F238E27FC236}">
                      <a16:creationId xmlns:a16="http://schemas.microsoft.com/office/drawing/2014/main" id="{15C7A528-D7E0-4229-8FE5-F5C41A9E60BB}"/>
                    </a:ext>
                  </a:extLst>
                </p:cNvPr>
                <p:cNvSpPr/>
                <p:nvPr/>
              </p:nvSpPr>
              <p:spPr bwMode="auto">
                <a:xfrm>
                  <a:off x="4246563" y="4763250"/>
                  <a:ext cx="2339975" cy="504000"/>
                </a:xfrm>
                <a:prstGeom prst="roundRect">
                  <a:avLst>
                    <a:gd name="adj" fmla="val 8508"/>
                  </a:avLst>
                </a:prstGeom>
                <a:ln/>
              </p:spPr>
              <p:style>
                <a:lnRef idx="0">
                  <a:schemeClr val="accent2"/>
                </a:lnRef>
                <a:fillRef idx="3">
                  <a:schemeClr val="accent2"/>
                </a:fillRef>
                <a:effectRef idx="3">
                  <a:schemeClr val="accent2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000" dirty="0"/>
                    <a:t>Map()</a:t>
                  </a:r>
                  <a:endParaRPr lang="id-ID" altLang="zh-CN" sz="1000" dirty="0"/>
                </a:p>
              </p:txBody>
            </p:sp>
            <p:sp>
              <p:nvSpPr>
                <p:cNvPr id="92" name="îšḷïḑé">
                  <a:extLst>
                    <a:ext uri="{FF2B5EF4-FFF2-40B4-BE49-F238E27FC236}">
                      <a16:creationId xmlns:a16="http://schemas.microsoft.com/office/drawing/2014/main" id="{9812588B-8B51-480B-ADAA-5341262224C2}"/>
                    </a:ext>
                  </a:extLst>
                </p:cNvPr>
                <p:cNvSpPr/>
                <p:nvPr/>
              </p:nvSpPr>
              <p:spPr bwMode="auto">
                <a:xfrm>
                  <a:off x="4246563" y="5417997"/>
                  <a:ext cx="2339975" cy="504000"/>
                </a:xfrm>
                <a:prstGeom prst="roundRect">
                  <a:avLst>
                    <a:gd name="adj" fmla="val 8508"/>
                  </a:avLst>
                </a:prstGeom>
                <a:ln/>
              </p:spPr>
              <p:style>
                <a:lnRef idx="0">
                  <a:schemeClr val="accent2"/>
                </a:lnRef>
                <a:fillRef idx="3">
                  <a:schemeClr val="accent2"/>
                </a:fillRef>
                <a:effectRef idx="3">
                  <a:schemeClr val="accent2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000" dirty="0"/>
                    <a:t>Map()</a:t>
                  </a:r>
                  <a:endParaRPr lang="id-ID" altLang="zh-CN" sz="1000" dirty="0"/>
                </a:p>
              </p:txBody>
            </p:sp>
          </p:grpSp>
          <p:sp>
            <p:nvSpPr>
              <p:cNvPr id="82" name="íŝlïḓè">
                <a:extLst>
                  <a:ext uri="{FF2B5EF4-FFF2-40B4-BE49-F238E27FC236}">
                    <a16:creationId xmlns:a16="http://schemas.microsoft.com/office/drawing/2014/main" id="{84B79743-CE8C-483A-9B5E-7A02626F75EA}"/>
                  </a:ext>
                </a:extLst>
              </p:cNvPr>
              <p:cNvSpPr/>
              <p:nvPr/>
            </p:nvSpPr>
            <p:spPr>
              <a:xfrm>
                <a:off x="7356476" y="1130300"/>
                <a:ext cx="2816225" cy="5003800"/>
              </a:xfrm>
              <a:prstGeom prst="roundRect">
                <a:avLst>
                  <a:gd name="adj" fmla="val 2174"/>
                </a:avLst>
              </a:prstGeom>
              <a:noFill/>
              <a:ln w="9525" cap="rnd">
                <a:solidFill>
                  <a:schemeClr val="bg1">
                    <a:lumMod val="75000"/>
                  </a:schemeClr>
                </a:solidFill>
                <a:prstDash val="dash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3" name="ïŝľîḓe">
                <a:extLst>
                  <a:ext uri="{FF2B5EF4-FFF2-40B4-BE49-F238E27FC236}">
                    <a16:creationId xmlns:a16="http://schemas.microsoft.com/office/drawing/2014/main" id="{562D0AB4-E643-4ABA-8F05-5AA017759FB7}"/>
                  </a:ext>
                </a:extLst>
              </p:cNvPr>
              <p:cNvSpPr/>
              <p:nvPr/>
            </p:nvSpPr>
            <p:spPr>
              <a:xfrm>
                <a:off x="7594601" y="1287596"/>
                <a:ext cx="2339975" cy="644567"/>
              </a:xfrm>
              <a:prstGeom prst="rect">
                <a:avLst/>
              </a:prstGeom>
              <a:noFill/>
              <a:ln w="31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lang="en-US" altLang="zh-CN" sz="2000" b="1" dirty="0">
                    <a:solidFill>
                      <a:schemeClr val="tx1"/>
                    </a:solidFill>
                  </a:rPr>
                  <a:t>Reduce()</a:t>
                </a:r>
                <a:endParaRPr lang="id-ID" altLang="zh-CN" sz="2000" b="1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84" name="íṡ1îdê">
                <a:extLst>
                  <a:ext uri="{FF2B5EF4-FFF2-40B4-BE49-F238E27FC236}">
                    <a16:creationId xmlns:a16="http://schemas.microsoft.com/office/drawing/2014/main" id="{FA440118-155D-41D3-A301-AB072E5756B7}"/>
                  </a:ext>
                </a:extLst>
              </p:cNvPr>
              <p:cNvGrpSpPr/>
              <p:nvPr/>
            </p:nvGrpSpPr>
            <p:grpSpPr>
              <a:xfrm>
                <a:off x="7594601" y="2799011"/>
                <a:ext cx="2339976" cy="1813493"/>
                <a:chOff x="7594601" y="2799011"/>
                <a:chExt cx="2339976" cy="1813493"/>
              </a:xfrm>
            </p:grpSpPr>
            <p:sp>
              <p:nvSpPr>
                <p:cNvPr id="85" name="íšlíḓè">
                  <a:extLst>
                    <a:ext uri="{FF2B5EF4-FFF2-40B4-BE49-F238E27FC236}">
                      <a16:creationId xmlns:a16="http://schemas.microsoft.com/office/drawing/2014/main" id="{59570826-9302-49FF-8CE5-0B7AC3042550}"/>
                    </a:ext>
                  </a:extLst>
                </p:cNvPr>
                <p:cNvSpPr/>
                <p:nvPr/>
              </p:nvSpPr>
              <p:spPr bwMode="auto">
                <a:xfrm>
                  <a:off x="7594601" y="2799011"/>
                  <a:ext cx="2339976" cy="504000"/>
                </a:xfrm>
                <a:prstGeom prst="roundRect">
                  <a:avLst>
                    <a:gd name="adj" fmla="val 8508"/>
                  </a:avLst>
                </a:prstGeom>
                <a:ln/>
              </p:spPr>
              <p:style>
                <a:lnRef idx="0">
                  <a:schemeClr val="accent1"/>
                </a:lnRef>
                <a:fillRef idx="3">
                  <a:schemeClr val="accent1"/>
                </a:fillRef>
                <a:effectRef idx="3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000" dirty="0"/>
                    <a:t>Reduce()</a:t>
                  </a:r>
                  <a:endParaRPr lang="id-ID" altLang="zh-CN" sz="1000" dirty="0"/>
                </a:p>
              </p:txBody>
            </p:sp>
            <p:sp>
              <p:nvSpPr>
                <p:cNvPr id="86" name="ïṧľîḓe">
                  <a:extLst>
                    <a:ext uri="{FF2B5EF4-FFF2-40B4-BE49-F238E27FC236}">
                      <a16:creationId xmlns:a16="http://schemas.microsoft.com/office/drawing/2014/main" id="{A8E249E6-482F-450B-AE6F-351DA4BF45D7}"/>
                    </a:ext>
                  </a:extLst>
                </p:cNvPr>
                <p:cNvSpPr/>
                <p:nvPr/>
              </p:nvSpPr>
              <p:spPr bwMode="auto">
                <a:xfrm>
                  <a:off x="7594601" y="4108504"/>
                  <a:ext cx="2339976" cy="504000"/>
                </a:xfrm>
                <a:prstGeom prst="roundRect">
                  <a:avLst>
                    <a:gd name="adj" fmla="val 8508"/>
                  </a:avLst>
                </a:prstGeom>
                <a:ln/>
              </p:spPr>
              <p:style>
                <a:lnRef idx="0">
                  <a:schemeClr val="accent1"/>
                </a:lnRef>
                <a:fillRef idx="3">
                  <a:schemeClr val="accent1"/>
                </a:fillRef>
                <a:effectRef idx="3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000" dirty="0"/>
                    <a:t>Reduce()</a:t>
                  </a:r>
                  <a:endParaRPr lang="id-ID" altLang="zh-CN" sz="1000" dirty="0"/>
                </a:p>
              </p:txBody>
            </p:sp>
          </p:grpSp>
        </p:grpSp>
        <p:sp>
          <p:nvSpPr>
            <p:cNvPr id="66" name="îs1ídè">
              <a:extLst>
                <a:ext uri="{FF2B5EF4-FFF2-40B4-BE49-F238E27FC236}">
                  <a16:creationId xmlns:a16="http://schemas.microsoft.com/office/drawing/2014/main" id="{94148BE3-9270-41EF-B99F-9790E637CF16}"/>
                </a:ext>
              </a:extLst>
            </p:cNvPr>
            <p:cNvSpPr/>
            <p:nvPr/>
          </p:nvSpPr>
          <p:spPr bwMode="auto">
            <a:xfrm>
              <a:off x="673893" y="3007309"/>
              <a:ext cx="1754981" cy="378000"/>
            </a:xfrm>
            <a:prstGeom prst="roundRect">
              <a:avLst>
                <a:gd name="adj" fmla="val 8508"/>
              </a:avLst>
            </a:prstGeom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000" dirty="0"/>
                <a:t>InputSplit2</a:t>
              </a:r>
            </a:p>
          </p:txBody>
        </p:sp>
        <p:sp>
          <p:nvSpPr>
            <p:cNvPr id="67" name="îṧḷîḓé">
              <a:extLst>
                <a:ext uri="{FF2B5EF4-FFF2-40B4-BE49-F238E27FC236}">
                  <a16:creationId xmlns:a16="http://schemas.microsoft.com/office/drawing/2014/main" id="{2CA9067A-9081-4C61-8810-3353581AD5E6}"/>
                </a:ext>
              </a:extLst>
            </p:cNvPr>
            <p:cNvSpPr/>
            <p:nvPr/>
          </p:nvSpPr>
          <p:spPr bwMode="auto">
            <a:xfrm>
              <a:off x="673892" y="3997922"/>
              <a:ext cx="1754981" cy="378000"/>
            </a:xfrm>
            <a:prstGeom prst="roundRect">
              <a:avLst>
                <a:gd name="adj" fmla="val 8508"/>
              </a:avLst>
            </a:prstGeom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000" dirty="0"/>
                <a:t>InputSplit4</a:t>
              </a:r>
            </a:p>
          </p:txBody>
        </p:sp>
        <p:sp>
          <p:nvSpPr>
            <p:cNvPr id="68" name="îṩḷiḋè">
              <a:extLst>
                <a:ext uri="{FF2B5EF4-FFF2-40B4-BE49-F238E27FC236}">
                  <a16:creationId xmlns:a16="http://schemas.microsoft.com/office/drawing/2014/main" id="{549D2ECF-8D23-448B-BBD2-3816AF92A3C3}"/>
                </a:ext>
              </a:extLst>
            </p:cNvPr>
            <p:cNvSpPr/>
            <p:nvPr/>
          </p:nvSpPr>
          <p:spPr bwMode="auto">
            <a:xfrm>
              <a:off x="673891" y="4967818"/>
              <a:ext cx="1754981" cy="378000"/>
            </a:xfrm>
            <a:prstGeom prst="roundRect">
              <a:avLst>
                <a:gd name="adj" fmla="val 8508"/>
              </a:avLst>
            </a:prstGeom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000" dirty="0"/>
                <a:t>InputSplit6</a:t>
              </a:r>
            </a:p>
          </p:txBody>
        </p:sp>
        <p:sp>
          <p:nvSpPr>
            <p:cNvPr id="69" name="箭头: 右 68">
              <a:extLst>
                <a:ext uri="{FF2B5EF4-FFF2-40B4-BE49-F238E27FC236}">
                  <a16:creationId xmlns:a16="http://schemas.microsoft.com/office/drawing/2014/main" id="{3DB6D0AC-D44C-4DA2-9F21-7C3A3891200B}"/>
                </a:ext>
              </a:extLst>
            </p:cNvPr>
            <p:cNvSpPr/>
            <p:nvPr/>
          </p:nvSpPr>
          <p:spPr>
            <a:xfrm>
              <a:off x="2428499" y="2638425"/>
              <a:ext cx="756048" cy="132869"/>
            </a:xfrm>
            <a:prstGeom prst="rightArrow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0" name="箭头: 右 69">
              <a:extLst>
                <a:ext uri="{FF2B5EF4-FFF2-40B4-BE49-F238E27FC236}">
                  <a16:creationId xmlns:a16="http://schemas.microsoft.com/office/drawing/2014/main" id="{31FCAFB5-5010-4330-89D1-2BD40D4F8110}"/>
                </a:ext>
              </a:extLst>
            </p:cNvPr>
            <p:cNvSpPr/>
            <p:nvPr/>
          </p:nvSpPr>
          <p:spPr>
            <a:xfrm>
              <a:off x="2428499" y="3630857"/>
              <a:ext cx="756048" cy="132869"/>
            </a:xfrm>
            <a:prstGeom prst="rightArrow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1" name="箭头: 右 70">
              <a:extLst>
                <a:ext uri="{FF2B5EF4-FFF2-40B4-BE49-F238E27FC236}">
                  <a16:creationId xmlns:a16="http://schemas.microsoft.com/office/drawing/2014/main" id="{3D0FCD3A-911A-4451-AE0F-C6E8FE70C896}"/>
                </a:ext>
              </a:extLst>
            </p:cNvPr>
            <p:cNvSpPr/>
            <p:nvPr/>
          </p:nvSpPr>
          <p:spPr>
            <a:xfrm>
              <a:off x="2428499" y="4127073"/>
              <a:ext cx="756048" cy="132869"/>
            </a:xfrm>
            <a:prstGeom prst="rightArrow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2" name="箭头: 右 71">
              <a:extLst>
                <a:ext uri="{FF2B5EF4-FFF2-40B4-BE49-F238E27FC236}">
                  <a16:creationId xmlns:a16="http://schemas.microsoft.com/office/drawing/2014/main" id="{17E4F766-5957-4B7A-8F90-7FC0E698B23A}"/>
                </a:ext>
              </a:extLst>
            </p:cNvPr>
            <p:cNvSpPr/>
            <p:nvPr/>
          </p:nvSpPr>
          <p:spPr>
            <a:xfrm>
              <a:off x="2428499" y="4623289"/>
              <a:ext cx="756048" cy="132869"/>
            </a:xfrm>
            <a:prstGeom prst="rightArrow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3" name="箭头: 右 72">
              <a:extLst>
                <a:ext uri="{FF2B5EF4-FFF2-40B4-BE49-F238E27FC236}">
                  <a16:creationId xmlns:a16="http://schemas.microsoft.com/office/drawing/2014/main" id="{06654946-3FE0-44CC-A9CB-295087FB37EF}"/>
                </a:ext>
              </a:extLst>
            </p:cNvPr>
            <p:cNvSpPr/>
            <p:nvPr/>
          </p:nvSpPr>
          <p:spPr>
            <a:xfrm>
              <a:off x="2428499" y="5119504"/>
              <a:ext cx="756048" cy="132869"/>
            </a:xfrm>
            <a:prstGeom prst="rightArrow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4" name="箭头: 右 73">
              <a:extLst>
                <a:ext uri="{FF2B5EF4-FFF2-40B4-BE49-F238E27FC236}">
                  <a16:creationId xmlns:a16="http://schemas.microsoft.com/office/drawing/2014/main" id="{F5727737-D673-44D9-A8F9-0A6EF435EF4E}"/>
                </a:ext>
              </a:extLst>
            </p:cNvPr>
            <p:cNvSpPr/>
            <p:nvPr/>
          </p:nvSpPr>
          <p:spPr>
            <a:xfrm>
              <a:off x="2428499" y="3134641"/>
              <a:ext cx="756048" cy="132869"/>
            </a:xfrm>
            <a:prstGeom prst="rightArrow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7E32B465-19EA-44CE-8A25-975BB6AA741A}"/>
                </a:ext>
              </a:extLst>
            </p:cNvPr>
            <p:cNvSpPr/>
            <p:nvPr/>
          </p:nvSpPr>
          <p:spPr>
            <a:xfrm rot="18053830">
              <a:off x="3982055" y="3128204"/>
              <a:ext cx="2166360" cy="1507204"/>
            </a:xfrm>
            <a:custGeom>
              <a:avLst/>
              <a:gdLst>
                <a:gd name="connsiteX0" fmla="*/ 1053071 w 2166360"/>
                <a:gd name="connsiteY0" fmla="*/ 1467381 h 1507204"/>
                <a:gd name="connsiteX1" fmla="*/ 992284 w 2166360"/>
                <a:gd name="connsiteY1" fmla="*/ 1507204 h 1507204"/>
                <a:gd name="connsiteX2" fmla="*/ 997525 w 2166360"/>
                <a:gd name="connsiteY2" fmla="*/ 1482052 h 1507204"/>
                <a:gd name="connsiteX3" fmla="*/ 0 w 2166360"/>
                <a:gd name="connsiteY3" fmla="*/ 1274189 h 1507204"/>
                <a:gd name="connsiteX4" fmla="*/ 10484 w 2166360"/>
                <a:gd name="connsiteY4" fmla="*/ 1223884 h 1507204"/>
                <a:gd name="connsiteX5" fmla="*/ 1008007 w 2166360"/>
                <a:gd name="connsiteY5" fmla="*/ 1431746 h 1507204"/>
                <a:gd name="connsiteX6" fmla="*/ 1013249 w 2166360"/>
                <a:gd name="connsiteY6" fmla="*/ 1406594 h 1507204"/>
                <a:gd name="connsiteX7" fmla="*/ 1112262 w 2166360"/>
                <a:gd name="connsiteY7" fmla="*/ 1284648 h 1507204"/>
                <a:gd name="connsiteX8" fmla="*/ 891394 w 2166360"/>
                <a:gd name="connsiteY8" fmla="*/ 1041978 h 1507204"/>
                <a:gd name="connsiteX9" fmla="*/ 459021 w 2166360"/>
                <a:gd name="connsiteY9" fmla="*/ 1041978 h 1507204"/>
                <a:gd name="connsiteX10" fmla="*/ 1109092 w 2166360"/>
                <a:gd name="connsiteY10" fmla="*/ 1292862 h 1507204"/>
                <a:gd name="connsiteX11" fmla="*/ 1434007 w 2166360"/>
                <a:gd name="connsiteY11" fmla="*/ 1041978 h 1507204"/>
                <a:gd name="connsiteX12" fmla="*/ 1304594 w 2166360"/>
                <a:gd name="connsiteY12" fmla="*/ 1041978 h 1507204"/>
                <a:gd name="connsiteX13" fmla="*/ 1323173 w 2166360"/>
                <a:gd name="connsiteY13" fmla="*/ 1183064 h 1507204"/>
                <a:gd name="connsiteX14" fmla="*/ 1342645 w 2166360"/>
                <a:gd name="connsiteY14" fmla="*/ 1194712 h 1507204"/>
                <a:gd name="connsiteX15" fmla="*/ 1584285 w 2166360"/>
                <a:gd name="connsiteY15" fmla="*/ 790752 h 1507204"/>
                <a:gd name="connsiteX16" fmla="*/ 1241513 w 2166360"/>
                <a:gd name="connsiteY16" fmla="*/ 562936 h 1507204"/>
                <a:gd name="connsiteX17" fmla="*/ 1295550 w 2166360"/>
                <a:gd name="connsiteY17" fmla="*/ 973297 h 1507204"/>
                <a:gd name="connsiteX18" fmla="*/ 1475090 w 2166360"/>
                <a:gd name="connsiteY18" fmla="*/ 973297 h 1507204"/>
                <a:gd name="connsiteX19" fmla="*/ 2091855 w 2166360"/>
                <a:gd name="connsiteY19" fmla="*/ 75995 h 1507204"/>
                <a:gd name="connsiteX20" fmla="*/ 1866814 w 2166360"/>
                <a:gd name="connsiteY20" fmla="*/ 452205 h 1507204"/>
                <a:gd name="connsiteX21" fmla="*/ 1997225 w 2166360"/>
                <a:gd name="connsiteY21" fmla="*/ 847209 h 1507204"/>
                <a:gd name="connsiteX22" fmla="*/ 2028767 w 2166360"/>
                <a:gd name="connsiteY22" fmla="*/ 836797 h 1507204"/>
                <a:gd name="connsiteX23" fmla="*/ 1986508 w 2166360"/>
                <a:gd name="connsiteY23" fmla="*/ 920709 h 1507204"/>
                <a:gd name="connsiteX24" fmla="*/ 1902596 w 2166360"/>
                <a:gd name="connsiteY24" fmla="*/ 878451 h 1507204"/>
                <a:gd name="connsiteX25" fmla="*/ 1934139 w 2166360"/>
                <a:gd name="connsiteY25" fmla="*/ 868037 h 1507204"/>
                <a:gd name="connsiteX26" fmla="*/ 1821734 w 2166360"/>
                <a:gd name="connsiteY26" fmla="*/ 527569 h 1507204"/>
                <a:gd name="connsiteX27" fmla="*/ 1671315 w 2166360"/>
                <a:gd name="connsiteY27" fmla="*/ 779031 h 1507204"/>
                <a:gd name="connsiteX28" fmla="*/ 1875489 w 2166360"/>
                <a:gd name="connsiteY28" fmla="*/ 914732 h 1507204"/>
                <a:gd name="connsiteX29" fmla="*/ 1891523 w 2166360"/>
                <a:gd name="connsiteY29" fmla="*/ 890606 h 1507204"/>
                <a:gd name="connsiteX30" fmla="*/ 1907705 w 2166360"/>
                <a:gd name="connsiteY30" fmla="*/ 970925 h 1507204"/>
                <a:gd name="connsiteX31" fmla="*/ 1827387 w 2166360"/>
                <a:gd name="connsiteY31" fmla="*/ 987106 h 1507204"/>
                <a:gd name="connsiteX32" fmla="*/ 1843421 w 2166360"/>
                <a:gd name="connsiteY32" fmla="*/ 962982 h 1507204"/>
                <a:gd name="connsiteX33" fmla="*/ 1641541 w 2166360"/>
                <a:gd name="connsiteY33" fmla="*/ 828807 h 1507204"/>
                <a:gd name="connsiteX34" fmla="*/ 1555109 w 2166360"/>
                <a:gd name="connsiteY34" fmla="*/ 973297 h 1507204"/>
                <a:gd name="connsiteX35" fmla="*/ 1757120 w 2166360"/>
                <a:gd name="connsiteY35" fmla="*/ 973297 h 1507204"/>
                <a:gd name="connsiteX36" fmla="*/ 1757120 w 2166360"/>
                <a:gd name="connsiteY36" fmla="*/ 938956 h 1507204"/>
                <a:gd name="connsiteX37" fmla="*/ 1825801 w 2166360"/>
                <a:gd name="connsiteY37" fmla="*/ 1007638 h 1507204"/>
                <a:gd name="connsiteX38" fmla="*/ 1757120 w 2166360"/>
                <a:gd name="connsiteY38" fmla="*/ 1076319 h 1507204"/>
                <a:gd name="connsiteX39" fmla="*/ 1757120 w 2166360"/>
                <a:gd name="connsiteY39" fmla="*/ 1041978 h 1507204"/>
                <a:gd name="connsiteX40" fmla="*/ 1514026 w 2166360"/>
                <a:gd name="connsiteY40" fmla="*/ 1041978 h 1507204"/>
                <a:gd name="connsiteX41" fmla="*/ 1401578 w 2166360"/>
                <a:gd name="connsiteY41" fmla="*/ 1229963 h 1507204"/>
                <a:gd name="connsiteX42" fmla="*/ 1431044 w 2166360"/>
                <a:gd name="connsiteY42" fmla="*/ 1247590 h 1507204"/>
                <a:gd name="connsiteX43" fmla="*/ 1336859 w 2166360"/>
                <a:gd name="connsiteY43" fmla="*/ 1271269 h 1507204"/>
                <a:gd name="connsiteX44" fmla="*/ 1332641 w 2166360"/>
                <a:gd name="connsiteY44" fmla="*/ 1254493 h 1507204"/>
                <a:gd name="connsiteX45" fmla="*/ 1303991 w 2166360"/>
                <a:gd name="connsiteY45" fmla="*/ 1291832 h 1507204"/>
                <a:gd name="connsiteX46" fmla="*/ 1229452 w 2166360"/>
                <a:gd name="connsiteY46" fmla="*/ 1234640 h 1507204"/>
                <a:gd name="connsiteX47" fmla="*/ 1262385 w 2166360"/>
                <a:gd name="connsiteY47" fmla="*/ 1230304 h 1507204"/>
                <a:gd name="connsiteX48" fmla="*/ 1237585 w 2166360"/>
                <a:gd name="connsiteY48" fmla="*/ 1041978 h 1507204"/>
                <a:gd name="connsiteX49" fmla="*/ 981227 w 2166360"/>
                <a:gd name="connsiteY49" fmla="*/ 1041978 h 1507204"/>
                <a:gd name="connsiteX50" fmla="*/ 1222636 w 2166360"/>
                <a:gd name="connsiteY50" fmla="*/ 1307216 h 1507204"/>
                <a:gd name="connsiteX51" fmla="*/ 1247201 w 2166360"/>
                <a:gd name="connsiteY51" fmla="*/ 1284857 h 1507204"/>
                <a:gd name="connsiteX52" fmla="*/ 1242786 w 2166360"/>
                <a:gd name="connsiteY52" fmla="*/ 1378706 h 1507204"/>
                <a:gd name="connsiteX53" fmla="*/ 1148938 w 2166360"/>
                <a:gd name="connsiteY53" fmla="*/ 1374292 h 1507204"/>
                <a:gd name="connsiteX54" fmla="*/ 1173504 w 2166360"/>
                <a:gd name="connsiteY54" fmla="*/ 1351934 h 1507204"/>
                <a:gd name="connsiteX55" fmla="*/ 1145395 w 2166360"/>
                <a:gd name="connsiteY55" fmla="*/ 1321051 h 1507204"/>
                <a:gd name="connsiteX56" fmla="*/ 1155458 w 2166360"/>
                <a:gd name="connsiteY56" fmla="*/ 1343764 h 1507204"/>
                <a:gd name="connsiteX57" fmla="*/ 1075831 w 2166360"/>
                <a:gd name="connsiteY57" fmla="*/ 1379044 h 1507204"/>
                <a:gd name="connsiteX58" fmla="*/ 1086918 w 2166360"/>
                <a:gd name="connsiteY58" fmla="*/ 1350317 h 1507204"/>
                <a:gd name="connsiteX59" fmla="*/ 349041 w 2166360"/>
                <a:gd name="connsiteY59" fmla="*/ 1065545 h 1507204"/>
                <a:gd name="connsiteX60" fmla="*/ 371215 w 2166360"/>
                <a:gd name="connsiteY60" fmla="*/ 1008091 h 1507204"/>
                <a:gd name="connsiteX61" fmla="*/ 424370 w 2166360"/>
                <a:gd name="connsiteY61" fmla="*/ 1028605 h 1507204"/>
                <a:gd name="connsiteX62" fmla="*/ 424370 w 2166360"/>
                <a:gd name="connsiteY62" fmla="*/ 973297 h 1507204"/>
                <a:gd name="connsiteX63" fmla="*/ 828884 w 2166360"/>
                <a:gd name="connsiteY63" fmla="*/ 973297 h 1507204"/>
                <a:gd name="connsiteX64" fmla="*/ 709320 w 2166360"/>
                <a:gd name="connsiteY64" fmla="*/ 841932 h 1507204"/>
                <a:gd name="connsiteX65" fmla="*/ 758452 w 2166360"/>
                <a:gd name="connsiteY65" fmla="*/ 797214 h 1507204"/>
                <a:gd name="connsiteX66" fmla="*/ 918716 w 2166360"/>
                <a:gd name="connsiteY66" fmla="*/ 973297 h 1507204"/>
                <a:gd name="connsiteX67" fmla="*/ 1228541 w 2166360"/>
                <a:gd name="connsiteY67" fmla="*/ 973297 h 1507204"/>
                <a:gd name="connsiteX68" fmla="*/ 1172352 w 2166360"/>
                <a:gd name="connsiteY68" fmla="*/ 546592 h 1507204"/>
                <a:gd name="connsiteX69" fmla="*/ 1234091 w 2166360"/>
                <a:gd name="connsiteY69" fmla="*/ 538462 h 1507204"/>
                <a:gd name="connsiteX70" fmla="*/ 1257152 w 2166360"/>
                <a:gd name="connsiteY70" fmla="*/ 503765 h 1507204"/>
                <a:gd name="connsiteX71" fmla="*/ 1614058 w 2166360"/>
                <a:gd name="connsiteY71" fmla="*/ 740977 h 1507204"/>
                <a:gd name="connsiteX72" fmla="*/ 1793276 w 2166360"/>
                <a:gd name="connsiteY72" fmla="*/ 441373 h 1507204"/>
                <a:gd name="connsiteX73" fmla="*/ 1717941 w 2166360"/>
                <a:gd name="connsiteY73" fmla="*/ 213189 h 1507204"/>
                <a:gd name="connsiteX74" fmla="*/ 1781027 w 2166360"/>
                <a:gd name="connsiteY74" fmla="*/ 192362 h 1507204"/>
                <a:gd name="connsiteX75" fmla="*/ 1838356 w 2166360"/>
                <a:gd name="connsiteY75" fmla="*/ 366008 h 1507204"/>
                <a:gd name="connsiteX76" fmla="*/ 2032922 w 2166360"/>
                <a:gd name="connsiteY76" fmla="*/ 40742 h 1507204"/>
                <a:gd name="connsiteX77" fmla="*/ 2161808 w 2166360"/>
                <a:gd name="connsiteY77" fmla="*/ 2341 h 1507204"/>
                <a:gd name="connsiteX78" fmla="*/ 2134184 w 2166360"/>
                <a:gd name="connsiteY78" fmla="*/ 761778 h 1507204"/>
                <a:gd name="connsiteX79" fmla="*/ 2166360 w 2166360"/>
                <a:gd name="connsiteY79" fmla="*/ 762949 h 1507204"/>
                <a:gd name="connsiteX80" fmla="*/ 2099668 w 2166360"/>
                <a:gd name="connsiteY80" fmla="*/ 824959 h 1507204"/>
                <a:gd name="connsiteX81" fmla="*/ 2037659 w 2166360"/>
                <a:gd name="connsiteY81" fmla="*/ 758268 h 1507204"/>
                <a:gd name="connsiteX82" fmla="*/ 2069835 w 2166360"/>
                <a:gd name="connsiteY82" fmla="*/ 759438 h 1507204"/>
                <a:gd name="connsiteX83" fmla="*/ 2097458 w 2166360"/>
                <a:gd name="connsiteY83" fmla="*/ 0 h 1507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2166360" h="1507204">
                  <a:moveTo>
                    <a:pt x="1053071" y="1467381"/>
                  </a:moveTo>
                  <a:lnTo>
                    <a:pt x="992284" y="1507204"/>
                  </a:lnTo>
                  <a:lnTo>
                    <a:pt x="997525" y="1482052"/>
                  </a:lnTo>
                  <a:lnTo>
                    <a:pt x="0" y="1274189"/>
                  </a:lnTo>
                  <a:lnTo>
                    <a:pt x="10484" y="1223884"/>
                  </a:lnTo>
                  <a:lnTo>
                    <a:pt x="1008007" y="1431746"/>
                  </a:lnTo>
                  <a:lnTo>
                    <a:pt x="1013249" y="1406594"/>
                  </a:lnTo>
                  <a:close/>
                  <a:moveTo>
                    <a:pt x="1112262" y="1284648"/>
                  </a:moveTo>
                  <a:lnTo>
                    <a:pt x="891394" y="1041978"/>
                  </a:lnTo>
                  <a:lnTo>
                    <a:pt x="459021" y="1041978"/>
                  </a:lnTo>
                  <a:lnTo>
                    <a:pt x="1109092" y="1292862"/>
                  </a:lnTo>
                  <a:close/>
                  <a:moveTo>
                    <a:pt x="1434007" y="1041978"/>
                  </a:moveTo>
                  <a:lnTo>
                    <a:pt x="1304594" y="1041978"/>
                  </a:lnTo>
                  <a:lnTo>
                    <a:pt x="1323173" y="1183064"/>
                  </a:lnTo>
                  <a:lnTo>
                    <a:pt x="1342645" y="1194712"/>
                  </a:lnTo>
                  <a:close/>
                  <a:moveTo>
                    <a:pt x="1584285" y="790752"/>
                  </a:moveTo>
                  <a:lnTo>
                    <a:pt x="1241513" y="562936"/>
                  </a:lnTo>
                  <a:lnTo>
                    <a:pt x="1295550" y="973297"/>
                  </a:lnTo>
                  <a:lnTo>
                    <a:pt x="1475090" y="973297"/>
                  </a:lnTo>
                  <a:close/>
                  <a:moveTo>
                    <a:pt x="2091855" y="75995"/>
                  </a:moveTo>
                  <a:lnTo>
                    <a:pt x="1866814" y="452205"/>
                  </a:lnTo>
                  <a:lnTo>
                    <a:pt x="1997225" y="847209"/>
                  </a:lnTo>
                  <a:lnTo>
                    <a:pt x="2028767" y="836797"/>
                  </a:lnTo>
                  <a:lnTo>
                    <a:pt x="1986508" y="920709"/>
                  </a:lnTo>
                  <a:lnTo>
                    <a:pt x="1902596" y="878451"/>
                  </a:lnTo>
                  <a:lnTo>
                    <a:pt x="1934139" y="868037"/>
                  </a:lnTo>
                  <a:lnTo>
                    <a:pt x="1821734" y="527569"/>
                  </a:lnTo>
                  <a:lnTo>
                    <a:pt x="1671315" y="779031"/>
                  </a:lnTo>
                  <a:lnTo>
                    <a:pt x="1875489" y="914732"/>
                  </a:lnTo>
                  <a:lnTo>
                    <a:pt x="1891523" y="890606"/>
                  </a:lnTo>
                  <a:lnTo>
                    <a:pt x="1907705" y="970925"/>
                  </a:lnTo>
                  <a:lnTo>
                    <a:pt x="1827387" y="987106"/>
                  </a:lnTo>
                  <a:lnTo>
                    <a:pt x="1843421" y="962982"/>
                  </a:lnTo>
                  <a:lnTo>
                    <a:pt x="1641541" y="828807"/>
                  </a:lnTo>
                  <a:lnTo>
                    <a:pt x="1555109" y="973297"/>
                  </a:lnTo>
                  <a:lnTo>
                    <a:pt x="1757120" y="973297"/>
                  </a:lnTo>
                  <a:lnTo>
                    <a:pt x="1757120" y="938956"/>
                  </a:lnTo>
                  <a:lnTo>
                    <a:pt x="1825801" y="1007638"/>
                  </a:lnTo>
                  <a:lnTo>
                    <a:pt x="1757120" y="1076319"/>
                  </a:lnTo>
                  <a:lnTo>
                    <a:pt x="1757120" y="1041978"/>
                  </a:lnTo>
                  <a:lnTo>
                    <a:pt x="1514026" y="1041978"/>
                  </a:lnTo>
                  <a:lnTo>
                    <a:pt x="1401578" y="1229963"/>
                  </a:lnTo>
                  <a:lnTo>
                    <a:pt x="1431044" y="1247590"/>
                  </a:lnTo>
                  <a:lnTo>
                    <a:pt x="1336859" y="1271269"/>
                  </a:lnTo>
                  <a:lnTo>
                    <a:pt x="1332641" y="1254493"/>
                  </a:lnTo>
                  <a:lnTo>
                    <a:pt x="1303991" y="1291832"/>
                  </a:lnTo>
                  <a:lnTo>
                    <a:pt x="1229452" y="1234640"/>
                  </a:lnTo>
                  <a:lnTo>
                    <a:pt x="1262385" y="1230304"/>
                  </a:lnTo>
                  <a:lnTo>
                    <a:pt x="1237585" y="1041978"/>
                  </a:lnTo>
                  <a:lnTo>
                    <a:pt x="981227" y="1041978"/>
                  </a:lnTo>
                  <a:lnTo>
                    <a:pt x="1222636" y="1307216"/>
                  </a:lnTo>
                  <a:lnTo>
                    <a:pt x="1247201" y="1284857"/>
                  </a:lnTo>
                  <a:lnTo>
                    <a:pt x="1242786" y="1378706"/>
                  </a:lnTo>
                  <a:lnTo>
                    <a:pt x="1148938" y="1374292"/>
                  </a:lnTo>
                  <a:lnTo>
                    <a:pt x="1173504" y="1351934"/>
                  </a:lnTo>
                  <a:lnTo>
                    <a:pt x="1145395" y="1321051"/>
                  </a:lnTo>
                  <a:lnTo>
                    <a:pt x="1155458" y="1343764"/>
                  </a:lnTo>
                  <a:lnTo>
                    <a:pt x="1075831" y="1379044"/>
                  </a:lnTo>
                  <a:lnTo>
                    <a:pt x="1086918" y="1350317"/>
                  </a:lnTo>
                  <a:lnTo>
                    <a:pt x="349041" y="1065545"/>
                  </a:lnTo>
                  <a:lnTo>
                    <a:pt x="371215" y="1008091"/>
                  </a:lnTo>
                  <a:lnTo>
                    <a:pt x="424370" y="1028605"/>
                  </a:lnTo>
                  <a:lnTo>
                    <a:pt x="424370" y="973297"/>
                  </a:lnTo>
                  <a:lnTo>
                    <a:pt x="828884" y="973297"/>
                  </a:lnTo>
                  <a:lnTo>
                    <a:pt x="709320" y="841932"/>
                  </a:lnTo>
                  <a:lnTo>
                    <a:pt x="758452" y="797214"/>
                  </a:lnTo>
                  <a:lnTo>
                    <a:pt x="918716" y="973297"/>
                  </a:lnTo>
                  <a:lnTo>
                    <a:pt x="1228541" y="973297"/>
                  </a:lnTo>
                  <a:lnTo>
                    <a:pt x="1172352" y="546592"/>
                  </a:lnTo>
                  <a:lnTo>
                    <a:pt x="1234091" y="538462"/>
                  </a:lnTo>
                  <a:lnTo>
                    <a:pt x="1257152" y="503765"/>
                  </a:lnTo>
                  <a:lnTo>
                    <a:pt x="1614058" y="740977"/>
                  </a:lnTo>
                  <a:lnTo>
                    <a:pt x="1793276" y="441373"/>
                  </a:lnTo>
                  <a:lnTo>
                    <a:pt x="1717941" y="213189"/>
                  </a:lnTo>
                  <a:lnTo>
                    <a:pt x="1781027" y="192362"/>
                  </a:lnTo>
                  <a:lnTo>
                    <a:pt x="1838356" y="366008"/>
                  </a:lnTo>
                  <a:lnTo>
                    <a:pt x="2032922" y="40742"/>
                  </a:lnTo>
                  <a:close/>
                  <a:moveTo>
                    <a:pt x="2161808" y="2341"/>
                  </a:moveTo>
                  <a:lnTo>
                    <a:pt x="2134184" y="761778"/>
                  </a:lnTo>
                  <a:lnTo>
                    <a:pt x="2166360" y="762949"/>
                  </a:lnTo>
                  <a:lnTo>
                    <a:pt x="2099668" y="824959"/>
                  </a:lnTo>
                  <a:lnTo>
                    <a:pt x="2037659" y="758268"/>
                  </a:lnTo>
                  <a:lnTo>
                    <a:pt x="2069835" y="759438"/>
                  </a:lnTo>
                  <a:lnTo>
                    <a:pt x="2097458" y="0"/>
                  </a:lnTo>
                  <a:close/>
                </a:path>
              </a:pathLst>
            </a:cu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 dirty="0"/>
            </a:p>
          </p:txBody>
        </p:sp>
      </p:grpSp>
      <p:sp>
        <p:nvSpPr>
          <p:cNvPr id="97" name="任意多边形: 形状 96">
            <a:extLst>
              <a:ext uri="{FF2B5EF4-FFF2-40B4-BE49-F238E27FC236}">
                <a16:creationId xmlns:a16="http://schemas.microsoft.com/office/drawing/2014/main" id="{157636E0-84C6-42A4-9599-75DC4186F97C}"/>
              </a:ext>
            </a:extLst>
          </p:cNvPr>
          <p:cNvSpPr/>
          <p:nvPr/>
        </p:nvSpPr>
        <p:spPr>
          <a:xfrm rot="8053541">
            <a:off x="12877299" y="-196790"/>
            <a:ext cx="7673254" cy="7657979"/>
          </a:xfrm>
          <a:custGeom>
            <a:avLst/>
            <a:gdLst>
              <a:gd name="connsiteX0" fmla="*/ 0 w 7673254"/>
              <a:gd name="connsiteY0" fmla="*/ 4067416 h 7657979"/>
              <a:gd name="connsiteX1" fmla="*/ 17948 w 7673254"/>
              <a:gd name="connsiteY1" fmla="*/ 3388263 h 7657979"/>
              <a:gd name="connsiteX2" fmla="*/ 3496932 w 7673254"/>
              <a:gd name="connsiteY2" fmla="*/ 3480199 h 7657979"/>
              <a:gd name="connsiteX3" fmla="*/ 3496932 w 7673254"/>
              <a:gd name="connsiteY3" fmla="*/ 0 h 7657979"/>
              <a:gd name="connsiteX4" fmla="*/ 4176322 w 7673254"/>
              <a:gd name="connsiteY4" fmla="*/ 0 h 7657979"/>
              <a:gd name="connsiteX5" fmla="*/ 4176322 w 7673254"/>
              <a:gd name="connsiteY5" fmla="*/ 3498153 h 7657979"/>
              <a:gd name="connsiteX6" fmla="*/ 7673254 w 7673254"/>
              <a:gd name="connsiteY6" fmla="*/ 3590563 h 7657979"/>
              <a:gd name="connsiteX7" fmla="*/ 7655306 w 7673254"/>
              <a:gd name="connsiteY7" fmla="*/ 4269716 h 7657979"/>
              <a:gd name="connsiteX8" fmla="*/ 4176322 w 7673254"/>
              <a:gd name="connsiteY8" fmla="*/ 4177780 h 7657979"/>
              <a:gd name="connsiteX9" fmla="*/ 4176322 w 7673254"/>
              <a:gd name="connsiteY9" fmla="*/ 7657979 h 7657979"/>
              <a:gd name="connsiteX10" fmla="*/ 3496932 w 7673254"/>
              <a:gd name="connsiteY10" fmla="*/ 7657979 h 7657979"/>
              <a:gd name="connsiteX11" fmla="*/ 3496932 w 7673254"/>
              <a:gd name="connsiteY11" fmla="*/ 4159826 h 7657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73254" h="7657979">
                <a:moveTo>
                  <a:pt x="0" y="4067416"/>
                </a:moveTo>
                <a:lnTo>
                  <a:pt x="17948" y="3388263"/>
                </a:lnTo>
                <a:lnTo>
                  <a:pt x="3496932" y="3480199"/>
                </a:lnTo>
                <a:lnTo>
                  <a:pt x="3496932" y="0"/>
                </a:lnTo>
                <a:lnTo>
                  <a:pt x="4176322" y="0"/>
                </a:lnTo>
                <a:lnTo>
                  <a:pt x="4176322" y="3498153"/>
                </a:lnTo>
                <a:lnTo>
                  <a:pt x="7673254" y="3590563"/>
                </a:lnTo>
                <a:lnTo>
                  <a:pt x="7655306" y="4269716"/>
                </a:lnTo>
                <a:lnTo>
                  <a:pt x="4176322" y="4177780"/>
                </a:lnTo>
                <a:lnTo>
                  <a:pt x="4176322" y="7657979"/>
                </a:lnTo>
                <a:lnTo>
                  <a:pt x="3496932" y="7657979"/>
                </a:lnTo>
                <a:lnTo>
                  <a:pt x="3496932" y="4159826"/>
                </a:lnTo>
                <a:close/>
              </a:path>
            </a:pathLst>
          </a:cu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7861594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crush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执行几个看看？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0</a:t>
            </a:fld>
            <a:endParaRPr lang="zh-CN" altLang="en-US"/>
          </a:p>
        </p:txBody>
      </p:sp>
      <p:grpSp>
        <p:nvGrpSpPr>
          <p:cNvPr id="194" name="180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4D56F3B-0686-4E9E-A675-DA7BF2C9F6C2}"/>
              </a:ext>
            </a:extLst>
          </p:cNvPr>
          <p:cNvGrpSpPr>
            <a:grpSpLocks noChangeAspect="1"/>
          </p:cNvGrpSpPr>
          <p:nvPr/>
        </p:nvGrpSpPr>
        <p:grpSpPr>
          <a:xfrm>
            <a:off x="1875381" y="-2460624"/>
            <a:ext cx="5393238" cy="2212975"/>
            <a:chOff x="938530" y="1805421"/>
            <a:chExt cx="10580370" cy="4341379"/>
          </a:xfrm>
        </p:grpSpPr>
        <p:sp>
          <p:nvSpPr>
            <p:cNvPr id="195" name="iṧḻîďè">
              <a:extLst>
                <a:ext uri="{FF2B5EF4-FFF2-40B4-BE49-F238E27FC236}">
                  <a16:creationId xmlns:a16="http://schemas.microsoft.com/office/drawing/2014/main" id="{6FC8272D-4563-47EB-B741-E738A21C2623}"/>
                </a:ext>
              </a:extLst>
            </p:cNvPr>
            <p:cNvSpPr/>
            <p:nvPr/>
          </p:nvSpPr>
          <p:spPr bwMode="auto">
            <a:xfrm>
              <a:off x="5637082" y="5226400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搞定！</a:t>
              </a:r>
              <a:endParaRPr lang="en-US" altLang="zh-CN" b="1" dirty="0"/>
            </a:p>
          </p:txBody>
        </p:sp>
        <p:sp>
          <p:nvSpPr>
            <p:cNvPr id="196" name="îŝḻiḋé">
              <a:extLst>
                <a:ext uri="{FF2B5EF4-FFF2-40B4-BE49-F238E27FC236}">
                  <a16:creationId xmlns:a16="http://schemas.microsoft.com/office/drawing/2014/main" id="{C05C75D7-4258-49B9-958F-F2EEF0B840E0}"/>
                </a:ext>
              </a:extLst>
            </p:cNvPr>
            <p:cNvSpPr/>
            <p:nvPr/>
          </p:nvSpPr>
          <p:spPr bwMode="auto">
            <a:xfrm>
              <a:off x="6176201" y="4576024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>
                  <a:solidFill>
                    <a:schemeClr val="bg1"/>
                  </a:solidFill>
                </a:rPr>
                <a:t>测试</a:t>
              </a:r>
              <a:endParaRPr lang="en-US" altLang="zh-CN" sz="1750" b="1" dirty="0">
                <a:solidFill>
                  <a:schemeClr val="bg1"/>
                </a:solidFill>
              </a:endParaRPr>
            </a:p>
          </p:txBody>
        </p:sp>
        <p:sp>
          <p:nvSpPr>
            <p:cNvPr id="197" name="íṥḷíďê">
              <a:extLst>
                <a:ext uri="{FF2B5EF4-FFF2-40B4-BE49-F238E27FC236}">
                  <a16:creationId xmlns:a16="http://schemas.microsoft.com/office/drawing/2014/main" id="{D4FCC7AE-5767-4EC4-BB68-B94457D3AE6D}"/>
                </a:ext>
              </a:extLst>
            </p:cNvPr>
            <p:cNvSpPr/>
            <p:nvPr/>
          </p:nvSpPr>
          <p:spPr bwMode="auto">
            <a:xfrm>
              <a:off x="6703850" y="3925648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/>
                <a:t>配置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8" name="ïś1ïḓè">
              <a:extLst>
                <a:ext uri="{FF2B5EF4-FFF2-40B4-BE49-F238E27FC236}">
                  <a16:creationId xmlns:a16="http://schemas.microsoft.com/office/drawing/2014/main" id="{F32E844B-E27C-4A92-9B60-95E4AD88D81F}"/>
                </a:ext>
              </a:extLst>
            </p:cNvPr>
            <p:cNvSpPr/>
            <p:nvPr/>
          </p:nvSpPr>
          <p:spPr bwMode="auto">
            <a:xfrm>
              <a:off x="7241823" y="3275272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 dirty="0"/>
                <a:t>安装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9" name="îśļïḍè">
              <a:extLst>
                <a:ext uri="{FF2B5EF4-FFF2-40B4-BE49-F238E27FC236}">
                  <a16:creationId xmlns:a16="http://schemas.microsoft.com/office/drawing/2014/main" id="{F812BB55-77DE-4E23-95E6-156A22FAD363}"/>
                </a:ext>
              </a:extLst>
            </p:cNvPr>
            <p:cNvSpPr/>
            <p:nvPr/>
          </p:nvSpPr>
          <p:spPr bwMode="auto">
            <a:xfrm>
              <a:off x="7743555" y="2624895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配置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0" name="ï$1íḍé">
              <a:extLst>
                <a:ext uri="{FF2B5EF4-FFF2-40B4-BE49-F238E27FC236}">
                  <a16:creationId xmlns:a16="http://schemas.microsoft.com/office/drawing/2014/main" id="{48245F16-84E7-4201-9485-85B5E5B15ECD}"/>
                </a:ext>
              </a:extLst>
            </p:cNvPr>
            <p:cNvSpPr/>
            <p:nvPr/>
          </p:nvSpPr>
          <p:spPr bwMode="auto">
            <a:xfrm>
              <a:off x="8263856" y="1974519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安装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1" name="îṥľïďê">
              <a:extLst>
                <a:ext uri="{FF2B5EF4-FFF2-40B4-BE49-F238E27FC236}">
                  <a16:creationId xmlns:a16="http://schemas.microsoft.com/office/drawing/2014/main" id="{920DFBAA-02E5-4206-86B0-FE10F93A7509}"/>
                </a:ext>
              </a:extLst>
            </p:cNvPr>
            <p:cNvSpPr/>
            <p:nvPr/>
          </p:nvSpPr>
          <p:spPr bwMode="auto">
            <a:xfrm>
              <a:off x="5220497" y="3438015"/>
              <a:ext cx="3741918" cy="1239562"/>
            </a:xfrm>
            <a:custGeom>
              <a:avLst/>
              <a:gdLst>
                <a:gd name="T0" fmla="*/ 179 w 203"/>
                <a:gd name="T1" fmla="*/ 82 h 82"/>
                <a:gd name="T2" fmla="*/ 203 w 203"/>
                <a:gd name="T3" fmla="*/ 29 h 82"/>
                <a:gd name="T4" fmla="*/ 65 w 203"/>
                <a:gd name="T5" fmla="*/ 27 h 82"/>
                <a:gd name="T6" fmla="*/ 59 w 203"/>
                <a:gd name="T7" fmla="*/ 0 h 82"/>
                <a:gd name="T8" fmla="*/ 59 w 203"/>
                <a:gd name="T9" fmla="*/ 0 h 82"/>
                <a:gd name="T10" fmla="*/ 0 w 203"/>
                <a:gd name="T11" fmla="*/ 80 h 82"/>
                <a:gd name="T12" fmla="*/ 61 w 203"/>
                <a:gd name="T13" fmla="*/ 82 h 82"/>
                <a:gd name="T14" fmla="*/ 179 w 203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82">
                  <a:moveTo>
                    <a:pt x="179" y="82"/>
                  </a:moveTo>
                  <a:lnTo>
                    <a:pt x="203" y="29"/>
                  </a:lnTo>
                  <a:lnTo>
                    <a:pt x="65" y="27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0" y="80"/>
                  </a:lnTo>
                  <a:lnTo>
                    <a:pt x="61" y="82"/>
                  </a:lnTo>
                  <a:lnTo>
                    <a:pt x="179" y="8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2" name="i$ḻíḋè">
              <a:extLst>
                <a:ext uri="{FF2B5EF4-FFF2-40B4-BE49-F238E27FC236}">
                  <a16:creationId xmlns:a16="http://schemas.microsoft.com/office/drawing/2014/main" id="{430BE7EB-B6F0-4F05-80EA-1F517165029F}"/>
                </a:ext>
              </a:extLst>
            </p:cNvPr>
            <p:cNvSpPr/>
            <p:nvPr/>
          </p:nvSpPr>
          <p:spPr bwMode="auto">
            <a:xfrm>
              <a:off x="8032938" y="1974519"/>
              <a:ext cx="1398307" cy="247664"/>
            </a:xfrm>
            <a:prstGeom prst="triangle">
              <a:avLst>
                <a:gd name="adj" fmla="val 14726"/>
              </a:avLst>
            </a:pr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3" name="işľiḋe">
              <a:extLst>
                <a:ext uri="{FF2B5EF4-FFF2-40B4-BE49-F238E27FC236}">
                  <a16:creationId xmlns:a16="http://schemas.microsoft.com/office/drawing/2014/main" id="{E4DECB97-43D1-4D26-8C48-41447675AE79}"/>
                </a:ext>
              </a:extLst>
            </p:cNvPr>
            <p:cNvSpPr/>
            <p:nvPr/>
          </p:nvSpPr>
          <p:spPr bwMode="auto">
            <a:xfrm>
              <a:off x="3675422" y="1805421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4" name="iś1íďé">
              <a:extLst>
                <a:ext uri="{FF2B5EF4-FFF2-40B4-BE49-F238E27FC236}">
                  <a16:creationId xmlns:a16="http://schemas.microsoft.com/office/drawing/2014/main" id="{6E7EA96A-F20A-4912-AC31-63A0F19E66DE}"/>
                </a:ext>
              </a:extLst>
            </p:cNvPr>
            <p:cNvSpPr/>
            <p:nvPr/>
          </p:nvSpPr>
          <p:spPr bwMode="auto">
            <a:xfrm>
              <a:off x="3129452" y="2455797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5" name="ïŝlíḋe">
              <a:extLst>
                <a:ext uri="{FF2B5EF4-FFF2-40B4-BE49-F238E27FC236}">
                  <a16:creationId xmlns:a16="http://schemas.microsoft.com/office/drawing/2014/main" id="{66D30D6F-26C9-4C2C-BC01-900AC07DC57E}"/>
                </a:ext>
              </a:extLst>
            </p:cNvPr>
            <p:cNvSpPr/>
            <p:nvPr/>
          </p:nvSpPr>
          <p:spPr bwMode="auto">
            <a:xfrm>
              <a:off x="2576633" y="3106174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6" name="îSliďè">
              <a:extLst>
                <a:ext uri="{FF2B5EF4-FFF2-40B4-BE49-F238E27FC236}">
                  <a16:creationId xmlns:a16="http://schemas.microsoft.com/office/drawing/2014/main" id="{2F6D5554-EACD-4DDD-892F-2E5F97A9C421}"/>
                </a:ext>
              </a:extLst>
            </p:cNvPr>
            <p:cNvSpPr/>
            <p:nvPr/>
          </p:nvSpPr>
          <p:spPr bwMode="auto">
            <a:xfrm>
              <a:off x="2030696" y="3756550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7" name="îSliďé">
              <a:extLst>
                <a:ext uri="{FF2B5EF4-FFF2-40B4-BE49-F238E27FC236}">
                  <a16:creationId xmlns:a16="http://schemas.microsoft.com/office/drawing/2014/main" id="{2E278F3F-C8D8-4E2A-A3EA-29ADCF1A02AA}"/>
                </a:ext>
              </a:extLst>
            </p:cNvPr>
            <p:cNvSpPr/>
            <p:nvPr/>
          </p:nvSpPr>
          <p:spPr bwMode="auto">
            <a:xfrm>
              <a:off x="1484532" y="4406926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8" name="îs1iďé">
              <a:extLst>
                <a:ext uri="{FF2B5EF4-FFF2-40B4-BE49-F238E27FC236}">
                  <a16:creationId xmlns:a16="http://schemas.microsoft.com/office/drawing/2014/main" id="{EB74D0C2-5677-4F3F-A043-44D01A3F3D48}"/>
                </a:ext>
              </a:extLst>
            </p:cNvPr>
            <p:cNvSpPr/>
            <p:nvPr/>
          </p:nvSpPr>
          <p:spPr bwMode="auto">
            <a:xfrm>
              <a:off x="938530" y="5057302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9" name="ïṣḻïḋe">
              <a:extLst>
                <a:ext uri="{FF2B5EF4-FFF2-40B4-BE49-F238E27FC236}">
                  <a16:creationId xmlns:a16="http://schemas.microsoft.com/office/drawing/2014/main" id="{7709F84E-C33F-462F-B538-51CB71C9284E}"/>
                </a:ext>
              </a:extLst>
            </p:cNvPr>
            <p:cNvSpPr/>
            <p:nvPr/>
          </p:nvSpPr>
          <p:spPr bwMode="auto">
            <a:xfrm>
              <a:off x="4585947" y="2371737"/>
              <a:ext cx="377807" cy="377281"/>
            </a:xfrm>
            <a:custGeom>
              <a:avLst/>
              <a:gdLst>
                <a:gd name="T0" fmla="*/ 400 w 11264"/>
                <a:gd name="T1" fmla="*/ 7099 h 11264"/>
                <a:gd name="T2" fmla="*/ 4165 w 11264"/>
                <a:gd name="T3" fmla="*/ 7099 h 11264"/>
                <a:gd name="T4" fmla="*/ 4165 w 11264"/>
                <a:gd name="T5" fmla="*/ 10864 h 11264"/>
                <a:gd name="T6" fmla="*/ 4565 w 11264"/>
                <a:gd name="T7" fmla="*/ 11264 h 11264"/>
                <a:gd name="T8" fmla="*/ 6699 w 11264"/>
                <a:gd name="T9" fmla="*/ 11264 h 11264"/>
                <a:gd name="T10" fmla="*/ 7099 w 11264"/>
                <a:gd name="T11" fmla="*/ 10864 h 11264"/>
                <a:gd name="T12" fmla="*/ 7099 w 11264"/>
                <a:gd name="T13" fmla="*/ 7099 h 11264"/>
                <a:gd name="T14" fmla="*/ 10864 w 11264"/>
                <a:gd name="T15" fmla="*/ 7099 h 11264"/>
                <a:gd name="T16" fmla="*/ 11264 w 11264"/>
                <a:gd name="T17" fmla="*/ 6699 h 11264"/>
                <a:gd name="T18" fmla="*/ 11264 w 11264"/>
                <a:gd name="T19" fmla="*/ 4565 h 11264"/>
                <a:gd name="T20" fmla="*/ 10864 w 11264"/>
                <a:gd name="T21" fmla="*/ 4165 h 11264"/>
                <a:gd name="T22" fmla="*/ 7099 w 11264"/>
                <a:gd name="T23" fmla="*/ 4165 h 11264"/>
                <a:gd name="T24" fmla="*/ 7099 w 11264"/>
                <a:gd name="T25" fmla="*/ 400 h 11264"/>
                <a:gd name="T26" fmla="*/ 6699 w 11264"/>
                <a:gd name="T27" fmla="*/ 0 h 11264"/>
                <a:gd name="T28" fmla="*/ 4565 w 11264"/>
                <a:gd name="T29" fmla="*/ 0 h 11264"/>
                <a:gd name="T30" fmla="*/ 4165 w 11264"/>
                <a:gd name="T31" fmla="*/ 400 h 11264"/>
                <a:gd name="T32" fmla="*/ 4165 w 11264"/>
                <a:gd name="T33" fmla="*/ 4165 h 11264"/>
                <a:gd name="T34" fmla="*/ 400 w 11264"/>
                <a:gd name="T35" fmla="*/ 4165 h 11264"/>
                <a:gd name="T36" fmla="*/ 0 w 11264"/>
                <a:gd name="T37" fmla="*/ 4565 h 11264"/>
                <a:gd name="T38" fmla="*/ 0 w 11264"/>
                <a:gd name="T39" fmla="*/ 6699 h 11264"/>
                <a:gd name="T40" fmla="*/ 400 w 11264"/>
                <a:gd name="T41" fmla="*/ 7099 h 1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64" h="11264">
                  <a:moveTo>
                    <a:pt x="400" y="7099"/>
                  </a:moveTo>
                  <a:lnTo>
                    <a:pt x="4165" y="7099"/>
                  </a:lnTo>
                  <a:lnTo>
                    <a:pt x="4165" y="10864"/>
                  </a:lnTo>
                  <a:cubicBezTo>
                    <a:pt x="4165" y="11085"/>
                    <a:pt x="4344" y="11264"/>
                    <a:pt x="4565" y="11264"/>
                  </a:cubicBezTo>
                  <a:lnTo>
                    <a:pt x="6699" y="11264"/>
                  </a:lnTo>
                  <a:cubicBezTo>
                    <a:pt x="6920" y="11264"/>
                    <a:pt x="7099" y="11085"/>
                    <a:pt x="7099" y="10864"/>
                  </a:cubicBezTo>
                  <a:lnTo>
                    <a:pt x="7099" y="7099"/>
                  </a:lnTo>
                  <a:lnTo>
                    <a:pt x="10864" y="7099"/>
                  </a:lnTo>
                  <a:cubicBezTo>
                    <a:pt x="11085" y="7099"/>
                    <a:pt x="11264" y="6920"/>
                    <a:pt x="11264" y="6699"/>
                  </a:cubicBezTo>
                  <a:lnTo>
                    <a:pt x="11264" y="4565"/>
                  </a:lnTo>
                  <a:cubicBezTo>
                    <a:pt x="11264" y="4344"/>
                    <a:pt x="11085" y="4165"/>
                    <a:pt x="10864" y="4165"/>
                  </a:cubicBezTo>
                  <a:lnTo>
                    <a:pt x="7099" y="4165"/>
                  </a:lnTo>
                  <a:lnTo>
                    <a:pt x="7099" y="400"/>
                  </a:lnTo>
                  <a:cubicBezTo>
                    <a:pt x="7099" y="179"/>
                    <a:pt x="6920" y="0"/>
                    <a:pt x="6699" y="0"/>
                  </a:cubicBezTo>
                  <a:lnTo>
                    <a:pt x="4565" y="0"/>
                  </a:lnTo>
                  <a:cubicBezTo>
                    <a:pt x="4344" y="0"/>
                    <a:pt x="4165" y="179"/>
                    <a:pt x="4165" y="400"/>
                  </a:cubicBezTo>
                  <a:lnTo>
                    <a:pt x="4165" y="4165"/>
                  </a:lnTo>
                  <a:lnTo>
                    <a:pt x="400" y="4165"/>
                  </a:lnTo>
                  <a:cubicBezTo>
                    <a:pt x="179" y="4165"/>
                    <a:pt x="0" y="4344"/>
                    <a:pt x="0" y="4565"/>
                  </a:cubicBezTo>
                  <a:lnTo>
                    <a:pt x="0" y="6699"/>
                  </a:lnTo>
                  <a:cubicBezTo>
                    <a:pt x="0" y="6920"/>
                    <a:pt x="179" y="7099"/>
                    <a:pt x="400" y="709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0" name="îsḷïde">
              <a:extLst>
                <a:ext uri="{FF2B5EF4-FFF2-40B4-BE49-F238E27FC236}">
                  <a16:creationId xmlns:a16="http://schemas.microsoft.com/office/drawing/2014/main" id="{F7027C89-1BCC-4A00-9535-016DE4C49FD7}"/>
                </a:ext>
              </a:extLst>
            </p:cNvPr>
            <p:cNvSpPr/>
            <p:nvPr/>
          </p:nvSpPr>
          <p:spPr bwMode="auto">
            <a:xfrm>
              <a:off x="4069565" y="3014578"/>
              <a:ext cx="369969" cy="377806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  <a:gd name="connsiteX107" fmla="*/ 373273 h 605239"/>
                <a:gd name="connsiteY107" fmla="*/ 373273 h 605239"/>
                <a:gd name="connsiteX108" fmla="*/ 373273 h 605239"/>
                <a:gd name="connsiteY108" fmla="*/ 373273 h 605239"/>
                <a:gd name="connsiteX109" fmla="*/ 373273 h 605239"/>
                <a:gd name="connsiteY109" fmla="*/ 373273 h 605239"/>
                <a:gd name="connsiteX110" fmla="*/ 373273 h 605239"/>
                <a:gd name="connsiteY110" fmla="*/ 373273 h 605239"/>
                <a:gd name="connsiteX111" fmla="*/ 373273 h 605239"/>
                <a:gd name="connsiteY111" fmla="*/ 373273 h 605239"/>
                <a:gd name="connsiteX112" fmla="*/ 373273 h 605239"/>
                <a:gd name="connsiteY112" fmla="*/ 373273 h 605239"/>
                <a:gd name="connsiteX113" fmla="*/ 373273 h 605239"/>
                <a:gd name="connsiteY113" fmla="*/ 373273 h 605239"/>
                <a:gd name="connsiteX114" fmla="*/ 373273 h 605239"/>
                <a:gd name="connsiteY114" fmla="*/ 373273 h 605239"/>
                <a:gd name="connsiteX115" fmla="*/ 373273 h 605239"/>
                <a:gd name="connsiteY115" fmla="*/ 373273 h 605239"/>
                <a:gd name="connsiteX116" fmla="*/ 373273 h 605239"/>
                <a:gd name="connsiteY116" fmla="*/ 373273 h 605239"/>
                <a:gd name="connsiteX117" fmla="*/ 373273 h 605239"/>
                <a:gd name="connsiteY117" fmla="*/ 373273 h 605239"/>
                <a:gd name="connsiteX118" fmla="*/ 373273 h 605239"/>
                <a:gd name="connsiteY118" fmla="*/ 373273 h 605239"/>
                <a:gd name="connsiteX119" fmla="*/ 373273 h 605239"/>
                <a:gd name="connsiteY119" fmla="*/ 373273 h 605239"/>
                <a:gd name="connsiteX120" fmla="*/ 373273 h 605239"/>
                <a:gd name="connsiteY120" fmla="*/ 373273 h 605239"/>
                <a:gd name="connsiteX121" fmla="*/ 373273 h 605239"/>
                <a:gd name="connsiteY121" fmla="*/ 373273 h 605239"/>
                <a:gd name="connsiteX122" fmla="*/ 373273 h 605239"/>
                <a:gd name="connsiteY122" fmla="*/ 373273 h 605239"/>
                <a:gd name="connsiteX123" fmla="*/ 373273 h 605239"/>
                <a:gd name="connsiteY123" fmla="*/ 373273 h 605239"/>
                <a:gd name="connsiteX124" fmla="*/ 373273 h 605239"/>
                <a:gd name="connsiteY124" fmla="*/ 373273 h 605239"/>
                <a:gd name="connsiteX125" fmla="*/ 373273 h 605239"/>
                <a:gd name="connsiteY125" fmla="*/ 373273 h 605239"/>
                <a:gd name="connsiteX126" fmla="*/ 373273 h 605239"/>
                <a:gd name="connsiteY126" fmla="*/ 373273 h 605239"/>
                <a:gd name="connsiteX127" fmla="*/ 373273 h 605239"/>
                <a:gd name="connsiteY127" fmla="*/ 373273 h 605239"/>
                <a:gd name="connsiteX128" fmla="*/ 373273 h 605239"/>
                <a:gd name="connsiteY128" fmla="*/ 373273 h 605239"/>
                <a:gd name="connsiteX129" fmla="*/ 373273 h 605239"/>
                <a:gd name="connsiteY12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593733" h="606309">
                  <a:moveTo>
                    <a:pt x="353250" y="302855"/>
                  </a:moveTo>
                  <a:cubicBezTo>
                    <a:pt x="318468" y="302855"/>
                    <a:pt x="290232" y="331146"/>
                    <a:pt x="290232" y="365879"/>
                  </a:cubicBezTo>
                  <a:cubicBezTo>
                    <a:pt x="290232" y="374189"/>
                    <a:pt x="296964" y="380912"/>
                    <a:pt x="305285" y="380912"/>
                  </a:cubicBezTo>
                  <a:cubicBezTo>
                    <a:pt x="313607" y="380912"/>
                    <a:pt x="320338" y="374189"/>
                    <a:pt x="320338" y="365879"/>
                  </a:cubicBezTo>
                  <a:cubicBezTo>
                    <a:pt x="320338" y="347672"/>
                    <a:pt x="335111" y="333014"/>
                    <a:pt x="353250" y="333014"/>
                  </a:cubicBezTo>
                  <a:cubicBezTo>
                    <a:pt x="361665" y="333014"/>
                    <a:pt x="368397" y="326291"/>
                    <a:pt x="368397" y="317888"/>
                  </a:cubicBezTo>
                  <a:cubicBezTo>
                    <a:pt x="368397" y="309578"/>
                    <a:pt x="361665" y="302855"/>
                    <a:pt x="353250" y="302855"/>
                  </a:cubicBezTo>
                  <a:close/>
                  <a:moveTo>
                    <a:pt x="353250" y="265041"/>
                  </a:moveTo>
                  <a:cubicBezTo>
                    <a:pt x="409163" y="265041"/>
                    <a:pt x="454229" y="310232"/>
                    <a:pt x="454229" y="365879"/>
                  </a:cubicBezTo>
                  <a:cubicBezTo>
                    <a:pt x="454229" y="421527"/>
                    <a:pt x="408976" y="466717"/>
                    <a:pt x="353250" y="466717"/>
                  </a:cubicBezTo>
                  <a:cubicBezTo>
                    <a:pt x="297525" y="466717"/>
                    <a:pt x="252271" y="421527"/>
                    <a:pt x="252271" y="365879"/>
                  </a:cubicBezTo>
                  <a:cubicBezTo>
                    <a:pt x="252271" y="310232"/>
                    <a:pt x="297431" y="265041"/>
                    <a:pt x="353250" y="265041"/>
                  </a:cubicBezTo>
                  <a:close/>
                  <a:moveTo>
                    <a:pt x="427779" y="133781"/>
                  </a:moveTo>
                  <a:cubicBezTo>
                    <a:pt x="432818" y="131960"/>
                    <a:pt x="438547" y="132054"/>
                    <a:pt x="443784" y="134482"/>
                  </a:cubicBezTo>
                  <a:lnTo>
                    <a:pt x="473245" y="148209"/>
                  </a:lnTo>
                  <a:cubicBezTo>
                    <a:pt x="483720" y="153158"/>
                    <a:pt x="488209" y="165671"/>
                    <a:pt x="483346" y="176130"/>
                  </a:cubicBezTo>
                  <a:lnTo>
                    <a:pt x="470252" y="203957"/>
                  </a:lnTo>
                  <a:cubicBezTo>
                    <a:pt x="492231" y="219646"/>
                    <a:pt x="511123" y="240003"/>
                    <a:pt x="525526" y="264095"/>
                  </a:cubicBezTo>
                  <a:lnTo>
                    <a:pt x="554426" y="253636"/>
                  </a:lnTo>
                  <a:cubicBezTo>
                    <a:pt x="565368" y="249714"/>
                    <a:pt x="577340" y="255411"/>
                    <a:pt x="581361" y="266243"/>
                  </a:cubicBezTo>
                  <a:lnTo>
                    <a:pt x="592491" y="296592"/>
                  </a:lnTo>
                  <a:cubicBezTo>
                    <a:pt x="596419" y="307612"/>
                    <a:pt x="590714" y="319564"/>
                    <a:pt x="579865" y="323486"/>
                  </a:cubicBezTo>
                  <a:lnTo>
                    <a:pt x="550965" y="333945"/>
                  </a:lnTo>
                  <a:cubicBezTo>
                    <a:pt x="555455" y="361586"/>
                    <a:pt x="553958" y="389414"/>
                    <a:pt x="547224" y="415561"/>
                  </a:cubicBezTo>
                  <a:lnTo>
                    <a:pt x="575095" y="428634"/>
                  </a:lnTo>
                  <a:cubicBezTo>
                    <a:pt x="585570" y="433490"/>
                    <a:pt x="590059" y="445910"/>
                    <a:pt x="585102" y="456649"/>
                  </a:cubicBezTo>
                  <a:lnTo>
                    <a:pt x="571354" y="485970"/>
                  </a:lnTo>
                  <a:cubicBezTo>
                    <a:pt x="566397" y="496429"/>
                    <a:pt x="553958" y="500911"/>
                    <a:pt x="543483" y="496056"/>
                  </a:cubicBezTo>
                  <a:lnTo>
                    <a:pt x="515238" y="482982"/>
                  </a:lnTo>
                  <a:cubicBezTo>
                    <a:pt x="499526" y="504833"/>
                    <a:pt x="479137" y="523510"/>
                    <a:pt x="455007" y="537704"/>
                  </a:cubicBezTo>
                  <a:lnTo>
                    <a:pt x="465763" y="567026"/>
                  </a:lnTo>
                  <a:cubicBezTo>
                    <a:pt x="469784" y="578045"/>
                    <a:pt x="463986" y="589997"/>
                    <a:pt x="453137" y="593919"/>
                  </a:cubicBezTo>
                  <a:lnTo>
                    <a:pt x="422741" y="605032"/>
                  </a:lnTo>
                  <a:cubicBezTo>
                    <a:pt x="411798" y="609047"/>
                    <a:pt x="399827" y="603258"/>
                    <a:pt x="395805" y="592425"/>
                  </a:cubicBezTo>
                  <a:lnTo>
                    <a:pt x="385050" y="562823"/>
                  </a:lnTo>
                  <a:cubicBezTo>
                    <a:pt x="357646" y="567212"/>
                    <a:pt x="330056" y="565718"/>
                    <a:pt x="304149" y="558995"/>
                  </a:cubicBezTo>
                  <a:lnTo>
                    <a:pt x="290682" y="587756"/>
                  </a:lnTo>
                  <a:cubicBezTo>
                    <a:pt x="285725" y="598215"/>
                    <a:pt x="273192" y="602697"/>
                    <a:pt x="262717" y="597841"/>
                  </a:cubicBezTo>
                  <a:lnTo>
                    <a:pt x="233350" y="584114"/>
                  </a:lnTo>
                  <a:cubicBezTo>
                    <a:pt x="222875" y="579165"/>
                    <a:pt x="218385" y="566652"/>
                    <a:pt x="223249" y="556193"/>
                  </a:cubicBezTo>
                  <a:lnTo>
                    <a:pt x="236810" y="527338"/>
                  </a:lnTo>
                  <a:cubicBezTo>
                    <a:pt x="215112" y="511650"/>
                    <a:pt x="196407" y="491480"/>
                    <a:pt x="182284" y="467668"/>
                  </a:cubicBezTo>
                  <a:lnTo>
                    <a:pt x="152169" y="478687"/>
                  </a:lnTo>
                  <a:cubicBezTo>
                    <a:pt x="141133" y="482609"/>
                    <a:pt x="129161" y="476912"/>
                    <a:pt x="125233" y="466080"/>
                  </a:cubicBezTo>
                  <a:lnTo>
                    <a:pt x="114104" y="435731"/>
                  </a:lnTo>
                  <a:cubicBezTo>
                    <a:pt x="110082" y="424712"/>
                    <a:pt x="115881" y="412759"/>
                    <a:pt x="126730" y="408837"/>
                  </a:cubicBezTo>
                  <a:lnTo>
                    <a:pt x="156845" y="397818"/>
                  </a:lnTo>
                  <a:cubicBezTo>
                    <a:pt x="153852" y="379422"/>
                    <a:pt x="153478" y="361026"/>
                    <a:pt x="155629" y="342910"/>
                  </a:cubicBezTo>
                  <a:lnTo>
                    <a:pt x="158622" y="343097"/>
                  </a:lnTo>
                  <a:cubicBezTo>
                    <a:pt x="181162" y="344030"/>
                    <a:pt x="200522" y="327408"/>
                    <a:pt x="203141" y="305370"/>
                  </a:cubicBezTo>
                  <a:cubicBezTo>
                    <a:pt x="207723" y="303876"/>
                    <a:pt x="212119" y="302195"/>
                    <a:pt x="216515" y="300515"/>
                  </a:cubicBezTo>
                  <a:cubicBezTo>
                    <a:pt x="220349" y="304063"/>
                    <a:pt x="224745" y="306958"/>
                    <a:pt x="229609" y="308919"/>
                  </a:cubicBezTo>
                  <a:cubicBezTo>
                    <a:pt x="219227" y="330957"/>
                    <a:pt x="214831" y="355983"/>
                    <a:pt x="217824" y="381943"/>
                  </a:cubicBezTo>
                  <a:cubicBezTo>
                    <a:pt x="226709" y="456462"/>
                    <a:pt x="294329" y="509876"/>
                    <a:pt x="368963" y="501192"/>
                  </a:cubicBezTo>
                  <a:cubicBezTo>
                    <a:pt x="443691" y="492320"/>
                    <a:pt x="497188" y="424899"/>
                    <a:pt x="488490" y="350287"/>
                  </a:cubicBezTo>
                  <a:cubicBezTo>
                    <a:pt x="479605" y="275675"/>
                    <a:pt x="411985" y="222260"/>
                    <a:pt x="337351" y="231038"/>
                  </a:cubicBezTo>
                  <a:cubicBezTo>
                    <a:pt x="324632" y="232532"/>
                    <a:pt x="312473" y="235707"/>
                    <a:pt x="301156" y="240376"/>
                  </a:cubicBezTo>
                  <a:cubicBezTo>
                    <a:pt x="299660" y="236268"/>
                    <a:pt x="297509" y="232345"/>
                    <a:pt x="294797" y="228890"/>
                  </a:cubicBezTo>
                  <a:cubicBezTo>
                    <a:pt x="297041" y="224688"/>
                    <a:pt x="299005" y="220393"/>
                    <a:pt x="300782" y="216097"/>
                  </a:cubicBezTo>
                  <a:cubicBezTo>
                    <a:pt x="311164" y="215817"/>
                    <a:pt x="320891" y="211802"/>
                    <a:pt x="328466" y="204891"/>
                  </a:cubicBezTo>
                  <a:cubicBezTo>
                    <a:pt x="336977" y="197141"/>
                    <a:pt x="341934" y="186589"/>
                    <a:pt x="342402" y="175103"/>
                  </a:cubicBezTo>
                  <a:lnTo>
                    <a:pt x="342776" y="166978"/>
                  </a:lnTo>
                  <a:cubicBezTo>
                    <a:pt x="363164" y="165764"/>
                    <a:pt x="383460" y="167912"/>
                    <a:pt x="402820" y="172768"/>
                  </a:cubicBezTo>
                  <a:lnTo>
                    <a:pt x="415913" y="144567"/>
                  </a:lnTo>
                  <a:cubicBezTo>
                    <a:pt x="418392" y="139338"/>
                    <a:pt x="422741" y="135602"/>
                    <a:pt x="427779" y="133781"/>
                  </a:cubicBezTo>
                  <a:close/>
                  <a:moveTo>
                    <a:pt x="159906" y="88589"/>
                  </a:moveTo>
                  <a:cubicBezTo>
                    <a:pt x="142487" y="87818"/>
                    <a:pt x="124764" y="93678"/>
                    <a:pt x="110828" y="106378"/>
                  </a:cubicBezTo>
                  <a:cubicBezTo>
                    <a:pt x="96145" y="119731"/>
                    <a:pt x="88663" y="138127"/>
                    <a:pt x="88663" y="156523"/>
                  </a:cubicBezTo>
                  <a:cubicBezTo>
                    <a:pt x="88663" y="172958"/>
                    <a:pt x="94555" y="189393"/>
                    <a:pt x="106526" y="202467"/>
                  </a:cubicBezTo>
                  <a:cubicBezTo>
                    <a:pt x="131965" y="230294"/>
                    <a:pt x="175081" y="232162"/>
                    <a:pt x="202764" y="206762"/>
                  </a:cubicBezTo>
                  <a:cubicBezTo>
                    <a:pt x="217448" y="193409"/>
                    <a:pt x="224930" y="175013"/>
                    <a:pt x="224930" y="156523"/>
                  </a:cubicBezTo>
                  <a:cubicBezTo>
                    <a:pt x="224930" y="140088"/>
                    <a:pt x="219132" y="123653"/>
                    <a:pt x="207160" y="110580"/>
                  </a:cubicBezTo>
                  <a:cubicBezTo>
                    <a:pt x="194441" y="96760"/>
                    <a:pt x="177325" y="89359"/>
                    <a:pt x="159906" y="88589"/>
                  </a:cubicBezTo>
                  <a:close/>
                  <a:moveTo>
                    <a:pt x="153289" y="17"/>
                  </a:moveTo>
                  <a:lnTo>
                    <a:pt x="173678" y="951"/>
                  </a:lnTo>
                  <a:cubicBezTo>
                    <a:pt x="180786" y="1325"/>
                    <a:pt x="186304" y="7114"/>
                    <a:pt x="186304" y="14118"/>
                  </a:cubicBezTo>
                  <a:lnTo>
                    <a:pt x="186304" y="14771"/>
                  </a:lnTo>
                  <a:lnTo>
                    <a:pt x="185462" y="34755"/>
                  </a:lnTo>
                  <a:cubicBezTo>
                    <a:pt x="201923" y="38677"/>
                    <a:pt x="217729" y="45774"/>
                    <a:pt x="231851" y="56232"/>
                  </a:cubicBezTo>
                  <a:lnTo>
                    <a:pt x="246535" y="42786"/>
                  </a:lnTo>
                  <a:cubicBezTo>
                    <a:pt x="251866" y="37930"/>
                    <a:pt x="260283" y="38303"/>
                    <a:pt x="265240" y="43626"/>
                  </a:cubicBezTo>
                  <a:lnTo>
                    <a:pt x="279082" y="58660"/>
                  </a:lnTo>
                  <a:cubicBezTo>
                    <a:pt x="281420" y="61275"/>
                    <a:pt x="282542" y="64450"/>
                    <a:pt x="282542" y="67625"/>
                  </a:cubicBezTo>
                  <a:cubicBezTo>
                    <a:pt x="282542" y="71173"/>
                    <a:pt x="281233" y="74722"/>
                    <a:pt x="278334" y="77337"/>
                  </a:cubicBezTo>
                  <a:lnTo>
                    <a:pt x="263744" y="90690"/>
                  </a:lnTo>
                  <a:cubicBezTo>
                    <a:pt x="273096" y="105537"/>
                    <a:pt x="278988" y="121973"/>
                    <a:pt x="281420" y="138781"/>
                  </a:cubicBezTo>
                  <a:lnTo>
                    <a:pt x="301061" y="139621"/>
                  </a:lnTo>
                  <a:cubicBezTo>
                    <a:pt x="308169" y="139995"/>
                    <a:pt x="313593" y="145878"/>
                    <a:pt x="313593" y="152788"/>
                  </a:cubicBezTo>
                  <a:lnTo>
                    <a:pt x="313593" y="153442"/>
                  </a:lnTo>
                  <a:lnTo>
                    <a:pt x="312751" y="173892"/>
                  </a:lnTo>
                  <a:cubicBezTo>
                    <a:pt x="312377" y="181083"/>
                    <a:pt x="306298" y="186779"/>
                    <a:pt x="298910" y="186405"/>
                  </a:cubicBezTo>
                  <a:lnTo>
                    <a:pt x="279456" y="185565"/>
                  </a:lnTo>
                  <a:cubicBezTo>
                    <a:pt x="275622" y="202093"/>
                    <a:pt x="268327" y="218061"/>
                    <a:pt x="257758" y="232162"/>
                  </a:cubicBezTo>
                  <a:lnTo>
                    <a:pt x="270852" y="246449"/>
                  </a:lnTo>
                  <a:cubicBezTo>
                    <a:pt x="273190" y="249064"/>
                    <a:pt x="274312" y="252145"/>
                    <a:pt x="274312" y="255414"/>
                  </a:cubicBezTo>
                  <a:cubicBezTo>
                    <a:pt x="274312" y="258869"/>
                    <a:pt x="273003" y="262511"/>
                    <a:pt x="270104" y="265126"/>
                  </a:cubicBezTo>
                  <a:lnTo>
                    <a:pt x="255046" y="278946"/>
                  </a:lnTo>
                  <a:cubicBezTo>
                    <a:pt x="249621" y="283802"/>
                    <a:pt x="241297" y="283428"/>
                    <a:pt x="236340" y="278106"/>
                  </a:cubicBezTo>
                  <a:lnTo>
                    <a:pt x="223247" y="263724"/>
                  </a:lnTo>
                  <a:cubicBezTo>
                    <a:pt x="208282" y="272970"/>
                    <a:pt x="191635" y="278853"/>
                    <a:pt x="174800" y="281187"/>
                  </a:cubicBezTo>
                  <a:lnTo>
                    <a:pt x="173958" y="300610"/>
                  </a:lnTo>
                  <a:cubicBezTo>
                    <a:pt x="173584" y="307801"/>
                    <a:pt x="167505" y="313590"/>
                    <a:pt x="160117" y="313217"/>
                  </a:cubicBezTo>
                  <a:lnTo>
                    <a:pt x="139634" y="312283"/>
                  </a:lnTo>
                  <a:cubicBezTo>
                    <a:pt x="132526" y="311909"/>
                    <a:pt x="127102" y="306120"/>
                    <a:pt x="127102" y="299116"/>
                  </a:cubicBezTo>
                  <a:lnTo>
                    <a:pt x="127102" y="298463"/>
                  </a:lnTo>
                  <a:lnTo>
                    <a:pt x="128037" y="279039"/>
                  </a:lnTo>
                  <a:cubicBezTo>
                    <a:pt x="111577" y="275211"/>
                    <a:pt x="95771" y="267834"/>
                    <a:pt x="81648" y="257281"/>
                  </a:cubicBezTo>
                  <a:lnTo>
                    <a:pt x="67058" y="270635"/>
                  </a:lnTo>
                  <a:cubicBezTo>
                    <a:pt x="61727" y="275491"/>
                    <a:pt x="53403" y="275117"/>
                    <a:pt x="48353" y="269701"/>
                  </a:cubicBezTo>
                  <a:lnTo>
                    <a:pt x="34511" y="254667"/>
                  </a:lnTo>
                  <a:cubicBezTo>
                    <a:pt x="32173" y="252052"/>
                    <a:pt x="31051" y="248970"/>
                    <a:pt x="31051" y="245702"/>
                  </a:cubicBezTo>
                  <a:cubicBezTo>
                    <a:pt x="31051" y="242247"/>
                    <a:pt x="32453" y="238605"/>
                    <a:pt x="35259" y="235990"/>
                  </a:cubicBezTo>
                  <a:lnTo>
                    <a:pt x="50036" y="222544"/>
                  </a:lnTo>
                  <a:cubicBezTo>
                    <a:pt x="40777" y="207696"/>
                    <a:pt x="35072" y="191261"/>
                    <a:pt x="32640" y="174639"/>
                  </a:cubicBezTo>
                  <a:lnTo>
                    <a:pt x="12626" y="173705"/>
                  </a:lnTo>
                  <a:cubicBezTo>
                    <a:pt x="5518" y="173332"/>
                    <a:pt x="0" y="167542"/>
                    <a:pt x="0" y="160539"/>
                  </a:cubicBezTo>
                  <a:lnTo>
                    <a:pt x="0" y="159885"/>
                  </a:lnTo>
                  <a:lnTo>
                    <a:pt x="842" y="139621"/>
                  </a:lnTo>
                  <a:cubicBezTo>
                    <a:pt x="1216" y="132431"/>
                    <a:pt x="7388" y="126642"/>
                    <a:pt x="14683" y="127015"/>
                  </a:cubicBezTo>
                  <a:lnTo>
                    <a:pt x="34885" y="127949"/>
                  </a:lnTo>
                  <a:cubicBezTo>
                    <a:pt x="38813" y="111514"/>
                    <a:pt x="46015" y="95826"/>
                    <a:pt x="56490" y="81819"/>
                  </a:cubicBezTo>
                  <a:lnTo>
                    <a:pt x="42741" y="66878"/>
                  </a:lnTo>
                  <a:cubicBezTo>
                    <a:pt x="40403" y="64263"/>
                    <a:pt x="39281" y="61182"/>
                    <a:pt x="39281" y="57913"/>
                  </a:cubicBezTo>
                  <a:cubicBezTo>
                    <a:pt x="39281" y="54458"/>
                    <a:pt x="40684" y="50816"/>
                    <a:pt x="43490" y="48202"/>
                  </a:cubicBezTo>
                  <a:lnTo>
                    <a:pt x="58641" y="34381"/>
                  </a:lnTo>
                  <a:cubicBezTo>
                    <a:pt x="63972" y="29526"/>
                    <a:pt x="72296" y="29899"/>
                    <a:pt x="77346" y="35315"/>
                  </a:cubicBezTo>
                  <a:lnTo>
                    <a:pt x="90627" y="50256"/>
                  </a:lnTo>
                  <a:cubicBezTo>
                    <a:pt x="105591" y="41011"/>
                    <a:pt x="121864" y="35128"/>
                    <a:pt x="138512" y="32794"/>
                  </a:cubicBezTo>
                  <a:lnTo>
                    <a:pt x="139447" y="12624"/>
                  </a:lnTo>
                  <a:cubicBezTo>
                    <a:pt x="139821" y="5433"/>
                    <a:pt x="145901" y="-356"/>
                    <a:pt x="153289" y="17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1" name="îṣḻïḓè">
              <a:extLst>
                <a:ext uri="{FF2B5EF4-FFF2-40B4-BE49-F238E27FC236}">
                  <a16:creationId xmlns:a16="http://schemas.microsoft.com/office/drawing/2014/main" id="{30C8A656-A69C-4844-9B4C-38593487F7D6}"/>
                </a:ext>
              </a:extLst>
            </p:cNvPr>
            <p:cNvSpPr/>
            <p:nvPr/>
          </p:nvSpPr>
          <p:spPr bwMode="auto">
            <a:xfrm>
              <a:off x="3563916" y="3658051"/>
              <a:ext cx="377806" cy="377072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81741" h="580612">
                  <a:moveTo>
                    <a:pt x="291612" y="187916"/>
                  </a:moveTo>
                  <a:cubicBezTo>
                    <a:pt x="304876" y="187916"/>
                    <a:pt x="315648" y="198758"/>
                    <a:pt x="315648" y="212088"/>
                  </a:cubicBezTo>
                  <a:lnTo>
                    <a:pt x="315648" y="491836"/>
                  </a:lnTo>
                  <a:lnTo>
                    <a:pt x="331227" y="473974"/>
                  </a:lnTo>
                  <a:cubicBezTo>
                    <a:pt x="339863" y="463932"/>
                    <a:pt x="355086" y="462866"/>
                    <a:pt x="365145" y="471574"/>
                  </a:cubicBezTo>
                  <a:cubicBezTo>
                    <a:pt x="375116" y="480372"/>
                    <a:pt x="376184" y="495657"/>
                    <a:pt x="367460" y="505699"/>
                  </a:cubicBezTo>
                  <a:lnTo>
                    <a:pt x="309773" y="572348"/>
                  </a:lnTo>
                  <a:cubicBezTo>
                    <a:pt x="305143" y="577502"/>
                    <a:pt x="298556" y="580612"/>
                    <a:pt x="291612" y="580612"/>
                  </a:cubicBezTo>
                  <a:cubicBezTo>
                    <a:pt x="284579" y="580612"/>
                    <a:pt x="278080" y="577680"/>
                    <a:pt x="273451" y="572348"/>
                  </a:cubicBezTo>
                  <a:lnTo>
                    <a:pt x="215764" y="505699"/>
                  </a:lnTo>
                  <a:cubicBezTo>
                    <a:pt x="207039" y="495657"/>
                    <a:pt x="208108" y="480372"/>
                    <a:pt x="218078" y="471574"/>
                  </a:cubicBezTo>
                  <a:cubicBezTo>
                    <a:pt x="228049" y="462866"/>
                    <a:pt x="243272" y="463932"/>
                    <a:pt x="252085" y="473974"/>
                  </a:cubicBezTo>
                  <a:lnTo>
                    <a:pt x="267486" y="491747"/>
                  </a:lnTo>
                  <a:lnTo>
                    <a:pt x="267486" y="212088"/>
                  </a:lnTo>
                  <a:cubicBezTo>
                    <a:pt x="267486" y="198758"/>
                    <a:pt x="278258" y="187916"/>
                    <a:pt x="291612" y="187916"/>
                  </a:cubicBezTo>
                  <a:close/>
                  <a:moveTo>
                    <a:pt x="329499" y="0"/>
                  </a:moveTo>
                  <a:cubicBezTo>
                    <a:pt x="426248" y="0"/>
                    <a:pt x="465322" y="80426"/>
                    <a:pt x="473332" y="108153"/>
                  </a:cubicBezTo>
                  <a:cubicBezTo>
                    <a:pt x="535280" y="120684"/>
                    <a:pt x="581474" y="175693"/>
                    <a:pt x="581741" y="241190"/>
                  </a:cubicBezTo>
                  <a:cubicBezTo>
                    <a:pt x="581741" y="315840"/>
                    <a:pt x="521306" y="376537"/>
                    <a:pt x="446987" y="376537"/>
                  </a:cubicBezTo>
                  <a:lnTo>
                    <a:pt x="372756" y="376537"/>
                  </a:lnTo>
                  <a:cubicBezTo>
                    <a:pt x="359316" y="376537"/>
                    <a:pt x="348546" y="365606"/>
                    <a:pt x="348546" y="352276"/>
                  </a:cubicBezTo>
                  <a:cubicBezTo>
                    <a:pt x="348546" y="338857"/>
                    <a:pt x="359316" y="327926"/>
                    <a:pt x="372756" y="327926"/>
                  </a:cubicBezTo>
                  <a:lnTo>
                    <a:pt x="446987" y="327926"/>
                  </a:lnTo>
                  <a:cubicBezTo>
                    <a:pt x="494605" y="327926"/>
                    <a:pt x="533322" y="289090"/>
                    <a:pt x="533322" y="241190"/>
                  </a:cubicBezTo>
                  <a:cubicBezTo>
                    <a:pt x="533322" y="195334"/>
                    <a:pt x="497720" y="157298"/>
                    <a:pt x="452238" y="154632"/>
                  </a:cubicBezTo>
                  <a:cubicBezTo>
                    <a:pt x="440934" y="153921"/>
                    <a:pt x="431589" y="145478"/>
                    <a:pt x="429809" y="134192"/>
                  </a:cubicBezTo>
                  <a:cubicBezTo>
                    <a:pt x="421709" y="84692"/>
                    <a:pt x="379609" y="48789"/>
                    <a:pt x="329677" y="48789"/>
                  </a:cubicBezTo>
                  <a:cubicBezTo>
                    <a:pt x="279567" y="48789"/>
                    <a:pt x="238001" y="84781"/>
                    <a:pt x="229457" y="134192"/>
                  </a:cubicBezTo>
                  <a:cubicBezTo>
                    <a:pt x="226520" y="151521"/>
                    <a:pt x="212190" y="162807"/>
                    <a:pt x="192964" y="151077"/>
                  </a:cubicBezTo>
                  <a:cubicBezTo>
                    <a:pt x="178011" y="141834"/>
                    <a:pt x="160922" y="136947"/>
                    <a:pt x="143299" y="136947"/>
                  </a:cubicBezTo>
                  <a:cubicBezTo>
                    <a:pt x="90964" y="136947"/>
                    <a:pt x="48419" y="179693"/>
                    <a:pt x="48419" y="232303"/>
                  </a:cubicBezTo>
                  <a:cubicBezTo>
                    <a:pt x="48419" y="284913"/>
                    <a:pt x="90964" y="327748"/>
                    <a:pt x="143299" y="327748"/>
                  </a:cubicBezTo>
                  <a:lnTo>
                    <a:pt x="218776" y="327748"/>
                  </a:lnTo>
                  <a:cubicBezTo>
                    <a:pt x="232216" y="327748"/>
                    <a:pt x="242986" y="338590"/>
                    <a:pt x="242986" y="352009"/>
                  </a:cubicBezTo>
                  <a:cubicBezTo>
                    <a:pt x="242986" y="365429"/>
                    <a:pt x="232216" y="376271"/>
                    <a:pt x="218776" y="376271"/>
                  </a:cubicBezTo>
                  <a:lnTo>
                    <a:pt x="143299" y="376271"/>
                  </a:lnTo>
                  <a:cubicBezTo>
                    <a:pt x="64262" y="376271"/>
                    <a:pt x="0" y="311574"/>
                    <a:pt x="0" y="232214"/>
                  </a:cubicBezTo>
                  <a:cubicBezTo>
                    <a:pt x="0" y="152854"/>
                    <a:pt x="64262" y="88158"/>
                    <a:pt x="143210" y="88158"/>
                  </a:cubicBezTo>
                  <a:cubicBezTo>
                    <a:pt x="159231" y="88158"/>
                    <a:pt x="174896" y="90735"/>
                    <a:pt x="189849" y="95978"/>
                  </a:cubicBezTo>
                  <a:cubicBezTo>
                    <a:pt x="198749" y="73050"/>
                    <a:pt x="238891" y="0"/>
                    <a:pt x="32949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2" name="iş1iḑe">
              <a:extLst>
                <a:ext uri="{FF2B5EF4-FFF2-40B4-BE49-F238E27FC236}">
                  <a16:creationId xmlns:a16="http://schemas.microsoft.com/office/drawing/2014/main" id="{79D5FAF9-096B-4C61-A299-6A26A276E128}"/>
                </a:ext>
              </a:extLst>
            </p:cNvPr>
            <p:cNvSpPr/>
            <p:nvPr/>
          </p:nvSpPr>
          <p:spPr bwMode="auto">
            <a:xfrm>
              <a:off x="3025037" y="4301073"/>
              <a:ext cx="377806" cy="377236"/>
            </a:xfrm>
            <a:custGeom>
              <a:avLst/>
              <a:gdLst>
                <a:gd name="connsiteX0" fmla="*/ 303820 w 607639"/>
                <a:gd name="connsiteY0" fmla="*/ 278099 h 606722"/>
                <a:gd name="connsiteX1" fmla="*/ 329118 w 607639"/>
                <a:gd name="connsiteY1" fmla="*/ 303362 h 606722"/>
                <a:gd name="connsiteX2" fmla="*/ 303820 w 607639"/>
                <a:gd name="connsiteY2" fmla="*/ 328625 h 606722"/>
                <a:gd name="connsiteX3" fmla="*/ 278522 w 607639"/>
                <a:gd name="connsiteY3" fmla="*/ 303362 h 606722"/>
                <a:gd name="connsiteX4" fmla="*/ 303820 w 607639"/>
                <a:gd name="connsiteY4" fmla="*/ 278099 h 606722"/>
                <a:gd name="connsiteX5" fmla="*/ 303775 w 607639"/>
                <a:gd name="connsiteY5" fmla="*/ 252735 h 606722"/>
                <a:gd name="connsiteX6" fmla="*/ 253140 w 607639"/>
                <a:gd name="connsiteY6" fmla="*/ 303317 h 606722"/>
                <a:gd name="connsiteX7" fmla="*/ 303775 w 607639"/>
                <a:gd name="connsiteY7" fmla="*/ 353900 h 606722"/>
                <a:gd name="connsiteX8" fmla="*/ 354410 w 607639"/>
                <a:gd name="connsiteY8" fmla="*/ 303317 h 606722"/>
                <a:gd name="connsiteX9" fmla="*/ 303775 w 607639"/>
                <a:gd name="connsiteY9" fmla="*/ 252735 h 606722"/>
                <a:gd name="connsiteX10" fmla="*/ 303775 w 607639"/>
                <a:gd name="connsiteY10" fmla="*/ 202241 h 606722"/>
                <a:gd name="connsiteX11" fmla="*/ 405045 w 607639"/>
                <a:gd name="connsiteY11" fmla="*/ 303317 h 606722"/>
                <a:gd name="connsiteX12" fmla="*/ 303775 w 607639"/>
                <a:gd name="connsiteY12" fmla="*/ 404482 h 606722"/>
                <a:gd name="connsiteX13" fmla="*/ 202593 w 607639"/>
                <a:gd name="connsiteY13" fmla="*/ 303317 h 606722"/>
                <a:gd name="connsiteX14" fmla="*/ 303775 w 607639"/>
                <a:gd name="connsiteY14" fmla="*/ 202241 h 606722"/>
                <a:gd name="connsiteX15" fmla="*/ 303775 w 607639"/>
                <a:gd name="connsiteY15" fmla="*/ 151703 h 606722"/>
                <a:gd name="connsiteX16" fmla="*/ 151932 w 607639"/>
                <a:gd name="connsiteY16" fmla="*/ 303317 h 606722"/>
                <a:gd name="connsiteX17" fmla="*/ 303775 w 607639"/>
                <a:gd name="connsiteY17" fmla="*/ 455019 h 606722"/>
                <a:gd name="connsiteX18" fmla="*/ 455707 w 607639"/>
                <a:gd name="connsiteY18" fmla="*/ 303317 h 606722"/>
                <a:gd name="connsiteX19" fmla="*/ 303775 w 607639"/>
                <a:gd name="connsiteY19" fmla="*/ 151703 h 606722"/>
                <a:gd name="connsiteX20" fmla="*/ 253131 w 607639"/>
                <a:gd name="connsiteY20" fmla="*/ 0 h 606722"/>
                <a:gd name="connsiteX21" fmla="*/ 354419 w 607639"/>
                <a:gd name="connsiteY21" fmla="*/ 0 h 606722"/>
                <a:gd name="connsiteX22" fmla="*/ 379786 w 607639"/>
                <a:gd name="connsiteY22" fmla="*/ 25239 h 606722"/>
                <a:gd name="connsiteX23" fmla="*/ 379786 w 607639"/>
                <a:gd name="connsiteY23" fmla="*/ 62387 h 606722"/>
                <a:gd name="connsiteX24" fmla="*/ 420639 w 607639"/>
                <a:gd name="connsiteY24" fmla="*/ 79451 h 606722"/>
                <a:gd name="connsiteX25" fmla="*/ 446985 w 607639"/>
                <a:gd name="connsiteY25" fmla="*/ 53145 h 606722"/>
                <a:gd name="connsiteX26" fmla="*/ 482854 w 607639"/>
                <a:gd name="connsiteY26" fmla="*/ 53145 h 606722"/>
                <a:gd name="connsiteX27" fmla="*/ 554414 w 607639"/>
                <a:gd name="connsiteY27" fmla="*/ 124597 h 606722"/>
                <a:gd name="connsiteX28" fmla="*/ 554414 w 607639"/>
                <a:gd name="connsiteY28" fmla="*/ 160323 h 606722"/>
                <a:gd name="connsiteX29" fmla="*/ 528069 w 607639"/>
                <a:gd name="connsiteY29" fmla="*/ 186629 h 606722"/>
                <a:gd name="connsiteX30" fmla="*/ 545158 w 607639"/>
                <a:gd name="connsiteY30" fmla="*/ 227510 h 606722"/>
                <a:gd name="connsiteX31" fmla="*/ 582273 w 607639"/>
                <a:gd name="connsiteY31" fmla="*/ 227510 h 606722"/>
                <a:gd name="connsiteX32" fmla="*/ 607639 w 607639"/>
                <a:gd name="connsiteY32" fmla="*/ 252749 h 606722"/>
                <a:gd name="connsiteX33" fmla="*/ 607639 w 607639"/>
                <a:gd name="connsiteY33" fmla="*/ 353884 h 606722"/>
                <a:gd name="connsiteX34" fmla="*/ 582273 w 607639"/>
                <a:gd name="connsiteY34" fmla="*/ 379212 h 606722"/>
                <a:gd name="connsiteX35" fmla="*/ 545158 w 607639"/>
                <a:gd name="connsiteY35" fmla="*/ 379212 h 606722"/>
                <a:gd name="connsiteX36" fmla="*/ 528069 w 607639"/>
                <a:gd name="connsiteY36" fmla="*/ 420004 h 606722"/>
                <a:gd name="connsiteX37" fmla="*/ 554414 w 607639"/>
                <a:gd name="connsiteY37" fmla="*/ 446310 h 606722"/>
                <a:gd name="connsiteX38" fmla="*/ 554414 w 607639"/>
                <a:gd name="connsiteY38" fmla="*/ 482125 h 606722"/>
                <a:gd name="connsiteX39" fmla="*/ 482854 w 607639"/>
                <a:gd name="connsiteY39" fmla="*/ 553577 h 606722"/>
                <a:gd name="connsiteX40" fmla="*/ 446985 w 607639"/>
                <a:gd name="connsiteY40" fmla="*/ 553577 h 606722"/>
                <a:gd name="connsiteX41" fmla="*/ 420639 w 607639"/>
                <a:gd name="connsiteY41" fmla="*/ 527271 h 606722"/>
                <a:gd name="connsiteX42" fmla="*/ 379786 w 607639"/>
                <a:gd name="connsiteY42" fmla="*/ 544246 h 606722"/>
                <a:gd name="connsiteX43" fmla="*/ 379786 w 607639"/>
                <a:gd name="connsiteY43" fmla="*/ 581394 h 606722"/>
                <a:gd name="connsiteX44" fmla="*/ 354419 w 607639"/>
                <a:gd name="connsiteY44" fmla="*/ 606722 h 606722"/>
                <a:gd name="connsiteX45" fmla="*/ 253131 w 607639"/>
                <a:gd name="connsiteY45" fmla="*/ 606722 h 606722"/>
                <a:gd name="connsiteX46" fmla="*/ 227854 w 607639"/>
                <a:gd name="connsiteY46" fmla="*/ 581394 h 606722"/>
                <a:gd name="connsiteX47" fmla="*/ 227854 w 607639"/>
                <a:gd name="connsiteY47" fmla="*/ 544246 h 606722"/>
                <a:gd name="connsiteX48" fmla="*/ 186911 w 607639"/>
                <a:gd name="connsiteY48" fmla="*/ 527271 h 606722"/>
                <a:gd name="connsiteX49" fmla="*/ 160566 w 607639"/>
                <a:gd name="connsiteY49" fmla="*/ 553577 h 606722"/>
                <a:gd name="connsiteX50" fmla="*/ 124786 w 607639"/>
                <a:gd name="connsiteY50" fmla="*/ 553577 h 606722"/>
                <a:gd name="connsiteX51" fmla="*/ 53225 w 607639"/>
                <a:gd name="connsiteY51" fmla="*/ 482125 h 606722"/>
                <a:gd name="connsiteX52" fmla="*/ 53225 w 607639"/>
                <a:gd name="connsiteY52" fmla="*/ 446310 h 606722"/>
                <a:gd name="connsiteX53" fmla="*/ 79482 w 607639"/>
                <a:gd name="connsiteY53" fmla="*/ 420004 h 606722"/>
                <a:gd name="connsiteX54" fmla="*/ 62482 w 607639"/>
                <a:gd name="connsiteY54" fmla="*/ 379212 h 606722"/>
                <a:gd name="connsiteX55" fmla="*/ 25278 w 607639"/>
                <a:gd name="connsiteY55" fmla="*/ 379212 h 606722"/>
                <a:gd name="connsiteX56" fmla="*/ 0 w 607639"/>
                <a:gd name="connsiteY56" fmla="*/ 353884 h 606722"/>
                <a:gd name="connsiteX57" fmla="*/ 0 w 607639"/>
                <a:gd name="connsiteY57" fmla="*/ 252749 h 606722"/>
                <a:gd name="connsiteX58" fmla="*/ 25278 w 607639"/>
                <a:gd name="connsiteY58" fmla="*/ 227510 h 606722"/>
                <a:gd name="connsiteX59" fmla="*/ 62482 w 607639"/>
                <a:gd name="connsiteY59" fmla="*/ 227510 h 606722"/>
                <a:gd name="connsiteX60" fmla="*/ 79482 w 607639"/>
                <a:gd name="connsiteY60" fmla="*/ 186629 h 606722"/>
                <a:gd name="connsiteX61" fmla="*/ 53225 w 607639"/>
                <a:gd name="connsiteY61" fmla="*/ 160323 h 606722"/>
                <a:gd name="connsiteX62" fmla="*/ 53225 w 607639"/>
                <a:gd name="connsiteY62" fmla="*/ 124597 h 606722"/>
                <a:gd name="connsiteX63" fmla="*/ 124786 w 607639"/>
                <a:gd name="connsiteY63" fmla="*/ 53145 h 606722"/>
                <a:gd name="connsiteX64" fmla="*/ 160566 w 607639"/>
                <a:gd name="connsiteY64" fmla="*/ 53145 h 606722"/>
                <a:gd name="connsiteX65" fmla="*/ 186911 w 607639"/>
                <a:gd name="connsiteY65" fmla="*/ 79451 h 606722"/>
                <a:gd name="connsiteX66" fmla="*/ 227854 w 607639"/>
                <a:gd name="connsiteY66" fmla="*/ 62387 h 606722"/>
                <a:gd name="connsiteX67" fmla="*/ 227854 w 607639"/>
                <a:gd name="connsiteY67" fmla="*/ 25239 h 606722"/>
                <a:gd name="connsiteX68" fmla="*/ 253131 w 607639"/>
                <a:gd name="connsiteY68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607639" h="606722">
                  <a:moveTo>
                    <a:pt x="303820" y="278099"/>
                  </a:moveTo>
                  <a:cubicBezTo>
                    <a:pt x="317792" y="278099"/>
                    <a:pt x="329118" y="289410"/>
                    <a:pt x="329118" y="303362"/>
                  </a:cubicBezTo>
                  <a:cubicBezTo>
                    <a:pt x="329118" y="317314"/>
                    <a:pt x="317792" y="328625"/>
                    <a:pt x="303820" y="328625"/>
                  </a:cubicBezTo>
                  <a:cubicBezTo>
                    <a:pt x="289848" y="328625"/>
                    <a:pt x="278522" y="317314"/>
                    <a:pt x="278522" y="303362"/>
                  </a:cubicBezTo>
                  <a:cubicBezTo>
                    <a:pt x="278522" y="289410"/>
                    <a:pt x="289848" y="278099"/>
                    <a:pt x="303820" y="278099"/>
                  </a:cubicBezTo>
                  <a:close/>
                  <a:moveTo>
                    <a:pt x="303775" y="252735"/>
                  </a:moveTo>
                  <a:cubicBezTo>
                    <a:pt x="275921" y="252735"/>
                    <a:pt x="253140" y="275492"/>
                    <a:pt x="253140" y="303317"/>
                  </a:cubicBezTo>
                  <a:cubicBezTo>
                    <a:pt x="253140" y="331231"/>
                    <a:pt x="275921" y="353900"/>
                    <a:pt x="303775" y="353900"/>
                  </a:cubicBezTo>
                  <a:cubicBezTo>
                    <a:pt x="331718" y="353900"/>
                    <a:pt x="354410" y="331231"/>
                    <a:pt x="354410" y="303317"/>
                  </a:cubicBezTo>
                  <a:cubicBezTo>
                    <a:pt x="354410" y="275492"/>
                    <a:pt x="331718" y="252735"/>
                    <a:pt x="303775" y="252735"/>
                  </a:cubicBezTo>
                  <a:close/>
                  <a:moveTo>
                    <a:pt x="303775" y="202241"/>
                  </a:moveTo>
                  <a:cubicBezTo>
                    <a:pt x="359660" y="202241"/>
                    <a:pt x="405045" y="247579"/>
                    <a:pt x="405045" y="303317"/>
                  </a:cubicBezTo>
                  <a:cubicBezTo>
                    <a:pt x="405045" y="359144"/>
                    <a:pt x="359660" y="404482"/>
                    <a:pt x="303775" y="404482"/>
                  </a:cubicBezTo>
                  <a:cubicBezTo>
                    <a:pt x="247978" y="404482"/>
                    <a:pt x="202593" y="359144"/>
                    <a:pt x="202593" y="303317"/>
                  </a:cubicBezTo>
                  <a:cubicBezTo>
                    <a:pt x="202593" y="247579"/>
                    <a:pt x="247978" y="202241"/>
                    <a:pt x="303775" y="202241"/>
                  </a:cubicBezTo>
                  <a:close/>
                  <a:moveTo>
                    <a:pt x="303775" y="151703"/>
                  </a:moveTo>
                  <a:cubicBezTo>
                    <a:pt x="220021" y="151703"/>
                    <a:pt x="151932" y="219689"/>
                    <a:pt x="151932" y="303317"/>
                  </a:cubicBezTo>
                  <a:cubicBezTo>
                    <a:pt x="151932" y="387033"/>
                    <a:pt x="220021" y="455019"/>
                    <a:pt x="303775" y="455019"/>
                  </a:cubicBezTo>
                  <a:cubicBezTo>
                    <a:pt x="387618" y="455019"/>
                    <a:pt x="455707" y="387033"/>
                    <a:pt x="455707" y="303317"/>
                  </a:cubicBezTo>
                  <a:cubicBezTo>
                    <a:pt x="455707" y="219689"/>
                    <a:pt x="387618" y="151703"/>
                    <a:pt x="303775" y="151703"/>
                  </a:cubicBezTo>
                  <a:close/>
                  <a:moveTo>
                    <a:pt x="253131" y="0"/>
                  </a:moveTo>
                  <a:lnTo>
                    <a:pt x="354419" y="0"/>
                  </a:lnTo>
                  <a:cubicBezTo>
                    <a:pt x="368482" y="0"/>
                    <a:pt x="379786" y="11287"/>
                    <a:pt x="379786" y="25239"/>
                  </a:cubicBezTo>
                  <a:lnTo>
                    <a:pt x="379786" y="62387"/>
                  </a:lnTo>
                  <a:cubicBezTo>
                    <a:pt x="393849" y="66831"/>
                    <a:pt x="407555" y="72519"/>
                    <a:pt x="420639" y="79451"/>
                  </a:cubicBezTo>
                  <a:lnTo>
                    <a:pt x="446985" y="53145"/>
                  </a:lnTo>
                  <a:cubicBezTo>
                    <a:pt x="456953" y="43191"/>
                    <a:pt x="472974" y="43191"/>
                    <a:pt x="482854" y="53145"/>
                  </a:cubicBezTo>
                  <a:lnTo>
                    <a:pt x="554414" y="124597"/>
                  </a:lnTo>
                  <a:cubicBezTo>
                    <a:pt x="564294" y="134462"/>
                    <a:pt x="564294" y="150459"/>
                    <a:pt x="554414" y="160323"/>
                  </a:cubicBezTo>
                  <a:lnTo>
                    <a:pt x="528069" y="186629"/>
                  </a:lnTo>
                  <a:cubicBezTo>
                    <a:pt x="535011" y="199782"/>
                    <a:pt x="540707" y="213468"/>
                    <a:pt x="545158" y="227510"/>
                  </a:cubicBezTo>
                  <a:lnTo>
                    <a:pt x="582273" y="227510"/>
                  </a:lnTo>
                  <a:cubicBezTo>
                    <a:pt x="596336" y="227510"/>
                    <a:pt x="607639" y="238796"/>
                    <a:pt x="607639" y="252749"/>
                  </a:cubicBezTo>
                  <a:lnTo>
                    <a:pt x="607639" y="353884"/>
                  </a:lnTo>
                  <a:cubicBezTo>
                    <a:pt x="607639" y="367926"/>
                    <a:pt x="596247" y="379212"/>
                    <a:pt x="582273" y="379212"/>
                  </a:cubicBezTo>
                  <a:lnTo>
                    <a:pt x="545158" y="379212"/>
                  </a:lnTo>
                  <a:cubicBezTo>
                    <a:pt x="540707" y="393254"/>
                    <a:pt x="535011" y="406940"/>
                    <a:pt x="528069" y="420004"/>
                  </a:cubicBezTo>
                  <a:lnTo>
                    <a:pt x="554414" y="446310"/>
                  </a:lnTo>
                  <a:cubicBezTo>
                    <a:pt x="564294" y="456263"/>
                    <a:pt x="564294" y="472260"/>
                    <a:pt x="554414" y="482125"/>
                  </a:cubicBezTo>
                  <a:lnTo>
                    <a:pt x="482854" y="553577"/>
                  </a:lnTo>
                  <a:cubicBezTo>
                    <a:pt x="472974" y="563442"/>
                    <a:pt x="456953" y="563442"/>
                    <a:pt x="446985" y="553577"/>
                  </a:cubicBezTo>
                  <a:lnTo>
                    <a:pt x="420639" y="527271"/>
                  </a:lnTo>
                  <a:cubicBezTo>
                    <a:pt x="407555" y="534203"/>
                    <a:pt x="393849" y="539802"/>
                    <a:pt x="379786" y="544246"/>
                  </a:cubicBezTo>
                  <a:lnTo>
                    <a:pt x="379786" y="581394"/>
                  </a:lnTo>
                  <a:cubicBezTo>
                    <a:pt x="379786" y="595435"/>
                    <a:pt x="368393" y="606722"/>
                    <a:pt x="354419" y="606722"/>
                  </a:cubicBezTo>
                  <a:lnTo>
                    <a:pt x="253131" y="606722"/>
                  </a:lnTo>
                  <a:cubicBezTo>
                    <a:pt x="239157" y="606722"/>
                    <a:pt x="227854" y="595435"/>
                    <a:pt x="227854" y="581394"/>
                  </a:cubicBezTo>
                  <a:lnTo>
                    <a:pt x="227854" y="544246"/>
                  </a:lnTo>
                  <a:cubicBezTo>
                    <a:pt x="213791" y="539802"/>
                    <a:pt x="200084" y="534203"/>
                    <a:pt x="186911" y="527271"/>
                  </a:cubicBezTo>
                  <a:lnTo>
                    <a:pt x="160566" y="553577"/>
                  </a:lnTo>
                  <a:cubicBezTo>
                    <a:pt x="150686" y="563442"/>
                    <a:pt x="134665" y="563442"/>
                    <a:pt x="124786" y="553577"/>
                  </a:cubicBezTo>
                  <a:lnTo>
                    <a:pt x="53225" y="482125"/>
                  </a:lnTo>
                  <a:cubicBezTo>
                    <a:pt x="43257" y="472260"/>
                    <a:pt x="43257" y="456263"/>
                    <a:pt x="53225" y="446310"/>
                  </a:cubicBezTo>
                  <a:lnTo>
                    <a:pt x="79482" y="420004"/>
                  </a:lnTo>
                  <a:cubicBezTo>
                    <a:pt x="72629" y="406940"/>
                    <a:pt x="66932" y="393254"/>
                    <a:pt x="62482" y="379212"/>
                  </a:cubicBezTo>
                  <a:lnTo>
                    <a:pt x="25278" y="379212"/>
                  </a:lnTo>
                  <a:cubicBezTo>
                    <a:pt x="11304" y="379212"/>
                    <a:pt x="0" y="367926"/>
                    <a:pt x="0" y="353884"/>
                  </a:cubicBezTo>
                  <a:lnTo>
                    <a:pt x="0" y="252749"/>
                  </a:lnTo>
                  <a:cubicBezTo>
                    <a:pt x="0" y="238796"/>
                    <a:pt x="11304" y="227510"/>
                    <a:pt x="25278" y="227510"/>
                  </a:cubicBezTo>
                  <a:lnTo>
                    <a:pt x="62482" y="227510"/>
                  </a:lnTo>
                  <a:cubicBezTo>
                    <a:pt x="66932" y="213468"/>
                    <a:pt x="72629" y="199782"/>
                    <a:pt x="79482" y="186629"/>
                  </a:cubicBezTo>
                  <a:lnTo>
                    <a:pt x="53225" y="160323"/>
                  </a:lnTo>
                  <a:cubicBezTo>
                    <a:pt x="43257" y="150459"/>
                    <a:pt x="43257" y="134462"/>
                    <a:pt x="53225" y="124597"/>
                  </a:cubicBezTo>
                  <a:lnTo>
                    <a:pt x="124786" y="53145"/>
                  </a:lnTo>
                  <a:cubicBezTo>
                    <a:pt x="134665" y="43191"/>
                    <a:pt x="150686" y="43191"/>
                    <a:pt x="160566" y="53145"/>
                  </a:cubicBezTo>
                  <a:lnTo>
                    <a:pt x="186911" y="79451"/>
                  </a:lnTo>
                  <a:cubicBezTo>
                    <a:pt x="200084" y="72519"/>
                    <a:pt x="213791" y="66831"/>
                    <a:pt x="227854" y="62387"/>
                  </a:cubicBezTo>
                  <a:lnTo>
                    <a:pt x="227854" y="25239"/>
                  </a:lnTo>
                  <a:cubicBezTo>
                    <a:pt x="227854" y="11287"/>
                    <a:pt x="239157" y="0"/>
                    <a:pt x="253131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3" name="ïṧľíďê">
              <a:extLst>
                <a:ext uri="{FF2B5EF4-FFF2-40B4-BE49-F238E27FC236}">
                  <a16:creationId xmlns:a16="http://schemas.microsoft.com/office/drawing/2014/main" id="{83AC56C8-BB22-4DB6-8372-AA84DFFA3A81}"/>
                </a:ext>
              </a:extLst>
            </p:cNvPr>
            <p:cNvSpPr/>
            <p:nvPr/>
          </p:nvSpPr>
          <p:spPr bwMode="auto">
            <a:xfrm>
              <a:off x="2498293" y="4944202"/>
              <a:ext cx="377806" cy="377188"/>
            </a:xfrm>
            <a:custGeom>
              <a:avLst/>
              <a:gdLst>
                <a:gd name="connsiteX0" fmla="*/ 380418 w 604181"/>
                <a:gd name="connsiteY0" fmla="*/ 268007 h 603193"/>
                <a:gd name="connsiteX1" fmla="*/ 519220 w 604181"/>
                <a:gd name="connsiteY1" fmla="*/ 339187 h 603193"/>
                <a:gd name="connsiteX2" fmla="*/ 519220 w 604181"/>
                <a:gd name="connsiteY2" fmla="*/ 355820 h 603193"/>
                <a:gd name="connsiteX3" fmla="*/ 380418 w 604181"/>
                <a:gd name="connsiteY3" fmla="*/ 426850 h 603193"/>
                <a:gd name="connsiteX4" fmla="*/ 380418 w 604181"/>
                <a:gd name="connsiteY4" fmla="*/ 406320 h 603193"/>
                <a:gd name="connsiteX5" fmla="*/ 498212 w 604181"/>
                <a:gd name="connsiteY5" fmla="*/ 347728 h 603193"/>
                <a:gd name="connsiteX6" fmla="*/ 498212 w 604181"/>
                <a:gd name="connsiteY6" fmla="*/ 347129 h 603193"/>
                <a:gd name="connsiteX7" fmla="*/ 380418 w 604181"/>
                <a:gd name="connsiteY7" fmla="*/ 288687 h 603193"/>
                <a:gd name="connsiteX8" fmla="*/ 216565 w 604181"/>
                <a:gd name="connsiteY8" fmla="*/ 268007 h 603193"/>
                <a:gd name="connsiteX9" fmla="*/ 216565 w 604181"/>
                <a:gd name="connsiteY9" fmla="*/ 288687 h 603193"/>
                <a:gd name="connsiteX10" fmla="*/ 99664 w 604181"/>
                <a:gd name="connsiteY10" fmla="*/ 347129 h 603193"/>
                <a:gd name="connsiteX11" fmla="*/ 99664 w 604181"/>
                <a:gd name="connsiteY11" fmla="*/ 347728 h 603193"/>
                <a:gd name="connsiteX12" fmla="*/ 216565 w 604181"/>
                <a:gd name="connsiteY12" fmla="*/ 406320 h 603193"/>
                <a:gd name="connsiteX13" fmla="*/ 216565 w 604181"/>
                <a:gd name="connsiteY13" fmla="*/ 426850 h 603193"/>
                <a:gd name="connsiteX14" fmla="*/ 77904 w 604181"/>
                <a:gd name="connsiteY14" fmla="*/ 355521 h 603193"/>
                <a:gd name="connsiteX15" fmla="*/ 77904 w 604181"/>
                <a:gd name="connsiteY15" fmla="*/ 339486 h 603193"/>
                <a:gd name="connsiteX16" fmla="*/ 338273 w 604181"/>
                <a:gd name="connsiteY16" fmla="*/ 222493 h 603193"/>
                <a:gd name="connsiteX17" fmla="*/ 358684 w 604181"/>
                <a:gd name="connsiteY17" fmla="*/ 222493 h 603193"/>
                <a:gd name="connsiteX18" fmla="*/ 253179 w 604181"/>
                <a:gd name="connsiteY18" fmla="*/ 482103 h 603193"/>
                <a:gd name="connsiteX19" fmla="*/ 233219 w 604181"/>
                <a:gd name="connsiteY19" fmla="*/ 482103 h 603193"/>
                <a:gd name="connsiteX20" fmla="*/ 28813 w 604181"/>
                <a:gd name="connsiteY20" fmla="*/ 128849 h 603193"/>
                <a:gd name="connsiteX21" fmla="*/ 28813 w 604181"/>
                <a:gd name="connsiteY21" fmla="*/ 557497 h 603193"/>
                <a:gd name="connsiteX22" fmla="*/ 45921 w 604181"/>
                <a:gd name="connsiteY22" fmla="*/ 574427 h 603193"/>
                <a:gd name="connsiteX23" fmla="*/ 558410 w 604181"/>
                <a:gd name="connsiteY23" fmla="*/ 574427 h 603193"/>
                <a:gd name="connsiteX24" fmla="*/ 575368 w 604181"/>
                <a:gd name="connsiteY24" fmla="*/ 557497 h 603193"/>
                <a:gd name="connsiteX25" fmla="*/ 575368 w 604181"/>
                <a:gd name="connsiteY25" fmla="*/ 128849 h 603193"/>
                <a:gd name="connsiteX26" fmla="*/ 502734 w 604181"/>
                <a:gd name="connsiteY26" fmla="*/ 43149 h 603193"/>
                <a:gd name="connsiteX27" fmla="*/ 502734 w 604181"/>
                <a:gd name="connsiteY27" fmla="*/ 77309 h 603193"/>
                <a:gd name="connsiteX28" fmla="*/ 537100 w 604181"/>
                <a:gd name="connsiteY28" fmla="*/ 77309 h 603193"/>
                <a:gd name="connsiteX29" fmla="*/ 537100 w 604181"/>
                <a:gd name="connsiteY29" fmla="*/ 43149 h 603193"/>
                <a:gd name="connsiteX30" fmla="*/ 423197 w 604181"/>
                <a:gd name="connsiteY30" fmla="*/ 43149 h 603193"/>
                <a:gd name="connsiteX31" fmla="*/ 423197 w 604181"/>
                <a:gd name="connsiteY31" fmla="*/ 77309 h 603193"/>
                <a:gd name="connsiteX32" fmla="*/ 457563 w 604181"/>
                <a:gd name="connsiteY32" fmla="*/ 77309 h 603193"/>
                <a:gd name="connsiteX33" fmla="*/ 457563 w 604181"/>
                <a:gd name="connsiteY33" fmla="*/ 43149 h 603193"/>
                <a:gd name="connsiteX34" fmla="*/ 45921 w 604181"/>
                <a:gd name="connsiteY34" fmla="*/ 0 h 603193"/>
                <a:gd name="connsiteX35" fmla="*/ 558410 w 604181"/>
                <a:gd name="connsiteY35" fmla="*/ 0 h 603193"/>
                <a:gd name="connsiteX36" fmla="*/ 604181 w 604181"/>
                <a:gd name="connsiteY36" fmla="*/ 45846 h 603193"/>
                <a:gd name="connsiteX37" fmla="*/ 604181 w 604181"/>
                <a:gd name="connsiteY37" fmla="*/ 557497 h 603193"/>
                <a:gd name="connsiteX38" fmla="*/ 558410 w 604181"/>
                <a:gd name="connsiteY38" fmla="*/ 603193 h 603193"/>
                <a:gd name="connsiteX39" fmla="*/ 45921 w 604181"/>
                <a:gd name="connsiteY39" fmla="*/ 603193 h 603193"/>
                <a:gd name="connsiteX40" fmla="*/ 0 w 604181"/>
                <a:gd name="connsiteY40" fmla="*/ 557497 h 603193"/>
                <a:gd name="connsiteX41" fmla="*/ 0 w 604181"/>
                <a:gd name="connsiteY41" fmla="*/ 45846 h 603193"/>
                <a:gd name="connsiteX42" fmla="*/ 45921 w 604181"/>
                <a:gd name="connsiteY42" fmla="*/ 0 h 603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04181" h="603193">
                  <a:moveTo>
                    <a:pt x="380418" y="268007"/>
                  </a:moveTo>
                  <a:lnTo>
                    <a:pt x="519220" y="339187"/>
                  </a:lnTo>
                  <a:lnTo>
                    <a:pt x="519220" y="355820"/>
                  </a:lnTo>
                  <a:lnTo>
                    <a:pt x="380418" y="426850"/>
                  </a:lnTo>
                  <a:lnTo>
                    <a:pt x="380418" y="406320"/>
                  </a:lnTo>
                  <a:lnTo>
                    <a:pt x="498212" y="347728"/>
                  </a:lnTo>
                  <a:lnTo>
                    <a:pt x="498212" y="347129"/>
                  </a:lnTo>
                  <a:lnTo>
                    <a:pt x="380418" y="288687"/>
                  </a:lnTo>
                  <a:close/>
                  <a:moveTo>
                    <a:pt x="216565" y="268007"/>
                  </a:moveTo>
                  <a:lnTo>
                    <a:pt x="216565" y="288687"/>
                  </a:lnTo>
                  <a:lnTo>
                    <a:pt x="99664" y="347129"/>
                  </a:lnTo>
                  <a:lnTo>
                    <a:pt x="99664" y="347728"/>
                  </a:lnTo>
                  <a:lnTo>
                    <a:pt x="216565" y="406320"/>
                  </a:lnTo>
                  <a:lnTo>
                    <a:pt x="216565" y="426850"/>
                  </a:lnTo>
                  <a:lnTo>
                    <a:pt x="77904" y="355521"/>
                  </a:lnTo>
                  <a:lnTo>
                    <a:pt x="77904" y="339486"/>
                  </a:lnTo>
                  <a:close/>
                  <a:moveTo>
                    <a:pt x="338273" y="222493"/>
                  </a:moveTo>
                  <a:lnTo>
                    <a:pt x="358684" y="222493"/>
                  </a:lnTo>
                  <a:lnTo>
                    <a:pt x="253179" y="482103"/>
                  </a:lnTo>
                  <a:lnTo>
                    <a:pt x="233219" y="482103"/>
                  </a:lnTo>
                  <a:close/>
                  <a:moveTo>
                    <a:pt x="28813" y="128849"/>
                  </a:moveTo>
                  <a:lnTo>
                    <a:pt x="28813" y="557497"/>
                  </a:lnTo>
                  <a:cubicBezTo>
                    <a:pt x="28813" y="566786"/>
                    <a:pt x="36467" y="574427"/>
                    <a:pt x="45921" y="574427"/>
                  </a:cubicBezTo>
                  <a:lnTo>
                    <a:pt x="558410" y="574427"/>
                  </a:lnTo>
                  <a:cubicBezTo>
                    <a:pt x="567714" y="574427"/>
                    <a:pt x="575368" y="566786"/>
                    <a:pt x="575368" y="557497"/>
                  </a:cubicBezTo>
                  <a:lnTo>
                    <a:pt x="575368" y="128849"/>
                  </a:lnTo>
                  <a:close/>
                  <a:moveTo>
                    <a:pt x="502734" y="43149"/>
                  </a:moveTo>
                  <a:lnTo>
                    <a:pt x="502734" y="77309"/>
                  </a:lnTo>
                  <a:lnTo>
                    <a:pt x="537100" y="77309"/>
                  </a:lnTo>
                  <a:lnTo>
                    <a:pt x="537100" y="43149"/>
                  </a:lnTo>
                  <a:close/>
                  <a:moveTo>
                    <a:pt x="423197" y="43149"/>
                  </a:moveTo>
                  <a:lnTo>
                    <a:pt x="423197" y="77309"/>
                  </a:lnTo>
                  <a:lnTo>
                    <a:pt x="457563" y="77309"/>
                  </a:lnTo>
                  <a:lnTo>
                    <a:pt x="457563" y="43149"/>
                  </a:lnTo>
                  <a:close/>
                  <a:moveTo>
                    <a:pt x="45921" y="0"/>
                  </a:moveTo>
                  <a:lnTo>
                    <a:pt x="558410" y="0"/>
                  </a:lnTo>
                  <a:cubicBezTo>
                    <a:pt x="583621" y="0"/>
                    <a:pt x="604181" y="20526"/>
                    <a:pt x="604181" y="45846"/>
                  </a:cubicBezTo>
                  <a:lnTo>
                    <a:pt x="604181" y="557497"/>
                  </a:lnTo>
                  <a:cubicBezTo>
                    <a:pt x="604181" y="582667"/>
                    <a:pt x="583621" y="603193"/>
                    <a:pt x="558410" y="603193"/>
                  </a:cubicBezTo>
                  <a:lnTo>
                    <a:pt x="45921" y="603193"/>
                  </a:lnTo>
                  <a:cubicBezTo>
                    <a:pt x="20560" y="603193"/>
                    <a:pt x="0" y="582667"/>
                    <a:pt x="0" y="557497"/>
                  </a:cubicBezTo>
                  <a:lnTo>
                    <a:pt x="0" y="45846"/>
                  </a:lnTo>
                  <a:cubicBezTo>
                    <a:pt x="0" y="20526"/>
                    <a:pt x="20560" y="0"/>
                    <a:pt x="45921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4" name="îṣḻîḍé">
              <a:extLst>
                <a:ext uri="{FF2B5EF4-FFF2-40B4-BE49-F238E27FC236}">
                  <a16:creationId xmlns:a16="http://schemas.microsoft.com/office/drawing/2014/main" id="{716A4AAF-66FE-4462-901E-658C29D84AD8}"/>
                </a:ext>
              </a:extLst>
            </p:cNvPr>
            <p:cNvSpPr/>
            <p:nvPr/>
          </p:nvSpPr>
          <p:spPr bwMode="auto">
            <a:xfrm>
              <a:off x="1959174" y="5587283"/>
              <a:ext cx="377806" cy="377235"/>
            </a:xfrm>
            <a:custGeom>
              <a:avLst/>
              <a:gdLst>
                <a:gd name="T0" fmla="*/ 6624 w 7154"/>
                <a:gd name="T1" fmla="*/ 2037 h 7154"/>
                <a:gd name="T2" fmla="*/ 6106 w 7154"/>
                <a:gd name="T3" fmla="*/ 1048 h 7154"/>
                <a:gd name="T4" fmla="*/ 5117 w 7154"/>
                <a:gd name="T5" fmla="*/ 530 h 7154"/>
                <a:gd name="T6" fmla="*/ 4643 w 7154"/>
                <a:gd name="T7" fmla="*/ 334 h 7154"/>
                <a:gd name="T8" fmla="*/ 3577 w 7154"/>
                <a:gd name="T9" fmla="*/ 0 h 7154"/>
                <a:gd name="T10" fmla="*/ 2511 w 7154"/>
                <a:gd name="T11" fmla="*/ 334 h 7154"/>
                <a:gd name="T12" fmla="*/ 2037 w 7154"/>
                <a:gd name="T13" fmla="*/ 530 h 7154"/>
                <a:gd name="T14" fmla="*/ 1048 w 7154"/>
                <a:gd name="T15" fmla="*/ 1048 h 7154"/>
                <a:gd name="T16" fmla="*/ 530 w 7154"/>
                <a:gd name="T17" fmla="*/ 2037 h 7154"/>
                <a:gd name="T18" fmla="*/ 334 w 7154"/>
                <a:gd name="T19" fmla="*/ 2511 h 7154"/>
                <a:gd name="T20" fmla="*/ 0 w 7154"/>
                <a:gd name="T21" fmla="*/ 3577 h 7154"/>
                <a:gd name="T22" fmla="*/ 334 w 7154"/>
                <a:gd name="T23" fmla="*/ 4643 h 7154"/>
                <a:gd name="T24" fmla="*/ 530 w 7154"/>
                <a:gd name="T25" fmla="*/ 5117 h 7154"/>
                <a:gd name="T26" fmla="*/ 1048 w 7154"/>
                <a:gd name="T27" fmla="*/ 6106 h 7154"/>
                <a:gd name="T28" fmla="*/ 2037 w 7154"/>
                <a:gd name="T29" fmla="*/ 6624 h 7154"/>
                <a:gd name="T30" fmla="*/ 2511 w 7154"/>
                <a:gd name="T31" fmla="*/ 6820 h 7154"/>
                <a:gd name="T32" fmla="*/ 3577 w 7154"/>
                <a:gd name="T33" fmla="*/ 7154 h 7154"/>
                <a:gd name="T34" fmla="*/ 4643 w 7154"/>
                <a:gd name="T35" fmla="*/ 6820 h 7154"/>
                <a:gd name="T36" fmla="*/ 5117 w 7154"/>
                <a:gd name="T37" fmla="*/ 6624 h 7154"/>
                <a:gd name="T38" fmla="*/ 6106 w 7154"/>
                <a:gd name="T39" fmla="*/ 6106 h 7154"/>
                <a:gd name="T40" fmla="*/ 6624 w 7154"/>
                <a:gd name="T41" fmla="*/ 5117 h 7154"/>
                <a:gd name="T42" fmla="*/ 6820 w 7154"/>
                <a:gd name="T43" fmla="*/ 4643 h 7154"/>
                <a:gd name="T44" fmla="*/ 7154 w 7154"/>
                <a:gd name="T45" fmla="*/ 3577 h 7154"/>
                <a:gd name="T46" fmla="*/ 6820 w 7154"/>
                <a:gd name="T47" fmla="*/ 2511 h 7154"/>
                <a:gd name="T48" fmla="*/ 6624 w 7154"/>
                <a:gd name="T49" fmla="*/ 2037 h 7154"/>
                <a:gd name="T50" fmla="*/ 5857 w 7154"/>
                <a:gd name="T51" fmla="*/ 2406 h 7154"/>
                <a:gd name="T52" fmla="*/ 3286 w 7154"/>
                <a:gd name="T53" fmla="*/ 4976 h 7154"/>
                <a:gd name="T54" fmla="*/ 2875 w 7154"/>
                <a:gd name="T55" fmla="*/ 5387 h 7154"/>
                <a:gd name="T56" fmla="*/ 2464 w 7154"/>
                <a:gd name="T57" fmla="*/ 5387 h 7154"/>
                <a:gd name="T58" fmla="*/ 2053 w 7154"/>
                <a:gd name="T59" fmla="*/ 4976 h 7154"/>
                <a:gd name="T60" fmla="*/ 1297 w 7154"/>
                <a:gd name="T61" fmla="*/ 4221 h 7154"/>
                <a:gd name="T62" fmla="*/ 1297 w 7154"/>
                <a:gd name="T63" fmla="*/ 3809 h 7154"/>
                <a:gd name="T64" fmla="*/ 1708 w 7154"/>
                <a:gd name="T65" fmla="*/ 3398 h 7154"/>
                <a:gd name="T66" fmla="*/ 2120 w 7154"/>
                <a:gd name="T67" fmla="*/ 3398 h 7154"/>
                <a:gd name="T68" fmla="*/ 2669 w 7154"/>
                <a:gd name="T69" fmla="*/ 3948 h 7154"/>
                <a:gd name="T70" fmla="*/ 5034 w 7154"/>
                <a:gd name="T71" fmla="*/ 1583 h 7154"/>
                <a:gd name="T72" fmla="*/ 5445 w 7154"/>
                <a:gd name="T73" fmla="*/ 1583 h 7154"/>
                <a:gd name="T74" fmla="*/ 5857 w 7154"/>
                <a:gd name="T75" fmla="*/ 1994 h 7154"/>
                <a:gd name="T76" fmla="*/ 5857 w 7154"/>
                <a:gd name="T77" fmla="*/ 2406 h 7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154" h="7154">
                  <a:moveTo>
                    <a:pt x="6624" y="2037"/>
                  </a:moveTo>
                  <a:cubicBezTo>
                    <a:pt x="6580" y="1703"/>
                    <a:pt x="6403" y="1345"/>
                    <a:pt x="6106" y="1048"/>
                  </a:cubicBezTo>
                  <a:cubicBezTo>
                    <a:pt x="5809" y="751"/>
                    <a:pt x="5451" y="574"/>
                    <a:pt x="5117" y="530"/>
                  </a:cubicBezTo>
                  <a:cubicBezTo>
                    <a:pt x="4966" y="510"/>
                    <a:pt x="4764" y="427"/>
                    <a:pt x="4643" y="334"/>
                  </a:cubicBezTo>
                  <a:cubicBezTo>
                    <a:pt x="4375" y="128"/>
                    <a:pt x="3997" y="0"/>
                    <a:pt x="3577" y="0"/>
                  </a:cubicBezTo>
                  <a:cubicBezTo>
                    <a:pt x="3157" y="0"/>
                    <a:pt x="2779" y="128"/>
                    <a:pt x="2511" y="334"/>
                  </a:cubicBezTo>
                  <a:cubicBezTo>
                    <a:pt x="2390" y="427"/>
                    <a:pt x="2188" y="510"/>
                    <a:pt x="2037" y="530"/>
                  </a:cubicBezTo>
                  <a:cubicBezTo>
                    <a:pt x="1702" y="574"/>
                    <a:pt x="1345" y="751"/>
                    <a:pt x="1048" y="1048"/>
                  </a:cubicBezTo>
                  <a:cubicBezTo>
                    <a:pt x="751" y="1345"/>
                    <a:pt x="574" y="1703"/>
                    <a:pt x="530" y="2037"/>
                  </a:cubicBezTo>
                  <a:cubicBezTo>
                    <a:pt x="510" y="2188"/>
                    <a:pt x="427" y="2390"/>
                    <a:pt x="334" y="2511"/>
                  </a:cubicBezTo>
                  <a:cubicBezTo>
                    <a:pt x="128" y="2779"/>
                    <a:pt x="0" y="3157"/>
                    <a:pt x="0" y="3577"/>
                  </a:cubicBezTo>
                  <a:cubicBezTo>
                    <a:pt x="0" y="3997"/>
                    <a:pt x="128" y="4375"/>
                    <a:pt x="334" y="4643"/>
                  </a:cubicBezTo>
                  <a:cubicBezTo>
                    <a:pt x="427" y="4764"/>
                    <a:pt x="510" y="4966"/>
                    <a:pt x="530" y="5117"/>
                  </a:cubicBezTo>
                  <a:cubicBezTo>
                    <a:pt x="574" y="5451"/>
                    <a:pt x="751" y="5809"/>
                    <a:pt x="1048" y="6106"/>
                  </a:cubicBezTo>
                  <a:cubicBezTo>
                    <a:pt x="1345" y="6403"/>
                    <a:pt x="1702" y="6580"/>
                    <a:pt x="2037" y="6624"/>
                  </a:cubicBezTo>
                  <a:cubicBezTo>
                    <a:pt x="2188" y="6644"/>
                    <a:pt x="2390" y="6727"/>
                    <a:pt x="2511" y="6820"/>
                  </a:cubicBezTo>
                  <a:cubicBezTo>
                    <a:pt x="2779" y="7025"/>
                    <a:pt x="3157" y="7154"/>
                    <a:pt x="3577" y="7154"/>
                  </a:cubicBezTo>
                  <a:cubicBezTo>
                    <a:pt x="3997" y="7154"/>
                    <a:pt x="4375" y="7025"/>
                    <a:pt x="4643" y="6820"/>
                  </a:cubicBezTo>
                  <a:cubicBezTo>
                    <a:pt x="4764" y="6727"/>
                    <a:pt x="4966" y="6644"/>
                    <a:pt x="5117" y="6624"/>
                  </a:cubicBezTo>
                  <a:cubicBezTo>
                    <a:pt x="5451" y="6580"/>
                    <a:pt x="5809" y="6403"/>
                    <a:pt x="6106" y="6106"/>
                  </a:cubicBezTo>
                  <a:cubicBezTo>
                    <a:pt x="6403" y="5809"/>
                    <a:pt x="6580" y="5451"/>
                    <a:pt x="6624" y="5117"/>
                  </a:cubicBezTo>
                  <a:cubicBezTo>
                    <a:pt x="6644" y="4966"/>
                    <a:pt x="6727" y="4764"/>
                    <a:pt x="6820" y="4643"/>
                  </a:cubicBezTo>
                  <a:cubicBezTo>
                    <a:pt x="7026" y="4375"/>
                    <a:pt x="7154" y="3997"/>
                    <a:pt x="7154" y="3577"/>
                  </a:cubicBezTo>
                  <a:cubicBezTo>
                    <a:pt x="7154" y="3157"/>
                    <a:pt x="7026" y="2779"/>
                    <a:pt x="6820" y="2511"/>
                  </a:cubicBezTo>
                  <a:cubicBezTo>
                    <a:pt x="6727" y="2390"/>
                    <a:pt x="6644" y="2188"/>
                    <a:pt x="6624" y="2037"/>
                  </a:cubicBezTo>
                  <a:close/>
                  <a:moveTo>
                    <a:pt x="5857" y="2406"/>
                  </a:moveTo>
                  <a:lnTo>
                    <a:pt x="3286" y="4976"/>
                  </a:lnTo>
                  <a:lnTo>
                    <a:pt x="2875" y="5387"/>
                  </a:lnTo>
                  <a:cubicBezTo>
                    <a:pt x="2762" y="5501"/>
                    <a:pt x="2577" y="5501"/>
                    <a:pt x="2464" y="5387"/>
                  </a:cubicBezTo>
                  <a:lnTo>
                    <a:pt x="2053" y="4976"/>
                  </a:lnTo>
                  <a:lnTo>
                    <a:pt x="1297" y="4221"/>
                  </a:lnTo>
                  <a:cubicBezTo>
                    <a:pt x="1183" y="4107"/>
                    <a:pt x="1183" y="3923"/>
                    <a:pt x="1297" y="3809"/>
                  </a:cubicBezTo>
                  <a:lnTo>
                    <a:pt x="1708" y="3398"/>
                  </a:lnTo>
                  <a:cubicBezTo>
                    <a:pt x="1822" y="3285"/>
                    <a:pt x="2006" y="3285"/>
                    <a:pt x="2120" y="3398"/>
                  </a:cubicBezTo>
                  <a:lnTo>
                    <a:pt x="2669" y="3948"/>
                  </a:lnTo>
                  <a:lnTo>
                    <a:pt x="5034" y="1583"/>
                  </a:lnTo>
                  <a:cubicBezTo>
                    <a:pt x="5148" y="1470"/>
                    <a:pt x="5332" y="1470"/>
                    <a:pt x="5445" y="1583"/>
                  </a:cubicBezTo>
                  <a:lnTo>
                    <a:pt x="5857" y="1994"/>
                  </a:lnTo>
                  <a:cubicBezTo>
                    <a:pt x="5970" y="2108"/>
                    <a:pt x="5970" y="2292"/>
                    <a:pt x="5857" y="2406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5" name="iṧḷiḑé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743264" y="4276135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按分布模式进行配置</a:t>
              </a:r>
              <a:endParaRPr lang="en-US" altLang="zh-CN" sz="1100" dirty="0"/>
            </a:p>
          </p:txBody>
        </p:sp>
        <p:sp>
          <p:nvSpPr>
            <p:cNvPr id="216" name="îṧḻiḑe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197100" y="4926511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>
                  <a:solidFill>
                    <a:schemeClr val="bg1"/>
                  </a:solidFill>
                </a:rPr>
                <a:t>运行第一个实例</a:t>
              </a: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17" name="îṣľïd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2651098" y="5576887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开心</a:t>
              </a:r>
              <a:r>
                <a:rPr lang="en-US" altLang="zh-CN" sz="1100" dirty="0" err="1"/>
                <a:t>ing</a:t>
              </a:r>
              <a:r>
                <a:rPr lang="en-US" altLang="zh-CN" sz="1100" dirty="0"/>
                <a:t>~</a:t>
              </a:r>
            </a:p>
          </p:txBody>
        </p:sp>
        <p:sp>
          <p:nvSpPr>
            <p:cNvPr id="218" name="íṧ1îd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289201" y="3625759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 解压</a:t>
              </a:r>
              <a:endParaRPr lang="en-US" altLang="zh-CN" sz="1100" dirty="0"/>
            </a:p>
          </p:txBody>
        </p:sp>
        <p:sp>
          <p:nvSpPr>
            <p:cNvPr id="219" name="îs1ïḋ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842020" y="2975382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配置环境变量 使之生效</a:t>
              </a:r>
              <a:endParaRPr lang="en-US" altLang="zh-CN" sz="1100" dirty="0"/>
            </a:p>
          </p:txBody>
        </p:sp>
        <p:sp>
          <p:nvSpPr>
            <p:cNvPr id="220" name="íšliḓ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5387990" y="2325006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</a:t>
              </a:r>
              <a:r>
                <a:rPr lang="en-US" altLang="zh-CN" sz="1100" dirty="0"/>
                <a:t> </a:t>
              </a:r>
              <a:r>
                <a:rPr lang="zh-CN" altLang="en-US" sz="1100" dirty="0"/>
                <a:t>解压</a:t>
              </a:r>
              <a:endParaRPr lang="en-US" altLang="zh-CN" sz="1100" dirty="0"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653777F-C200-4DD9-896D-DFE3FC5A0E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794" y="132609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4097" name="Picture 1" descr="L:\Water\Documents\Tencent Files\1106367305\Image\C2C\S_~PNJLRA$(`BM~E~CRVP@6.jpg">
            <a:extLst>
              <a:ext uri="{FF2B5EF4-FFF2-40B4-BE49-F238E27FC236}">
                <a16:creationId xmlns:a16="http://schemas.microsoft.com/office/drawing/2014/main" id="{870A9B0F-80D3-4BB8-9E6D-5163109C031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2"/>
          <a:stretch>
            <a:fillRect/>
          </a:stretch>
        </p:blipFill>
        <p:spPr bwMode="auto">
          <a:xfrm>
            <a:off x="1092994" y="1284288"/>
            <a:ext cx="6958012" cy="4695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104D7166-3B85-4412-9659-285206FA2824}"/>
              </a:ext>
            </a:extLst>
          </p:cNvPr>
          <p:cNvSpPr/>
          <p:nvPr/>
        </p:nvSpPr>
        <p:spPr>
          <a:xfrm>
            <a:off x="1092994" y="2393072"/>
            <a:ext cx="6958012" cy="3587040"/>
          </a:xfrm>
          <a:prstGeom prst="rect">
            <a:avLst/>
          </a:prstGeom>
          <a:solidFill>
            <a:srgbClr val="2D0A2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CB3EE618-32F8-4966-A35B-D1376D9131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045762" y="14732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5502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250">
        <p159:morph option="byObject"/>
      </p:transition>
    </mc:Choice>
    <mc:Fallback xmlns="">
      <p:transition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执行几个看看？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1</a:t>
            </a:fld>
            <a:endParaRPr lang="zh-CN" altLang="en-US"/>
          </a:p>
        </p:txBody>
      </p:sp>
      <p:grpSp>
        <p:nvGrpSpPr>
          <p:cNvPr id="194" name="180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4D56F3B-0686-4E9E-A675-DA7BF2C9F6C2}"/>
              </a:ext>
            </a:extLst>
          </p:cNvPr>
          <p:cNvGrpSpPr>
            <a:grpSpLocks noChangeAspect="1"/>
          </p:cNvGrpSpPr>
          <p:nvPr/>
        </p:nvGrpSpPr>
        <p:grpSpPr>
          <a:xfrm>
            <a:off x="1875381" y="-2460624"/>
            <a:ext cx="5393238" cy="2212975"/>
            <a:chOff x="938530" y="1805421"/>
            <a:chExt cx="10580370" cy="4341379"/>
          </a:xfrm>
        </p:grpSpPr>
        <p:sp>
          <p:nvSpPr>
            <p:cNvPr id="195" name="iṧḻîďè">
              <a:extLst>
                <a:ext uri="{FF2B5EF4-FFF2-40B4-BE49-F238E27FC236}">
                  <a16:creationId xmlns:a16="http://schemas.microsoft.com/office/drawing/2014/main" id="{6FC8272D-4563-47EB-B741-E738A21C2623}"/>
                </a:ext>
              </a:extLst>
            </p:cNvPr>
            <p:cNvSpPr/>
            <p:nvPr/>
          </p:nvSpPr>
          <p:spPr bwMode="auto">
            <a:xfrm>
              <a:off x="5637082" y="5226400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搞定！</a:t>
              </a:r>
              <a:endParaRPr lang="en-US" altLang="zh-CN" b="1" dirty="0"/>
            </a:p>
          </p:txBody>
        </p:sp>
        <p:sp>
          <p:nvSpPr>
            <p:cNvPr id="196" name="îŝḻiḋé">
              <a:extLst>
                <a:ext uri="{FF2B5EF4-FFF2-40B4-BE49-F238E27FC236}">
                  <a16:creationId xmlns:a16="http://schemas.microsoft.com/office/drawing/2014/main" id="{C05C75D7-4258-49B9-958F-F2EEF0B840E0}"/>
                </a:ext>
              </a:extLst>
            </p:cNvPr>
            <p:cNvSpPr/>
            <p:nvPr/>
          </p:nvSpPr>
          <p:spPr bwMode="auto">
            <a:xfrm>
              <a:off x="6176201" y="4576024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>
                  <a:solidFill>
                    <a:schemeClr val="bg1"/>
                  </a:solidFill>
                </a:rPr>
                <a:t>测试</a:t>
              </a:r>
              <a:endParaRPr lang="en-US" altLang="zh-CN" sz="1750" b="1" dirty="0">
                <a:solidFill>
                  <a:schemeClr val="bg1"/>
                </a:solidFill>
              </a:endParaRPr>
            </a:p>
          </p:txBody>
        </p:sp>
        <p:sp>
          <p:nvSpPr>
            <p:cNvPr id="197" name="íṥḷíďê">
              <a:extLst>
                <a:ext uri="{FF2B5EF4-FFF2-40B4-BE49-F238E27FC236}">
                  <a16:creationId xmlns:a16="http://schemas.microsoft.com/office/drawing/2014/main" id="{D4FCC7AE-5767-4EC4-BB68-B94457D3AE6D}"/>
                </a:ext>
              </a:extLst>
            </p:cNvPr>
            <p:cNvSpPr/>
            <p:nvPr/>
          </p:nvSpPr>
          <p:spPr bwMode="auto">
            <a:xfrm>
              <a:off x="6703850" y="3925648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/>
                <a:t>配置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8" name="ïś1ïḓè">
              <a:extLst>
                <a:ext uri="{FF2B5EF4-FFF2-40B4-BE49-F238E27FC236}">
                  <a16:creationId xmlns:a16="http://schemas.microsoft.com/office/drawing/2014/main" id="{F32E844B-E27C-4A92-9B60-95E4AD88D81F}"/>
                </a:ext>
              </a:extLst>
            </p:cNvPr>
            <p:cNvSpPr/>
            <p:nvPr/>
          </p:nvSpPr>
          <p:spPr bwMode="auto">
            <a:xfrm>
              <a:off x="7241823" y="3275272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 dirty="0"/>
                <a:t>安装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9" name="îśļïḍè">
              <a:extLst>
                <a:ext uri="{FF2B5EF4-FFF2-40B4-BE49-F238E27FC236}">
                  <a16:creationId xmlns:a16="http://schemas.microsoft.com/office/drawing/2014/main" id="{F812BB55-77DE-4E23-95E6-156A22FAD363}"/>
                </a:ext>
              </a:extLst>
            </p:cNvPr>
            <p:cNvSpPr/>
            <p:nvPr/>
          </p:nvSpPr>
          <p:spPr bwMode="auto">
            <a:xfrm>
              <a:off x="7743555" y="2624895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配置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0" name="ï$1íḍé">
              <a:extLst>
                <a:ext uri="{FF2B5EF4-FFF2-40B4-BE49-F238E27FC236}">
                  <a16:creationId xmlns:a16="http://schemas.microsoft.com/office/drawing/2014/main" id="{48245F16-84E7-4201-9485-85B5E5B15ECD}"/>
                </a:ext>
              </a:extLst>
            </p:cNvPr>
            <p:cNvSpPr/>
            <p:nvPr/>
          </p:nvSpPr>
          <p:spPr bwMode="auto">
            <a:xfrm>
              <a:off x="8263856" y="1974519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安装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1" name="îṥľïďê">
              <a:extLst>
                <a:ext uri="{FF2B5EF4-FFF2-40B4-BE49-F238E27FC236}">
                  <a16:creationId xmlns:a16="http://schemas.microsoft.com/office/drawing/2014/main" id="{920DFBAA-02E5-4206-86B0-FE10F93A7509}"/>
                </a:ext>
              </a:extLst>
            </p:cNvPr>
            <p:cNvSpPr/>
            <p:nvPr/>
          </p:nvSpPr>
          <p:spPr bwMode="auto">
            <a:xfrm>
              <a:off x="5220497" y="3438015"/>
              <a:ext cx="3741918" cy="1239562"/>
            </a:xfrm>
            <a:custGeom>
              <a:avLst/>
              <a:gdLst>
                <a:gd name="T0" fmla="*/ 179 w 203"/>
                <a:gd name="T1" fmla="*/ 82 h 82"/>
                <a:gd name="T2" fmla="*/ 203 w 203"/>
                <a:gd name="T3" fmla="*/ 29 h 82"/>
                <a:gd name="T4" fmla="*/ 65 w 203"/>
                <a:gd name="T5" fmla="*/ 27 h 82"/>
                <a:gd name="T6" fmla="*/ 59 w 203"/>
                <a:gd name="T7" fmla="*/ 0 h 82"/>
                <a:gd name="T8" fmla="*/ 59 w 203"/>
                <a:gd name="T9" fmla="*/ 0 h 82"/>
                <a:gd name="T10" fmla="*/ 0 w 203"/>
                <a:gd name="T11" fmla="*/ 80 h 82"/>
                <a:gd name="T12" fmla="*/ 61 w 203"/>
                <a:gd name="T13" fmla="*/ 82 h 82"/>
                <a:gd name="T14" fmla="*/ 179 w 203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82">
                  <a:moveTo>
                    <a:pt x="179" y="82"/>
                  </a:moveTo>
                  <a:lnTo>
                    <a:pt x="203" y="29"/>
                  </a:lnTo>
                  <a:lnTo>
                    <a:pt x="65" y="27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0" y="80"/>
                  </a:lnTo>
                  <a:lnTo>
                    <a:pt x="61" y="82"/>
                  </a:lnTo>
                  <a:lnTo>
                    <a:pt x="179" y="8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2" name="i$ḻíḋè">
              <a:extLst>
                <a:ext uri="{FF2B5EF4-FFF2-40B4-BE49-F238E27FC236}">
                  <a16:creationId xmlns:a16="http://schemas.microsoft.com/office/drawing/2014/main" id="{430BE7EB-B6F0-4F05-80EA-1F517165029F}"/>
                </a:ext>
              </a:extLst>
            </p:cNvPr>
            <p:cNvSpPr/>
            <p:nvPr/>
          </p:nvSpPr>
          <p:spPr bwMode="auto">
            <a:xfrm>
              <a:off x="8032938" y="1974519"/>
              <a:ext cx="1398307" cy="247664"/>
            </a:xfrm>
            <a:prstGeom prst="triangle">
              <a:avLst>
                <a:gd name="adj" fmla="val 14726"/>
              </a:avLst>
            </a:pr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3" name="işľiḋe">
              <a:extLst>
                <a:ext uri="{FF2B5EF4-FFF2-40B4-BE49-F238E27FC236}">
                  <a16:creationId xmlns:a16="http://schemas.microsoft.com/office/drawing/2014/main" id="{E4DECB97-43D1-4D26-8C48-41447675AE79}"/>
                </a:ext>
              </a:extLst>
            </p:cNvPr>
            <p:cNvSpPr/>
            <p:nvPr/>
          </p:nvSpPr>
          <p:spPr bwMode="auto">
            <a:xfrm>
              <a:off x="3675422" y="1805421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4" name="iś1íďé">
              <a:extLst>
                <a:ext uri="{FF2B5EF4-FFF2-40B4-BE49-F238E27FC236}">
                  <a16:creationId xmlns:a16="http://schemas.microsoft.com/office/drawing/2014/main" id="{6E7EA96A-F20A-4912-AC31-63A0F19E66DE}"/>
                </a:ext>
              </a:extLst>
            </p:cNvPr>
            <p:cNvSpPr/>
            <p:nvPr/>
          </p:nvSpPr>
          <p:spPr bwMode="auto">
            <a:xfrm>
              <a:off x="3129452" y="2455797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5" name="ïŝlíḋe">
              <a:extLst>
                <a:ext uri="{FF2B5EF4-FFF2-40B4-BE49-F238E27FC236}">
                  <a16:creationId xmlns:a16="http://schemas.microsoft.com/office/drawing/2014/main" id="{66D30D6F-26C9-4C2C-BC01-900AC07DC57E}"/>
                </a:ext>
              </a:extLst>
            </p:cNvPr>
            <p:cNvSpPr/>
            <p:nvPr/>
          </p:nvSpPr>
          <p:spPr bwMode="auto">
            <a:xfrm>
              <a:off x="2576633" y="3106174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6" name="îSliďè">
              <a:extLst>
                <a:ext uri="{FF2B5EF4-FFF2-40B4-BE49-F238E27FC236}">
                  <a16:creationId xmlns:a16="http://schemas.microsoft.com/office/drawing/2014/main" id="{2F6D5554-EACD-4DDD-892F-2E5F97A9C421}"/>
                </a:ext>
              </a:extLst>
            </p:cNvPr>
            <p:cNvSpPr/>
            <p:nvPr/>
          </p:nvSpPr>
          <p:spPr bwMode="auto">
            <a:xfrm>
              <a:off x="2030696" y="3756550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7" name="îSliďé">
              <a:extLst>
                <a:ext uri="{FF2B5EF4-FFF2-40B4-BE49-F238E27FC236}">
                  <a16:creationId xmlns:a16="http://schemas.microsoft.com/office/drawing/2014/main" id="{2E278F3F-C8D8-4E2A-A3EA-29ADCF1A02AA}"/>
                </a:ext>
              </a:extLst>
            </p:cNvPr>
            <p:cNvSpPr/>
            <p:nvPr/>
          </p:nvSpPr>
          <p:spPr bwMode="auto">
            <a:xfrm>
              <a:off x="1484532" y="4406926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8" name="îs1iďé">
              <a:extLst>
                <a:ext uri="{FF2B5EF4-FFF2-40B4-BE49-F238E27FC236}">
                  <a16:creationId xmlns:a16="http://schemas.microsoft.com/office/drawing/2014/main" id="{EB74D0C2-5677-4F3F-A043-44D01A3F3D48}"/>
                </a:ext>
              </a:extLst>
            </p:cNvPr>
            <p:cNvSpPr/>
            <p:nvPr/>
          </p:nvSpPr>
          <p:spPr bwMode="auto">
            <a:xfrm>
              <a:off x="938530" y="5057302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9" name="ïṣḻïḋe">
              <a:extLst>
                <a:ext uri="{FF2B5EF4-FFF2-40B4-BE49-F238E27FC236}">
                  <a16:creationId xmlns:a16="http://schemas.microsoft.com/office/drawing/2014/main" id="{7709F84E-C33F-462F-B538-51CB71C9284E}"/>
                </a:ext>
              </a:extLst>
            </p:cNvPr>
            <p:cNvSpPr/>
            <p:nvPr/>
          </p:nvSpPr>
          <p:spPr bwMode="auto">
            <a:xfrm>
              <a:off x="4585947" y="2371737"/>
              <a:ext cx="377807" cy="377281"/>
            </a:xfrm>
            <a:custGeom>
              <a:avLst/>
              <a:gdLst>
                <a:gd name="T0" fmla="*/ 400 w 11264"/>
                <a:gd name="T1" fmla="*/ 7099 h 11264"/>
                <a:gd name="T2" fmla="*/ 4165 w 11264"/>
                <a:gd name="T3" fmla="*/ 7099 h 11264"/>
                <a:gd name="T4" fmla="*/ 4165 w 11264"/>
                <a:gd name="T5" fmla="*/ 10864 h 11264"/>
                <a:gd name="T6" fmla="*/ 4565 w 11264"/>
                <a:gd name="T7" fmla="*/ 11264 h 11264"/>
                <a:gd name="T8" fmla="*/ 6699 w 11264"/>
                <a:gd name="T9" fmla="*/ 11264 h 11264"/>
                <a:gd name="T10" fmla="*/ 7099 w 11264"/>
                <a:gd name="T11" fmla="*/ 10864 h 11264"/>
                <a:gd name="T12" fmla="*/ 7099 w 11264"/>
                <a:gd name="T13" fmla="*/ 7099 h 11264"/>
                <a:gd name="T14" fmla="*/ 10864 w 11264"/>
                <a:gd name="T15" fmla="*/ 7099 h 11264"/>
                <a:gd name="T16" fmla="*/ 11264 w 11264"/>
                <a:gd name="T17" fmla="*/ 6699 h 11264"/>
                <a:gd name="T18" fmla="*/ 11264 w 11264"/>
                <a:gd name="T19" fmla="*/ 4565 h 11264"/>
                <a:gd name="T20" fmla="*/ 10864 w 11264"/>
                <a:gd name="T21" fmla="*/ 4165 h 11264"/>
                <a:gd name="T22" fmla="*/ 7099 w 11264"/>
                <a:gd name="T23" fmla="*/ 4165 h 11264"/>
                <a:gd name="T24" fmla="*/ 7099 w 11264"/>
                <a:gd name="T25" fmla="*/ 400 h 11264"/>
                <a:gd name="T26" fmla="*/ 6699 w 11264"/>
                <a:gd name="T27" fmla="*/ 0 h 11264"/>
                <a:gd name="T28" fmla="*/ 4565 w 11264"/>
                <a:gd name="T29" fmla="*/ 0 h 11264"/>
                <a:gd name="T30" fmla="*/ 4165 w 11264"/>
                <a:gd name="T31" fmla="*/ 400 h 11264"/>
                <a:gd name="T32" fmla="*/ 4165 w 11264"/>
                <a:gd name="T33" fmla="*/ 4165 h 11264"/>
                <a:gd name="T34" fmla="*/ 400 w 11264"/>
                <a:gd name="T35" fmla="*/ 4165 h 11264"/>
                <a:gd name="T36" fmla="*/ 0 w 11264"/>
                <a:gd name="T37" fmla="*/ 4565 h 11264"/>
                <a:gd name="T38" fmla="*/ 0 w 11264"/>
                <a:gd name="T39" fmla="*/ 6699 h 11264"/>
                <a:gd name="T40" fmla="*/ 400 w 11264"/>
                <a:gd name="T41" fmla="*/ 7099 h 1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64" h="11264">
                  <a:moveTo>
                    <a:pt x="400" y="7099"/>
                  </a:moveTo>
                  <a:lnTo>
                    <a:pt x="4165" y="7099"/>
                  </a:lnTo>
                  <a:lnTo>
                    <a:pt x="4165" y="10864"/>
                  </a:lnTo>
                  <a:cubicBezTo>
                    <a:pt x="4165" y="11085"/>
                    <a:pt x="4344" y="11264"/>
                    <a:pt x="4565" y="11264"/>
                  </a:cubicBezTo>
                  <a:lnTo>
                    <a:pt x="6699" y="11264"/>
                  </a:lnTo>
                  <a:cubicBezTo>
                    <a:pt x="6920" y="11264"/>
                    <a:pt x="7099" y="11085"/>
                    <a:pt x="7099" y="10864"/>
                  </a:cubicBezTo>
                  <a:lnTo>
                    <a:pt x="7099" y="7099"/>
                  </a:lnTo>
                  <a:lnTo>
                    <a:pt x="10864" y="7099"/>
                  </a:lnTo>
                  <a:cubicBezTo>
                    <a:pt x="11085" y="7099"/>
                    <a:pt x="11264" y="6920"/>
                    <a:pt x="11264" y="6699"/>
                  </a:cubicBezTo>
                  <a:lnTo>
                    <a:pt x="11264" y="4565"/>
                  </a:lnTo>
                  <a:cubicBezTo>
                    <a:pt x="11264" y="4344"/>
                    <a:pt x="11085" y="4165"/>
                    <a:pt x="10864" y="4165"/>
                  </a:cubicBezTo>
                  <a:lnTo>
                    <a:pt x="7099" y="4165"/>
                  </a:lnTo>
                  <a:lnTo>
                    <a:pt x="7099" y="400"/>
                  </a:lnTo>
                  <a:cubicBezTo>
                    <a:pt x="7099" y="179"/>
                    <a:pt x="6920" y="0"/>
                    <a:pt x="6699" y="0"/>
                  </a:cubicBezTo>
                  <a:lnTo>
                    <a:pt x="4565" y="0"/>
                  </a:lnTo>
                  <a:cubicBezTo>
                    <a:pt x="4344" y="0"/>
                    <a:pt x="4165" y="179"/>
                    <a:pt x="4165" y="400"/>
                  </a:cubicBezTo>
                  <a:lnTo>
                    <a:pt x="4165" y="4165"/>
                  </a:lnTo>
                  <a:lnTo>
                    <a:pt x="400" y="4165"/>
                  </a:lnTo>
                  <a:cubicBezTo>
                    <a:pt x="179" y="4165"/>
                    <a:pt x="0" y="4344"/>
                    <a:pt x="0" y="4565"/>
                  </a:cubicBezTo>
                  <a:lnTo>
                    <a:pt x="0" y="6699"/>
                  </a:lnTo>
                  <a:cubicBezTo>
                    <a:pt x="0" y="6920"/>
                    <a:pt x="179" y="7099"/>
                    <a:pt x="400" y="709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0" name="îsḷïde">
              <a:extLst>
                <a:ext uri="{FF2B5EF4-FFF2-40B4-BE49-F238E27FC236}">
                  <a16:creationId xmlns:a16="http://schemas.microsoft.com/office/drawing/2014/main" id="{F7027C89-1BCC-4A00-9535-016DE4C49FD7}"/>
                </a:ext>
              </a:extLst>
            </p:cNvPr>
            <p:cNvSpPr/>
            <p:nvPr/>
          </p:nvSpPr>
          <p:spPr bwMode="auto">
            <a:xfrm>
              <a:off x="4069565" y="3014578"/>
              <a:ext cx="369969" cy="377806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  <a:gd name="connsiteX107" fmla="*/ 373273 h 605239"/>
                <a:gd name="connsiteY107" fmla="*/ 373273 h 605239"/>
                <a:gd name="connsiteX108" fmla="*/ 373273 h 605239"/>
                <a:gd name="connsiteY108" fmla="*/ 373273 h 605239"/>
                <a:gd name="connsiteX109" fmla="*/ 373273 h 605239"/>
                <a:gd name="connsiteY109" fmla="*/ 373273 h 605239"/>
                <a:gd name="connsiteX110" fmla="*/ 373273 h 605239"/>
                <a:gd name="connsiteY110" fmla="*/ 373273 h 605239"/>
                <a:gd name="connsiteX111" fmla="*/ 373273 h 605239"/>
                <a:gd name="connsiteY111" fmla="*/ 373273 h 605239"/>
                <a:gd name="connsiteX112" fmla="*/ 373273 h 605239"/>
                <a:gd name="connsiteY112" fmla="*/ 373273 h 605239"/>
                <a:gd name="connsiteX113" fmla="*/ 373273 h 605239"/>
                <a:gd name="connsiteY113" fmla="*/ 373273 h 605239"/>
                <a:gd name="connsiteX114" fmla="*/ 373273 h 605239"/>
                <a:gd name="connsiteY114" fmla="*/ 373273 h 605239"/>
                <a:gd name="connsiteX115" fmla="*/ 373273 h 605239"/>
                <a:gd name="connsiteY115" fmla="*/ 373273 h 605239"/>
                <a:gd name="connsiteX116" fmla="*/ 373273 h 605239"/>
                <a:gd name="connsiteY116" fmla="*/ 373273 h 605239"/>
                <a:gd name="connsiteX117" fmla="*/ 373273 h 605239"/>
                <a:gd name="connsiteY117" fmla="*/ 373273 h 605239"/>
                <a:gd name="connsiteX118" fmla="*/ 373273 h 605239"/>
                <a:gd name="connsiteY118" fmla="*/ 373273 h 605239"/>
                <a:gd name="connsiteX119" fmla="*/ 373273 h 605239"/>
                <a:gd name="connsiteY119" fmla="*/ 373273 h 605239"/>
                <a:gd name="connsiteX120" fmla="*/ 373273 h 605239"/>
                <a:gd name="connsiteY120" fmla="*/ 373273 h 605239"/>
                <a:gd name="connsiteX121" fmla="*/ 373273 h 605239"/>
                <a:gd name="connsiteY121" fmla="*/ 373273 h 605239"/>
                <a:gd name="connsiteX122" fmla="*/ 373273 h 605239"/>
                <a:gd name="connsiteY122" fmla="*/ 373273 h 605239"/>
                <a:gd name="connsiteX123" fmla="*/ 373273 h 605239"/>
                <a:gd name="connsiteY123" fmla="*/ 373273 h 605239"/>
                <a:gd name="connsiteX124" fmla="*/ 373273 h 605239"/>
                <a:gd name="connsiteY124" fmla="*/ 373273 h 605239"/>
                <a:gd name="connsiteX125" fmla="*/ 373273 h 605239"/>
                <a:gd name="connsiteY125" fmla="*/ 373273 h 605239"/>
                <a:gd name="connsiteX126" fmla="*/ 373273 h 605239"/>
                <a:gd name="connsiteY126" fmla="*/ 373273 h 605239"/>
                <a:gd name="connsiteX127" fmla="*/ 373273 h 605239"/>
                <a:gd name="connsiteY127" fmla="*/ 373273 h 605239"/>
                <a:gd name="connsiteX128" fmla="*/ 373273 h 605239"/>
                <a:gd name="connsiteY128" fmla="*/ 373273 h 605239"/>
                <a:gd name="connsiteX129" fmla="*/ 373273 h 605239"/>
                <a:gd name="connsiteY12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593733" h="606309">
                  <a:moveTo>
                    <a:pt x="353250" y="302855"/>
                  </a:moveTo>
                  <a:cubicBezTo>
                    <a:pt x="318468" y="302855"/>
                    <a:pt x="290232" y="331146"/>
                    <a:pt x="290232" y="365879"/>
                  </a:cubicBezTo>
                  <a:cubicBezTo>
                    <a:pt x="290232" y="374189"/>
                    <a:pt x="296964" y="380912"/>
                    <a:pt x="305285" y="380912"/>
                  </a:cubicBezTo>
                  <a:cubicBezTo>
                    <a:pt x="313607" y="380912"/>
                    <a:pt x="320338" y="374189"/>
                    <a:pt x="320338" y="365879"/>
                  </a:cubicBezTo>
                  <a:cubicBezTo>
                    <a:pt x="320338" y="347672"/>
                    <a:pt x="335111" y="333014"/>
                    <a:pt x="353250" y="333014"/>
                  </a:cubicBezTo>
                  <a:cubicBezTo>
                    <a:pt x="361665" y="333014"/>
                    <a:pt x="368397" y="326291"/>
                    <a:pt x="368397" y="317888"/>
                  </a:cubicBezTo>
                  <a:cubicBezTo>
                    <a:pt x="368397" y="309578"/>
                    <a:pt x="361665" y="302855"/>
                    <a:pt x="353250" y="302855"/>
                  </a:cubicBezTo>
                  <a:close/>
                  <a:moveTo>
                    <a:pt x="353250" y="265041"/>
                  </a:moveTo>
                  <a:cubicBezTo>
                    <a:pt x="409163" y="265041"/>
                    <a:pt x="454229" y="310232"/>
                    <a:pt x="454229" y="365879"/>
                  </a:cubicBezTo>
                  <a:cubicBezTo>
                    <a:pt x="454229" y="421527"/>
                    <a:pt x="408976" y="466717"/>
                    <a:pt x="353250" y="466717"/>
                  </a:cubicBezTo>
                  <a:cubicBezTo>
                    <a:pt x="297525" y="466717"/>
                    <a:pt x="252271" y="421527"/>
                    <a:pt x="252271" y="365879"/>
                  </a:cubicBezTo>
                  <a:cubicBezTo>
                    <a:pt x="252271" y="310232"/>
                    <a:pt x="297431" y="265041"/>
                    <a:pt x="353250" y="265041"/>
                  </a:cubicBezTo>
                  <a:close/>
                  <a:moveTo>
                    <a:pt x="427779" y="133781"/>
                  </a:moveTo>
                  <a:cubicBezTo>
                    <a:pt x="432818" y="131960"/>
                    <a:pt x="438547" y="132054"/>
                    <a:pt x="443784" y="134482"/>
                  </a:cubicBezTo>
                  <a:lnTo>
                    <a:pt x="473245" y="148209"/>
                  </a:lnTo>
                  <a:cubicBezTo>
                    <a:pt x="483720" y="153158"/>
                    <a:pt x="488209" y="165671"/>
                    <a:pt x="483346" y="176130"/>
                  </a:cubicBezTo>
                  <a:lnTo>
                    <a:pt x="470252" y="203957"/>
                  </a:lnTo>
                  <a:cubicBezTo>
                    <a:pt x="492231" y="219646"/>
                    <a:pt x="511123" y="240003"/>
                    <a:pt x="525526" y="264095"/>
                  </a:cubicBezTo>
                  <a:lnTo>
                    <a:pt x="554426" y="253636"/>
                  </a:lnTo>
                  <a:cubicBezTo>
                    <a:pt x="565368" y="249714"/>
                    <a:pt x="577340" y="255411"/>
                    <a:pt x="581361" y="266243"/>
                  </a:cubicBezTo>
                  <a:lnTo>
                    <a:pt x="592491" y="296592"/>
                  </a:lnTo>
                  <a:cubicBezTo>
                    <a:pt x="596419" y="307612"/>
                    <a:pt x="590714" y="319564"/>
                    <a:pt x="579865" y="323486"/>
                  </a:cubicBezTo>
                  <a:lnTo>
                    <a:pt x="550965" y="333945"/>
                  </a:lnTo>
                  <a:cubicBezTo>
                    <a:pt x="555455" y="361586"/>
                    <a:pt x="553958" y="389414"/>
                    <a:pt x="547224" y="415561"/>
                  </a:cubicBezTo>
                  <a:lnTo>
                    <a:pt x="575095" y="428634"/>
                  </a:lnTo>
                  <a:cubicBezTo>
                    <a:pt x="585570" y="433490"/>
                    <a:pt x="590059" y="445910"/>
                    <a:pt x="585102" y="456649"/>
                  </a:cubicBezTo>
                  <a:lnTo>
                    <a:pt x="571354" y="485970"/>
                  </a:lnTo>
                  <a:cubicBezTo>
                    <a:pt x="566397" y="496429"/>
                    <a:pt x="553958" y="500911"/>
                    <a:pt x="543483" y="496056"/>
                  </a:cubicBezTo>
                  <a:lnTo>
                    <a:pt x="515238" y="482982"/>
                  </a:lnTo>
                  <a:cubicBezTo>
                    <a:pt x="499526" y="504833"/>
                    <a:pt x="479137" y="523510"/>
                    <a:pt x="455007" y="537704"/>
                  </a:cubicBezTo>
                  <a:lnTo>
                    <a:pt x="465763" y="567026"/>
                  </a:lnTo>
                  <a:cubicBezTo>
                    <a:pt x="469784" y="578045"/>
                    <a:pt x="463986" y="589997"/>
                    <a:pt x="453137" y="593919"/>
                  </a:cubicBezTo>
                  <a:lnTo>
                    <a:pt x="422741" y="605032"/>
                  </a:lnTo>
                  <a:cubicBezTo>
                    <a:pt x="411798" y="609047"/>
                    <a:pt x="399827" y="603258"/>
                    <a:pt x="395805" y="592425"/>
                  </a:cubicBezTo>
                  <a:lnTo>
                    <a:pt x="385050" y="562823"/>
                  </a:lnTo>
                  <a:cubicBezTo>
                    <a:pt x="357646" y="567212"/>
                    <a:pt x="330056" y="565718"/>
                    <a:pt x="304149" y="558995"/>
                  </a:cubicBezTo>
                  <a:lnTo>
                    <a:pt x="290682" y="587756"/>
                  </a:lnTo>
                  <a:cubicBezTo>
                    <a:pt x="285725" y="598215"/>
                    <a:pt x="273192" y="602697"/>
                    <a:pt x="262717" y="597841"/>
                  </a:cubicBezTo>
                  <a:lnTo>
                    <a:pt x="233350" y="584114"/>
                  </a:lnTo>
                  <a:cubicBezTo>
                    <a:pt x="222875" y="579165"/>
                    <a:pt x="218385" y="566652"/>
                    <a:pt x="223249" y="556193"/>
                  </a:cubicBezTo>
                  <a:lnTo>
                    <a:pt x="236810" y="527338"/>
                  </a:lnTo>
                  <a:cubicBezTo>
                    <a:pt x="215112" y="511650"/>
                    <a:pt x="196407" y="491480"/>
                    <a:pt x="182284" y="467668"/>
                  </a:cubicBezTo>
                  <a:lnTo>
                    <a:pt x="152169" y="478687"/>
                  </a:lnTo>
                  <a:cubicBezTo>
                    <a:pt x="141133" y="482609"/>
                    <a:pt x="129161" y="476912"/>
                    <a:pt x="125233" y="466080"/>
                  </a:cubicBezTo>
                  <a:lnTo>
                    <a:pt x="114104" y="435731"/>
                  </a:lnTo>
                  <a:cubicBezTo>
                    <a:pt x="110082" y="424712"/>
                    <a:pt x="115881" y="412759"/>
                    <a:pt x="126730" y="408837"/>
                  </a:cubicBezTo>
                  <a:lnTo>
                    <a:pt x="156845" y="397818"/>
                  </a:lnTo>
                  <a:cubicBezTo>
                    <a:pt x="153852" y="379422"/>
                    <a:pt x="153478" y="361026"/>
                    <a:pt x="155629" y="342910"/>
                  </a:cubicBezTo>
                  <a:lnTo>
                    <a:pt x="158622" y="343097"/>
                  </a:lnTo>
                  <a:cubicBezTo>
                    <a:pt x="181162" y="344030"/>
                    <a:pt x="200522" y="327408"/>
                    <a:pt x="203141" y="305370"/>
                  </a:cubicBezTo>
                  <a:cubicBezTo>
                    <a:pt x="207723" y="303876"/>
                    <a:pt x="212119" y="302195"/>
                    <a:pt x="216515" y="300515"/>
                  </a:cubicBezTo>
                  <a:cubicBezTo>
                    <a:pt x="220349" y="304063"/>
                    <a:pt x="224745" y="306958"/>
                    <a:pt x="229609" y="308919"/>
                  </a:cubicBezTo>
                  <a:cubicBezTo>
                    <a:pt x="219227" y="330957"/>
                    <a:pt x="214831" y="355983"/>
                    <a:pt x="217824" y="381943"/>
                  </a:cubicBezTo>
                  <a:cubicBezTo>
                    <a:pt x="226709" y="456462"/>
                    <a:pt x="294329" y="509876"/>
                    <a:pt x="368963" y="501192"/>
                  </a:cubicBezTo>
                  <a:cubicBezTo>
                    <a:pt x="443691" y="492320"/>
                    <a:pt x="497188" y="424899"/>
                    <a:pt x="488490" y="350287"/>
                  </a:cubicBezTo>
                  <a:cubicBezTo>
                    <a:pt x="479605" y="275675"/>
                    <a:pt x="411985" y="222260"/>
                    <a:pt x="337351" y="231038"/>
                  </a:cubicBezTo>
                  <a:cubicBezTo>
                    <a:pt x="324632" y="232532"/>
                    <a:pt x="312473" y="235707"/>
                    <a:pt x="301156" y="240376"/>
                  </a:cubicBezTo>
                  <a:cubicBezTo>
                    <a:pt x="299660" y="236268"/>
                    <a:pt x="297509" y="232345"/>
                    <a:pt x="294797" y="228890"/>
                  </a:cubicBezTo>
                  <a:cubicBezTo>
                    <a:pt x="297041" y="224688"/>
                    <a:pt x="299005" y="220393"/>
                    <a:pt x="300782" y="216097"/>
                  </a:cubicBezTo>
                  <a:cubicBezTo>
                    <a:pt x="311164" y="215817"/>
                    <a:pt x="320891" y="211802"/>
                    <a:pt x="328466" y="204891"/>
                  </a:cubicBezTo>
                  <a:cubicBezTo>
                    <a:pt x="336977" y="197141"/>
                    <a:pt x="341934" y="186589"/>
                    <a:pt x="342402" y="175103"/>
                  </a:cubicBezTo>
                  <a:lnTo>
                    <a:pt x="342776" y="166978"/>
                  </a:lnTo>
                  <a:cubicBezTo>
                    <a:pt x="363164" y="165764"/>
                    <a:pt x="383460" y="167912"/>
                    <a:pt x="402820" y="172768"/>
                  </a:cubicBezTo>
                  <a:lnTo>
                    <a:pt x="415913" y="144567"/>
                  </a:lnTo>
                  <a:cubicBezTo>
                    <a:pt x="418392" y="139338"/>
                    <a:pt x="422741" y="135602"/>
                    <a:pt x="427779" y="133781"/>
                  </a:cubicBezTo>
                  <a:close/>
                  <a:moveTo>
                    <a:pt x="159906" y="88589"/>
                  </a:moveTo>
                  <a:cubicBezTo>
                    <a:pt x="142487" y="87818"/>
                    <a:pt x="124764" y="93678"/>
                    <a:pt x="110828" y="106378"/>
                  </a:cubicBezTo>
                  <a:cubicBezTo>
                    <a:pt x="96145" y="119731"/>
                    <a:pt x="88663" y="138127"/>
                    <a:pt x="88663" y="156523"/>
                  </a:cubicBezTo>
                  <a:cubicBezTo>
                    <a:pt x="88663" y="172958"/>
                    <a:pt x="94555" y="189393"/>
                    <a:pt x="106526" y="202467"/>
                  </a:cubicBezTo>
                  <a:cubicBezTo>
                    <a:pt x="131965" y="230294"/>
                    <a:pt x="175081" y="232162"/>
                    <a:pt x="202764" y="206762"/>
                  </a:cubicBezTo>
                  <a:cubicBezTo>
                    <a:pt x="217448" y="193409"/>
                    <a:pt x="224930" y="175013"/>
                    <a:pt x="224930" y="156523"/>
                  </a:cubicBezTo>
                  <a:cubicBezTo>
                    <a:pt x="224930" y="140088"/>
                    <a:pt x="219132" y="123653"/>
                    <a:pt x="207160" y="110580"/>
                  </a:cubicBezTo>
                  <a:cubicBezTo>
                    <a:pt x="194441" y="96760"/>
                    <a:pt x="177325" y="89359"/>
                    <a:pt x="159906" y="88589"/>
                  </a:cubicBezTo>
                  <a:close/>
                  <a:moveTo>
                    <a:pt x="153289" y="17"/>
                  </a:moveTo>
                  <a:lnTo>
                    <a:pt x="173678" y="951"/>
                  </a:lnTo>
                  <a:cubicBezTo>
                    <a:pt x="180786" y="1325"/>
                    <a:pt x="186304" y="7114"/>
                    <a:pt x="186304" y="14118"/>
                  </a:cubicBezTo>
                  <a:lnTo>
                    <a:pt x="186304" y="14771"/>
                  </a:lnTo>
                  <a:lnTo>
                    <a:pt x="185462" y="34755"/>
                  </a:lnTo>
                  <a:cubicBezTo>
                    <a:pt x="201923" y="38677"/>
                    <a:pt x="217729" y="45774"/>
                    <a:pt x="231851" y="56232"/>
                  </a:cubicBezTo>
                  <a:lnTo>
                    <a:pt x="246535" y="42786"/>
                  </a:lnTo>
                  <a:cubicBezTo>
                    <a:pt x="251866" y="37930"/>
                    <a:pt x="260283" y="38303"/>
                    <a:pt x="265240" y="43626"/>
                  </a:cubicBezTo>
                  <a:lnTo>
                    <a:pt x="279082" y="58660"/>
                  </a:lnTo>
                  <a:cubicBezTo>
                    <a:pt x="281420" y="61275"/>
                    <a:pt x="282542" y="64450"/>
                    <a:pt x="282542" y="67625"/>
                  </a:cubicBezTo>
                  <a:cubicBezTo>
                    <a:pt x="282542" y="71173"/>
                    <a:pt x="281233" y="74722"/>
                    <a:pt x="278334" y="77337"/>
                  </a:cubicBezTo>
                  <a:lnTo>
                    <a:pt x="263744" y="90690"/>
                  </a:lnTo>
                  <a:cubicBezTo>
                    <a:pt x="273096" y="105537"/>
                    <a:pt x="278988" y="121973"/>
                    <a:pt x="281420" y="138781"/>
                  </a:cubicBezTo>
                  <a:lnTo>
                    <a:pt x="301061" y="139621"/>
                  </a:lnTo>
                  <a:cubicBezTo>
                    <a:pt x="308169" y="139995"/>
                    <a:pt x="313593" y="145878"/>
                    <a:pt x="313593" y="152788"/>
                  </a:cubicBezTo>
                  <a:lnTo>
                    <a:pt x="313593" y="153442"/>
                  </a:lnTo>
                  <a:lnTo>
                    <a:pt x="312751" y="173892"/>
                  </a:lnTo>
                  <a:cubicBezTo>
                    <a:pt x="312377" y="181083"/>
                    <a:pt x="306298" y="186779"/>
                    <a:pt x="298910" y="186405"/>
                  </a:cubicBezTo>
                  <a:lnTo>
                    <a:pt x="279456" y="185565"/>
                  </a:lnTo>
                  <a:cubicBezTo>
                    <a:pt x="275622" y="202093"/>
                    <a:pt x="268327" y="218061"/>
                    <a:pt x="257758" y="232162"/>
                  </a:cubicBezTo>
                  <a:lnTo>
                    <a:pt x="270852" y="246449"/>
                  </a:lnTo>
                  <a:cubicBezTo>
                    <a:pt x="273190" y="249064"/>
                    <a:pt x="274312" y="252145"/>
                    <a:pt x="274312" y="255414"/>
                  </a:cubicBezTo>
                  <a:cubicBezTo>
                    <a:pt x="274312" y="258869"/>
                    <a:pt x="273003" y="262511"/>
                    <a:pt x="270104" y="265126"/>
                  </a:cubicBezTo>
                  <a:lnTo>
                    <a:pt x="255046" y="278946"/>
                  </a:lnTo>
                  <a:cubicBezTo>
                    <a:pt x="249621" y="283802"/>
                    <a:pt x="241297" y="283428"/>
                    <a:pt x="236340" y="278106"/>
                  </a:cubicBezTo>
                  <a:lnTo>
                    <a:pt x="223247" y="263724"/>
                  </a:lnTo>
                  <a:cubicBezTo>
                    <a:pt x="208282" y="272970"/>
                    <a:pt x="191635" y="278853"/>
                    <a:pt x="174800" y="281187"/>
                  </a:cubicBezTo>
                  <a:lnTo>
                    <a:pt x="173958" y="300610"/>
                  </a:lnTo>
                  <a:cubicBezTo>
                    <a:pt x="173584" y="307801"/>
                    <a:pt x="167505" y="313590"/>
                    <a:pt x="160117" y="313217"/>
                  </a:cubicBezTo>
                  <a:lnTo>
                    <a:pt x="139634" y="312283"/>
                  </a:lnTo>
                  <a:cubicBezTo>
                    <a:pt x="132526" y="311909"/>
                    <a:pt x="127102" y="306120"/>
                    <a:pt x="127102" y="299116"/>
                  </a:cubicBezTo>
                  <a:lnTo>
                    <a:pt x="127102" y="298463"/>
                  </a:lnTo>
                  <a:lnTo>
                    <a:pt x="128037" y="279039"/>
                  </a:lnTo>
                  <a:cubicBezTo>
                    <a:pt x="111577" y="275211"/>
                    <a:pt x="95771" y="267834"/>
                    <a:pt x="81648" y="257281"/>
                  </a:cubicBezTo>
                  <a:lnTo>
                    <a:pt x="67058" y="270635"/>
                  </a:lnTo>
                  <a:cubicBezTo>
                    <a:pt x="61727" y="275491"/>
                    <a:pt x="53403" y="275117"/>
                    <a:pt x="48353" y="269701"/>
                  </a:cubicBezTo>
                  <a:lnTo>
                    <a:pt x="34511" y="254667"/>
                  </a:lnTo>
                  <a:cubicBezTo>
                    <a:pt x="32173" y="252052"/>
                    <a:pt x="31051" y="248970"/>
                    <a:pt x="31051" y="245702"/>
                  </a:cubicBezTo>
                  <a:cubicBezTo>
                    <a:pt x="31051" y="242247"/>
                    <a:pt x="32453" y="238605"/>
                    <a:pt x="35259" y="235990"/>
                  </a:cubicBezTo>
                  <a:lnTo>
                    <a:pt x="50036" y="222544"/>
                  </a:lnTo>
                  <a:cubicBezTo>
                    <a:pt x="40777" y="207696"/>
                    <a:pt x="35072" y="191261"/>
                    <a:pt x="32640" y="174639"/>
                  </a:cubicBezTo>
                  <a:lnTo>
                    <a:pt x="12626" y="173705"/>
                  </a:lnTo>
                  <a:cubicBezTo>
                    <a:pt x="5518" y="173332"/>
                    <a:pt x="0" y="167542"/>
                    <a:pt x="0" y="160539"/>
                  </a:cubicBezTo>
                  <a:lnTo>
                    <a:pt x="0" y="159885"/>
                  </a:lnTo>
                  <a:lnTo>
                    <a:pt x="842" y="139621"/>
                  </a:lnTo>
                  <a:cubicBezTo>
                    <a:pt x="1216" y="132431"/>
                    <a:pt x="7388" y="126642"/>
                    <a:pt x="14683" y="127015"/>
                  </a:cubicBezTo>
                  <a:lnTo>
                    <a:pt x="34885" y="127949"/>
                  </a:lnTo>
                  <a:cubicBezTo>
                    <a:pt x="38813" y="111514"/>
                    <a:pt x="46015" y="95826"/>
                    <a:pt x="56490" y="81819"/>
                  </a:cubicBezTo>
                  <a:lnTo>
                    <a:pt x="42741" y="66878"/>
                  </a:lnTo>
                  <a:cubicBezTo>
                    <a:pt x="40403" y="64263"/>
                    <a:pt x="39281" y="61182"/>
                    <a:pt x="39281" y="57913"/>
                  </a:cubicBezTo>
                  <a:cubicBezTo>
                    <a:pt x="39281" y="54458"/>
                    <a:pt x="40684" y="50816"/>
                    <a:pt x="43490" y="48202"/>
                  </a:cubicBezTo>
                  <a:lnTo>
                    <a:pt x="58641" y="34381"/>
                  </a:lnTo>
                  <a:cubicBezTo>
                    <a:pt x="63972" y="29526"/>
                    <a:pt x="72296" y="29899"/>
                    <a:pt x="77346" y="35315"/>
                  </a:cubicBezTo>
                  <a:lnTo>
                    <a:pt x="90627" y="50256"/>
                  </a:lnTo>
                  <a:cubicBezTo>
                    <a:pt x="105591" y="41011"/>
                    <a:pt x="121864" y="35128"/>
                    <a:pt x="138512" y="32794"/>
                  </a:cubicBezTo>
                  <a:lnTo>
                    <a:pt x="139447" y="12624"/>
                  </a:lnTo>
                  <a:cubicBezTo>
                    <a:pt x="139821" y="5433"/>
                    <a:pt x="145901" y="-356"/>
                    <a:pt x="153289" y="17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1" name="îṣḻïḓè">
              <a:extLst>
                <a:ext uri="{FF2B5EF4-FFF2-40B4-BE49-F238E27FC236}">
                  <a16:creationId xmlns:a16="http://schemas.microsoft.com/office/drawing/2014/main" id="{30C8A656-A69C-4844-9B4C-38593487F7D6}"/>
                </a:ext>
              </a:extLst>
            </p:cNvPr>
            <p:cNvSpPr/>
            <p:nvPr/>
          </p:nvSpPr>
          <p:spPr bwMode="auto">
            <a:xfrm>
              <a:off x="3563916" y="3658051"/>
              <a:ext cx="377806" cy="377072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81741" h="580612">
                  <a:moveTo>
                    <a:pt x="291612" y="187916"/>
                  </a:moveTo>
                  <a:cubicBezTo>
                    <a:pt x="304876" y="187916"/>
                    <a:pt x="315648" y="198758"/>
                    <a:pt x="315648" y="212088"/>
                  </a:cubicBezTo>
                  <a:lnTo>
                    <a:pt x="315648" y="491836"/>
                  </a:lnTo>
                  <a:lnTo>
                    <a:pt x="331227" y="473974"/>
                  </a:lnTo>
                  <a:cubicBezTo>
                    <a:pt x="339863" y="463932"/>
                    <a:pt x="355086" y="462866"/>
                    <a:pt x="365145" y="471574"/>
                  </a:cubicBezTo>
                  <a:cubicBezTo>
                    <a:pt x="375116" y="480372"/>
                    <a:pt x="376184" y="495657"/>
                    <a:pt x="367460" y="505699"/>
                  </a:cubicBezTo>
                  <a:lnTo>
                    <a:pt x="309773" y="572348"/>
                  </a:lnTo>
                  <a:cubicBezTo>
                    <a:pt x="305143" y="577502"/>
                    <a:pt x="298556" y="580612"/>
                    <a:pt x="291612" y="580612"/>
                  </a:cubicBezTo>
                  <a:cubicBezTo>
                    <a:pt x="284579" y="580612"/>
                    <a:pt x="278080" y="577680"/>
                    <a:pt x="273451" y="572348"/>
                  </a:cubicBezTo>
                  <a:lnTo>
                    <a:pt x="215764" y="505699"/>
                  </a:lnTo>
                  <a:cubicBezTo>
                    <a:pt x="207039" y="495657"/>
                    <a:pt x="208108" y="480372"/>
                    <a:pt x="218078" y="471574"/>
                  </a:cubicBezTo>
                  <a:cubicBezTo>
                    <a:pt x="228049" y="462866"/>
                    <a:pt x="243272" y="463932"/>
                    <a:pt x="252085" y="473974"/>
                  </a:cubicBezTo>
                  <a:lnTo>
                    <a:pt x="267486" y="491747"/>
                  </a:lnTo>
                  <a:lnTo>
                    <a:pt x="267486" y="212088"/>
                  </a:lnTo>
                  <a:cubicBezTo>
                    <a:pt x="267486" y="198758"/>
                    <a:pt x="278258" y="187916"/>
                    <a:pt x="291612" y="187916"/>
                  </a:cubicBezTo>
                  <a:close/>
                  <a:moveTo>
                    <a:pt x="329499" y="0"/>
                  </a:moveTo>
                  <a:cubicBezTo>
                    <a:pt x="426248" y="0"/>
                    <a:pt x="465322" y="80426"/>
                    <a:pt x="473332" y="108153"/>
                  </a:cubicBezTo>
                  <a:cubicBezTo>
                    <a:pt x="535280" y="120684"/>
                    <a:pt x="581474" y="175693"/>
                    <a:pt x="581741" y="241190"/>
                  </a:cubicBezTo>
                  <a:cubicBezTo>
                    <a:pt x="581741" y="315840"/>
                    <a:pt x="521306" y="376537"/>
                    <a:pt x="446987" y="376537"/>
                  </a:cubicBezTo>
                  <a:lnTo>
                    <a:pt x="372756" y="376537"/>
                  </a:lnTo>
                  <a:cubicBezTo>
                    <a:pt x="359316" y="376537"/>
                    <a:pt x="348546" y="365606"/>
                    <a:pt x="348546" y="352276"/>
                  </a:cubicBezTo>
                  <a:cubicBezTo>
                    <a:pt x="348546" y="338857"/>
                    <a:pt x="359316" y="327926"/>
                    <a:pt x="372756" y="327926"/>
                  </a:cubicBezTo>
                  <a:lnTo>
                    <a:pt x="446987" y="327926"/>
                  </a:lnTo>
                  <a:cubicBezTo>
                    <a:pt x="494605" y="327926"/>
                    <a:pt x="533322" y="289090"/>
                    <a:pt x="533322" y="241190"/>
                  </a:cubicBezTo>
                  <a:cubicBezTo>
                    <a:pt x="533322" y="195334"/>
                    <a:pt x="497720" y="157298"/>
                    <a:pt x="452238" y="154632"/>
                  </a:cubicBezTo>
                  <a:cubicBezTo>
                    <a:pt x="440934" y="153921"/>
                    <a:pt x="431589" y="145478"/>
                    <a:pt x="429809" y="134192"/>
                  </a:cubicBezTo>
                  <a:cubicBezTo>
                    <a:pt x="421709" y="84692"/>
                    <a:pt x="379609" y="48789"/>
                    <a:pt x="329677" y="48789"/>
                  </a:cubicBezTo>
                  <a:cubicBezTo>
                    <a:pt x="279567" y="48789"/>
                    <a:pt x="238001" y="84781"/>
                    <a:pt x="229457" y="134192"/>
                  </a:cubicBezTo>
                  <a:cubicBezTo>
                    <a:pt x="226520" y="151521"/>
                    <a:pt x="212190" y="162807"/>
                    <a:pt x="192964" y="151077"/>
                  </a:cubicBezTo>
                  <a:cubicBezTo>
                    <a:pt x="178011" y="141834"/>
                    <a:pt x="160922" y="136947"/>
                    <a:pt x="143299" y="136947"/>
                  </a:cubicBezTo>
                  <a:cubicBezTo>
                    <a:pt x="90964" y="136947"/>
                    <a:pt x="48419" y="179693"/>
                    <a:pt x="48419" y="232303"/>
                  </a:cubicBezTo>
                  <a:cubicBezTo>
                    <a:pt x="48419" y="284913"/>
                    <a:pt x="90964" y="327748"/>
                    <a:pt x="143299" y="327748"/>
                  </a:cubicBezTo>
                  <a:lnTo>
                    <a:pt x="218776" y="327748"/>
                  </a:lnTo>
                  <a:cubicBezTo>
                    <a:pt x="232216" y="327748"/>
                    <a:pt x="242986" y="338590"/>
                    <a:pt x="242986" y="352009"/>
                  </a:cubicBezTo>
                  <a:cubicBezTo>
                    <a:pt x="242986" y="365429"/>
                    <a:pt x="232216" y="376271"/>
                    <a:pt x="218776" y="376271"/>
                  </a:cubicBezTo>
                  <a:lnTo>
                    <a:pt x="143299" y="376271"/>
                  </a:lnTo>
                  <a:cubicBezTo>
                    <a:pt x="64262" y="376271"/>
                    <a:pt x="0" y="311574"/>
                    <a:pt x="0" y="232214"/>
                  </a:cubicBezTo>
                  <a:cubicBezTo>
                    <a:pt x="0" y="152854"/>
                    <a:pt x="64262" y="88158"/>
                    <a:pt x="143210" y="88158"/>
                  </a:cubicBezTo>
                  <a:cubicBezTo>
                    <a:pt x="159231" y="88158"/>
                    <a:pt x="174896" y="90735"/>
                    <a:pt x="189849" y="95978"/>
                  </a:cubicBezTo>
                  <a:cubicBezTo>
                    <a:pt x="198749" y="73050"/>
                    <a:pt x="238891" y="0"/>
                    <a:pt x="32949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2" name="iş1iḑe">
              <a:extLst>
                <a:ext uri="{FF2B5EF4-FFF2-40B4-BE49-F238E27FC236}">
                  <a16:creationId xmlns:a16="http://schemas.microsoft.com/office/drawing/2014/main" id="{79D5FAF9-096B-4C61-A299-6A26A276E128}"/>
                </a:ext>
              </a:extLst>
            </p:cNvPr>
            <p:cNvSpPr/>
            <p:nvPr/>
          </p:nvSpPr>
          <p:spPr bwMode="auto">
            <a:xfrm>
              <a:off x="3025037" y="4301073"/>
              <a:ext cx="377806" cy="377236"/>
            </a:xfrm>
            <a:custGeom>
              <a:avLst/>
              <a:gdLst>
                <a:gd name="connsiteX0" fmla="*/ 303820 w 607639"/>
                <a:gd name="connsiteY0" fmla="*/ 278099 h 606722"/>
                <a:gd name="connsiteX1" fmla="*/ 329118 w 607639"/>
                <a:gd name="connsiteY1" fmla="*/ 303362 h 606722"/>
                <a:gd name="connsiteX2" fmla="*/ 303820 w 607639"/>
                <a:gd name="connsiteY2" fmla="*/ 328625 h 606722"/>
                <a:gd name="connsiteX3" fmla="*/ 278522 w 607639"/>
                <a:gd name="connsiteY3" fmla="*/ 303362 h 606722"/>
                <a:gd name="connsiteX4" fmla="*/ 303820 w 607639"/>
                <a:gd name="connsiteY4" fmla="*/ 278099 h 606722"/>
                <a:gd name="connsiteX5" fmla="*/ 303775 w 607639"/>
                <a:gd name="connsiteY5" fmla="*/ 252735 h 606722"/>
                <a:gd name="connsiteX6" fmla="*/ 253140 w 607639"/>
                <a:gd name="connsiteY6" fmla="*/ 303317 h 606722"/>
                <a:gd name="connsiteX7" fmla="*/ 303775 w 607639"/>
                <a:gd name="connsiteY7" fmla="*/ 353900 h 606722"/>
                <a:gd name="connsiteX8" fmla="*/ 354410 w 607639"/>
                <a:gd name="connsiteY8" fmla="*/ 303317 h 606722"/>
                <a:gd name="connsiteX9" fmla="*/ 303775 w 607639"/>
                <a:gd name="connsiteY9" fmla="*/ 252735 h 606722"/>
                <a:gd name="connsiteX10" fmla="*/ 303775 w 607639"/>
                <a:gd name="connsiteY10" fmla="*/ 202241 h 606722"/>
                <a:gd name="connsiteX11" fmla="*/ 405045 w 607639"/>
                <a:gd name="connsiteY11" fmla="*/ 303317 h 606722"/>
                <a:gd name="connsiteX12" fmla="*/ 303775 w 607639"/>
                <a:gd name="connsiteY12" fmla="*/ 404482 h 606722"/>
                <a:gd name="connsiteX13" fmla="*/ 202593 w 607639"/>
                <a:gd name="connsiteY13" fmla="*/ 303317 h 606722"/>
                <a:gd name="connsiteX14" fmla="*/ 303775 w 607639"/>
                <a:gd name="connsiteY14" fmla="*/ 202241 h 606722"/>
                <a:gd name="connsiteX15" fmla="*/ 303775 w 607639"/>
                <a:gd name="connsiteY15" fmla="*/ 151703 h 606722"/>
                <a:gd name="connsiteX16" fmla="*/ 151932 w 607639"/>
                <a:gd name="connsiteY16" fmla="*/ 303317 h 606722"/>
                <a:gd name="connsiteX17" fmla="*/ 303775 w 607639"/>
                <a:gd name="connsiteY17" fmla="*/ 455019 h 606722"/>
                <a:gd name="connsiteX18" fmla="*/ 455707 w 607639"/>
                <a:gd name="connsiteY18" fmla="*/ 303317 h 606722"/>
                <a:gd name="connsiteX19" fmla="*/ 303775 w 607639"/>
                <a:gd name="connsiteY19" fmla="*/ 151703 h 606722"/>
                <a:gd name="connsiteX20" fmla="*/ 253131 w 607639"/>
                <a:gd name="connsiteY20" fmla="*/ 0 h 606722"/>
                <a:gd name="connsiteX21" fmla="*/ 354419 w 607639"/>
                <a:gd name="connsiteY21" fmla="*/ 0 h 606722"/>
                <a:gd name="connsiteX22" fmla="*/ 379786 w 607639"/>
                <a:gd name="connsiteY22" fmla="*/ 25239 h 606722"/>
                <a:gd name="connsiteX23" fmla="*/ 379786 w 607639"/>
                <a:gd name="connsiteY23" fmla="*/ 62387 h 606722"/>
                <a:gd name="connsiteX24" fmla="*/ 420639 w 607639"/>
                <a:gd name="connsiteY24" fmla="*/ 79451 h 606722"/>
                <a:gd name="connsiteX25" fmla="*/ 446985 w 607639"/>
                <a:gd name="connsiteY25" fmla="*/ 53145 h 606722"/>
                <a:gd name="connsiteX26" fmla="*/ 482854 w 607639"/>
                <a:gd name="connsiteY26" fmla="*/ 53145 h 606722"/>
                <a:gd name="connsiteX27" fmla="*/ 554414 w 607639"/>
                <a:gd name="connsiteY27" fmla="*/ 124597 h 606722"/>
                <a:gd name="connsiteX28" fmla="*/ 554414 w 607639"/>
                <a:gd name="connsiteY28" fmla="*/ 160323 h 606722"/>
                <a:gd name="connsiteX29" fmla="*/ 528069 w 607639"/>
                <a:gd name="connsiteY29" fmla="*/ 186629 h 606722"/>
                <a:gd name="connsiteX30" fmla="*/ 545158 w 607639"/>
                <a:gd name="connsiteY30" fmla="*/ 227510 h 606722"/>
                <a:gd name="connsiteX31" fmla="*/ 582273 w 607639"/>
                <a:gd name="connsiteY31" fmla="*/ 227510 h 606722"/>
                <a:gd name="connsiteX32" fmla="*/ 607639 w 607639"/>
                <a:gd name="connsiteY32" fmla="*/ 252749 h 606722"/>
                <a:gd name="connsiteX33" fmla="*/ 607639 w 607639"/>
                <a:gd name="connsiteY33" fmla="*/ 353884 h 606722"/>
                <a:gd name="connsiteX34" fmla="*/ 582273 w 607639"/>
                <a:gd name="connsiteY34" fmla="*/ 379212 h 606722"/>
                <a:gd name="connsiteX35" fmla="*/ 545158 w 607639"/>
                <a:gd name="connsiteY35" fmla="*/ 379212 h 606722"/>
                <a:gd name="connsiteX36" fmla="*/ 528069 w 607639"/>
                <a:gd name="connsiteY36" fmla="*/ 420004 h 606722"/>
                <a:gd name="connsiteX37" fmla="*/ 554414 w 607639"/>
                <a:gd name="connsiteY37" fmla="*/ 446310 h 606722"/>
                <a:gd name="connsiteX38" fmla="*/ 554414 w 607639"/>
                <a:gd name="connsiteY38" fmla="*/ 482125 h 606722"/>
                <a:gd name="connsiteX39" fmla="*/ 482854 w 607639"/>
                <a:gd name="connsiteY39" fmla="*/ 553577 h 606722"/>
                <a:gd name="connsiteX40" fmla="*/ 446985 w 607639"/>
                <a:gd name="connsiteY40" fmla="*/ 553577 h 606722"/>
                <a:gd name="connsiteX41" fmla="*/ 420639 w 607639"/>
                <a:gd name="connsiteY41" fmla="*/ 527271 h 606722"/>
                <a:gd name="connsiteX42" fmla="*/ 379786 w 607639"/>
                <a:gd name="connsiteY42" fmla="*/ 544246 h 606722"/>
                <a:gd name="connsiteX43" fmla="*/ 379786 w 607639"/>
                <a:gd name="connsiteY43" fmla="*/ 581394 h 606722"/>
                <a:gd name="connsiteX44" fmla="*/ 354419 w 607639"/>
                <a:gd name="connsiteY44" fmla="*/ 606722 h 606722"/>
                <a:gd name="connsiteX45" fmla="*/ 253131 w 607639"/>
                <a:gd name="connsiteY45" fmla="*/ 606722 h 606722"/>
                <a:gd name="connsiteX46" fmla="*/ 227854 w 607639"/>
                <a:gd name="connsiteY46" fmla="*/ 581394 h 606722"/>
                <a:gd name="connsiteX47" fmla="*/ 227854 w 607639"/>
                <a:gd name="connsiteY47" fmla="*/ 544246 h 606722"/>
                <a:gd name="connsiteX48" fmla="*/ 186911 w 607639"/>
                <a:gd name="connsiteY48" fmla="*/ 527271 h 606722"/>
                <a:gd name="connsiteX49" fmla="*/ 160566 w 607639"/>
                <a:gd name="connsiteY49" fmla="*/ 553577 h 606722"/>
                <a:gd name="connsiteX50" fmla="*/ 124786 w 607639"/>
                <a:gd name="connsiteY50" fmla="*/ 553577 h 606722"/>
                <a:gd name="connsiteX51" fmla="*/ 53225 w 607639"/>
                <a:gd name="connsiteY51" fmla="*/ 482125 h 606722"/>
                <a:gd name="connsiteX52" fmla="*/ 53225 w 607639"/>
                <a:gd name="connsiteY52" fmla="*/ 446310 h 606722"/>
                <a:gd name="connsiteX53" fmla="*/ 79482 w 607639"/>
                <a:gd name="connsiteY53" fmla="*/ 420004 h 606722"/>
                <a:gd name="connsiteX54" fmla="*/ 62482 w 607639"/>
                <a:gd name="connsiteY54" fmla="*/ 379212 h 606722"/>
                <a:gd name="connsiteX55" fmla="*/ 25278 w 607639"/>
                <a:gd name="connsiteY55" fmla="*/ 379212 h 606722"/>
                <a:gd name="connsiteX56" fmla="*/ 0 w 607639"/>
                <a:gd name="connsiteY56" fmla="*/ 353884 h 606722"/>
                <a:gd name="connsiteX57" fmla="*/ 0 w 607639"/>
                <a:gd name="connsiteY57" fmla="*/ 252749 h 606722"/>
                <a:gd name="connsiteX58" fmla="*/ 25278 w 607639"/>
                <a:gd name="connsiteY58" fmla="*/ 227510 h 606722"/>
                <a:gd name="connsiteX59" fmla="*/ 62482 w 607639"/>
                <a:gd name="connsiteY59" fmla="*/ 227510 h 606722"/>
                <a:gd name="connsiteX60" fmla="*/ 79482 w 607639"/>
                <a:gd name="connsiteY60" fmla="*/ 186629 h 606722"/>
                <a:gd name="connsiteX61" fmla="*/ 53225 w 607639"/>
                <a:gd name="connsiteY61" fmla="*/ 160323 h 606722"/>
                <a:gd name="connsiteX62" fmla="*/ 53225 w 607639"/>
                <a:gd name="connsiteY62" fmla="*/ 124597 h 606722"/>
                <a:gd name="connsiteX63" fmla="*/ 124786 w 607639"/>
                <a:gd name="connsiteY63" fmla="*/ 53145 h 606722"/>
                <a:gd name="connsiteX64" fmla="*/ 160566 w 607639"/>
                <a:gd name="connsiteY64" fmla="*/ 53145 h 606722"/>
                <a:gd name="connsiteX65" fmla="*/ 186911 w 607639"/>
                <a:gd name="connsiteY65" fmla="*/ 79451 h 606722"/>
                <a:gd name="connsiteX66" fmla="*/ 227854 w 607639"/>
                <a:gd name="connsiteY66" fmla="*/ 62387 h 606722"/>
                <a:gd name="connsiteX67" fmla="*/ 227854 w 607639"/>
                <a:gd name="connsiteY67" fmla="*/ 25239 h 606722"/>
                <a:gd name="connsiteX68" fmla="*/ 253131 w 607639"/>
                <a:gd name="connsiteY68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607639" h="606722">
                  <a:moveTo>
                    <a:pt x="303820" y="278099"/>
                  </a:moveTo>
                  <a:cubicBezTo>
                    <a:pt x="317792" y="278099"/>
                    <a:pt x="329118" y="289410"/>
                    <a:pt x="329118" y="303362"/>
                  </a:cubicBezTo>
                  <a:cubicBezTo>
                    <a:pt x="329118" y="317314"/>
                    <a:pt x="317792" y="328625"/>
                    <a:pt x="303820" y="328625"/>
                  </a:cubicBezTo>
                  <a:cubicBezTo>
                    <a:pt x="289848" y="328625"/>
                    <a:pt x="278522" y="317314"/>
                    <a:pt x="278522" y="303362"/>
                  </a:cubicBezTo>
                  <a:cubicBezTo>
                    <a:pt x="278522" y="289410"/>
                    <a:pt x="289848" y="278099"/>
                    <a:pt x="303820" y="278099"/>
                  </a:cubicBezTo>
                  <a:close/>
                  <a:moveTo>
                    <a:pt x="303775" y="252735"/>
                  </a:moveTo>
                  <a:cubicBezTo>
                    <a:pt x="275921" y="252735"/>
                    <a:pt x="253140" y="275492"/>
                    <a:pt x="253140" y="303317"/>
                  </a:cubicBezTo>
                  <a:cubicBezTo>
                    <a:pt x="253140" y="331231"/>
                    <a:pt x="275921" y="353900"/>
                    <a:pt x="303775" y="353900"/>
                  </a:cubicBezTo>
                  <a:cubicBezTo>
                    <a:pt x="331718" y="353900"/>
                    <a:pt x="354410" y="331231"/>
                    <a:pt x="354410" y="303317"/>
                  </a:cubicBezTo>
                  <a:cubicBezTo>
                    <a:pt x="354410" y="275492"/>
                    <a:pt x="331718" y="252735"/>
                    <a:pt x="303775" y="252735"/>
                  </a:cubicBezTo>
                  <a:close/>
                  <a:moveTo>
                    <a:pt x="303775" y="202241"/>
                  </a:moveTo>
                  <a:cubicBezTo>
                    <a:pt x="359660" y="202241"/>
                    <a:pt x="405045" y="247579"/>
                    <a:pt x="405045" y="303317"/>
                  </a:cubicBezTo>
                  <a:cubicBezTo>
                    <a:pt x="405045" y="359144"/>
                    <a:pt x="359660" y="404482"/>
                    <a:pt x="303775" y="404482"/>
                  </a:cubicBezTo>
                  <a:cubicBezTo>
                    <a:pt x="247978" y="404482"/>
                    <a:pt x="202593" y="359144"/>
                    <a:pt x="202593" y="303317"/>
                  </a:cubicBezTo>
                  <a:cubicBezTo>
                    <a:pt x="202593" y="247579"/>
                    <a:pt x="247978" y="202241"/>
                    <a:pt x="303775" y="202241"/>
                  </a:cubicBezTo>
                  <a:close/>
                  <a:moveTo>
                    <a:pt x="303775" y="151703"/>
                  </a:moveTo>
                  <a:cubicBezTo>
                    <a:pt x="220021" y="151703"/>
                    <a:pt x="151932" y="219689"/>
                    <a:pt x="151932" y="303317"/>
                  </a:cubicBezTo>
                  <a:cubicBezTo>
                    <a:pt x="151932" y="387033"/>
                    <a:pt x="220021" y="455019"/>
                    <a:pt x="303775" y="455019"/>
                  </a:cubicBezTo>
                  <a:cubicBezTo>
                    <a:pt x="387618" y="455019"/>
                    <a:pt x="455707" y="387033"/>
                    <a:pt x="455707" y="303317"/>
                  </a:cubicBezTo>
                  <a:cubicBezTo>
                    <a:pt x="455707" y="219689"/>
                    <a:pt x="387618" y="151703"/>
                    <a:pt x="303775" y="151703"/>
                  </a:cubicBezTo>
                  <a:close/>
                  <a:moveTo>
                    <a:pt x="253131" y="0"/>
                  </a:moveTo>
                  <a:lnTo>
                    <a:pt x="354419" y="0"/>
                  </a:lnTo>
                  <a:cubicBezTo>
                    <a:pt x="368482" y="0"/>
                    <a:pt x="379786" y="11287"/>
                    <a:pt x="379786" y="25239"/>
                  </a:cubicBezTo>
                  <a:lnTo>
                    <a:pt x="379786" y="62387"/>
                  </a:lnTo>
                  <a:cubicBezTo>
                    <a:pt x="393849" y="66831"/>
                    <a:pt x="407555" y="72519"/>
                    <a:pt x="420639" y="79451"/>
                  </a:cubicBezTo>
                  <a:lnTo>
                    <a:pt x="446985" y="53145"/>
                  </a:lnTo>
                  <a:cubicBezTo>
                    <a:pt x="456953" y="43191"/>
                    <a:pt x="472974" y="43191"/>
                    <a:pt x="482854" y="53145"/>
                  </a:cubicBezTo>
                  <a:lnTo>
                    <a:pt x="554414" y="124597"/>
                  </a:lnTo>
                  <a:cubicBezTo>
                    <a:pt x="564294" y="134462"/>
                    <a:pt x="564294" y="150459"/>
                    <a:pt x="554414" y="160323"/>
                  </a:cubicBezTo>
                  <a:lnTo>
                    <a:pt x="528069" y="186629"/>
                  </a:lnTo>
                  <a:cubicBezTo>
                    <a:pt x="535011" y="199782"/>
                    <a:pt x="540707" y="213468"/>
                    <a:pt x="545158" y="227510"/>
                  </a:cubicBezTo>
                  <a:lnTo>
                    <a:pt x="582273" y="227510"/>
                  </a:lnTo>
                  <a:cubicBezTo>
                    <a:pt x="596336" y="227510"/>
                    <a:pt x="607639" y="238796"/>
                    <a:pt x="607639" y="252749"/>
                  </a:cubicBezTo>
                  <a:lnTo>
                    <a:pt x="607639" y="353884"/>
                  </a:lnTo>
                  <a:cubicBezTo>
                    <a:pt x="607639" y="367926"/>
                    <a:pt x="596247" y="379212"/>
                    <a:pt x="582273" y="379212"/>
                  </a:cubicBezTo>
                  <a:lnTo>
                    <a:pt x="545158" y="379212"/>
                  </a:lnTo>
                  <a:cubicBezTo>
                    <a:pt x="540707" y="393254"/>
                    <a:pt x="535011" y="406940"/>
                    <a:pt x="528069" y="420004"/>
                  </a:cubicBezTo>
                  <a:lnTo>
                    <a:pt x="554414" y="446310"/>
                  </a:lnTo>
                  <a:cubicBezTo>
                    <a:pt x="564294" y="456263"/>
                    <a:pt x="564294" y="472260"/>
                    <a:pt x="554414" y="482125"/>
                  </a:cubicBezTo>
                  <a:lnTo>
                    <a:pt x="482854" y="553577"/>
                  </a:lnTo>
                  <a:cubicBezTo>
                    <a:pt x="472974" y="563442"/>
                    <a:pt x="456953" y="563442"/>
                    <a:pt x="446985" y="553577"/>
                  </a:cubicBezTo>
                  <a:lnTo>
                    <a:pt x="420639" y="527271"/>
                  </a:lnTo>
                  <a:cubicBezTo>
                    <a:pt x="407555" y="534203"/>
                    <a:pt x="393849" y="539802"/>
                    <a:pt x="379786" y="544246"/>
                  </a:cubicBezTo>
                  <a:lnTo>
                    <a:pt x="379786" y="581394"/>
                  </a:lnTo>
                  <a:cubicBezTo>
                    <a:pt x="379786" y="595435"/>
                    <a:pt x="368393" y="606722"/>
                    <a:pt x="354419" y="606722"/>
                  </a:cubicBezTo>
                  <a:lnTo>
                    <a:pt x="253131" y="606722"/>
                  </a:lnTo>
                  <a:cubicBezTo>
                    <a:pt x="239157" y="606722"/>
                    <a:pt x="227854" y="595435"/>
                    <a:pt x="227854" y="581394"/>
                  </a:cubicBezTo>
                  <a:lnTo>
                    <a:pt x="227854" y="544246"/>
                  </a:lnTo>
                  <a:cubicBezTo>
                    <a:pt x="213791" y="539802"/>
                    <a:pt x="200084" y="534203"/>
                    <a:pt x="186911" y="527271"/>
                  </a:cubicBezTo>
                  <a:lnTo>
                    <a:pt x="160566" y="553577"/>
                  </a:lnTo>
                  <a:cubicBezTo>
                    <a:pt x="150686" y="563442"/>
                    <a:pt x="134665" y="563442"/>
                    <a:pt x="124786" y="553577"/>
                  </a:cubicBezTo>
                  <a:lnTo>
                    <a:pt x="53225" y="482125"/>
                  </a:lnTo>
                  <a:cubicBezTo>
                    <a:pt x="43257" y="472260"/>
                    <a:pt x="43257" y="456263"/>
                    <a:pt x="53225" y="446310"/>
                  </a:cubicBezTo>
                  <a:lnTo>
                    <a:pt x="79482" y="420004"/>
                  </a:lnTo>
                  <a:cubicBezTo>
                    <a:pt x="72629" y="406940"/>
                    <a:pt x="66932" y="393254"/>
                    <a:pt x="62482" y="379212"/>
                  </a:cubicBezTo>
                  <a:lnTo>
                    <a:pt x="25278" y="379212"/>
                  </a:lnTo>
                  <a:cubicBezTo>
                    <a:pt x="11304" y="379212"/>
                    <a:pt x="0" y="367926"/>
                    <a:pt x="0" y="353884"/>
                  </a:cubicBezTo>
                  <a:lnTo>
                    <a:pt x="0" y="252749"/>
                  </a:lnTo>
                  <a:cubicBezTo>
                    <a:pt x="0" y="238796"/>
                    <a:pt x="11304" y="227510"/>
                    <a:pt x="25278" y="227510"/>
                  </a:cubicBezTo>
                  <a:lnTo>
                    <a:pt x="62482" y="227510"/>
                  </a:lnTo>
                  <a:cubicBezTo>
                    <a:pt x="66932" y="213468"/>
                    <a:pt x="72629" y="199782"/>
                    <a:pt x="79482" y="186629"/>
                  </a:cubicBezTo>
                  <a:lnTo>
                    <a:pt x="53225" y="160323"/>
                  </a:lnTo>
                  <a:cubicBezTo>
                    <a:pt x="43257" y="150459"/>
                    <a:pt x="43257" y="134462"/>
                    <a:pt x="53225" y="124597"/>
                  </a:cubicBezTo>
                  <a:lnTo>
                    <a:pt x="124786" y="53145"/>
                  </a:lnTo>
                  <a:cubicBezTo>
                    <a:pt x="134665" y="43191"/>
                    <a:pt x="150686" y="43191"/>
                    <a:pt x="160566" y="53145"/>
                  </a:cubicBezTo>
                  <a:lnTo>
                    <a:pt x="186911" y="79451"/>
                  </a:lnTo>
                  <a:cubicBezTo>
                    <a:pt x="200084" y="72519"/>
                    <a:pt x="213791" y="66831"/>
                    <a:pt x="227854" y="62387"/>
                  </a:cubicBezTo>
                  <a:lnTo>
                    <a:pt x="227854" y="25239"/>
                  </a:lnTo>
                  <a:cubicBezTo>
                    <a:pt x="227854" y="11287"/>
                    <a:pt x="239157" y="0"/>
                    <a:pt x="253131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3" name="ïṧľíďê">
              <a:extLst>
                <a:ext uri="{FF2B5EF4-FFF2-40B4-BE49-F238E27FC236}">
                  <a16:creationId xmlns:a16="http://schemas.microsoft.com/office/drawing/2014/main" id="{83AC56C8-BB22-4DB6-8372-AA84DFFA3A81}"/>
                </a:ext>
              </a:extLst>
            </p:cNvPr>
            <p:cNvSpPr/>
            <p:nvPr/>
          </p:nvSpPr>
          <p:spPr bwMode="auto">
            <a:xfrm>
              <a:off x="2498293" y="4944202"/>
              <a:ext cx="377806" cy="377188"/>
            </a:xfrm>
            <a:custGeom>
              <a:avLst/>
              <a:gdLst>
                <a:gd name="connsiteX0" fmla="*/ 380418 w 604181"/>
                <a:gd name="connsiteY0" fmla="*/ 268007 h 603193"/>
                <a:gd name="connsiteX1" fmla="*/ 519220 w 604181"/>
                <a:gd name="connsiteY1" fmla="*/ 339187 h 603193"/>
                <a:gd name="connsiteX2" fmla="*/ 519220 w 604181"/>
                <a:gd name="connsiteY2" fmla="*/ 355820 h 603193"/>
                <a:gd name="connsiteX3" fmla="*/ 380418 w 604181"/>
                <a:gd name="connsiteY3" fmla="*/ 426850 h 603193"/>
                <a:gd name="connsiteX4" fmla="*/ 380418 w 604181"/>
                <a:gd name="connsiteY4" fmla="*/ 406320 h 603193"/>
                <a:gd name="connsiteX5" fmla="*/ 498212 w 604181"/>
                <a:gd name="connsiteY5" fmla="*/ 347728 h 603193"/>
                <a:gd name="connsiteX6" fmla="*/ 498212 w 604181"/>
                <a:gd name="connsiteY6" fmla="*/ 347129 h 603193"/>
                <a:gd name="connsiteX7" fmla="*/ 380418 w 604181"/>
                <a:gd name="connsiteY7" fmla="*/ 288687 h 603193"/>
                <a:gd name="connsiteX8" fmla="*/ 216565 w 604181"/>
                <a:gd name="connsiteY8" fmla="*/ 268007 h 603193"/>
                <a:gd name="connsiteX9" fmla="*/ 216565 w 604181"/>
                <a:gd name="connsiteY9" fmla="*/ 288687 h 603193"/>
                <a:gd name="connsiteX10" fmla="*/ 99664 w 604181"/>
                <a:gd name="connsiteY10" fmla="*/ 347129 h 603193"/>
                <a:gd name="connsiteX11" fmla="*/ 99664 w 604181"/>
                <a:gd name="connsiteY11" fmla="*/ 347728 h 603193"/>
                <a:gd name="connsiteX12" fmla="*/ 216565 w 604181"/>
                <a:gd name="connsiteY12" fmla="*/ 406320 h 603193"/>
                <a:gd name="connsiteX13" fmla="*/ 216565 w 604181"/>
                <a:gd name="connsiteY13" fmla="*/ 426850 h 603193"/>
                <a:gd name="connsiteX14" fmla="*/ 77904 w 604181"/>
                <a:gd name="connsiteY14" fmla="*/ 355521 h 603193"/>
                <a:gd name="connsiteX15" fmla="*/ 77904 w 604181"/>
                <a:gd name="connsiteY15" fmla="*/ 339486 h 603193"/>
                <a:gd name="connsiteX16" fmla="*/ 338273 w 604181"/>
                <a:gd name="connsiteY16" fmla="*/ 222493 h 603193"/>
                <a:gd name="connsiteX17" fmla="*/ 358684 w 604181"/>
                <a:gd name="connsiteY17" fmla="*/ 222493 h 603193"/>
                <a:gd name="connsiteX18" fmla="*/ 253179 w 604181"/>
                <a:gd name="connsiteY18" fmla="*/ 482103 h 603193"/>
                <a:gd name="connsiteX19" fmla="*/ 233219 w 604181"/>
                <a:gd name="connsiteY19" fmla="*/ 482103 h 603193"/>
                <a:gd name="connsiteX20" fmla="*/ 28813 w 604181"/>
                <a:gd name="connsiteY20" fmla="*/ 128849 h 603193"/>
                <a:gd name="connsiteX21" fmla="*/ 28813 w 604181"/>
                <a:gd name="connsiteY21" fmla="*/ 557497 h 603193"/>
                <a:gd name="connsiteX22" fmla="*/ 45921 w 604181"/>
                <a:gd name="connsiteY22" fmla="*/ 574427 h 603193"/>
                <a:gd name="connsiteX23" fmla="*/ 558410 w 604181"/>
                <a:gd name="connsiteY23" fmla="*/ 574427 h 603193"/>
                <a:gd name="connsiteX24" fmla="*/ 575368 w 604181"/>
                <a:gd name="connsiteY24" fmla="*/ 557497 h 603193"/>
                <a:gd name="connsiteX25" fmla="*/ 575368 w 604181"/>
                <a:gd name="connsiteY25" fmla="*/ 128849 h 603193"/>
                <a:gd name="connsiteX26" fmla="*/ 502734 w 604181"/>
                <a:gd name="connsiteY26" fmla="*/ 43149 h 603193"/>
                <a:gd name="connsiteX27" fmla="*/ 502734 w 604181"/>
                <a:gd name="connsiteY27" fmla="*/ 77309 h 603193"/>
                <a:gd name="connsiteX28" fmla="*/ 537100 w 604181"/>
                <a:gd name="connsiteY28" fmla="*/ 77309 h 603193"/>
                <a:gd name="connsiteX29" fmla="*/ 537100 w 604181"/>
                <a:gd name="connsiteY29" fmla="*/ 43149 h 603193"/>
                <a:gd name="connsiteX30" fmla="*/ 423197 w 604181"/>
                <a:gd name="connsiteY30" fmla="*/ 43149 h 603193"/>
                <a:gd name="connsiteX31" fmla="*/ 423197 w 604181"/>
                <a:gd name="connsiteY31" fmla="*/ 77309 h 603193"/>
                <a:gd name="connsiteX32" fmla="*/ 457563 w 604181"/>
                <a:gd name="connsiteY32" fmla="*/ 77309 h 603193"/>
                <a:gd name="connsiteX33" fmla="*/ 457563 w 604181"/>
                <a:gd name="connsiteY33" fmla="*/ 43149 h 603193"/>
                <a:gd name="connsiteX34" fmla="*/ 45921 w 604181"/>
                <a:gd name="connsiteY34" fmla="*/ 0 h 603193"/>
                <a:gd name="connsiteX35" fmla="*/ 558410 w 604181"/>
                <a:gd name="connsiteY35" fmla="*/ 0 h 603193"/>
                <a:gd name="connsiteX36" fmla="*/ 604181 w 604181"/>
                <a:gd name="connsiteY36" fmla="*/ 45846 h 603193"/>
                <a:gd name="connsiteX37" fmla="*/ 604181 w 604181"/>
                <a:gd name="connsiteY37" fmla="*/ 557497 h 603193"/>
                <a:gd name="connsiteX38" fmla="*/ 558410 w 604181"/>
                <a:gd name="connsiteY38" fmla="*/ 603193 h 603193"/>
                <a:gd name="connsiteX39" fmla="*/ 45921 w 604181"/>
                <a:gd name="connsiteY39" fmla="*/ 603193 h 603193"/>
                <a:gd name="connsiteX40" fmla="*/ 0 w 604181"/>
                <a:gd name="connsiteY40" fmla="*/ 557497 h 603193"/>
                <a:gd name="connsiteX41" fmla="*/ 0 w 604181"/>
                <a:gd name="connsiteY41" fmla="*/ 45846 h 603193"/>
                <a:gd name="connsiteX42" fmla="*/ 45921 w 604181"/>
                <a:gd name="connsiteY42" fmla="*/ 0 h 603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04181" h="603193">
                  <a:moveTo>
                    <a:pt x="380418" y="268007"/>
                  </a:moveTo>
                  <a:lnTo>
                    <a:pt x="519220" y="339187"/>
                  </a:lnTo>
                  <a:lnTo>
                    <a:pt x="519220" y="355820"/>
                  </a:lnTo>
                  <a:lnTo>
                    <a:pt x="380418" y="426850"/>
                  </a:lnTo>
                  <a:lnTo>
                    <a:pt x="380418" y="406320"/>
                  </a:lnTo>
                  <a:lnTo>
                    <a:pt x="498212" y="347728"/>
                  </a:lnTo>
                  <a:lnTo>
                    <a:pt x="498212" y="347129"/>
                  </a:lnTo>
                  <a:lnTo>
                    <a:pt x="380418" y="288687"/>
                  </a:lnTo>
                  <a:close/>
                  <a:moveTo>
                    <a:pt x="216565" y="268007"/>
                  </a:moveTo>
                  <a:lnTo>
                    <a:pt x="216565" y="288687"/>
                  </a:lnTo>
                  <a:lnTo>
                    <a:pt x="99664" y="347129"/>
                  </a:lnTo>
                  <a:lnTo>
                    <a:pt x="99664" y="347728"/>
                  </a:lnTo>
                  <a:lnTo>
                    <a:pt x="216565" y="406320"/>
                  </a:lnTo>
                  <a:lnTo>
                    <a:pt x="216565" y="426850"/>
                  </a:lnTo>
                  <a:lnTo>
                    <a:pt x="77904" y="355521"/>
                  </a:lnTo>
                  <a:lnTo>
                    <a:pt x="77904" y="339486"/>
                  </a:lnTo>
                  <a:close/>
                  <a:moveTo>
                    <a:pt x="338273" y="222493"/>
                  </a:moveTo>
                  <a:lnTo>
                    <a:pt x="358684" y="222493"/>
                  </a:lnTo>
                  <a:lnTo>
                    <a:pt x="253179" y="482103"/>
                  </a:lnTo>
                  <a:lnTo>
                    <a:pt x="233219" y="482103"/>
                  </a:lnTo>
                  <a:close/>
                  <a:moveTo>
                    <a:pt x="28813" y="128849"/>
                  </a:moveTo>
                  <a:lnTo>
                    <a:pt x="28813" y="557497"/>
                  </a:lnTo>
                  <a:cubicBezTo>
                    <a:pt x="28813" y="566786"/>
                    <a:pt x="36467" y="574427"/>
                    <a:pt x="45921" y="574427"/>
                  </a:cubicBezTo>
                  <a:lnTo>
                    <a:pt x="558410" y="574427"/>
                  </a:lnTo>
                  <a:cubicBezTo>
                    <a:pt x="567714" y="574427"/>
                    <a:pt x="575368" y="566786"/>
                    <a:pt x="575368" y="557497"/>
                  </a:cubicBezTo>
                  <a:lnTo>
                    <a:pt x="575368" y="128849"/>
                  </a:lnTo>
                  <a:close/>
                  <a:moveTo>
                    <a:pt x="502734" y="43149"/>
                  </a:moveTo>
                  <a:lnTo>
                    <a:pt x="502734" y="77309"/>
                  </a:lnTo>
                  <a:lnTo>
                    <a:pt x="537100" y="77309"/>
                  </a:lnTo>
                  <a:lnTo>
                    <a:pt x="537100" y="43149"/>
                  </a:lnTo>
                  <a:close/>
                  <a:moveTo>
                    <a:pt x="423197" y="43149"/>
                  </a:moveTo>
                  <a:lnTo>
                    <a:pt x="423197" y="77309"/>
                  </a:lnTo>
                  <a:lnTo>
                    <a:pt x="457563" y="77309"/>
                  </a:lnTo>
                  <a:lnTo>
                    <a:pt x="457563" y="43149"/>
                  </a:lnTo>
                  <a:close/>
                  <a:moveTo>
                    <a:pt x="45921" y="0"/>
                  </a:moveTo>
                  <a:lnTo>
                    <a:pt x="558410" y="0"/>
                  </a:lnTo>
                  <a:cubicBezTo>
                    <a:pt x="583621" y="0"/>
                    <a:pt x="604181" y="20526"/>
                    <a:pt x="604181" y="45846"/>
                  </a:cubicBezTo>
                  <a:lnTo>
                    <a:pt x="604181" y="557497"/>
                  </a:lnTo>
                  <a:cubicBezTo>
                    <a:pt x="604181" y="582667"/>
                    <a:pt x="583621" y="603193"/>
                    <a:pt x="558410" y="603193"/>
                  </a:cubicBezTo>
                  <a:lnTo>
                    <a:pt x="45921" y="603193"/>
                  </a:lnTo>
                  <a:cubicBezTo>
                    <a:pt x="20560" y="603193"/>
                    <a:pt x="0" y="582667"/>
                    <a:pt x="0" y="557497"/>
                  </a:cubicBezTo>
                  <a:lnTo>
                    <a:pt x="0" y="45846"/>
                  </a:lnTo>
                  <a:cubicBezTo>
                    <a:pt x="0" y="20526"/>
                    <a:pt x="20560" y="0"/>
                    <a:pt x="45921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4" name="îṣḻîḍé">
              <a:extLst>
                <a:ext uri="{FF2B5EF4-FFF2-40B4-BE49-F238E27FC236}">
                  <a16:creationId xmlns:a16="http://schemas.microsoft.com/office/drawing/2014/main" id="{716A4AAF-66FE-4462-901E-658C29D84AD8}"/>
                </a:ext>
              </a:extLst>
            </p:cNvPr>
            <p:cNvSpPr/>
            <p:nvPr/>
          </p:nvSpPr>
          <p:spPr bwMode="auto">
            <a:xfrm>
              <a:off x="1959174" y="5587283"/>
              <a:ext cx="377806" cy="377235"/>
            </a:xfrm>
            <a:custGeom>
              <a:avLst/>
              <a:gdLst>
                <a:gd name="T0" fmla="*/ 6624 w 7154"/>
                <a:gd name="T1" fmla="*/ 2037 h 7154"/>
                <a:gd name="T2" fmla="*/ 6106 w 7154"/>
                <a:gd name="T3" fmla="*/ 1048 h 7154"/>
                <a:gd name="T4" fmla="*/ 5117 w 7154"/>
                <a:gd name="T5" fmla="*/ 530 h 7154"/>
                <a:gd name="T6" fmla="*/ 4643 w 7154"/>
                <a:gd name="T7" fmla="*/ 334 h 7154"/>
                <a:gd name="T8" fmla="*/ 3577 w 7154"/>
                <a:gd name="T9" fmla="*/ 0 h 7154"/>
                <a:gd name="T10" fmla="*/ 2511 w 7154"/>
                <a:gd name="T11" fmla="*/ 334 h 7154"/>
                <a:gd name="T12" fmla="*/ 2037 w 7154"/>
                <a:gd name="T13" fmla="*/ 530 h 7154"/>
                <a:gd name="T14" fmla="*/ 1048 w 7154"/>
                <a:gd name="T15" fmla="*/ 1048 h 7154"/>
                <a:gd name="T16" fmla="*/ 530 w 7154"/>
                <a:gd name="T17" fmla="*/ 2037 h 7154"/>
                <a:gd name="T18" fmla="*/ 334 w 7154"/>
                <a:gd name="T19" fmla="*/ 2511 h 7154"/>
                <a:gd name="T20" fmla="*/ 0 w 7154"/>
                <a:gd name="T21" fmla="*/ 3577 h 7154"/>
                <a:gd name="T22" fmla="*/ 334 w 7154"/>
                <a:gd name="T23" fmla="*/ 4643 h 7154"/>
                <a:gd name="T24" fmla="*/ 530 w 7154"/>
                <a:gd name="T25" fmla="*/ 5117 h 7154"/>
                <a:gd name="T26" fmla="*/ 1048 w 7154"/>
                <a:gd name="T27" fmla="*/ 6106 h 7154"/>
                <a:gd name="T28" fmla="*/ 2037 w 7154"/>
                <a:gd name="T29" fmla="*/ 6624 h 7154"/>
                <a:gd name="T30" fmla="*/ 2511 w 7154"/>
                <a:gd name="T31" fmla="*/ 6820 h 7154"/>
                <a:gd name="T32" fmla="*/ 3577 w 7154"/>
                <a:gd name="T33" fmla="*/ 7154 h 7154"/>
                <a:gd name="T34" fmla="*/ 4643 w 7154"/>
                <a:gd name="T35" fmla="*/ 6820 h 7154"/>
                <a:gd name="T36" fmla="*/ 5117 w 7154"/>
                <a:gd name="T37" fmla="*/ 6624 h 7154"/>
                <a:gd name="T38" fmla="*/ 6106 w 7154"/>
                <a:gd name="T39" fmla="*/ 6106 h 7154"/>
                <a:gd name="T40" fmla="*/ 6624 w 7154"/>
                <a:gd name="T41" fmla="*/ 5117 h 7154"/>
                <a:gd name="T42" fmla="*/ 6820 w 7154"/>
                <a:gd name="T43" fmla="*/ 4643 h 7154"/>
                <a:gd name="T44" fmla="*/ 7154 w 7154"/>
                <a:gd name="T45" fmla="*/ 3577 h 7154"/>
                <a:gd name="T46" fmla="*/ 6820 w 7154"/>
                <a:gd name="T47" fmla="*/ 2511 h 7154"/>
                <a:gd name="T48" fmla="*/ 6624 w 7154"/>
                <a:gd name="T49" fmla="*/ 2037 h 7154"/>
                <a:gd name="T50" fmla="*/ 5857 w 7154"/>
                <a:gd name="T51" fmla="*/ 2406 h 7154"/>
                <a:gd name="T52" fmla="*/ 3286 w 7154"/>
                <a:gd name="T53" fmla="*/ 4976 h 7154"/>
                <a:gd name="T54" fmla="*/ 2875 w 7154"/>
                <a:gd name="T55" fmla="*/ 5387 h 7154"/>
                <a:gd name="T56" fmla="*/ 2464 w 7154"/>
                <a:gd name="T57" fmla="*/ 5387 h 7154"/>
                <a:gd name="T58" fmla="*/ 2053 w 7154"/>
                <a:gd name="T59" fmla="*/ 4976 h 7154"/>
                <a:gd name="T60" fmla="*/ 1297 w 7154"/>
                <a:gd name="T61" fmla="*/ 4221 h 7154"/>
                <a:gd name="T62" fmla="*/ 1297 w 7154"/>
                <a:gd name="T63" fmla="*/ 3809 h 7154"/>
                <a:gd name="T64" fmla="*/ 1708 w 7154"/>
                <a:gd name="T65" fmla="*/ 3398 h 7154"/>
                <a:gd name="T66" fmla="*/ 2120 w 7154"/>
                <a:gd name="T67" fmla="*/ 3398 h 7154"/>
                <a:gd name="T68" fmla="*/ 2669 w 7154"/>
                <a:gd name="T69" fmla="*/ 3948 h 7154"/>
                <a:gd name="T70" fmla="*/ 5034 w 7154"/>
                <a:gd name="T71" fmla="*/ 1583 h 7154"/>
                <a:gd name="T72" fmla="*/ 5445 w 7154"/>
                <a:gd name="T73" fmla="*/ 1583 h 7154"/>
                <a:gd name="T74" fmla="*/ 5857 w 7154"/>
                <a:gd name="T75" fmla="*/ 1994 h 7154"/>
                <a:gd name="T76" fmla="*/ 5857 w 7154"/>
                <a:gd name="T77" fmla="*/ 2406 h 7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154" h="7154">
                  <a:moveTo>
                    <a:pt x="6624" y="2037"/>
                  </a:moveTo>
                  <a:cubicBezTo>
                    <a:pt x="6580" y="1703"/>
                    <a:pt x="6403" y="1345"/>
                    <a:pt x="6106" y="1048"/>
                  </a:cubicBezTo>
                  <a:cubicBezTo>
                    <a:pt x="5809" y="751"/>
                    <a:pt x="5451" y="574"/>
                    <a:pt x="5117" y="530"/>
                  </a:cubicBezTo>
                  <a:cubicBezTo>
                    <a:pt x="4966" y="510"/>
                    <a:pt x="4764" y="427"/>
                    <a:pt x="4643" y="334"/>
                  </a:cubicBezTo>
                  <a:cubicBezTo>
                    <a:pt x="4375" y="128"/>
                    <a:pt x="3997" y="0"/>
                    <a:pt x="3577" y="0"/>
                  </a:cubicBezTo>
                  <a:cubicBezTo>
                    <a:pt x="3157" y="0"/>
                    <a:pt x="2779" y="128"/>
                    <a:pt x="2511" y="334"/>
                  </a:cubicBezTo>
                  <a:cubicBezTo>
                    <a:pt x="2390" y="427"/>
                    <a:pt x="2188" y="510"/>
                    <a:pt x="2037" y="530"/>
                  </a:cubicBezTo>
                  <a:cubicBezTo>
                    <a:pt x="1702" y="574"/>
                    <a:pt x="1345" y="751"/>
                    <a:pt x="1048" y="1048"/>
                  </a:cubicBezTo>
                  <a:cubicBezTo>
                    <a:pt x="751" y="1345"/>
                    <a:pt x="574" y="1703"/>
                    <a:pt x="530" y="2037"/>
                  </a:cubicBezTo>
                  <a:cubicBezTo>
                    <a:pt x="510" y="2188"/>
                    <a:pt x="427" y="2390"/>
                    <a:pt x="334" y="2511"/>
                  </a:cubicBezTo>
                  <a:cubicBezTo>
                    <a:pt x="128" y="2779"/>
                    <a:pt x="0" y="3157"/>
                    <a:pt x="0" y="3577"/>
                  </a:cubicBezTo>
                  <a:cubicBezTo>
                    <a:pt x="0" y="3997"/>
                    <a:pt x="128" y="4375"/>
                    <a:pt x="334" y="4643"/>
                  </a:cubicBezTo>
                  <a:cubicBezTo>
                    <a:pt x="427" y="4764"/>
                    <a:pt x="510" y="4966"/>
                    <a:pt x="530" y="5117"/>
                  </a:cubicBezTo>
                  <a:cubicBezTo>
                    <a:pt x="574" y="5451"/>
                    <a:pt x="751" y="5809"/>
                    <a:pt x="1048" y="6106"/>
                  </a:cubicBezTo>
                  <a:cubicBezTo>
                    <a:pt x="1345" y="6403"/>
                    <a:pt x="1702" y="6580"/>
                    <a:pt x="2037" y="6624"/>
                  </a:cubicBezTo>
                  <a:cubicBezTo>
                    <a:pt x="2188" y="6644"/>
                    <a:pt x="2390" y="6727"/>
                    <a:pt x="2511" y="6820"/>
                  </a:cubicBezTo>
                  <a:cubicBezTo>
                    <a:pt x="2779" y="7025"/>
                    <a:pt x="3157" y="7154"/>
                    <a:pt x="3577" y="7154"/>
                  </a:cubicBezTo>
                  <a:cubicBezTo>
                    <a:pt x="3997" y="7154"/>
                    <a:pt x="4375" y="7025"/>
                    <a:pt x="4643" y="6820"/>
                  </a:cubicBezTo>
                  <a:cubicBezTo>
                    <a:pt x="4764" y="6727"/>
                    <a:pt x="4966" y="6644"/>
                    <a:pt x="5117" y="6624"/>
                  </a:cubicBezTo>
                  <a:cubicBezTo>
                    <a:pt x="5451" y="6580"/>
                    <a:pt x="5809" y="6403"/>
                    <a:pt x="6106" y="6106"/>
                  </a:cubicBezTo>
                  <a:cubicBezTo>
                    <a:pt x="6403" y="5809"/>
                    <a:pt x="6580" y="5451"/>
                    <a:pt x="6624" y="5117"/>
                  </a:cubicBezTo>
                  <a:cubicBezTo>
                    <a:pt x="6644" y="4966"/>
                    <a:pt x="6727" y="4764"/>
                    <a:pt x="6820" y="4643"/>
                  </a:cubicBezTo>
                  <a:cubicBezTo>
                    <a:pt x="7026" y="4375"/>
                    <a:pt x="7154" y="3997"/>
                    <a:pt x="7154" y="3577"/>
                  </a:cubicBezTo>
                  <a:cubicBezTo>
                    <a:pt x="7154" y="3157"/>
                    <a:pt x="7026" y="2779"/>
                    <a:pt x="6820" y="2511"/>
                  </a:cubicBezTo>
                  <a:cubicBezTo>
                    <a:pt x="6727" y="2390"/>
                    <a:pt x="6644" y="2188"/>
                    <a:pt x="6624" y="2037"/>
                  </a:cubicBezTo>
                  <a:close/>
                  <a:moveTo>
                    <a:pt x="5857" y="2406"/>
                  </a:moveTo>
                  <a:lnTo>
                    <a:pt x="3286" y="4976"/>
                  </a:lnTo>
                  <a:lnTo>
                    <a:pt x="2875" y="5387"/>
                  </a:lnTo>
                  <a:cubicBezTo>
                    <a:pt x="2762" y="5501"/>
                    <a:pt x="2577" y="5501"/>
                    <a:pt x="2464" y="5387"/>
                  </a:cubicBezTo>
                  <a:lnTo>
                    <a:pt x="2053" y="4976"/>
                  </a:lnTo>
                  <a:lnTo>
                    <a:pt x="1297" y="4221"/>
                  </a:lnTo>
                  <a:cubicBezTo>
                    <a:pt x="1183" y="4107"/>
                    <a:pt x="1183" y="3923"/>
                    <a:pt x="1297" y="3809"/>
                  </a:cubicBezTo>
                  <a:lnTo>
                    <a:pt x="1708" y="3398"/>
                  </a:lnTo>
                  <a:cubicBezTo>
                    <a:pt x="1822" y="3285"/>
                    <a:pt x="2006" y="3285"/>
                    <a:pt x="2120" y="3398"/>
                  </a:cubicBezTo>
                  <a:lnTo>
                    <a:pt x="2669" y="3948"/>
                  </a:lnTo>
                  <a:lnTo>
                    <a:pt x="5034" y="1583"/>
                  </a:lnTo>
                  <a:cubicBezTo>
                    <a:pt x="5148" y="1470"/>
                    <a:pt x="5332" y="1470"/>
                    <a:pt x="5445" y="1583"/>
                  </a:cubicBezTo>
                  <a:lnTo>
                    <a:pt x="5857" y="1994"/>
                  </a:lnTo>
                  <a:cubicBezTo>
                    <a:pt x="5970" y="2108"/>
                    <a:pt x="5970" y="2292"/>
                    <a:pt x="5857" y="2406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5" name="iṧḷiḑé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743264" y="4276135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按分布模式进行配置</a:t>
              </a:r>
              <a:endParaRPr lang="en-US" altLang="zh-CN" sz="1100" dirty="0"/>
            </a:p>
          </p:txBody>
        </p:sp>
        <p:sp>
          <p:nvSpPr>
            <p:cNvPr id="216" name="îṧḻiḑe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197100" y="4926511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>
                  <a:solidFill>
                    <a:schemeClr val="bg1"/>
                  </a:solidFill>
                </a:rPr>
                <a:t>运行第一个实例</a:t>
              </a: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17" name="îṣľïd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2651098" y="5576887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开心</a:t>
              </a:r>
              <a:r>
                <a:rPr lang="en-US" altLang="zh-CN" sz="1100" dirty="0" err="1"/>
                <a:t>ing</a:t>
              </a:r>
              <a:r>
                <a:rPr lang="en-US" altLang="zh-CN" sz="1100" dirty="0"/>
                <a:t>~</a:t>
              </a:r>
            </a:p>
          </p:txBody>
        </p:sp>
        <p:sp>
          <p:nvSpPr>
            <p:cNvPr id="218" name="íṧ1îd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289201" y="3625759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 解压</a:t>
              </a:r>
              <a:endParaRPr lang="en-US" altLang="zh-CN" sz="1100" dirty="0"/>
            </a:p>
          </p:txBody>
        </p:sp>
        <p:sp>
          <p:nvSpPr>
            <p:cNvPr id="219" name="îs1ïḋ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842020" y="2975382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配置环境变量 使之生效</a:t>
              </a:r>
              <a:endParaRPr lang="en-US" altLang="zh-CN" sz="1100" dirty="0"/>
            </a:p>
          </p:txBody>
        </p:sp>
        <p:sp>
          <p:nvSpPr>
            <p:cNvPr id="220" name="íšliḓ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5387990" y="2325006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</a:t>
              </a:r>
              <a:r>
                <a:rPr lang="en-US" altLang="zh-CN" sz="1100" dirty="0"/>
                <a:t> </a:t>
              </a:r>
              <a:r>
                <a:rPr lang="zh-CN" altLang="en-US" sz="1100" dirty="0"/>
                <a:t>解压</a:t>
              </a:r>
              <a:endParaRPr lang="en-US" altLang="zh-CN" sz="1100" dirty="0"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653777F-C200-4DD9-896D-DFE3FC5A0E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794" y="132609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4097" name="Picture 1" descr="L:\Water\Documents\Tencent Files\1106367305\Image\C2C\S_~PNJLRA$(`BM~E~CRVP@6.jpg">
            <a:extLst>
              <a:ext uri="{FF2B5EF4-FFF2-40B4-BE49-F238E27FC236}">
                <a16:creationId xmlns:a16="http://schemas.microsoft.com/office/drawing/2014/main" id="{870A9B0F-80D3-4BB8-9E6D-5163109C031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2"/>
          <a:stretch>
            <a:fillRect/>
          </a:stretch>
        </p:blipFill>
        <p:spPr bwMode="auto">
          <a:xfrm>
            <a:off x="1092994" y="1284288"/>
            <a:ext cx="6958012" cy="4695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104D7166-3B85-4412-9659-285206FA2824}"/>
              </a:ext>
            </a:extLst>
          </p:cNvPr>
          <p:cNvSpPr/>
          <p:nvPr/>
        </p:nvSpPr>
        <p:spPr>
          <a:xfrm>
            <a:off x="1092994" y="2393072"/>
            <a:ext cx="6958012" cy="3587040"/>
          </a:xfrm>
          <a:prstGeom prst="rect">
            <a:avLst/>
          </a:prstGeom>
          <a:solidFill>
            <a:srgbClr val="2D0A2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CB3EE618-32F8-4966-A35B-D1376D9131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045762" y="14732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5121" name="Picture 1" descr="L:\Water\Documents\Tencent Files\1106367305\Image\C2C\L)%$XP1CJBDNU86(E7X)%O2.jpg">
            <a:extLst>
              <a:ext uri="{FF2B5EF4-FFF2-40B4-BE49-F238E27FC236}">
                <a16:creationId xmlns:a16="http://schemas.microsoft.com/office/drawing/2014/main" id="{34B68298-D7E5-4EE7-A7A5-9A7964607A7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" r="305" b="1133"/>
          <a:stretch>
            <a:fillRect/>
          </a:stretch>
        </p:blipFill>
        <p:spPr bwMode="auto">
          <a:xfrm>
            <a:off x="1110719" y="1279524"/>
            <a:ext cx="6922562" cy="470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45545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250">
        <p159:morph option="byObject"/>
      </p:transition>
    </mc:Choice>
    <mc:Fallback xmlns="">
      <p:transition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执行几个看看？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2</a:t>
            </a:fld>
            <a:endParaRPr lang="zh-CN" altLang="en-US"/>
          </a:p>
        </p:txBody>
      </p:sp>
      <p:grpSp>
        <p:nvGrpSpPr>
          <p:cNvPr id="194" name="180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4D56F3B-0686-4E9E-A675-DA7BF2C9F6C2}"/>
              </a:ext>
            </a:extLst>
          </p:cNvPr>
          <p:cNvGrpSpPr>
            <a:grpSpLocks noChangeAspect="1"/>
          </p:cNvGrpSpPr>
          <p:nvPr/>
        </p:nvGrpSpPr>
        <p:grpSpPr>
          <a:xfrm>
            <a:off x="1875381" y="-2460624"/>
            <a:ext cx="5393238" cy="2212975"/>
            <a:chOff x="938530" y="1805421"/>
            <a:chExt cx="10580370" cy="4341379"/>
          </a:xfrm>
        </p:grpSpPr>
        <p:sp>
          <p:nvSpPr>
            <p:cNvPr id="195" name="iṧḻîďè">
              <a:extLst>
                <a:ext uri="{FF2B5EF4-FFF2-40B4-BE49-F238E27FC236}">
                  <a16:creationId xmlns:a16="http://schemas.microsoft.com/office/drawing/2014/main" id="{6FC8272D-4563-47EB-B741-E738A21C2623}"/>
                </a:ext>
              </a:extLst>
            </p:cNvPr>
            <p:cNvSpPr/>
            <p:nvPr/>
          </p:nvSpPr>
          <p:spPr bwMode="auto">
            <a:xfrm>
              <a:off x="5637082" y="5226400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搞定！</a:t>
              </a:r>
              <a:endParaRPr lang="en-US" altLang="zh-CN" b="1" dirty="0"/>
            </a:p>
          </p:txBody>
        </p:sp>
        <p:sp>
          <p:nvSpPr>
            <p:cNvPr id="196" name="îŝḻiḋé">
              <a:extLst>
                <a:ext uri="{FF2B5EF4-FFF2-40B4-BE49-F238E27FC236}">
                  <a16:creationId xmlns:a16="http://schemas.microsoft.com/office/drawing/2014/main" id="{C05C75D7-4258-49B9-958F-F2EEF0B840E0}"/>
                </a:ext>
              </a:extLst>
            </p:cNvPr>
            <p:cNvSpPr/>
            <p:nvPr/>
          </p:nvSpPr>
          <p:spPr bwMode="auto">
            <a:xfrm>
              <a:off x="6176201" y="4576024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>
                  <a:solidFill>
                    <a:schemeClr val="bg1"/>
                  </a:solidFill>
                </a:rPr>
                <a:t>测试</a:t>
              </a:r>
              <a:endParaRPr lang="en-US" altLang="zh-CN" sz="1750" b="1" dirty="0">
                <a:solidFill>
                  <a:schemeClr val="bg1"/>
                </a:solidFill>
              </a:endParaRPr>
            </a:p>
          </p:txBody>
        </p:sp>
        <p:sp>
          <p:nvSpPr>
            <p:cNvPr id="197" name="íṥḷíďê">
              <a:extLst>
                <a:ext uri="{FF2B5EF4-FFF2-40B4-BE49-F238E27FC236}">
                  <a16:creationId xmlns:a16="http://schemas.microsoft.com/office/drawing/2014/main" id="{D4FCC7AE-5767-4EC4-BB68-B94457D3AE6D}"/>
                </a:ext>
              </a:extLst>
            </p:cNvPr>
            <p:cNvSpPr/>
            <p:nvPr/>
          </p:nvSpPr>
          <p:spPr bwMode="auto">
            <a:xfrm>
              <a:off x="6703850" y="3925648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/>
                <a:t>配置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8" name="ïś1ïḓè">
              <a:extLst>
                <a:ext uri="{FF2B5EF4-FFF2-40B4-BE49-F238E27FC236}">
                  <a16:creationId xmlns:a16="http://schemas.microsoft.com/office/drawing/2014/main" id="{F32E844B-E27C-4A92-9B60-95E4AD88D81F}"/>
                </a:ext>
              </a:extLst>
            </p:cNvPr>
            <p:cNvSpPr/>
            <p:nvPr/>
          </p:nvSpPr>
          <p:spPr bwMode="auto">
            <a:xfrm>
              <a:off x="7241823" y="3275272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 dirty="0"/>
                <a:t>安装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9" name="îśļïḍè">
              <a:extLst>
                <a:ext uri="{FF2B5EF4-FFF2-40B4-BE49-F238E27FC236}">
                  <a16:creationId xmlns:a16="http://schemas.microsoft.com/office/drawing/2014/main" id="{F812BB55-77DE-4E23-95E6-156A22FAD363}"/>
                </a:ext>
              </a:extLst>
            </p:cNvPr>
            <p:cNvSpPr/>
            <p:nvPr/>
          </p:nvSpPr>
          <p:spPr bwMode="auto">
            <a:xfrm>
              <a:off x="7743555" y="2624895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配置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0" name="ï$1íḍé">
              <a:extLst>
                <a:ext uri="{FF2B5EF4-FFF2-40B4-BE49-F238E27FC236}">
                  <a16:creationId xmlns:a16="http://schemas.microsoft.com/office/drawing/2014/main" id="{48245F16-84E7-4201-9485-85B5E5B15ECD}"/>
                </a:ext>
              </a:extLst>
            </p:cNvPr>
            <p:cNvSpPr/>
            <p:nvPr/>
          </p:nvSpPr>
          <p:spPr bwMode="auto">
            <a:xfrm>
              <a:off x="8263856" y="1974519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安装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1" name="îṥľïďê">
              <a:extLst>
                <a:ext uri="{FF2B5EF4-FFF2-40B4-BE49-F238E27FC236}">
                  <a16:creationId xmlns:a16="http://schemas.microsoft.com/office/drawing/2014/main" id="{920DFBAA-02E5-4206-86B0-FE10F93A7509}"/>
                </a:ext>
              </a:extLst>
            </p:cNvPr>
            <p:cNvSpPr/>
            <p:nvPr/>
          </p:nvSpPr>
          <p:spPr bwMode="auto">
            <a:xfrm>
              <a:off x="5220497" y="3438015"/>
              <a:ext cx="3741918" cy="1239562"/>
            </a:xfrm>
            <a:custGeom>
              <a:avLst/>
              <a:gdLst>
                <a:gd name="T0" fmla="*/ 179 w 203"/>
                <a:gd name="T1" fmla="*/ 82 h 82"/>
                <a:gd name="T2" fmla="*/ 203 w 203"/>
                <a:gd name="T3" fmla="*/ 29 h 82"/>
                <a:gd name="T4" fmla="*/ 65 w 203"/>
                <a:gd name="T5" fmla="*/ 27 h 82"/>
                <a:gd name="T6" fmla="*/ 59 w 203"/>
                <a:gd name="T7" fmla="*/ 0 h 82"/>
                <a:gd name="T8" fmla="*/ 59 w 203"/>
                <a:gd name="T9" fmla="*/ 0 h 82"/>
                <a:gd name="T10" fmla="*/ 0 w 203"/>
                <a:gd name="T11" fmla="*/ 80 h 82"/>
                <a:gd name="T12" fmla="*/ 61 w 203"/>
                <a:gd name="T13" fmla="*/ 82 h 82"/>
                <a:gd name="T14" fmla="*/ 179 w 203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82">
                  <a:moveTo>
                    <a:pt x="179" y="82"/>
                  </a:moveTo>
                  <a:lnTo>
                    <a:pt x="203" y="29"/>
                  </a:lnTo>
                  <a:lnTo>
                    <a:pt x="65" y="27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0" y="80"/>
                  </a:lnTo>
                  <a:lnTo>
                    <a:pt x="61" y="82"/>
                  </a:lnTo>
                  <a:lnTo>
                    <a:pt x="179" y="8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2" name="i$ḻíḋè">
              <a:extLst>
                <a:ext uri="{FF2B5EF4-FFF2-40B4-BE49-F238E27FC236}">
                  <a16:creationId xmlns:a16="http://schemas.microsoft.com/office/drawing/2014/main" id="{430BE7EB-B6F0-4F05-80EA-1F517165029F}"/>
                </a:ext>
              </a:extLst>
            </p:cNvPr>
            <p:cNvSpPr/>
            <p:nvPr/>
          </p:nvSpPr>
          <p:spPr bwMode="auto">
            <a:xfrm>
              <a:off x="8032938" y="1974519"/>
              <a:ext cx="1398307" cy="247664"/>
            </a:xfrm>
            <a:prstGeom prst="triangle">
              <a:avLst>
                <a:gd name="adj" fmla="val 14726"/>
              </a:avLst>
            </a:pr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3" name="işľiḋe">
              <a:extLst>
                <a:ext uri="{FF2B5EF4-FFF2-40B4-BE49-F238E27FC236}">
                  <a16:creationId xmlns:a16="http://schemas.microsoft.com/office/drawing/2014/main" id="{E4DECB97-43D1-4D26-8C48-41447675AE79}"/>
                </a:ext>
              </a:extLst>
            </p:cNvPr>
            <p:cNvSpPr/>
            <p:nvPr/>
          </p:nvSpPr>
          <p:spPr bwMode="auto">
            <a:xfrm>
              <a:off x="3675422" y="1805421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4" name="iś1íďé">
              <a:extLst>
                <a:ext uri="{FF2B5EF4-FFF2-40B4-BE49-F238E27FC236}">
                  <a16:creationId xmlns:a16="http://schemas.microsoft.com/office/drawing/2014/main" id="{6E7EA96A-F20A-4912-AC31-63A0F19E66DE}"/>
                </a:ext>
              </a:extLst>
            </p:cNvPr>
            <p:cNvSpPr/>
            <p:nvPr/>
          </p:nvSpPr>
          <p:spPr bwMode="auto">
            <a:xfrm>
              <a:off x="3129452" y="2455797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5" name="ïŝlíḋe">
              <a:extLst>
                <a:ext uri="{FF2B5EF4-FFF2-40B4-BE49-F238E27FC236}">
                  <a16:creationId xmlns:a16="http://schemas.microsoft.com/office/drawing/2014/main" id="{66D30D6F-26C9-4C2C-BC01-900AC07DC57E}"/>
                </a:ext>
              </a:extLst>
            </p:cNvPr>
            <p:cNvSpPr/>
            <p:nvPr/>
          </p:nvSpPr>
          <p:spPr bwMode="auto">
            <a:xfrm>
              <a:off x="2576633" y="3106174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6" name="îSliďè">
              <a:extLst>
                <a:ext uri="{FF2B5EF4-FFF2-40B4-BE49-F238E27FC236}">
                  <a16:creationId xmlns:a16="http://schemas.microsoft.com/office/drawing/2014/main" id="{2F6D5554-EACD-4DDD-892F-2E5F97A9C421}"/>
                </a:ext>
              </a:extLst>
            </p:cNvPr>
            <p:cNvSpPr/>
            <p:nvPr/>
          </p:nvSpPr>
          <p:spPr bwMode="auto">
            <a:xfrm>
              <a:off x="2030696" y="3756550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7" name="îSliďé">
              <a:extLst>
                <a:ext uri="{FF2B5EF4-FFF2-40B4-BE49-F238E27FC236}">
                  <a16:creationId xmlns:a16="http://schemas.microsoft.com/office/drawing/2014/main" id="{2E278F3F-C8D8-4E2A-A3EA-29ADCF1A02AA}"/>
                </a:ext>
              </a:extLst>
            </p:cNvPr>
            <p:cNvSpPr/>
            <p:nvPr/>
          </p:nvSpPr>
          <p:spPr bwMode="auto">
            <a:xfrm>
              <a:off x="1484532" y="4406926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8" name="îs1iďé">
              <a:extLst>
                <a:ext uri="{FF2B5EF4-FFF2-40B4-BE49-F238E27FC236}">
                  <a16:creationId xmlns:a16="http://schemas.microsoft.com/office/drawing/2014/main" id="{EB74D0C2-5677-4F3F-A043-44D01A3F3D48}"/>
                </a:ext>
              </a:extLst>
            </p:cNvPr>
            <p:cNvSpPr/>
            <p:nvPr/>
          </p:nvSpPr>
          <p:spPr bwMode="auto">
            <a:xfrm>
              <a:off x="938530" y="5057302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9" name="ïṣḻïḋe">
              <a:extLst>
                <a:ext uri="{FF2B5EF4-FFF2-40B4-BE49-F238E27FC236}">
                  <a16:creationId xmlns:a16="http://schemas.microsoft.com/office/drawing/2014/main" id="{7709F84E-C33F-462F-B538-51CB71C9284E}"/>
                </a:ext>
              </a:extLst>
            </p:cNvPr>
            <p:cNvSpPr/>
            <p:nvPr/>
          </p:nvSpPr>
          <p:spPr bwMode="auto">
            <a:xfrm>
              <a:off x="4585947" y="2371737"/>
              <a:ext cx="377807" cy="377281"/>
            </a:xfrm>
            <a:custGeom>
              <a:avLst/>
              <a:gdLst>
                <a:gd name="T0" fmla="*/ 400 w 11264"/>
                <a:gd name="T1" fmla="*/ 7099 h 11264"/>
                <a:gd name="T2" fmla="*/ 4165 w 11264"/>
                <a:gd name="T3" fmla="*/ 7099 h 11264"/>
                <a:gd name="T4" fmla="*/ 4165 w 11264"/>
                <a:gd name="T5" fmla="*/ 10864 h 11264"/>
                <a:gd name="T6" fmla="*/ 4565 w 11264"/>
                <a:gd name="T7" fmla="*/ 11264 h 11264"/>
                <a:gd name="T8" fmla="*/ 6699 w 11264"/>
                <a:gd name="T9" fmla="*/ 11264 h 11264"/>
                <a:gd name="T10" fmla="*/ 7099 w 11264"/>
                <a:gd name="T11" fmla="*/ 10864 h 11264"/>
                <a:gd name="T12" fmla="*/ 7099 w 11264"/>
                <a:gd name="T13" fmla="*/ 7099 h 11264"/>
                <a:gd name="T14" fmla="*/ 10864 w 11264"/>
                <a:gd name="T15" fmla="*/ 7099 h 11264"/>
                <a:gd name="T16" fmla="*/ 11264 w 11264"/>
                <a:gd name="T17" fmla="*/ 6699 h 11264"/>
                <a:gd name="T18" fmla="*/ 11264 w 11264"/>
                <a:gd name="T19" fmla="*/ 4565 h 11264"/>
                <a:gd name="T20" fmla="*/ 10864 w 11264"/>
                <a:gd name="T21" fmla="*/ 4165 h 11264"/>
                <a:gd name="T22" fmla="*/ 7099 w 11264"/>
                <a:gd name="T23" fmla="*/ 4165 h 11264"/>
                <a:gd name="T24" fmla="*/ 7099 w 11264"/>
                <a:gd name="T25" fmla="*/ 400 h 11264"/>
                <a:gd name="T26" fmla="*/ 6699 w 11264"/>
                <a:gd name="T27" fmla="*/ 0 h 11264"/>
                <a:gd name="T28" fmla="*/ 4565 w 11264"/>
                <a:gd name="T29" fmla="*/ 0 h 11264"/>
                <a:gd name="T30" fmla="*/ 4165 w 11264"/>
                <a:gd name="T31" fmla="*/ 400 h 11264"/>
                <a:gd name="T32" fmla="*/ 4165 w 11264"/>
                <a:gd name="T33" fmla="*/ 4165 h 11264"/>
                <a:gd name="T34" fmla="*/ 400 w 11264"/>
                <a:gd name="T35" fmla="*/ 4165 h 11264"/>
                <a:gd name="T36" fmla="*/ 0 w 11264"/>
                <a:gd name="T37" fmla="*/ 4565 h 11264"/>
                <a:gd name="T38" fmla="*/ 0 w 11264"/>
                <a:gd name="T39" fmla="*/ 6699 h 11264"/>
                <a:gd name="T40" fmla="*/ 400 w 11264"/>
                <a:gd name="T41" fmla="*/ 7099 h 1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64" h="11264">
                  <a:moveTo>
                    <a:pt x="400" y="7099"/>
                  </a:moveTo>
                  <a:lnTo>
                    <a:pt x="4165" y="7099"/>
                  </a:lnTo>
                  <a:lnTo>
                    <a:pt x="4165" y="10864"/>
                  </a:lnTo>
                  <a:cubicBezTo>
                    <a:pt x="4165" y="11085"/>
                    <a:pt x="4344" y="11264"/>
                    <a:pt x="4565" y="11264"/>
                  </a:cubicBezTo>
                  <a:lnTo>
                    <a:pt x="6699" y="11264"/>
                  </a:lnTo>
                  <a:cubicBezTo>
                    <a:pt x="6920" y="11264"/>
                    <a:pt x="7099" y="11085"/>
                    <a:pt x="7099" y="10864"/>
                  </a:cubicBezTo>
                  <a:lnTo>
                    <a:pt x="7099" y="7099"/>
                  </a:lnTo>
                  <a:lnTo>
                    <a:pt x="10864" y="7099"/>
                  </a:lnTo>
                  <a:cubicBezTo>
                    <a:pt x="11085" y="7099"/>
                    <a:pt x="11264" y="6920"/>
                    <a:pt x="11264" y="6699"/>
                  </a:cubicBezTo>
                  <a:lnTo>
                    <a:pt x="11264" y="4565"/>
                  </a:lnTo>
                  <a:cubicBezTo>
                    <a:pt x="11264" y="4344"/>
                    <a:pt x="11085" y="4165"/>
                    <a:pt x="10864" y="4165"/>
                  </a:cubicBezTo>
                  <a:lnTo>
                    <a:pt x="7099" y="4165"/>
                  </a:lnTo>
                  <a:lnTo>
                    <a:pt x="7099" y="400"/>
                  </a:lnTo>
                  <a:cubicBezTo>
                    <a:pt x="7099" y="179"/>
                    <a:pt x="6920" y="0"/>
                    <a:pt x="6699" y="0"/>
                  </a:cubicBezTo>
                  <a:lnTo>
                    <a:pt x="4565" y="0"/>
                  </a:lnTo>
                  <a:cubicBezTo>
                    <a:pt x="4344" y="0"/>
                    <a:pt x="4165" y="179"/>
                    <a:pt x="4165" y="400"/>
                  </a:cubicBezTo>
                  <a:lnTo>
                    <a:pt x="4165" y="4165"/>
                  </a:lnTo>
                  <a:lnTo>
                    <a:pt x="400" y="4165"/>
                  </a:lnTo>
                  <a:cubicBezTo>
                    <a:pt x="179" y="4165"/>
                    <a:pt x="0" y="4344"/>
                    <a:pt x="0" y="4565"/>
                  </a:cubicBezTo>
                  <a:lnTo>
                    <a:pt x="0" y="6699"/>
                  </a:lnTo>
                  <a:cubicBezTo>
                    <a:pt x="0" y="6920"/>
                    <a:pt x="179" y="7099"/>
                    <a:pt x="400" y="709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0" name="îsḷïde">
              <a:extLst>
                <a:ext uri="{FF2B5EF4-FFF2-40B4-BE49-F238E27FC236}">
                  <a16:creationId xmlns:a16="http://schemas.microsoft.com/office/drawing/2014/main" id="{F7027C89-1BCC-4A00-9535-016DE4C49FD7}"/>
                </a:ext>
              </a:extLst>
            </p:cNvPr>
            <p:cNvSpPr/>
            <p:nvPr/>
          </p:nvSpPr>
          <p:spPr bwMode="auto">
            <a:xfrm>
              <a:off x="4069565" y="3014578"/>
              <a:ext cx="369969" cy="377806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  <a:gd name="connsiteX107" fmla="*/ 373273 h 605239"/>
                <a:gd name="connsiteY107" fmla="*/ 373273 h 605239"/>
                <a:gd name="connsiteX108" fmla="*/ 373273 h 605239"/>
                <a:gd name="connsiteY108" fmla="*/ 373273 h 605239"/>
                <a:gd name="connsiteX109" fmla="*/ 373273 h 605239"/>
                <a:gd name="connsiteY109" fmla="*/ 373273 h 605239"/>
                <a:gd name="connsiteX110" fmla="*/ 373273 h 605239"/>
                <a:gd name="connsiteY110" fmla="*/ 373273 h 605239"/>
                <a:gd name="connsiteX111" fmla="*/ 373273 h 605239"/>
                <a:gd name="connsiteY111" fmla="*/ 373273 h 605239"/>
                <a:gd name="connsiteX112" fmla="*/ 373273 h 605239"/>
                <a:gd name="connsiteY112" fmla="*/ 373273 h 605239"/>
                <a:gd name="connsiteX113" fmla="*/ 373273 h 605239"/>
                <a:gd name="connsiteY113" fmla="*/ 373273 h 605239"/>
                <a:gd name="connsiteX114" fmla="*/ 373273 h 605239"/>
                <a:gd name="connsiteY114" fmla="*/ 373273 h 605239"/>
                <a:gd name="connsiteX115" fmla="*/ 373273 h 605239"/>
                <a:gd name="connsiteY115" fmla="*/ 373273 h 605239"/>
                <a:gd name="connsiteX116" fmla="*/ 373273 h 605239"/>
                <a:gd name="connsiteY116" fmla="*/ 373273 h 605239"/>
                <a:gd name="connsiteX117" fmla="*/ 373273 h 605239"/>
                <a:gd name="connsiteY117" fmla="*/ 373273 h 605239"/>
                <a:gd name="connsiteX118" fmla="*/ 373273 h 605239"/>
                <a:gd name="connsiteY118" fmla="*/ 373273 h 605239"/>
                <a:gd name="connsiteX119" fmla="*/ 373273 h 605239"/>
                <a:gd name="connsiteY119" fmla="*/ 373273 h 605239"/>
                <a:gd name="connsiteX120" fmla="*/ 373273 h 605239"/>
                <a:gd name="connsiteY120" fmla="*/ 373273 h 605239"/>
                <a:gd name="connsiteX121" fmla="*/ 373273 h 605239"/>
                <a:gd name="connsiteY121" fmla="*/ 373273 h 605239"/>
                <a:gd name="connsiteX122" fmla="*/ 373273 h 605239"/>
                <a:gd name="connsiteY122" fmla="*/ 373273 h 605239"/>
                <a:gd name="connsiteX123" fmla="*/ 373273 h 605239"/>
                <a:gd name="connsiteY123" fmla="*/ 373273 h 605239"/>
                <a:gd name="connsiteX124" fmla="*/ 373273 h 605239"/>
                <a:gd name="connsiteY124" fmla="*/ 373273 h 605239"/>
                <a:gd name="connsiteX125" fmla="*/ 373273 h 605239"/>
                <a:gd name="connsiteY125" fmla="*/ 373273 h 605239"/>
                <a:gd name="connsiteX126" fmla="*/ 373273 h 605239"/>
                <a:gd name="connsiteY126" fmla="*/ 373273 h 605239"/>
                <a:gd name="connsiteX127" fmla="*/ 373273 h 605239"/>
                <a:gd name="connsiteY127" fmla="*/ 373273 h 605239"/>
                <a:gd name="connsiteX128" fmla="*/ 373273 h 605239"/>
                <a:gd name="connsiteY128" fmla="*/ 373273 h 605239"/>
                <a:gd name="connsiteX129" fmla="*/ 373273 h 605239"/>
                <a:gd name="connsiteY12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593733" h="606309">
                  <a:moveTo>
                    <a:pt x="353250" y="302855"/>
                  </a:moveTo>
                  <a:cubicBezTo>
                    <a:pt x="318468" y="302855"/>
                    <a:pt x="290232" y="331146"/>
                    <a:pt x="290232" y="365879"/>
                  </a:cubicBezTo>
                  <a:cubicBezTo>
                    <a:pt x="290232" y="374189"/>
                    <a:pt x="296964" y="380912"/>
                    <a:pt x="305285" y="380912"/>
                  </a:cubicBezTo>
                  <a:cubicBezTo>
                    <a:pt x="313607" y="380912"/>
                    <a:pt x="320338" y="374189"/>
                    <a:pt x="320338" y="365879"/>
                  </a:cubicBezTo>
                  <a:cubicBezTo>
                    <a:pt x="320338" y="347672"/>
                    <a:pt x="335111" y="333014"/>
                    <a:pt x="353250" y="333014"/>
                  </a:cubicBezTo>
                  <a:cubicBezTo>
                    <a:pt x="361665" y="333014"/>
                    <a:pt x="368397" y="326291"/>
                    <a:pt x="368397" y="317888"/>
                  </a:cubicBezTo>
                  <a:cubicBezTo>
                    <a:pt x="368397" y="309578"/>
                    <a:pt x="361665" y="302855"/>
                    <a:pt x="353250" y="302855"/>
                  </a:cubicBezTo>
                  <a:close/>
                  <a:moveTo>
                    <a:pt x="353250" y="265041"/>
                  </a:moveTo>
                  <a:cubicBezTo>
                    <a:pt x="409163" y="265041"/>
                    <a:pt x="454229" y="310232"/>
                    <a:pt x="454229" y="365879"/>
                  </a:cubicBezTo>
                  <a:cubicBezTo>
                    <a:pt x="454229" y="421527"/>
                    <a:pt x="408976" y="466717"/>
                    <a:pt x="353250" y="466717"/>
                  </a:cubicBezTo>
                  <a:cubicBezTo>
                    <a:pt x="297525" y="466717"/>
                    <a:pt x="252271" y="421527"/>
                    <a:pt x="252271" y="365879"/>
                  </a:cubicBezTo>
                  <a:cubicBezTo>
                    <a:pt x="252271" y="310232"/>
                    <a:pt x="297431" y="265041"/>
                    <a:pt x="353250" y="265041"/>
                  </a:cubicBezTo>
                  <a:close/>
                  <a:moveTo>
                    <a:pt x="427779" y="133781"/>
                  </a:moveTo>
                  <a:cubicBezTo>
                    <a:pt x="432818" y="131960"/>
                    <a:pt x="438547" y="132054"/>
                    <a:pt x="443784" y="134482"/>
                  </a:cubicBezTo>
                  <a:lnTo>
                    <a:pt x="473245" y="148209"/>
                  </a:lnTo>
                  <a:cubicBezTo>
                    <a:pt x="483720" y="153158"/>
                    <a:pt x="488209" y="165671"/>
                    <a:pt x="483346" y="176130"/>
                  </a:cubicBezTo>
                  <a:lnTo>
                    <a:pt x="470252" y="203957"/>
                  </a:lnTo>
                  <a:cubicBezTo>
                    <a:pt x="492231" y="219646"/>
                    <a:pt x="511123" y="240003"/>
                    <a:pt x="525526" y="264095"/>
                  </a:cubicBezTo>
                  <a:lnTo>
                    <a:pt x="554426" y="253636"/>
                  </a:lnTo>
                  <a:cubicBezTo>
                    <a:pt x="565368" y="249714"/>
                    <a:pt x="577340" y="255411"/>
                    <a:pt x="581361" y="266243"/>
                  </a:cubicBezTo>
                  <a:lnTo>
                    <a:pt x="592491" y="296592"/>
                  </a:lnTo>
                  <a:cubicBezTo>
                    <a:pt x="596419" y="307612"/>
                    <a:pt x="590714" y="319564"/>
                    <a:pt x="579865" y="323486"/>
                  </a:cubicBezTo>
                  <a:lnTo>
                    <a:pt x="550965" y="333945"/>
                  </a:lnTo>
                  <a:cubicBezTo>
                    <a:pt x="555455" y="361586"/>
                    <a:pt x="553958" y="389414"/>
                    <a:pt x="547224" y="415561"/>
                  </a:cubicBezTo>
                  <a:lnTo>
                    <a:pt x="575095" y="428634"/>
                  </a:lnTo>
                  <a:cubicBezTo>
                    <a:pt x="585570" y="433490"/>
                    <a:pt x="590059" y="445910"/>
                    <a:pt x="585102" y="456649"/>
                  </a:cubicBezTo>
                  <a:lnTo>
                    <a:pt x="571354" y="485970"/>
                  </a:lnTo>
                  <a:cubicBezTo>
                    <a:pt x="566397" y="496429"/>
                    <a:pt x="553958" y="500911"/>
                    <a:pt x="543483" y="496056"/>
                  </a:cubicBezTo>
                  <a:lnTo>
                    <a:pt x="515238" y="482982"/>
                  </a:lnTo>
                  <a:cubicBezTo>
                    <a:pt x="499526" y="504833"/>
                    <a:pt x="479137" y="523510"/>
                    <a:pt x="455007" y="537704"/>
                  </a:cubicBezTo>
                  <a:lnTo>
                    <a:pt x="465763" y="567026"/>
                  </a:lnTo>
                  <a:cubicBezTo>
                    <a:pt x="469784" y="578045"/>
                    <a:pt x="463986" y="589997"/>
                    <a:pt x="453137" y="593919"/>
                  </a:cubicBezTo>
                  <a:lnTo>
                    <a:pt x="422741" y="605032"/>
                  </a:lnTo>
                  <a:cubicBezTo>
                    <a:pt x="411798" y="609047"/>
                    <a:pt x="399827" y="603258"/>
                    <a:pt x="395805" y="592425"/>
                  </a:cubicBezTo>
                  <a:lnTo>
                    <a:pt x="385050" y="562823"/>
                  </a:lnTo>
                  <a:cubicBezTo>
                    <a:pt x="357646" y="567212"/>
                    <a:pt x="330056" y="565718"/>
                    <a:pt x="304149" y="558995"/>
                  </a:cubicBezTo>
                  <a:lnTo>
                    <a:pt x="290682" y="587756"/>
                  </a:lnTo>
                  <a:cubicBezTo>
                    <a:pt x="285725" y="598215"/>
                    <a:pt x="273192" y="602697"/>
                    <a:pt x="262717" y="597841"/>
                  </a:cubicBezTo>
                  <a:lnTo>
                    <a:pt x="233350" y="584114"/>
                  </a:lnTo>
                  <a:cubicBezTo>
                    <a:pt x="222875" y="579165"/>
                    <a:pt x="218385" y="566652"/>
                    <a:pt x="223249" y="556193"/>
                  </a:cubicBezTo>
                  <a:lnTo>
                    <a:pt x="236810" y="527338"/>
                  </a:lnTo>
                  <a:cubicBezTo>
                    <a:pt x="215112" y="511650"/>
                    <a:pt x="196407" y="491480"/>
                    <a:pt x="182284" y="467668"/>
                  </a:cubicBezTo>
                  <a:lnTo>
                    <a:pt x="152169" y="478687"/>
                  </a:lnTo>
                  <a:cubicBezTo>
                    <a:pt x="141133" y="482609"/>
                    <a:pt x="129161" y="476912"/>
                    <a:pt x="125233" y="466080"/>
                  </a:cubicBezTo>
                  <a:lnTo>
                    <a:pt x="114104" y="435731"/>
                  </a:lnTo>
                  <a:cubicBezTo>
                    <a:pt x="110082" y="424712"/>
                    <a:pt x="115881" y="412759"/>
                    <a:pt x="126730" y="408837"/>
                  </a:cubicBezTo>
                  <a:lnTo>
                    <a:pt x="156845" y="397818"/>
                  </a:lnTo>
                  <a:cubicBezTo>
                    <a:pt x="153852" y="379422"/>
                    <a:pt x="153478" y="361026"/>
                    <a:pt x="155629" y="342910"/>
                  </a:cubicBezTo>
                  <a:lnTo>
                    <a:pt x="158622" y="343097"/>
                  </a:lnTo>
                  <a:cubicBezTo>
                    <a:pt x="181162" y="344030"/>
                    <a:pt x="200522" y="327408"/>
                    <a:pt x="203141" y="305370"/>
                  </a:cubicBezTo>
                  <a:cubicBezTo>
                    <a:pt x="207723" y="303876"/>
                    <a:pt x="212119" y="302195"/>
                    <a:pt x="216515" y="300515"/>
                  </a:cubicBezTo>
                  <a:cubicBezTo>
                    <a:pt x="220349" y="304063"/>
                    <a:pt x="224745" y="306958"/>
                    <a:pt x="229609" y="308919"/>
                  </a:cubicBezTo>
                  <a:cubicBezTo>
                    <a:pt x="219227" y="330957"/>
                    <a:pt x="214831" y="355983"/>
                    <a:pt x="217824" y="381943"/>
                  </a:cubicBezTo>
                  <a:cubicBezTo>
                    <a:pt x="226709" y="456462"/>
                    <a:pt x="294329" y="509876"/>
                    <a:pt x="368963" y="501192"/>
                  </a:cubicBezTo>
                  <a:cubicBezTo>
                    <a:pt x="443691" y="492320"/>
                    <a:pt x="497188" y="424899"/>
                    <a:pt x="488490" y="350287"/>
                  </a:cubicBezTo>
                  <a:cubicBezTo>
                    <a:pt x="479605" y="275675"/>
                    <a:pt x="411985" y="222260"/>
                    <a:pt x="337351" y="231038"/>
                  </a:cubicBezTo>
                  <a:cubicBezTo>
                    <a:pt x="324632" y="232532"/>
                    <a:pt x="312473" y="235707"/>
                    <a:pt x="301156" y="240376"/>
                  </a:cubicBezTo>
                  <a:cubicBezTo>
                    <a:pt x="299660" y="236268"/>
                    <a:pt x="297509" y="232345"/>
                    <a:pt x="294797" y="228890"/>
                  </a:cubicBezTo>
                  <a:cubicBezTo>
                    <a:pt x="297041" y="224688"/>
                    <a:pt x="299005" y="220393"/>
                    <a:pt x="300782" y="216097"/>
                  </a:cubicBezTo>
                  <a:cubicBezTo>
                    <a:pt x="311164" y="215817"/>
                    <a:pt x="320891" y="211802"/>
                    <a:pt x="328466" y="204891"/>
                  </a:cubicBezTo>
                  <a:cubicBezTo>
                    <a:pt x="336977" y="197141"/>
                    <a:pt x="341934" y="186589"/>
                    <a:pt x="342402" y="175103"/>
                  </a:cubicBezTo>
                  <a:lnTo>
                    <a:pt x="342776" y="166978"/>
                  </a:lnTo>
                  <a:cubicBezTo>
                    <a:pt x="363164" y="165764"/>
                    <a:pt x="383460" y="167912"/>
                    <a:pt x="402820" y="172768"/>
                  </a:cubicBezTo>
                  <a:lnTo>
                    <a:pt x="415913" y="144567"/>
                  </a:lnTo>
                  <a:cubicBezTo>
                    <a:pt x="418392" y="139338"/>
                    <a:pt x="422741" y="135602"/>
                    <a:pt x="427779" y="133781"/>
                  </a:cubicBezTo>
                  <a:close/>
                  <a:moveTo>
                    <a:pt x="159906" y="88589"/>
                  </a:moveTo>
                  <a:cubicBezTo>
                    <a:pt x="142487" y="87818"/>
                    <a:pt x="124764" y="93678"/>
                    <a:pt x="110828" y="106378"/>
                  </a:cubicBezTo>
                  <a:cubicBezTo>
                    <a:pt x="96145" y="119731"/>
                    <a:pt x="88663" y="138127"/>
                    <a:pt x="88663" y="156523"/>
                  </a:cubicBezTo>
                  <a:cubicBezTo>
                    <a:pt x="88663" y="172958"/>
                    <a:pt x="94555" y="189393"/>
                    <a:pt x="106526" y="202467"/>
                  </a:cubicBezTo>
                  <a:cubicBezTo>
                    <a:pt x="131965" y="230294"/>
                    <a:pt x="175081" y="232162"/>
                    <a:pt x="202764" y="206762"/>
                  </a:cubicBezTo>
                  <a:cubicBezTo>
                    <a:pt x="217448" y="193409"/>
                    <a:pt x="224930" y="175013"/>
                    <a:pt x="224930" y="156523"/>
                  </a:cubicBezTo>
                  <a:cubicBezTo>
                    <a:pt x="224930" y="140088"/>
                    <a:pt x="219132" y="123653"/>
                    <a:pt x="207160" y="110580"/>
                  </a:cubicBezTo>
                  <a:cubicBezTo>
                    <a:pt x="194441" y="96760"/>
                    <a:pt x="177325" y="89359"/>
                    <a:pt x="159906" y="88589"/>
                  </a:cubicBezTo>
                  <a:close/>
                  <a:moveTo>
                    <a:pt x="153289" y="17"/>
                  </a:moveTo>
                  <a:lnTo>
                    <a:pt x="173678" y="951"/>
                  </a:lnTo>
                  <a:cubicBezTo>
                    <a:pt x="180786" y="1325"/>
                    <a:pt x="186304" y="7114"/>
                    <a:pt x="186304" y="14118"/>
                  </a:cubicBezTo>
                  <a:lnTo>
                    <a:pt x="186304" y="14771"/>
                  </a:lnTo>
                  <a:lnTo>
                    <a:pt x="185462" y="34755"/>
                  </a:lnTo>
                  <a:cubicBezTo>
                    <a:pt x="201923" y="38677"/>
                    <a:pt x="217729" y="45774"/>
                    <a:pt x="231851" y="56232"/>
                  </a:cubicBezTo>
                  <a:lnTo>
                    <a:pt x="246535" y="42786"/>
                  </a:lnTo>
                  <a:cubicBezTo>
                    <a:pt x="251866" y="37930"/>
                    <a:pt x="260283" y="38303"/>
                    <a:pt x="265240" y="43626"/>
                  </a:cubicBezTo>
                  <a:lnTo>
                    <a:pt x="279082" y="58660"/>
                  </a:lnTo>
                  <a:cubicBezTo>
                    <a:pt x="281420" y="61275"/>
                    <a:pt x="282542" y="64450"/>
                    <a:pt x="282542" y="67625"/>
                  </a:cubicBezTo>
                  <a:cubicBezTo>
                    <a:pt x="282542" y="71173"/>
                    <a:pt x="281233" y="74722"/>
                    <a:pt x="278334" y="77337"/>
                  </a:cubicBezTo>
                  <a:lnTo>
                    <a:pt x="263744" y="90690"/>
                  </a:lnTo>
                  <a:cubicBezTo>
                    <a:pt x="273096" y="105537"/>
                    <a:pt x="278988" y="121973"/>
                    <a:pt x="281420" y="138781"/>
                  </a:cubicBezTo>
                  <a:lnTo>
                    <a:pt x="301061" y="139621"/>
                  </a:lnTo>
                  <a:cubicBezTo>
                    <a:pt x="308169" y="139995"/>
                    <a:pt x="313593" y="145878"/>
                    <a:pt x="313593" y="152788"/>
                  </a:cubicBezTo>
                  <a:lnTo>
                    <a:pt x="313593" y="153442"/>
                  </a:lnTo>
                  <a:lnTo>
                    <a:pt x="312751" y="173892"/>
                  </a:lnTo>
                  <a:cubicBezTo>
                    <a:pt x="312377" y="181083"/>
                    <a:pt x="306298" y="186779"/>
                    <a:pt x="298910" y="186405"/>
                  </a:cubicBezTo>
                  <a:lnTo>
                    <a:pt x="279456" y="185565"/>
                  </a:lnTo>
                  <a:cubicBezTo>
                    <a:pt x="275622" y="202093"/>
                    <a:pt x="268327" y="218061"/>
                    <a:pt x="257758" y="232162"/>
                  </a:cubicBezTo>
                  <a:lnTo>
                    <a:pt x="270852" y="246449"/>
                  </a:lnTo>
                  <a:cubicBezTo>
                    <a:pt x="273190" y="249064"/>
                    <a:pt x="274312" y="252145"/>
                    <a:pt x="274312" y="255414"/>
                  </a:cubicBezTo>
                  <a:cubicBezTo>
                    <a:pt x="274312" y="258869"/>
                    <a:pt x="273003" y="262511"/>
                    <a:pt x="270104" y="265126"/>
                  </a:cubicBezTo>
                  <a:lnTo>
                    <a:pt x="255046" y="278946"/>
                  </a:lnTo>
                  <a:cubicBezTo>
                    <a:pt x="249621" y="283802"/>
                    <a:pt x="241297" y="283428"/>
                    <a:pt x="236340" y="278106"/>
                  </a:cubicBezTo>
                  <a:lnTo>
                    <a:pt x="223247" y="263724"/>
                  </a:lnTo>
                  <a:cubicBezTo>
                    <a:pt x="208282" y="272970"/>
                    <a:pt x="191635" y="278853"/>
                    <a:pt x="174800" y="281187"/>
                  </a:cubicBezTo>
                  <a:lnTo>
                    <a:pt x="173958" y="300610"/>
                  </a:lnTo>
                  <a:cubicBezTo>
                    <a:pt x="173584" y="307801"/>
                    <a:pt x="167505" y="313590"/>
                    <a:pt x="160117" y="313217"/>
                  </a:cubicBezTo>
                  <a:lnTo>
                    <a:pt x="139634" y="312283"/>
                  </a:lnTo>
                  <a:cubicBezTo>
                    <a:pt x="132526" y="311909"/>
                    <a:pt x="127102" y="306120"/>
                    <a:pt x="127102" y="299116"/>
                  </a:cubicBezTo>
                  <a:lnTo>
                    <a:pt x="127102" y="298463"/>
                  </a:lnTo>
                  <a:lnTo>
                    <a:pt x="128037" y="279039"/>
                  </a:lnTo>
                  <a:cubicBezTo>
                    <a:pt x="111577" y="275211"/>
                    <a:pt x="95771" y="267834"/>
                    <a:pt x="81648" y="257281"/>
                  </a:cubicBezTo>
                  <a:lnTo>
                    <a:pt x="67058" y="270635"/>
                  </a:lnTo>
                  <a:cubicBezTo>
                    <a:pt x="61727" y="275491"/>
                    <a:pt x="53403" y="275117"/>
                    <a:pt x="48353" y="269701"/>
                  </a:cubicBezTo>
                  <a:lnTo>
                    <a:pt x="34511" y="254667"/>
                  </a:lnTo>
                  <a:cubicBezTo>
                    <a:pt x="32173" y="252052"/>
                    <a:pt x="31051" y="248970"/>
                    <a:pt x="31051" y="245702"/>
                  </a:cubicBezTo>
                  <a:cubicBezTo>
                    <a:pt x="31051" y="242247"/>
                    <a:pt x="32453" y="238605"/>
                    <a:pt x="35259" y="235990"/>
                  </a:cubicBezTo>
                  <a:lnTo>
                    <a:pt x="50036" y="222544"/>
                  </a:lnTo>
                  <a:cubicBezTo>
                    <a:pt x="40777" y="207696"/>
                    <a:pt x="35072" y="191261"/>
                    <a:pt x="32640" y="174639"/>
                  </a:cubicBezTo>
                  <a:lnTo>
                    <a:pt x="12626" y="173705"/>
                  </a:lnTo>
                  <a:cubicBezTo>
                    <a:pt x="5518" y="173332"/>
                    <a:pt x="0" y="167542"/>
                    <a:pt x="0" y="160539"/>
                  </a:cubicBezTo>
                  <a:lnTo>
                    <a:pt x="0" y="159885"/>
                  </a:lnTo>
                  <a:lnTo>
                    <a:pt x="842" y="139621"/>
                  </a:lnTo>
                  <a:cubicBezTo>
                    <a:pt x="1216" y="132431"/>
                    <a:pt x="7388" y="126642"/>
                    <a:pt x="14683" y="127015"/>
                  </a:cubicBezTo>
                  <a:lnTo>
                    <a:pt x="34885" y="127949"/>
                  </a:lnTo>
                  <a:cubicBezTo>
                    <a:pt x="38813" y="111514"/>
                    <a:pt x="46015" y="95826"/>
                    <a:pt x="56490" y="81819"/>
                  </a:cubicBezTo>
                  <a:lnTo>
                    <a:pt x="42741" y="66878"/>
                  </a:lnTo>
                  <a:cubicBezTo>
                    <a:pt x="40403" y="64263"/>
                    <a:pt x="39281" y="61182"/>
                    <a:pt x="39281" y="57913"/>
                  </a:cubicBezTo>
                  <a:cubicBezTo>
                    <a:pt x="39281" y="54458"/>
                    <a:pt x="40684" y="50816"/>
                    <a:pt x="43490" y="48202"/>
                  </a:cubicBezTo>
                  <a:lnTo>
                    <a:pt x="58641" y="34381"/>
                  </a:lnTo>
                  <a:cubicBezTo>
                    <a:pt x="63972" y="29526"/>
                    <a:pt x="72296" y="29899"/>
                    <a:pt x="77346" y="35315"/>
                  </a:cubicBezTo>
                  <a:lnTo>
                    <a:pt x="90627" y="50256"/>
                  </a:lnTo>
                  <a:cubicBezTo>
                    <a:pt x="105591" y="41011"/>
                    <a:pt x="121864" y="35128"/>
                    <a:pt x="138512" y="32794"/>
                  </a:cubicBezTo>
                  <a:lnTo>
                    <a:pt x="139447" y="12624"/>
                  </a:lnTo>
                  <a:cubicBezTo>
                    <a:pt x="139821" y="5433"/>
                    <a:pt x="145901" y="-356"/>
                    <a:pt x="153289" y="17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1" name="îṣḻïḓè">
              <a:extLst>
                <a:ext uri="{FF2B5EF4-FFF2-40B4-BE49-F238E27FC236}">
                  <a16:creationId xmlns:a16="http://schemas.microsoft.com/office/drawing/2014/main" id="{30C8A656-A69C-4844-9B4C-38593487F7D6}"/>
                </a:ext>
              </a:extLst>
            </p:cNvPr>
            <p:cNvSpPr/>
            <p:nvPr/>
          </p:nvSpPr>
          <p:spPr bwMode="auto">
            <a:xfrm>
              <a:off x="3563916" y="3658051"/>
              <a:ext cx="377806" cy="377072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81741" h="580612">
                  <a:moveTo>
                    <a:pt x="291612" y="187916"/>
                  </a:moveTo>
                  <a:cubicBezTo>
                    <a:pt x="304876" y="187916"/>
                    <a:pt x="315648" y="198758"/>
                    <a:pt x="315648" y="212088"/>
                  </a:cubicBezTo>
                  <a:lnTo>
                    <a:pt x="315648" y="491836"/>
                  </a:lnTo>
                  <a:lnTo>
                    <a:pt x="331227" y="473974"/>
                  </a:lnTo>
                  <a:cubicBezTo>
                    <a:pt x="339863" y="463932"/>
                    <a:pt x="355086" y="462866"/>
                    <a:pt x="365145" y="471574"/>
                  </a:cubicBezTo>
                  <a:cubicBezTo>
                    <a:pt x="375116" y="480372"/>
                    <a:pt x="376184" y="495657"/>
                    <a:pt x="367460" y="505699"/>
                  </a:cubicBezTo>
                  <a:lnTo>
                    <a:pt x="309773" y="572348"/>
                  </a:lnTo>
                  <a:cubicBezTo>
                    <a:pt x="305143" y="577502"/>
                    <a:pt x="298556" y="580612"/>
                    <a:pt x="291612" y="580612"/>
                  </a:cubicBezTo>
                  <a:cubicBezTo>
                    <a:pt x="284579" y="580612"/>
                    <a:pt x="278080" y="577680"/>
                    <a:pt x="273451" y="572348"/>
                  </a:cubicBezTo>
                  <a:lnTo>
                    <a:pt x="215764" y="505699"/>
                  </a:lnTo>
                  <a:cubicBezTo>
                    <a:pt x="207039" y="495657"/>
                    <a:pt x="208108" y="480372"/>
                    <a:pt x="218078" y="471574"/>
                  </a:cubicBezTo>
                  <a:cubicBezTo>
                    <a:pt x="228049" y="462866"/>
                    <a:pt x="243272" y="463932"/>
                    <a:pt x="252085" y="473974"/>
                  </a:cubicBezTo>
                  <a:lnTo>
                    <a:pt x="267486" y="491747"/>
                  </a:lnTo>
                  <a:lnTo>
                    <a:pt x="267486" y="212088"/>
                  </a:lnTo>
                  <a:cubicBezTo>
                    <a:pt x="267486" y="198758"/>
                    <a:pt x="278258" y="187916"/>
                    <a:pt x="291612" y="187916"/>
                  </a:cubicBezTo>
                  <a:close/>
                  <a:moveTo>
                    <a:pt x="329499" y="0"/>
                  </a:moveTo>
                  <a:cubicBezTo>
                    <a:pt x="426248" y="0"/>
                    <a:pt x="465322" y="80426"/>
                    <a:pt x="473332" y="108153"/>
                  </a:cubicBezTo>
                  <a:cubicBezTo>
                    <a:pt x="535280" y="120684"/>
                    <a:pt x="581474" y="175693"/>
                    <a:pt x="581741" y="241190"/>
                  </a:cubicBezTo>
                  <a:cubicBezTo>
                    <a:pt x="581741" y="315840"/>
                    <a:pt x="521306" y="376537"/>
                    <a:pt x="446987" y="376537"/>
                  </a:cubicBezTo>
                  <a:lnTo>
                    <a:pt x="372756" y="376537"/>
                  </a:lnTo>
                  <a:cubicBezTo>
                    <a:pt x="359316" y="376537"/>
                    <a:pt x="348546" y="365606"/>
                    <a:pt x="348546" y="352276"/>
                  </a:cubicBezTo>
                  <a:cubicBezTo>
                    <a:pt x="348546" y="338857"/>
                    <a:pt x="359316" y="327926"/>
                    <a:pt x="372756" y="327926"/>
                  </a:cubicBezTo>
                  <a:lnTo>
                    <a:pt x="446987" y="327926"/>
                  </a:lnTo>
                  <a:cubicBezTo>
                    <a:pt x="494605" y="327926"/>
                    <a:pt x="533322" y="289090"/>
                    <a:pt x="533322" y="241190"/>
                  </a:cubicBezTo>
                  <a:cubicBezTo>
                    <a:pt x="533322" y="195334"/>
                    <a:pt x="497720" y="157298"/>
                    <a:pt x="452238" y="154632"/>
                  </a:cubicBezTo>
                  <a:cubicBezTo>
                    <a:pt x="440934" y="153921"/>
                    <a:pt x="431589" y="145478"/>
                    <a:pt x="429809" y="134192"/>
                  </a:cubicBezTo>
                  <a:cubicBezTo>
                    <a:pt x="421709" y="84692"/>
                    <a:pt x="379609" y="48789"/>
                    <a:pt x="329677" y="48789"/>
                  </a:cubicBezTo>
                  <a:cubicBezTo>
                    <a:pt x="279567" y="48789"/>
                    <a:pt x="238001" y="84781"/>
                    <a:pt x="229457" y="134192"/>
                  </a:cubicBezTo>
                  <a:cubicBezTo>
                    <a:pt x="226520" y="151521"/>
                    <a:pt x="212190" y="162807"/>
                    <a:pt x="192964" y="151077"/>
                  </a:cubicBezTo>
                  <a:cubicBezTo>
                    <a:pt x="178011" y="141834"/>
                    <a:pt x="160922" y="136947"/>
                    <a:pt x="143299" y="136947"/>
                  </a:cubicBezTo>
                  <a:cubicBezTo>
                    <a:pt x="90964" y="136947"/>
                    <a:pt x="48419" y="179693"/>
                    <a:pt x="48419" y="232303"/>
                  </a:cubicBezTo>
                  <a:cubicBezTo>
                    <a:pt x="48419" y="284913"/>
                    <a:pt x="90964" y="327748"/>
                    <a:pt x="143299" y="327748"/>
                  </a:cubicBezTo>
                  <a:lnTo>
                    <a:pt x="218776" y="327748"/>
                  </a:lnTo>
                  <a:cubicBezTo>
                    <a:pt x="232216" y="327748"/>
                    <a:pt x="242986" y="338590"/>
                    <a:pt x="242986" y="352009"/>
                  </a:cubicBezTo>
                  <a:cubicBezTo>
                    <a:pt x="242986" y="365429"/>
                    <a:pt x="232216" y="376271"/>
                    <a:pt x="218776" y="376271"/>
                  </a:cubicBezTo>
                  <a:lnTo>
                    <a:pt x="143299" y="376271"/>
                  </a:lnTo>
                  <a:cubicBezTo>
                    <a:pt x="64262" y="376271"/>
                    <a:pt x="0" y="311574"/>
                    <a:pt x="0" y="232214"/>
                  </a:cubicBezTo>
                  <a:cubicBezTo>
                    <a:pt x="0" y="152854"/>
                    <a:pt x="64262" y="88158"/>
                    <a:pt x="143210" y="88158"/>
                  </a:cubicBezTo>
                  <a:cubicBezTo>
                    <a:pt x="159231" y="88158"/>
                    <a:pt x="174896" y="90735"/>
                    <a:pt x="189849" y="95978"/>
                  </a:cubicBezTo>
                  <a:cubicBezTo>
                    <a:pt x="198749" y="73050"/>
                    <a:pt x="238891" y="0"/>
                    <a:pt x="32949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2" name="iş1iḑe">
              <a:extLst>
                <a:ext uri="{FF2B5EF4-FFF2-40B4-BE49-F238E27FC236}">
                  <a16:creationId xmlns:a16="http://schemas.microsoft.com/office/drawing/2014/main" id="{79D5FAF9-096B-4C61-A299-6A26A276E128}"/>
                </a:ext>
              </a:extLst>
            </p:cNvPr>
            <p:cNvSpPr/>
            <p:nvPr/>
          </p:nvSpPr>
          <p:spPr bwMode="auto">
            <a:xfrm>
              <a:off x="3025037" y="4301073"/>
              <a:ext cx="377806" cy="377236"/>
            </a:xfrm>
            <a:custGeom>
              <a:avLst/>
              <a:gdLst>
                <a:gd name="connsiteX0" fmla="*/ 303820 w 607639"/>
                <a:gd name="connsiteY0" fmla="*/ 278099 h 606722"/>
                <a:gd name="connsiteX1" fmla="*/ 329118 w 607639"/>
                <a:gd name="connsiteY1" fmla="*/ 303362 h 606722"/>
                <a:gd name="connsiteX2" fmla="*/ 303820 w 607639"/>
                <a:gd name="connsiteY2" fmla="*/ 328625 h 606722"/>
                <a:gd name="connsiteX3" fmla="*/ 278522 w 607639"/>
                <a:gd name="connsiteY3" fmla="*/ 303362 h 606722"/>
                <a:gd name="connsiteX4" fmla="*/ 303820 w 607639"/>
                <a:gd name="connsiteY4" fmla="*/ 278099 h 606722"/>
                <a:gd name="connsiteX5" fmla="*/ 303775 w 607639"/>
                <a:gd name="connsiteY5" fmla="*/ 252735 h 606722"/>
                <a:gd name="connsiteX6" fmla="*/ 253140 w 607639"/>
                <a:gd name="connsiteY6" fmla="*/ 303317 h 606722"/>
                <a:gd name="connsiteX7" fmla="*/ 303775 w 607639"/>
                <a:gd name="connsiteY7" fmla="*/ 353900 h 606722"/>
                <a:gd name="connsiteX8" fmla="*/ 354410 w 607639"/>
                <a:gd name="connsiteY8" fmla="*/ 303317 h 606722"/>
                <a:gd name="connsiteX9" fmla="*/ 303775 w 607639"/>
                <a:gd name="connsiteY9" fmla="*/ 252735 h 606722"/>
                <a:gd name="connsiteX10" fmla="*/ 303775 w 607639"/>
                <a:gd name="connsiteY10" fmla="*/ 202241 h 606722"/>
                <a:gd name="connsiteX11" fmla="*/ 405045 w 607639"/>
                <a:gd name="connsiteY11" fmla="*/ 303317 h 606722"/>
                <a:gd name="connsiteX12" fmla="*/ 303775 w 607639"/>
                <a:gd name="connsiteY12" fmla="*/ 404482 h 606722"/>
                <a:gd name="connsiteX13" fmla="*/ 202593 w 607639"/>
                <a:gd name="connsiteY13" fmla="*/ 303317 h 606722"/>
                <a:gd name="connsiteX14" fmla="*/ 303775 w 607639"/>
                <a:gd name="connsiteY14" fmla="*/ 202241 h 606722"/>
                <a:gd name="connsiteX15" fmla="*/ 303775 w 607639"/>
                <a:gd name="connsiteY15" fmla="*/ 151703 h 606722"/>
                <a:gd name="connsiteX16" fmla="*/ 151932 w 607639"/>
                <a:gd name="connsiteY16" fmla="*/ 303317 h 606722"/>
                <a:gd name="connsiteX17" fmla="*/ 303775 w 607639"/>
                <a:gd name="connsiteY17" fmla="*/ 455019 h 606722"/>
                <a:gd name="connsiteX18" fmla="*/ 455707 w 607639"/>
                <a:gd name="connsiteY18" fmla="*/ 303317 h 606722"/>
                <a:gd name="connsiteX19" fmla="*/ 303775 w 607639"/>
                <a:gd name="connsiteY19" fmla="*/ 151703 h 606722"/>
                <a:gd name="connsiteX20" fmla="*/ 253131 w 607639"/>
                <a:gd name="connsiteY20" fmla="*/ 0 h 606722"/>
                <a:gd name="connsiteX21" fmla="*/ 354419 w 607639"/>
                <a:gd name="connsiteY21" fmla="*/ 0 h 606722"/>
                <a:gd name="connsiteX22" fmla="*/ 379786 w 607639"/>
                <a:gd name="connsiteY22" fmla="*/ 25239 h 606722"/>
                <a:gd name="connsiteX23" fmla="*/ 379786 w 607639"/>
                <a:gd name="connsiteY23" fmla="*/ 62387 h 606722"/>
                <a:gd name="connsiteX24" fmla="*/ 420639 w 607639"/>
                <a:gd name="connsiteY24" fmla="*/ 79451 h 606722"/>
                <a:gd name="connsiteX25" fmla="*/ 446985 w 607639"/>
                <a:gd name="connsiteY25" fmla="*/ 53145 h 606722"/>
                <a:gd name="connsiteX26" fmla="*/ 482854 w 607639"/>
                <a:gd name="connsiteY26" fmla="*/ 53145 h 606722"/>
                <a:gd name="connsiteX27" fmla="*/ 554414 w 607639"/>
                <a:gd name="connsiteY27" fmla="*/ 124597 h 606722"/>
                <a:gd name="connsiteX28" fmla="*/ 554414 w 607639"/>
                <a:gd name="connsiteY28" fmla="*/ 160323 h 606722"/>
                <a:gd name="connsiteX29" fmla="*/ 528069 w 607639"/>
                <a:gd name="connsiteY29" fmla="*/ 186629 h 606722"/>
                <a:gd name="connsiteX30" fmla="*/ 545158 w 607639"/>
                <a:gd name="connsiteY30" fmla="*/ 227510 h 606722"/>
                <a:gd name="connsiteX31" fmla="*/ 582273 w 607639"/>
                <a:gd name="connsiteY31" fmla="*/ 227510 h 606722"/>
                <a:gd name="connsiteX32" fmla="*/ 607639 w 607639"/>
                <a:gd name="connsiteY32" fmla="*/ 252749 h 606722"/>
                <a:gd name="connsiteX33" fmla="*/ 607639 w 607639"/>
                <a:gd name="connsiteY33" fmla="*/ 353884 h 606722"/>
                <a:gd name="connsiteX34" fmla="*/ 582273 w 607639"/>
                <a:gd name="connsiteY34" fmla="*/ 379212 h 606722"/>
                <a:gd name="connsiteX35" fmla="*/ 545158 w 607639"/>
                <a:gd name="connsiteY35" fmla="*/ 379212 h 606722"/>
                <a:gd name="connsiteX36" fmla="*/ 528069 w 607639"/>
                <a:gd name="connsiteY36" fmla="*/ 420004 h 606722"/>
                <a:gd name="connsiteX37" fmla="*/ 554414 w 607639"/>
                <a:gd name="connsiteY37" fmla="*/ 446310 h 606722"/>
                <a:gd name="connsiteX38" fmla="*/ 554414 w 607639"/>
                <a:gd name="connsiteY38" fmla="*/ 482125 h 606722"/>
                <a:gd name="connsiteX39" fmla="*/ 482854 w 607639"/>
                <a:gd name="connsiteY39" fmla="*/ 553577 h 606722"/>
                <a:gd name="connsiteX40" fmla="*/ 446985 w 607639"/>
                <a:gd name="connsiteY40" fmla="*/ 553577 h 606722"/>
                <a:gd name="connsiteX41" fmla="*/ 420639 w 607639"/>
                <a:gd name="connsiteY41" fmla="*/ 527271 h 606722"/>
                <a:gd name="connsiteX42" fmla="*/ 379786 w 607639"/>
                <a:gd name="connsiteY42" fmla="*/ 544246 h 606722"/>
                <a:gd name="connsiteX43" fmla="*/ 379786 w 607639"/>
                <a:gd name="connsiteY43" fmla="*/ 581394 h 606722"/>
                <a:gd name="connsiteX44" fmla="*/ 354419 w 607639"/>
                <a:gd name="connsiteY44" fmla="*/ 606722 h 606722"/>
                <a:gd name="connsiteX45" fmla="*/ 253131 w 607639"/>
                <a:gd name="connsiteY45" fmla="*/ 606722 h 606722"/>
                <a:gd name="connsiteX46" fmla="*/ 227854 w 607639"/>
                <a:gd name="connsiteY46" fmla="*/ 581394 h 606722"/>
                <a:gd name="connsiteX47" fmla="*/ 227854 w 607639"/>
                <a:gd name="connsiteY47" fmla="*/ 544246 h 606722"/>
                <a:gd name="connsiteX48" fmla="*/ 186911 w 607639"/>
                <a:gd name="connsiteY48" fmla="*/ 527271 h 606722"/>
                <a:gd name="connsiteX49" fmla="*/ 160566 w 607639"/>
                <a:gd name="connsiteY49" fmla="*/ 553577 h 606722"/>
                <a:gd name="connsiteX50" fmla="*/ 124786 w 607639"/>
                <a:gd name="connsiteY50" fmla="*/ 553577 h 606722"/>
                <a:gd name="connsiteX51" fmla="*/ 53225 w 607639"/>
                <a:gd name="connsiteY51" fmla="*/ 482125 h 606722"/>
                <a:gd name="connsiteX52" fmla="*/ 53225 w 607639"/>
                <a:gd name="connsiteY52" fmla="*/ 446310 h 606722"/>
                <a:gd name="connsiteX53" fmla="*/ 79482 w 607639"/>
                <a:gd name="connsiteY53" fmla="*/ 420004 h 606722"/>
                <a:gd name="connsiteX54" fmla="*/ 62482 w 607639"/>
                <a:gd name="connsiteY54" fmla="*/ 379212 h 606722"/>
                <a:gd name="connsiteX55" fmla="*/ 25278 w 607639"/>
                <a:gd name="connsiteY55" fmla="*/ 379212 h 606722"/>
                <a:gd name="connsiteX56" fmla="*/ 0 w 607639"/>
                <a:gd name="connsiteY56" fmla="*/ 353884 h 606722"/>
                <a:gd name="connsiteX57" fmla="*/ 0 w 607639"/>
                <a:gd name="connsiteY57" fmla="*/ 252749 h 606722"/>
                <a:gd name="connsiteX58" fmla="*/ 25278 w 607639"/>
                <a:gd name="connsiteY58" fmla="*/ 227510 h 606722"/>
                <a:gd name="connsiteX59" fmla="*/ 62482 w 607639"/>
                <a:gd name="connsiteY59" fmla="*/ 227510 h 606722"/>
                <a:gd name="connsiteX60" fmla="*/ 79482 w 607639"/>
                <a:gd name="connsiteY60" fmla="*/ 186629 h 606722"/>
                <a:gd name="connsiteX61" fmla="*/ 53225 w 607639"/>
                <a:gd name="connsiteY61" fmla="*/ 160323 h 606722"/>
                <a:gd name="connsiteX62" fmla="*/ 53225 w 607639"/>
                <a:gd name="connsiteY62" fmla="*/ 124597 h 606722"/>
                <a:gd name="connsiteX63" fmla="*/ 124786 w 607639"/>
                <a:gd name="connsiteY63" fmla="*/ 53145 h 606722"/>
                <a:gd name="connsiteX64" fmla="*/ 160566 w 607639"/>
                <a:gd name="connsiteY64" fmla="*/ 53145 h 606722"/>
                <a:gd name="connsiteX65" fmla="*/ 186911 w 607639"/>
                <a:gd name="connsiteY65" fmla="*/ 79451 h 606722"/>
                <a:gd name="connsiteX66" fmla="*/ 227854 w 607639"/>
                <a:gd name="connsiteY66" fmla="*/ 62387 h 606722"/>
                <a:gd name="connsiteX67" fmla="*/ 227854 w 607639"/>
                <a:gd name="connsiteY67" fmla="*/ 25239 h 606722"/>
                <a:gd name="connsiteX68" fmla="*/ 253131 w 607639"/>
                <a:gd name="connsiteY68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607639" h="606722">
                  <a:moveTo>
                    <a:pt x="303820" y="278099"/>
                  </a:moveTo>
                  <a:cubicBezTo>
                    <a:pt x="317792" y="278099"/>
                    <a:pt x="329118" y="289410"/>
                    <a:pt x="329118" y="303362"/>
                  </a:cubicBezTo>
                  <a:cubicBezTo>
                    <a:pt x="329118" y="317314"/>
                    <a:pt x="317792" y="328625"/>
                    <a:pt x="303820" y="328625"/>
                  </a:cubicBezTo>
                  <a:cubicBezTo>
                    <a:pt x="289848" y="328625"/>
                    <a:pt x="278522" y="317314"/>
                    <a:pt x="278522" y="303362"/>
                  </a:cubicBezTo>
                  <a:cubicBezTo>
                    <a:pt x="278522" y="289410"/>
                    <a:pt x="289848" y="278099"/>
                    <a:pt x="303820" y="278099"/>
                  </a:cubicBezTo>
                  <a:close/>
                  <a:moveTo>
                    <a:pt x="303775" y="252735"/>
                  </a:moveTo>
                  <a:cubicBezTo>
                    <a:pt x="275921" y="252735"/>
                    <a:pt x="253140" y="275492"/>
                    <a:pt x="253140" y="303317"/>
                  </a:cubicBezTo>
                  <a:cubicBezTo>
                    <a:pt x="253140" y="331231"/>
                    <a:pt x="275921" y="353900"/>
                    <a:pt x="303775" y="353900"/>
                  </a:cubicBezTo>
                  <a:cubicBezTo>
                    <a:pt x="331718" y="353900"/>
                    <a:pt x="354410" y="331231"/>
                    <a:pt x="354410" y="303317"/>
                  </a:cubicBezTo>
                  <a:cubicBezTo>
                    <a:pt x="354410" y="275492"/>
                    <a:pt x="331718" y="252735"/>
                    <a:pt x="303775" y="252735"/>
                  </a:cubicBezTo>
                  <a:close/>
                  <a:moveTo>
                    <a:pt x="303775" y="202241"/>
                  </a:moveTo>
                  <a:cubicBezTo>
                    <a:pt x="359660" y="202241"/>
                    <a:pt x="405045" y="247579"/>
                    <a:pt x="405045" y="303317"/>
                  </a:cubicBezTo>
                  <a:cubicBezTo>
                    <a:pt x="405045" y="359144"/>
                    <a:pt x="359660" y="404482"/>
                    <a:pt x="303775" y="404482"/>
                  </a:cubicBezTo>
                  <a:cubicBezTo>
                    <a:pt x="247978" y="404482"/>
                    <a:pt x="202593" y="359144"/>
                    <a:pt x="202593" y="303317"/>
                  </a:cubicBezTo>
                  <a:cubicBezTo>
                    <a:pt x="202593" y="247579"/>
                    <a:pt x="247978" y="202241"/>
                    <a:pt x="303775" y="202241"/>
                  </a:cubicBezTo>
                  <a:close/>
                  <a:moveTo>
                    <a:pt x="303775" y="151703"/>
                  </a:moveTo>
                  <a:cubicBezTo>
                    <a:pt x="220021" y="151703"/>
                    <a:pt x="151932" y="219689"/>
                    <a:pt x="151932" y="303317"/>
                  </a:cubicBezTo>
                  <a:cubicBezTo>
                    <a:pt x="151932" y="387033"/>
                    <a:pt x="220021" y="455019"/>
                    <a:pt x="303775" y="455019"/>
                  </a:cubicBezTo>
                  <a:cubicBezTo>
                    <a:pt x="387618" y="455019"/>
                    <a:pt x="455707" y="387033"/>
                    <a:pt x="455707" y="303317"/>
                  </a:cubicBezTo>
                  <a:cubicBezTo>
                    <a:pt x="455707" y="219689"/>
                    <a:pt x="387618" y="151703"/>
                    <a:pt x="303775" y="151703"/>
                  </a:cubicBezTo>
                  <a:close/>
                  <a:moveTo>
                    <a:pt x="253131" y="0"/>
                  </a:moveTo>
                  <a:lnTo>
                    <a:pt x="354419" y="0"/>
                  </a:lnTo>
                  <a:cubicBezTo>
                    <a:pt x="368482" y="0"/>
                    <a:pt x="379786" y="11287"/>
                    <a:pt x="379786" y="25239"/>
                  </a:cubicBezTo>
                  <a:lnTo>
                    <a:pt x="379786" y="62387"/>
                  </a:lnTo>
                  <a:cubicBezTo>
                    <a:pt x="393849" y="66831"/>
                    <a:pt x="407555" y="72519"/>
                    <a:pt x="420639" y="79451"/>
                  </a:cubicBezTo>
                  <a:lnTo>
                    <a:pt x="446985" y="53145"/>
                  </a:lnTo>
                  <a:cubicBezTo>
                    <a:pt x="456953" y="43191"/>
                    <a:pt x="472974" y="43191"/>
                    <a:pt x="482854" y="53145"/>
                  </a:cubicBezTo>
                  <a:lnTo>
                    <a:pt x="554414" y="124597"/>
                  </a:lnTo>
                  <a:cubicBezTo>
                    <a:pt x="564294" y="134462"/>
                    <a:pt x="564294" y="150459"/>
                    <a:pt x="554414" y="160323"/>
                  </a:cubicBezTo>
                  <a:lnTo>
                    <a:pt x="528069" y="186629"/>
                  </a:lnTo>
                  <a:cubicBezTo>
                    <a:pt x="535011" y="199782"/>
                    <a:pt x="540707" y="213468"/>
                    <a:pt x="545158" y="227510"/>
                  </a:cubicBezTo>
                  <a:lnTo>
                    <a:pt x="582273" y="227510"/>
                  </a:lnTo>
                  <a:cubicBezTo>
                    <a:pt x="596336" y="227510"/>
                    <a:pt x="607639" y="238796"/>
                    <a:pt x="607639" y="252749"/>
                  </a:cubicBezTo>
                  <a:lnTo>
                    <a:pt x="607639" y="353884"/>
                  </a:lnTo>
                  <a:cubicBezTo>
                    <a:pt x="607639" y="367926"/>
                    <a:pt x="596247" y="379212"/>
                    <a:pt x="582273" y="379212"/>
                  </a:cubicBezTo>
                  <a:lnTo>
                    <a:pt x="545158" y="379212"/>
                  </a:lnTo>
                  <a:cubicBezTo>
                    <a:pt x="540707" y="393254"/>
                    <a:pt x="535011" y="406940"/>
                    <a:pt x="528069" y="420004"/>
                  </a:cubicBezTo>
                  <a:lnTo>
                    <a:pt x="554414" y="446310"/>
                  </a:lnTo>
                  <a:cubicBezTo>
                    <a:pt x="564294" y="456263"/>
                    <a:pt x="564294" y="472260"/>
                    <a:pt x="554414" y="482125"/>
                  </a:cubicBezTo>
                  <a:lnTo>
                    <a:pt x="482854" y="553577"/>
                  </a:lnTo>
                  <a:cubicBezTo>
                    <a:pt x="472974" y="563442"/>
                    <a:pt x="456953" y="563442"/>
                    <a:pt x="446985" y="553577"/>
                  </a:cubicBezTo>
                  <a:lnTo>
                    <a:pt x="420639" y="527271"/>
                  </a:lnTo>
                  <a:cubicBezTo>
                    <a:pt x="407555" y="534203"/>
                    <a:pt x="393849" y="539802"/>
                    <a:pt x="379786" y="544246"/>
                  </a:cubicBezTo>
                  <a:lnTo>
                    <a:pt x="379786" y="581394"/>
                  </a:lnTo>
                  <a:cubicBezTo>
                    <a:pt x="379786" y="595435"/>
                    <a:pt x="368393" y="606722"/>
                    <a:pt x="354419" y="606722"/>
                  </a:cubicBezTo>
                  <a:lnTo>
                    <a:pt x="253131" y="606722"/>
                  </a:lnTo>
                  <a:cubicBezTo>
                    <a:pt x="239157" y="606722"/>
                    <a:pt x="227854" y="595435"/>
                    <a:pt x="227854" y="581394"/>
                  </a:cubicBezTo>
                  <a:lnTo>
                    <a:pt x="227854" y="544246"/>
                  </a:lnTo>
                  <a:cubicBezTo>
                    <a:pt x="213791" y="539802"/>
                    <a:pt x="200084" y="534203"/>
                    <a:pt x="186911" y="527271"/>
                  </a:cubicBezTo>
                  <a:lnTo>
                    <a:pt x="160566" y="553577"/>
                  </a:lnTo>
                  <a:cubicBezTo>
                    <a:pt x="150686" y="563442"/>
                    <a:pt x="134665" y="563442"/>
                    <a:pt x="124786" y="553577"/>
                  </a:cubicBezTo>
                  <a:lnTo>
                    <a:pt x="53225" y="482125"/>
                  </a:lnTo>
                  <a:cubicBezTo>
                    <a:pt x="43257" y="472260"/>
                    <a:pt x="43257" y="456263"/>
                    <a:pt x="53225" y="446310"/>
                  </a:cubicBezTo>
                  <a:lnTo>
                    <a:pt x="79482" y="420004"/>
                  </a:lnTo>
                  <a:cubicBezTo>
                    <a:pt x="72629" y="406940"/>
                    <a:pt x="66932" y="393254"/>
                    <a:pt x="62482" y="379212"/>
                  </a:cubicBezTo>
                  <a:lnTo>
                    <a:pt x="25278" y="379212"/>
                  </a:lnTo>
                  <a:cubicBezTo>
                    <a:pt x="11304" y="379212"/>
                    <a:pt x="0" y="367926"/>
                    <a:pt x="0" y="353884"/>
                  </a:cubicBezTo>
                  <a:lnTo>
                    <a:pt x="0" y="252749"/>
                  </a:lnTo>
                  <a:cubicBezTo>
                    <a:pt x="0" y="238796"/>
                    <a:pt x="11304" y="227510"/>
                    <a:pt x="25278" y="227510"/>
                  </a:cubicBezTo>
                  <a:lnTo>
                    <a:pt x="62482" y="227510"/>
                  </a:lnTo>
                  <a:cubicBezTo>
                    <a:pt x="66932" y="213468"/>
                    <a:pt x="72629" y="199782"/>
                    <a:pt x="79482" y="186629"/>
                  </a:cubicBezTo>
                  <a:lnTo>
                    <a:pt x="53225" y="160323"/>
                  </a:lnTo>
                  <a:cubicBezTo>
                    <a:pt x="43257" y="150459"/>
                    <a:pt x="43257" y="134462"/>
                    <a:pt x="53225" y="124597"/>
                  </a:cubicBezTo>
                  <a:lnTo>
                    <a:pt x="124786" y="53145"/>
                  </a:lnTo>
                  <a:cubicBezTo>
                    <a:pt x="134665" y="43191"/>
                    <a:pt x="150686" y="43191"/>
                    <a:pt x="160566" y="53145"/>
                  </a:cubicBezTo>
                  <a:lnTo>
                    <a:pt x="186911" y="79451"/>
                  </a:lnTo>
                  <a:cubicBezTo>
                    <a:pt x="200084" y="72519"/>
                    <a:pt x="213791" y="66831"/>
                    <a:pt x="227854" y="62387"/>
                  </a:cubicBezTo>
                  <a:lnTo>
                    <a:pt x="227854" y="25239"/>
                  </a:lnTo>
                  <a:cubicBezTo>
                    <a:pt x="227854" y="11287"/>
                    <a:pt x="239157" y="0"/>
                    <a:pt x="253131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3" name="ïṧľíďê">
              <a:extLst>
                <a:ext uri="{FF2B5EF4-FFF2-40B4-BE49-F238E27FC236}">
                  <a16:creationId xmlns:a16="http://schemas.microsoft.com/office/drawing/2014/main" id="{83AC56C8-BB22-4DB6-8372-AA84DFFA3A81}"/>
                </a:ext>
              </a:extLst>
            </p:cNvPr>
            <p:cNvSpPr/>
            <p:nvPr/>
          </p:nvSpPr>
          <p:spPr bwMode="auto">
            <a:xfrm>
              <a:off x="2498293" y="4944202"/>
              <a:ext cx="377806" cy="377188"/>
            </a:xfrm>
            <a:custGeom>
              <a:avLst/>
              <a:gdLst>
                <a:gd name="connsiteX0" fmla="*/ 380418 w 604181"/>
                <a:gd name="connsiteY0" fmla="*/ 268007 h 603193"/>
                <a:gd name="connsiteX1" fmla="*/ 519220 w 604181"/>
                <a:gd name="connsiteY1" fmla="*/ 339187 h 603193"/>
                <a:gd name="connsiteX2" fmla="*/ 519220 w 604181"/>
                <a:gd name="connsiteY2" fmla="*/ 355820 h 603193"/>
                <a:gd name="connsiteX3" fmla="*/ 380418 w 604181"/>
                <a:gd name="connsiteY3" fmla="*/ 426850 h 603193"/>
                <a:gd name="connsiteX4" fmla="*/ 380418 w 604181"/>
                <a:gd name="connsiteY4" fmla="*/ 406320 h 603193"/>
                <a:gd name="connsiteX5" fmla="*/ 498212 w 604181"/>
                <a:gd name="connsiteY5" fmla="*/ 347728 h 603193"/>
                <a:gd name="connsiteX6" fmla="*/ 498212 w 604181"/>
                <a:gd name="connsiteY6" fmla="*/ 347129 h 603193"/>
                <a:gd name="connsiteX7" fmla="*/ 380418 w 604181"/>
                <a:gd name="connsiteY7" fmla="*/ 288687 h 603193"/>
                <a:gd name="connsiteX8" fmla="*/ 216565 w 604181"/>
                <a:gd name="connsiteY8" fmla="*/ 268007 h 603193"/>
                <a:gd name="connsiteX9" fmla="*/ 216565 w 604181"/>
                <a:gd name="connsiteY9" fmla="*/ 288687 h 603193"/>
                <a:gd name="connsiteX10" fmla="*/ 99664 w 604181"/>
                <a:gd name="connsiteY10" fmla="*/ 347129 h 603193"/>
                <a:gd name="connsiteX11" fmla="*/ 99664 w 604181"/>
                <a:gd name="connsiteY11" fmla="*/ 347728 h 603193"/>
                <a:gd name="connsiteX12" fmla="*/ 216565 w 604181"/>
                <a:gd name="connsiteY12" fmla="*/ 406320 h 603193"/>
                <a:gd name="connsiteX13" fmla="*/ 216565 w 604181"/>
                <a:gd name="connsiteY13" fmla="*/ 426850 h 603193"/>
                <a:gd name="connsiteX14" fmla="*/ 77904 w 604181"/>
                <a:gd name="connsiteY14" fmla="*/ 355521 h 603193"/>
                <a:gd name="connsiteX15" fmla="*/ 77904 w 604181"/>
                <a:gd name="connsiteY15" fmla="*/ 339486 h 603193"/>
                <a:gd name="connsiteX16" fmla="*/ 338273 w 604181"/>
                <a:gd name="connsiteY16" fmla="*/ 222493 h 603193"/>
                <a:gd name="connsiteX17" fmla="*/ 358684 w 604181"/>
                <a:gd name="connsiteY17" fmla="*/ 222493 h 603193"/>
                <a:gd name="connsiteX18" fmla="*/ 253179 w 604181"/>
                <a:gd name="connsiteY18" fmla="*/ 482103 h 603193"/>
                <a:gd name="connsiteX19" fmla="*/ 233219 w 604181"/>
                <a:gd name="connsiteY19" fmla="*/ 482103 h 603193"/>
                <a:gd name="connsiteX20" fmla="*/ 28813 w 604181"/>
                <a:gd name="connsiteY20" fmla="*/ 128849 h 603193"/>
                <a:gd name="connsiteX21" fmla="*/ 28813 w 604181"/>
                <a:gd name="connsiteY21" fmla="*/ 557497 h 603193"/>
                <a:gd name="connsiteX22" fmla="*/ 45921 w 604181"/>
                <a:gd name="connsiteY22" fmla="*/ 574427 h 603193"/>
                <a:gd name="connsiteX23" fmla="*/ 558410 w 604181"/>
                <a:gd name="connsiteY23" fmla="*/ 574427 h 603193"/>
                <a:gd name="connsiteX24" fmla="*/ 575368 w 604181"/>
                <a:gd name="connsiteY24" fmla="*/ 557497 h 603193"/>
                <a:gd name="connsiteX25" fmla="*/ 575368 w 604181"/>
                <a:gd name="connsiteY25" fmla="*/ 128849 h 603193"/>
                <a:gd name="connsiteX26" fmla="*/ 502734 w 604181"/>
                <a:gd name="connsiteY26" fmla="*/ 43149 h 603193"/>
                <a:gd name="connsiteX27" fmla="*/ 502734 w 604181"/>
                <a:gd name="connsiteY27" fmla="*/ 77309 h 603193"/>
                <a:gd name="connsiteX28" fmla="*/ 537100 w 604181"/>
                <a:gd name="connsiteY28" fmla="*/ 77309 h 603193"/>
                <a:gd name="connsiteX29" fmla="*/ 537100 w 604181"/>
                <a:gd name="connsiteY29" fmla="*/ 43149 h 603193"/>
                <a:gd name="connsiteX30" fmla="*/ 423197 w 604181"/>
                <a:gd name="connsiteY30" fmla="*/ 43149 h 603193"/>
                <a:gd name="connsiteX31" fmla="*/ 423197 w 604181"/>
                <a:gd name="connsiteY31" fmla="*/ 77309 h 603193"/>
                <a:gd name="connsiteX32" fmla="*/ 457563 w 604181"/>
                <a:gd name="connsiteY32" fmla="*/ 77309 h 603193"/>
                <a:gd name="connsiteX33" fmla="*/ 457563 w 604181"/>
                <a:gd name="connsiteY33" fmla="*/ 43149 h 603193"/>
                <a:gd name="connsiteX34" fmla="*/ 45921 w 604181"/>
                <a:gd name="connsiteY34" fmla="*/ 0 h 603193"/>
                <a:gd name="connsiteX35" fmla="*/ 558410 w 604181"/>
                <a:gd name="connsiteY35" fmla="*/ 0 h 603193"/>
                <a:gd name="connsiteX36" fmla="*/ 604181 w 604181"/>
                <a:gd name="connsiteY36" fmla="*/ 45846 h 603193"/>
                <a:gd name="connsiteX37" fmla="*/ 604181 w 604181"/>
                <a:gd name="connsiteY37" fmla="*/ 557497 h 603193"/>
                <a:gd name="connsiteX38" fmla="*/ 558410 w 604181"/>
                <a:gd name="connsiteY38" fmla="*/ 603193 h 603193"/>
                <a:gd name="connsiteX39" fmla="*/ 45921 w 604181"/>
                <a:gd name="connsiteY39" fmla="*/ 603193 h 603193"/>
                <a:gd name="connsiteX40" fmla="*/ 0 w 604181"/>
                <a:gd name="connsiteY40" fmla="*/ 557497 h 603193"/>
                <a:gd name="connsiteX41" fmla="*/ 0 w 604181"/>
                <a:gd name="connsiteY41" fmla="*/ 45846 h 603193"/>
                <a:gd name="connsiteX42" fmla="*/ 45921 w 604181"/>
                <a:gd name="connsiteY42" fmla="*/ 0 h 603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04181" h="603193">
                  <a:moveTo>
                    <a:pt x="380418" y="268007"/>
                  </a:moveTo>
                  <a:lnTo>
                    <a:pt x="519220" y="339187"/>
                  </a:lnTo>
                  <a:lnTo>
                    <a:pt x="519220" y="355820"/>
                  </a:lnTo>
                  <a:lnTo>
                    <a:pt x="380418" y="426850"/>
                  </a:lnTo>
                  <a:lnTo>
                    <a:pt x="380418" y="406320"/>
                  </a:lnTo>
                  <a:lnTo>
                    <a:pt x="498212" y="347728"/>
                  </a:lnTo>
                  <a:lnTo>
                    <a:pt x="498212" y="347129"/>
                  </a:lnTo>
                  <a:lnTo>
                    <a:pt x="380418" y="288687"/>
                  </a:lnTo>
                  <a:close/>
                  <a:moveTo>
                    <a:pt x="216565" y="268007"/>
                  </a:moveTo>
                  <a:lnTo>
                    <a:pt x="216565" y="288687"/>
                  </a:lnTo>
                  <a:lnTo>
                    <a:pt x="99664" y="347129"/>
                  </a:lnTo>
                  <a:lnTo>
                    <a:pt x="99664" y="347728"/>
                  </a:lnTo>
                  <a:lnTo>
                    <a:pt x="216565" y="406320"/>
                  </a:lnTo>
                  <a:lnTo>
                    <a:pt x="216565" y="426850"/>
                  </a:lnTo>
                  <a:lnTo>
                    <a:pt x="77904" y="355521"/>
                  </a:lnTo>
                  <a:lnTo>
                    <a:pt x="77904" y="339486"/>
                  </a:lnTo>
                  <a:close/>
                  <a:moveTo>
                    <a:pt x="338273" y="222493"/>
                  </a:moveTo>
                  <a:lnTo>
                    <a:pt x="358684" y="222493"/>
                  </a:lnTo>
                  <a:lnTo>
                    <a:pt x="253179" y="482103"/>
                  </a:lnTo>
                  <a:lnTo>
                    <a:pt x="233219" y="482103"/>
                  </a:lnTo>
                  <a:close/>
                  <a:moveTo>
                    <a:pt x="28813" y="128849"/>
                  </a:moveTo>
                  <a:lnTo>
                    <a:pt x="28813" y="557497"/>
                  </a:lnTo>
                  <a:cubicBezTo>
                    <a:pt x="28813" y="566786"/>
                    <a:pt x="36467" y="574427"/>
                    <a:pt x="45921" y="574427"/>
                  </a:cubicBezTo>
                  <a:lnTo>
                    <a:pt x="558410" y="574427"/>
                  </a:lnTo>
                  <a:cubicBezTo>
                    <a:pt x="567714" y="574427"/>
                    <a:pt x="575368" y="566786"/>
                    <a:pt x="575368" y="557497"/>
                  </a:cubicBezTo>
                  <a:lnTo>
                    <a:pt x="575368" y="128849"/>
                  </a:lnTo>
                  <a:close/>
                  <a:moveTo>
                    <a:pt x="502734" y="43149"/>
                  </a:moveTo>
                  <a:lnTo>
                    <a:pt x="502734" y="77309"/>
                  </a:lnTo>
                  <a:lnTo>
                    <a:pt x="537100" y="77309"/>
                  </a:lnTo>
                  <a:lnTo>
                    <a:pt x="537100" y="43149"/>
                  </a:lnTo>
                  <a:close/>
                  <a:moveTo>
                    <a:pt x="423197" y="43149"/>
                  </a:moveTo>
                  <a:lnTo>
                    <a:pt x="423197" y="77309"/>
                  </a:lnTo>
                  <a:lnTo>
                    <a:pt x="457563" y="77309"/>
                  </a:lnTo>
                  <a:lnTo>
                    <a:pt x="457563" y="43149"/>
                  </a:lnTo>
                  <a:close/>
                  <a:moveTo>
                    <a:pt x="45921" y="0"/>
                  </a:moveTo>
                  <a:lnTo>
                    <a:pt x="558410" y="0"/>
                  </a:lnTo>
                  <a:cubicBezTo>
                    <a:pt x="583621" y="0"/>
                    <a:pt x="604181" y="20526"/>
                    <a:pt x="604181" y="45846"/>
                  </a:cubicBezTo>
                  <a:lnTo>
                    <a:pt x="604181" y="557497"/>
                  </a:lnTo>
                  <a:cubicBezTo>
                    <a:pt x="604181" y="582667"/>
                    <a:pt x="583621" y="603193"/>
                    <a:pt x="558410" y="603193"/>
                  </a:cubicBezTo>
                  <a:lnTo>
                    <a:pt x="45921" y="603193"/>
                  </a:lnTo>
                  <a:cubicBezTo>
                    <a:pt x="20560" y="603193"/>
                    <a:pt x="0" y="582667"/>
                    <a:pt x="0" y="557497"/>
                  </a:cubicBezTo>
                  <a:lnTo>
                    <a:pt x="0" y="45846"/>
                  </a:lnTo>
                  <a:cubicBezTo>
                    <a:pt x="0" y="20526"/>
                    <a:pt x="20560" y="0"/>
                    <a:pt x="45921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4" name="îṣḻîḍé">
              <a:extLst>
                <a:ext uri="{FF2B5EF4-FFF2-40B4-BE49-F238E27FC236}">
                  <a16:creationId xmlns:a16="http://schemas.microsoft.com/office/drawing/2014/main" id="{716A4AAF-66FE-4462-901E-658C29D84AD8}"/>
                </a:ext>
              </a:extLst>
            </p:cNvPr>
            <p:cNvSpPr/>
            <p:nvPr/>
          </p:nvSpPr>
          <p:spPr bwMode="auto">
            <a:xfrm>
              <a:off x="1959174" y="5587283"/>
              <a:ext cx="377806" cy="377235"/>
            </a:xfrm>
            <a:custGeom>
              <a:avLst/>
              <a:gdLst>
                <a:gd name="T0" fmla="*/ 6624 w 7154"/>
                <a:gd name="T1" fmla="*/ 2037 h 7154"/>
                <a:gd name="T2" fmla="*/ 6106 w 7154"/>
                <a:gd name="T3" fmla="*/ 1048 h 7154"/>
                <a:gd name="T4" fmla="*/ 5117 w 7154"/>
                <a:gd name="T5" fmla="*/ 530 h 7154"/>
                <a:gd name="T6" fmla="*/ 4643 w 7154"/>
                <a:gd name="T7" fmla="*/ 334 h 7154"/>
                <a:gd name="T8" fmla="*/ 3577 w 7154"/>
                <a:gd name="T9" fmla="*/ 0 h 7154"/>
                <a:gd name="T10" fmla="*/ 2511 w 7154"/>
                <a:gd name="T11" fmla="*/ 334 h 7154"/>
                <a:gd name="T12" fmla="*/ 2037 w 7154"/>
                <a:gd name="T13" fmla="*/ 530 h 7154"/>
                <a:gd name="T14" fmla="*/ 1048 w 7154"/>
                <a:gd name="T15" fmla="*/ 1048 h 7154"/>
                <a:gd name="T16" fmla="*/ 530 w 7154"/>
                <a:gd name="T17" fmla="*/ 2037 h 7154"/>
                <a:gd name="T18" fmla="*/ 334 w 7154"/>
                <a:gd name="T19" fmla="*/ 2511 h 7154"/>
                <a:gd name="T20" fmla="*/ 0 w 7154"/>
                <a:gd name="T21" fmla="*/ 3577 h 7154"/>
                <a:gd name="T22" fmla="*/ 334 w 7154"/>
                <a:gd name="T23" fmla="*/ 4643 h 7154"/>
                <a:gd name="T24" fmla="*/ 530 w 7154"/>
                <a:gd name="T25" fmla="*/ 5117 h 7154"/>
                <a:gd name="T26" fmla="*/ 1048 w 7154"/>
                <a:gd name="T27" fmla="*/ 6106 h 7154"/>
                <a:gd name="T28" fmla="*/ 2037 w 7154"/>
                <a:gd name="T29" fmla="*/ 6624 h 7154"/>
                <a:gd name="T30" fmla="*/ 2511 w 7154"/>
                <a:gd name="T31" fmla="*/ 6820 h 7154"/>
                <a:gd name="T32" fmla="*/ 3577 w 7154"/>
                <a:gd name="T33" fmla="*/ 7154 h 7154"/>
                <a:gd name="T34" fmla="*/ 4643 w 7154"/>
                <a:gd name="T35" fmla="*/ 6820 h 7154"/>
                <a:gd name="T36" fmla="*/ 5117 w 7154"/>
                <a:gd name="T37" fmla="*/ 6624 h 7154"/>
                <a:gd name="T38" fmla="*/ 6106 w 7154"/>
                <a:gd name="T39" fmla="*/ 6106 h 7154"/>
                <a:gd name="T40" fmla="*/ 6624 w 7154"/>
                <a:gd name="T41" fmla="*/ 5117 h 7154"/>
                <a:gd name="T42" fmla="*/ 6820 w 7154"/>
                <a:gd name="T43" fmla="*/ 4643 h 7154"/>
                <a:gd name="T44" fmla="*/ 7154 w 7154"/>
                <a:gd name="T45" fmla="*/ 3577 h 7154"/>
                <a:gd name="T46" fmla="*/ 6820 w 7154"/>
                <a:gd name="T47" fmla="*/ 2511 h 7154"/>
                <a:gd name="T48" fmla="*/ 6624 w 7154"/>
                <a:gd name="T49" fmla="*/ 2037 h 7154"/>
                <a:gd name="T50" fmla="*/ 5857 w 7154"/>
                <a:gd name="T51" fmla="*/ 2406 h 7154"/>
                <a:gd name="T52" fmla="*/ 3286 w 7154"/>
                <a:gd name="T53" fmla="*/ 4976 h 7154"/>
                <a:gd name="T54" fmla="*/ 2875 w 7154"/>
                <a:gd name="T55" fmla="*/ 5387 h 7154"/>
                <a:gd name="T56" fmla="*/ 2464 w 7154"/>
                <a:gd name="T57" fmla="*/ 5387 h 7154"/>
                <a:gd name="T58" fmla="*/ 2053 w 7154"/>
                <a:gd name="T59" fmla="*/ 4976 h 7154"/>
                <a:gd name="T60" fmla="*/ 1297 w 7154"/>
                <a:gd name="T61" fmla="*/ 4221 h 7154"/>
                <a:gd name="T62" fmla="*/ 1297 w 7154"/>
                <a:gd name="T63" fmla="*/ 3809 h 7154"/>
                <a:gd name="T64" fmla="*/ 1708 w 7154"/>
                <a:gd name="T65" fmla="*/ 3398 h 7154"/>
                <a:gd name="T66" fmla="*/ 2120 w 7154"/>
                <a:gd name="T67" fmla="*/ 3398 h 7154"/>
                <a:gd name="T68" fmla="*/ 2669 w 7154"/>
                <a:gd name="T69" fmla="*/ 3948 h 7154"/>
                <a:gd name="T70" fmla="*/ 5034 w 7154"/>
                <a:gd name="T71" fmla="*/ 1583 h 7154"/>
                <a:gd name="T72" fmla="*/ 5445 w 7154"/>
                <a:gd name="T73" fmla="*/ 1583 h 7154"/>
                <a:gd name="T74" fmla="*/ 5857 w 7154"/>
                <a:gd name="T75" fmla="*/ 1994 h 7154"/>
                <a:gd name="T76" fmla="*/ 5857 w 7154"/>
                <a:gd name="T77" fmla="*/ 2406 h 7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154" h="7154">
                  <a:moveTo>
                    <a:pt x="6624" y="2037"/>
                  </a:moveTo>
                  <a:cubicBezTo>
                    <a:pt x="6580" y="1703"/>
                    <a:pt x="6403" y="1345"/>
                    <a:pt x="6106" y="1048"/>
                  </a:cubicBezTo>
                  <a:cubicBezTo>
                    <a:pt x="5809" y="751"/>
                    <a:pt x="5451" y="574"/>
                    <a:pt x="5117" y="530"/>
                  </a:cubicBezTo>
                  <a:cubicBezTo>
                    <a:pt x="4966" y="510"/>
                    <a:pt x="4764" y="427"/>
                    <a:pt x="4643" y="334"/>
                  </a:cubicBezTo>
                  <a:cubicBezTo>
                    <a:pt x="4375" y="128"/>
                    <a:pt x="3997" y="0"/>
                    <a:pt x="3577" y="0"/>
                  </a:cubicBezTo>
                  <a:cubicBezTo>
                    <a:pt x="3157" y="0"/>
                    <a:pt x="2779" y="128"/>
                    <a:pt x="2511" y="334"/>
                  </a:cubicBezTo>
                  <a:cubicBezTo>
                    <a:pt x="2390" y="427"/>
                    <a:pt x="2188" y="510"/>
                    <a:pt x="2037" y="530"/>
                  </a:cubicBezTo>
                  <a:cubicBezTo>
                    <a:pt x="1702" y="574"/>
                    <a:pt x="1345" y="751"/>
                    <a:pt x="1048" y="1048"/>
                  </a:cubicBezTo>
                  <a:cubicBezTo>
                    <a:pt x="751" y="1345"/>
                    <a:pt x="574" y="1703"/>
                    <a:pt x="530" y="2037"/>
                  </a:cubicBezTo>
                  <a:cubicBezTo>
                    <a:pt x="510" y="2188"/>
                    <a:pt x="427" y="2390"/>
                    <a:pt x="334" y="2511"/>
                  </a:cubicBezTo>
                  <a:cubicBezTo>
                    <a:pt x="128" y="2779"/>
                    <a:pt x="0" y="3157"/>
                    <a:pt x="0" y="3577"/>
                  </a:cubicBezTo>
                  <a:cubicBezTo>
                    <a:pt x="0" y="3997"/>
                    <a:pt x="128" y="4375"/>
                    <a:pt x="334" y="4643"/>
                  </a:cubicBezTo>
                  <a:cubicBezTo>
                    <a:pt x="427" y="4764"/>
                    <a:pt x="510" y="4966"/>
                    <a:pt x="530" y="5117"/>
                  </a:cubicBezTo>
                  <a:cubicBezTo>
                    <a:pt x="574" y="5451"/>
                    <a:pt x="751" y="5809"/>
                    <a:pt x="1048" y="6106"/>
                  </a:cubicBezTo>
                  <a:cubicBezTo>
                    <a:pt x="1345" y="6403"/>
                    <a:pt x="1702" y="6580"/>
                    <a:pt x="2037" y="6624"/>
                  </a:cubicBezTo>
                  <a:cubicBezTo>
                    <a:pt x="2188" y="6644"/>
                    <a:pt x="2390" y="6727"/>
                    <a:pt x="2511" y="6820"/>
                  </a:cubicBezTo>
                  <a:cubicBezTo>
                    <a:pt x="2779" y="7025"/>
                    <a:pt x="3157" y="7154"/>
                    <a:pt x="3577" y="7154"/>
                  </a:cubicBezTo>
                  <a:cubicBezTo>
                    <a:pt x="3997" y="7154"/>
                    <a:pt x="4375" y="7025"/>
                    <a:pt x="4643" y="6820"/>
                  </a:cubicBezTo>
                  <a:cubicBezTo>
                    <a:pt x="4764" y="6727"/>
                    <a:pt x="4966" y="6644"/>
                    <a:pt x="5117" y="6624"/>
                  </a:cubicBezTo>
                  <a:cubicBezTo>
                    <a:pt x="5451" y="6580"/>
                    <a:pt x="5809" y="6403"/>
                    <a:pt x="6106" y="6106"/>
                  </a:cubicBezTo>
                  <a:cubicBezTo>
                    <a:pt x="6403" y="5809"/>
                    <a:pt x="6580" y="5451"/>
                    <a:pt x="6624" y="5117"/>
                  </a:cubicBezTo>
                  <a:cubicBezTo>
                    <a:pt x="6644" y="4966"/>
                    <a:pt x="6727" y="4764"/>
                    <a:pt x="6820" y="4643"/>
                  </a:cubicBezTo>
                  <a:cubicBezTo>
                    <a:pt x="7026" y="4375"/>
                    <a:pt x="7154" y="3997"/>
                    <a:pt x="7154" y="3577"/>
                  </a:cubicBezTo>
                  <a:cubicBezTo>
                    <a:pt x="7154" y="3157"/>
                    <a:pt x="7026" y="2779"/>
                    <a:pt x="6820" y="2511"/>
                  </a:cubicBezTo>
                  <a:cubicBezTo>
                    <a:pt x="6727" y="2390"/>
                    <a:pt x="6644" y="2188"/>
                    <a:pt x="6624" y="2037"/>
                  </a:cubicBezTo>
                  <a:close/>
                  <a:moveTo>
                    <a:pt x="5857" y="2406"/>
                  </a:moveTo>
                  <a:lnTo>
                    <a:pt x="3286" y="4976"/>
                  </a:lnTo>
                  <a:lnTo>
                    <a:pt x="2875" y="5387"/>
                  </a:lnTo>
                  <a:cubicBezTo>
                    <a:pt x="2762" y="5501"/>
                    <a:pt x="2577" y="5501"/>
                    <a:pt x="2464" y="5387"/>
                  </a:cubicBezTo>
                  <a:lnTo>
                    <a:pt x="2053" y="4976"/>
                  </a:lnTo>
                  <a:lnTo>
                    <a:pt x="1297" y="4221"/>
                  </a:lnTo>
                  <a:cubicBezTo>
                    <a:pt x="1183" y="4107"/>
                    <a:pt x="1183" y="3923"/>
                    <a:pt x="1297" y="3809"/>
                  </a:cubicBezTo>
                  <a:lnTo>
                    <a:pt x="1708" y="3398"/>
                  </a:lnTo>
                  <a:cubicBezTo>
                    <a:pt x="1822" y="3285"/>
                    <a:pt x="2006" y="3285"/>
                    <a:pt x="2120" y="3398"/>
                  </a:cubicBezTo>
                  <a:lnTo>
                    <a:pt x="2669" y="3948"/>
                  </a:lnTo>
                  <a:lnTo>
                    <a:pt x="5034" y="1583"/>
                  </a:lnTo>
                  <a:cubicBezTo>
                    <a:pt x="5148" y="1470"/>
                    <a:pt x="5332" y="1470"/>
                    <a:pt x="5445" y="1583"/>
                  </a:cubicBezTo>
                  <a:lnTo>
                    <a:pt x="5857" y="1994"/>
                  </a:lnTo>
                  <a:cubicBezTo>
                    <a:pt x="5970" y="2108"/>
                    <a:pt x="5970" y="2292"/>
                    <a:pt x="5857" y="2406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5" name="iṧḷiḑé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743264" y="4276135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按分布模式进行配置</a:t>
              </a:r>
              <a:endParaRPr lang="en-US" altLang="zh-CN" sz="1100" dirty="0"/>
            </a:p>
          </p:txBody>
        </p:sp>
        <p:sp>
          <p:nvSpPr>
            <p:cNvPr id="216" name="îṧḻiḑe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197100" y="4926511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>
                  <a:solidFill>
                    <a:schemeClr val="bg1"/>
                  </a:solidFill>
                </a:rPr>
                <a:t>运行第一个实例</a:t>
              </a: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17" name="îṣľïd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2651098" y="5576887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开心</a:t>
              </a:r>
              <a:r>
                <a:rPr lang="en-US" altLang="zh-CN" sz="1100" dirty="0" err="1"/>
                <a:t>ing</a:t>
              </a:r>
              <a:r>
                <a:rPr lang="en-US" altLang="zh-CN" sz="1100" dirty="0"/>
                <a:t>~</a:t>
              </a:r>
            </a:p>
          </p:txBody>
        </p:sp>
        <p:sp>
          <p:nvSpPr>
            <p:cNvPr id="218" name="íṧ1îd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289201" y="3625759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 解压</a:t>
              </a:r>
              <a:endParaRPr lang="en-US" altLang="zh-CN" sz="1100" dirty="0"/>
            </a:p>
          </p:txBody>
        </p:sp>
        <p:sp>
          <p:nvSpPr>
            <p:cNvPr id="219" name="îs1ïḋ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842020" y="2975382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配置环境变量 使之生效</a:t>
              </a:r>
              <a:endParaRPr lang="en-US" altLang="zh-CN" sz="1100" dirty="0"/>
            </a:p>
          </p:txBody>
        </p:sp>
        <p:sp>
          <p:nvSpPr>
            <p:cNvPr id="220" name="íšliḓ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5387990" y="2325006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</a:t>
              </a:r>
              <a:r>
                <a:rPr lang="en-US" altLang="zh-CN" sz="1100" dirty="0"/>
                <a:t> </a:t>
              </a:r>
              <a:r>
                <a:rPr lang="zh-CN" altLang="en-US" sz="1100" dirty="0"/>
                <a:t>解压</a:t>
              </a:r>
              <a:endParaRPr lang="en-US" altLang="zh-CN" sz="1100" dirty="0"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653777F-C200-4DD9-896D-DFE3FC5A0E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794" y="132609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4097" name="Picture 1" descr="L:\Water\Documents\Tencent Files\1106367305\Image\C2C\S_~PNJLRA$(`BM~E~CRVP@6.jpg">
            <a:extLst>
              <a:ext uri="{FF2B5EF4-FFF2-40B4-BE49-F238E27FC236}">
                <a16:creationId xmlns:a16="http://schemas.microsoft.com/office/drawing/2014/main" id="{870A9B0F-80D3-4BB8-9E6D-5163109C031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2"/>
          <a:stretch>
            <a:fillRect/>
          </a:stretch>
        </p:blipFill>
        <p:spPr bwMode="auto">
          <a:xfrm>
            <a:off x="1092994" y="1284288"/>
            <a:ext cx="6958012" cy="4695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104D7166-3B85-4412-9659-285206FA2824}"/>
              </a:ext>
            </a:extLst>
          </p:cNvPr>
          <p:cNvSpPr/>
          <p:nvPr/>
        </p:nvSpPr>
        <p:spPr>
          <a:xfrm>
            <a:off x="1092994" y="2552700"/>
            <a:ext cx="6958012" cy="3427411"/>
          </a:xfrm>
          <a:prstGeom prst="rect">
            <a:avLst/>
          </a:prstGeom>
          <a:solidFill>
            <a:srgbClr val="2D0A2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CB3EE618-32F8-4966-A35B-D1376D9131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045762" y="14732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279476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250">
        <p159:morph option="byObject"/>
      </p:transition>
    </mc:Choice>
    <mc:Fallback xmlns="">
      <p:transition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执行几个看看？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3</a:t>
            </a:fld>
            <a:endParaRPr lang="zh-CN" altLang="en-US"/>
          </a:p>
        </p:txBody>
      </p:sp>
      <p:grpSp>
        <p:nvGrpSpPr>
          <p:cNvPr id="194" name="180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4D56F3B-0686-4E9E-A675-DA7BF2C9F6C2}"/>
              </a:ext>
            </a:extLst>
          </p:cNvPr>
          <p:cNvGrpSpPr>
            <a:grpSpLocks noChangeAspect="1"/>
          </p:cNvGrpSpPr>
          <p:nvPr/>
        </p:nvGrpSpPr>
        <p:grpSpPr>
          <a:xfrm>
            <a:off x="1875381" y="-2460624"/>
            <a:ext cx="5393238" cy="2212975"/>
            <a:chOff x="938530" y="1805421"/>
            <a:chExt cx="10580370" cy="4341379"/>
          </a:xfrm>
        </p:grpSpPr>
        <p:sp>
          <p:nvSpPr>
            <p:cNvPr id="195" name="iṧḻîďè">
              <a:extLst>
                <a:ext uri="{FF2B5EF4-FFF2-40B4-BE49-F238E27FC236}">
                  <a16:creationId xmlns:a16="http://schemas.microsoft.com/office/drawing/2014/main" id="{6FC8272D-4563-47EB-B741-E738A21C2623}"/>
                </a:ext>
              </a:extLst>
            </p:cNvPr>
            <p:cNvSpPr/>
            <p:nvPr/>
          </p:nvSpPr>
          <p:spPr bwMode="auto">
            <a:xfrm>
              <a:off x="5637082" y="5226400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搞定！</a:t>
              </a:r>
              <a:endParaRPr lang="en-US" altLang="zh-CN" b="1" dirty="0"/>
            </a:p>
          </p:txBody>
        </p:sp>
        <p:sp>
          <p:nvSpPr>
            <p:cNvPr id="196" name="îŝḻiḋé">
              <a:extLst>
                <a:ext uri="{FF2B5EF4-FFF2-40B4-BE49-F238E27FC236}">
                  <a16:creationId xmlns:a16="http://schemas.microsoft.com/office/drawing/2014/main" id="{C05C75D7-4258-49B9-958F-F2EEF0B840E0}"/>
                </a:ext>
              </a:extLst>
            </p:cNvPr>
            <p:cNvSpPr/>
            <p:nvPr/>
          </p:nvSpPr>
          <p:spPr bwMode="auto">
            <a:xfrm>
              <a:off x="6176201" y="4576024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>
                  <a:solidFill>
                    <a:schemeClr val="bg1"/>
                  </a:solidFill>
                </a:rPr>
                <a:t>测试</a:t>
              </a:r>
              <a:endParaRPr lang="en-US" altLang="zh-CN" sz="1750" b="1" dirty="0">
                <a:solidFill>
                  <a:schemeClr val="bg1"/>
                </a:solidFill>
              </a:endParaRPr>
            </a:p>
          </p:txBody>
        </p:sp>
        <p:sp>
          <p:nvSpPr>
            <p:cNvPr id="197" name="íṥḷíďê">
              <a:extLst>
                <a:ext uri="{FF2B5EF4-FFF2-40B4-BE49-F238E27FC236}">
                  <a16:creationId xmlns:a16="http://schemas.microsoft.com/office/drawing/2014/main" id="{D4FCC7AE-5767-4EC4-BB68-B94457D3AE6D}"/>
                </a:ext>
              </a:extLst>
            </p:cNvPr>
            <p:cNvSpPr/>
            <p:nvPr/>
          </p:nvSpPr>
          <p:spPr bwMode="auto">
            <a:xfrm>
              <a:off x="6703850" y="3925648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/>
                <a:t>配置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8" name="ïś1ïḓè">
              <a:extLst>
                <a:ext uri="{FF2B5EF4-FFF2-40B4-BE49-F238E27FC236}">
                  <a16:creationId xmlns:a16="http://schemas.microsoft.com/office/drawing/2014/main" id="{F32E844B-E27C-4A92-9B60-95E4AD88D81F}"/>
                </a:ext>
              </a:extLst>
            </p:cNvPr>
            <p:cNvSpPr/>
            <p:nvPr/>
          </p:nvSpPr>
          <p:spPr bwMode="auto">
            <a:xfrm>
              <a:off x="7241823" y="3275272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 dirty="0"/>
                <a:t>安装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9" name="îśļïḍè">
              <a:extLst>
                <a:ext uri="{FF2B5EF4-FFF2-40B4-BE49-F238E27FC236}">
                  <a16:creationId xmlns:a16="http://schemas.microsoft.com/office/drawing/2014/main" id="{F812BB55-77DE-4E23-95E6-156A22FAD363}"/>
                </a:ext>
              </a:extLst>
            </p:cNvPr>
            <p:cNvSpPr/>
            <p:nvPr/>
          </p:nvSpPr>
          <p:spPr bwMode="auto">
            <a:xfrm>
              <a:off x="7743555" y="2624895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配置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0" name="ï$1íḍé">
              <a:extLst>
                <a:ext uri="{FF2B5EF4-FFF2-40B4-BE49-F238E27FC236}">
                  <a16:creationId xmlns:a16="http://schemas.microsoft.com/office/drawing/2014/main" id="{48245F16-84E7-4201-9485-85B5E5B15ECD}"/>
                </a:ext>
              </a:extLst>
            </p:cNvPr>
            <p:cNvSpPr/>
            <p:nvPr/>
          </p:nvSpPr>
          <p:spPr bwMode="auto">
            <a:xfrm>
              <a:off x="8263856" y="1974519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安装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1" name="îṥľïďê">
              <a:extLst>
                <a:ext uri="{FF2B5EF4-FFF2-40B4-BE49-F238E27FC236}">
                  <a16:creationId xmlns:a16="http://schemas.microsoft.com/office/drawing/2014/main" id="{920DFBAA-02E5-4206-86B0-FE10F93A7509}"/>
                </a:ext>
              </a:extLst>
            </p:cNvPr>
            <p:cNvSpPr/>
            <p:nvPr/>
          </p:nvSpPr>
          <p:spPr bwMode="auto">
            <a:xfrm>
              <a:off x="5220497" y="3438015"/>
              <a:ext cx="3741918" cy="1239562"/>
            </a:xfrm>
            <a:custGeom>
              <a:avLst/>
              <a:gdLst>
                <a:gd name="T0" fmla="*/ 179 w 203"/>
                <a:gd name="T1" fmla="*/ 82 h 82"/>
                <a:gd name="T2" fmla="*/ 203 w 203"/>
                <a:gd name="T3" fmla="*/ 29 h 82"/>
                <a:gd name="T4" fmla="*/ 65 w 203"/>
                <a:gd name="T5" fmla="*/ 27 h 82"/>
                <a:gd name="T6" fmla="*/ 59 w 203"/>
                <a:gd name="T7" fmla="*/ 0 h 82"/>
                <a:gd name="T8" fmla="*/ 59 w 203"/>
                <a:gd name="T9" fmla="*/ 0 h 82"/>
                <a:gd name="T10" fmla="*/ 0 w 203"/>
                <a:gd name="T11" fmla="*/ 80 h 82"/>
                <a:gd name="T12" fmla="*/ 61 w 203"/>
                <a:gd name="T13" fmla="*/ 82 h 82"/>
                <a:gd name="T14" fmla="*/ 179 w 203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82">
                  <a:moveTo>
                    <a:pt x="179" y="82"/>
                  </a:moveTo>
                  <a:lnTo>
                    <a:pt x="203" y="29"/>
                  </a:lnTo>
                  <a:lnTo>
                    <a:pt x="65" y="27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0" y="80"/>
                  </a:lnTo>
                  <a:lnTo>
                    <a:pt x="61" y="82"/>
                  </a:lnTo>
                  <a:lnTo>
                    <a:pt x="179" y="8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2" name="i$ḻíḋè">
              <a:extLst>
                <a:ext uri="{FF2B5EF4-FFF2-40B4-BE49-F238E27FC236}">
                  <a16:creationId xmlns:a16="http://schemas.microsoft.com/office/drawing/2014/main" id="{430BE7EB-B6F0-4F05-80EA-1F517165029F}"/>
                </a:ext>
              </a:extLst>
            </p:cNvPr>
            <p:cNvSpPr/>
            <p:nvPr/>
          </p:nvSpPr>
          <p:spPr bwMode="auto">
            <a:xfrm>
              <a:off x="8032938" y="1974519"/>
              <a:ext cx="1398307" cy="247664"/>
            </a:xfrm>
            <a:prstGeom prst="triangle">
              <a:avLst>
                <a:gd name="adj" fmla="val 14726"/>
              </a:avLst>
            </a:pr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3" name="işľiḋe">
              <a:extLst>
                <a:ext uri="{FF2B5EF4-FFF2-40B4-BE49-F238E27FC236}">
                  <a16:creationId xmlns:a16="http://schemas.microsoft.com/office/drawing/2014/main" id="{E4DECB97-43D1-4D26-8C48-41447675AE79}"/>
                </a:ext>
              </a:extLst>
            </p:cNvPr>
            <p:cNvSpPr/>
            <p:nvPr/>
          </p:nvSpPr>
          <p:spPr bwMode="auto">
            <a:xfrm>
              <a:off x="3675422" y="1805421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4" name="iś1íďé">
              <a:extLst>
                <a:ext uri="{FF2B5EF4-FFF2-40B4-BE49-F238E27FC236}">
                  <a16:creationId xmlns:a16="http://schemas.microsoft.com/office/drawing/2014/main" id="{6E7EA96A-F20A-4912-AC31-63A0F19E66DE}"/>
                </a:ext>
              </a:extLst>
            </p:cNvPr>
            <p:cNvSpPr/>
            <p:nvPr/>
          </p:nvSpPr>
          <p:spPr bwMode="auto">
            <a:xfrm>
              <a:off x="3129452" y="2455797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5" name="ïŝlíḋe">
              <a:extLst>
                <a:ext uri="{FF2B5EF4-FFF2-40B4-BE49-F238E27FC236}">
                  <a16:creationId xmlns:a16="http://schemas.microsoft.com/office/drawing/2014/main" id="{66D30D6F-26C9-4C2C-BC01-900AC07DC57E}"/>
                </a:ext>
              </a:extLst>
            </p:cNvPr>
            <p:cNvSpPr/>
            <p:nvPr/>
          </p:nvSpPr>
          <p:spPr bwMode="auto">
            <a:xfrm>
              <a:off x="2576633" y="3106174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6" name="îSliďè">
              <a:extLst>
                <a:ext uri="{FF2B5EF4-FFF2-40B4-BE49-F238E27FC236}">
                  <a16:creationId xmlns:a16="http://schemas.microsoft.com/office/drawing/2014/main" id="{2F6D5554-EACD-4DDD-892F-2E5F97A9C421}"/>
                </a:ext>
              </a:extLst>
            </p:cNvPr>
            <p:cNvSpPr/>
            <p:nvPr/>
          </p:nvSpPr>
          <p:spPr bwMode="auto">
            <a:xfrm>
              <a:off x="2030696" y="3756550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7" name="îSliďé">
              <a:extLst>
                <a:ext uri="{FF2B5EF4-FFF2-40B4-BE49-F238E27FC236}">
                  <a16:creationId xmlns:a16="http://schemas.microsoft.com/office/drawing/2014/main" id="{2E278F3F-C8D8-4E2A-A3EA-29ADCF1A02AA}"/>
                </a:ext>
              </a:extLst>
            </p:cNvPr>
            <p:cNvSpPr/>
            <p:nvPr/>
          </p:nvSpPr>
          <p:spPr bwMode="auto">
            <a:xfrm>
              <a:off x="1484532" y="4406926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8" name="îs1iďé">
              <a:extLst>
                <a:ext uri="{FF2B5EF4-FFF2-40B4-BE49-F238E27FC236}">
                  <a16:creationId xmlns:a16="http://schemas.microsoft.com/office/drawing/2014/main" id="{EB74D0C2-5677-4F3F-A043-44D01A3F3D48}"/>
                </a:ext>
              </a:extLst>
            </p:cNvPr>
            <p:cNvSpPr/>
            <p:nvPr/>
          </p:nvSpPr>
          <p:spPr bwMode="auto">
            <a:xfrm>
              <a:off x="938530" y="5057302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9" name="ïṣḻïḋe">
              <a:extLst>
                <a:ext uri="{FF2B5EF4-FFF2-40B4-BE49-F238E27FC236}">
                  <a16:creationId xmlns:a16="http://schemas.microsoft.com/office/drawing/2014/main" id="{7709F84E-C33F-462F-B538-51CB71C9284E}"/>
                </a:ext>
              </a:extLst>
            </p:cNvPr>
            <p:cNvSpPr/>
            <p:nvPr/>
          </p:nvSpPr>
          <p:spPr bwMode="auto">
            <a:xfrm>
              <a:off x="4585947" y="2371737"/>
              <a:ext cx="377807" cy="377281"/>
            </a:xfrm>
            <a:custGeom>
              <a:avLst/>
              <a:gdLst>
                <a:gd name="T0" fmla="*/ 400 w 11264"/>
                <a:gd name="T1" fmla="*/ 7099 h 11264"/>
                <a:gd name="T2" fmla="*/ 4165 w 11264"/>
                <a:gd name="T3" fmla="*/ 7099 h 11264"/>
                <a:gd name="T4" fmla="*/ 4165 w 11264"/>
                <a:gd name="T5" fmla="*/ 10864 h 11264"/>
                <a:gd name="T6" fmla="*/ 4565 w 11264"/>
                <a:gd name="T7" fmla="*/ 11264 h 11264"/>
                <a:gd name="T8" fmla="*/ 6699 w 11264"/>
                <a:gd name="T9" fmla="*/ 11264 h 11264"/>
                <a:gd name="T10" fmla="*/ 7099 w 11264"/>
                <a:gd name="T11" fmla="*/ 10864 h 11264"/>
                <a:gd name="T12" fmla="*/ 7099 w 11264"/>
                <a:gd name="T13" fmla="*/ 7099 h 11264"/>
                <a:gd name="T14" fmla="*/ 10864 w 11264"/>
                <a:gd name="T15" fmla="*/ 7099 h 11264"/>
                <a:gd name="T16" fmla="*/ 11264 w 11264"/>
                <a:gd name="T17" fmla="*/ 6699 h 11264"/>
                <a:gd name="T18" fmla="*/ 11264 w 11264"/>
                <a:gd name="T19" fmla="*/ 4565 h 11264"/>
                <a:gd name="T20" fmla="*/ 10864 w 11264"/>
                <a:gd name="T21" fmla="*/ 4165 h 11264"/>
                <a:gd name="T22" fmla="*/ 7099 w 11264"/>
                <a:gd name="T23" fmla="*/ 4165 h 11264"/>
                <a:gd name="T24" fmla="*/ 7099 w 11264"/>
                <a:gd name="T25" fmla="*/ 400 h 11264"/>
                <a:gd name="T26" fmla="*/ 6699 w 11264"/>
                <a:gd name="T27" fmla="*/ 0 h 11264"/>
                <a:gd name="T28" fmla="*/ 4565 w 11264"/>
                <a:gd name="T29" fmla="*/ 0 h 11264"/>
                <a:gd name="T30" fmla="*/ 4165 w 11264"/>
                <a:gd name="T31" fmla="*/ 400 h 11264"/>
                <a:gd name="T32" fmla="*/ 4165 w 11264"/>
                <a:gd name="T33" fmla="*/ 4165 h 11264"/>
                <a:gd name="T34" fmla="*/ 400 w 11264"/>
                <a:gd name="T35" fmla="*/ 4165 h 11264"/>
                <a:gd name="T36" fmla="*/ 0 w 11264"/>
                <a:gd name="T37" fmla="*/ 4565 h 11264"/>
                <a:gd name="T38" fmla="*/ 0 w 11264"/>
                <a:gd name="T39" fmla="*/ 6699 h 11264"/>
                <a:gd name="T40" fmla="*/ 400 w 11264"/>
                <a:gd name="T41" fmla="*/ 7099 h 1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64" h="11264">
                  <a:moveTo>
                    <a:pt x="400" y="7099"/>
                  </a:moveTo>
                  <a:lnTo>
                    <a:pt x="4165" y="7099"/>
                  </a:lnTo>
                  <a:lnTo>
                    <a:pt x="4165" y="10864"/>
                  </a:lnTo>
                  <a:cubicBezTo>
                    <a:pt x="4165" y="11085"/>
                    <a:pt x="4344" y="11264"/>
                    <a:pt x="4565" y="11264"/>
                  </a:cubicBezTo>
                  <a:lnTo>
                    <a:pt x="6699" y="11264"/>
                  </a:lnTo>
                  <a:cubicBezTo>
                    <a:pt x="6920" y="11264"/>
                    <a:pt x="7099" y="11085"/>
                    <a:pt x="7099" y="10864"/>
                  </a:cubicBezTo>
                  <a:lnTo>
                    <a:pt x="7099" y="7099"/>
                  </a:lnTo>
                  <a:lnTo>
                    <a:pt x="10864" y="7099"/>
                  </a:lnTo>
                  <a:cubicBezTo>
                    <a:pt x="11085" y="7099"/>
                    <a:pt x="11264" y="6920"/>
                    <a:pt x="11264" y="6699"/>
                  </a:cubicBezTo>
                  <a:lnTo>
                    <a:pt x="11264" y="4565"/>
                  </a:lnTo>
                  <a:cubicBezTo>
                    <a:pt x="11264" y="4344"/>
                    <a:pt x="11085" y="4165"/>
                    <a:pt x="10864" y="4165"/>
                  </a:cubicBezTo>
                  <a:lnTo>
                    <a:pt x="7099" y="4165"/>
                  </a:lnTo>
                  <a:lnTo>
                    <a:pt x="7099" y="400"/>
                  </a:lnTo>
                  <a:cubicBezTo>
                    <a:pt x="7099" y="179"/>
                    <a:pt x="6920" y="0"/>
                    <a:pt x="6699" y="0"/>
                  </a:cubicBezTo>
                  <a:lnTo>
                    <a:pt x="4565" y="0"/>
                  </a:lnTo>
                  <a:cubicBezTo>
                    <a:pt x="4344" y="0"/>
                    <a:pt x="4165" y="179"/>
                    <a:pt x="4165" y="400"/>
                  </a:cubicBezTo>
                  <a:lnTo>
                    <a:pt x="4165" y="4165"/>
                  </a:lnTo>
                  <a:lnTo>
                    <a:pt x="400" y="4165"/>
                  </a:lnTo>
                  <a:cubicBezTo>
                    <a:pt x="179" y="4165"/>
                    <a:pt x="0" y="4344"/>
                    <a:pt x="0" y="4565"/>
                  </a:cubicBezTo>
                  <a:lnTo>
                    <a:pt x="0" y="6699"/>
                  </a:lnTo>
                  <a:cubicBezTo>
                    <a:pt x="0" y="6920"/>
                    <a:pt x="179" y="7099"/>
                    <a:pt x="400" y="709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0" name="îsḷïde">
              <a:extLst>
                <a:ext uri="{FF2B5EF4-FFF2-40B4-BE49-F238E27FC236}">
                  <a16:creationId xmlns:a16="http://schemas.microsoft.com/office/drawing/2014/main" id="{F7027C89-1BCC-4A00-9535-016DE4C49FD7}"/>
                </a:ext>
              </a:extLst>
            </p:cNvPr>
            <p:cNvSpPr/>
            <p:nvPr/>
          </p:nvSpPr>
          <p:spPr bwMode="auto">
            <a:xfrm>
              <a:off x="4069565" y="3014578"/>
              <a:ext cx="369969" cy="377806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  <a:gd name="connsiteX107" fmla="*/ 373273 h 605239"/>
                <a:gd name="connsiteY107" fmla="*/ 373273 h 605239"/>
                <a:gd name="connsiteX108" fmla="*/ 373273 h 605239"/>
                <a:gd name="connsiteY108" fmla="*/ 373273 h 605239"/>
                <a:gd name="connsiteX109" fmla="*/ 373273 h 605239"/>
                <a:gd name="connsiteY109" fmla="*/ 373273 h 605239"/>
                <a:gd name="connsiteX110" fmla="*/ 373273 h 605239"/>
                <a:gd name="connsiteY110" fmla="*/ 373273 h 605239"/>
                <a:gd name="connsiteX111" fmla="*/ 373273 h 605239"/>
                <a:gd name="connsiteY111" fmla="*/ 373273 h 605239"/>
                <a:gd name="connsiteX112" fmla="*/ 373273 h 605239"/>
                <a:gd name="connsiteY112" fmla="*/ 373273 h 605239"/>
                <a:gd name="connsiteX113" fmla="*/ 373273 h 605239"/>
                <a:gd name="connsiteY113" fmla="*/ 373273 h 605239"/>
                <a:gd name="connsiteX114" fmla="*/ 373273 h 605239"/>
                <a:gd name="connsiteY114" fmla="*/ 373273 h 605239"/>
                <a:gd name="connsiteX115" fmla="*/ 373273 h 605239"/>
                <a:gd name="connsiteY115" fmla="*/ 373273 h 605239"/>
                <a:gd name="connsiteX116" fmla="*/ 373273 h 605239"/>
                <a:gd name="connsiteY116" fmla="*/ 373273 h 605239"/>
                <a:gd name="connsiteX117" fmla="*/ 373273 h 605239"/>
                <a:gd name="connsiteY117" fmla="*/ 373273 h 605239"/>
                <a:gd name="connsiteX118" fmla="*/ 373273 h 605239"/>
                <a:gd name="connsiteY118" fmla="*/ 373273 h 605239"/>
                <a:gd name="connsiteX119" fmla="*/ 373273 h 605239"/>
                <a:gd name="connsiteY119" fmla="*/ 373273 h 605239"/>
                <a:gd name="connsiteX120" fmla="*/ 373273 h 605239"/>
                <a:gd name="connsiteY120" fmla="*/ 373273 h 605239"/>
                <a:gd name="connsiteX121" fmla="*/ 373273 h 605239"/>
                <a:gd name="connsiteY121" fmla="*/ 373273 h 605239"/>
                <a:gd name="connsiteX122" fmla="*/ 373273 h 605239"/>
                <a:gd name="connsiteY122" fmla="*/ 373273 h 605239"/>
                <a:gd name="connsiteX123" fmla="*/ 373273 h 605239"/>
                <a:gd name="connsiteY123" fmla="*/ 373273 h 605239"/>
                <a:gd name="connsiteX124" fmla="*/ 373273 h 605239"/>
                <a:gd name="connsiteY124" fmla="*/ 373273 h 605239"/>
                <a:gd name="connsiteX125" fmla="*/ 373273 h 605239"/>
                <a:gd name="connsiteY125" fmla="*/ 373273 h 605239"/>
                <a:gd name="connsiteX126" fmla="*/ 373273 h 605239"/>
                <a:gd name="connsiteY126" fmla="*/ 373273 h 605239"/>
                <a:gd name="connsiteX127" fmla="*/ 373273 h 605239"/>
                <a:gd name="connsiteY127" fmla="*/ 373273 h 605239"/>
                <a:gd name="connsiteX128" fmla="*/ 373273 h 605239"/>
                <a:gd name="connsiteY128" fmla="*/ 373273 h 605239"/>
                <a:gd name="connsiteX129" fmla="*/ 373273 h 605239"/>
                <a:gd name="connsiteY12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593733" h="606309">
                  <a:moveTo>
                    <a:pt x="353250" y="302855"/>
                  </a:moveTo>
                  <a:cubicBezTo>
                    <a:pt x="318468" y="302855"/>
                    <a:pt x="290232" y="331146"/>
                    <a:pt x="290232" y="365879"/>
                  </a:cubicBezTo>
                  <a:cubicBezTo>
                    <a:pt x="290232" y="374189"/>
                    <a:pt x="296964" y="380912"/>
                    <a:pt x="305285" y="380912"/>
                  </a:cubicBezTo>
                  <a:cubicBezTo>
                    <a:pt x="313607" y="380912"/>
                    <a:pt x="320338" y="374189"/>
                    <a:pt x="320338" y="365879"/>
                  </a:cubicBezTo>
                  <a:cubicBezTo>
                    <a:pt x="320338" y="347672"/>
                    <a:pt x="335111" y="333014"/>
                    <a:pt x="353250" y="333014"/>
                  </a:cubicBezTo>
                  <a:cubicBezTo>
                    <a:pt x="361665" y="333014"/>
                    <a:pt x="368397" y="326291"/>
                    <a:pt x="368397" y="317888"/>
                  </a:cubicBezTo>
                  <a:cubicBezTo>
                    <a:pt x="368397" y="309578"/>
                    <a:pt x="361665" y="302855"/>
                    <a:pt x="353250" y="302855"/>
                  </a:cubicBezTo>
                  <a:close/>
                  <a:moveTo>
                    <a:pt x="353250" y="265041"/>
                  </a:moveTo>
                  <a:cubicBezTo>
                    <a:pt x="409163" y="265041"/>
                    <a:pt x="454229" y="310232"/>
                    <a:pt x="454229" y="365879"/>
                  </a:cubicBezTo>
                  <a:cubicBezTo>
                    <a:pt x="454229" y="421527"/>
                    <a:pt x="408976" y="466717"/>
                    <a:pt x="353250" y="466717"/>
                  </a:cubicBezTo>
                  <a:cubicBezTo>
                    <a:pt x="297525" y="466717"/>
                    <a:pt x="252271" y="421527"/>
                    <a:pt x="252271" y="365879"/>
                  </a:cubicBezTo>
                  <a:cubicBezTo>
                    <a:pt x="252271" y="310232"/>
                    <a:pt x="297431" y="265041"/>
                    <a:pt x="353250" y="265041"/>
                  </a:cubicBezTo>
                  <a:close/>
                  <a:moveTo>
                    <a:pt x="427779" y="133781"/>
                  </a:moveTo>
                  <a:cubicBezTo>
                    <a:pt x="432818" y="131960"/>
                    <a:pt x="438547" y="132054"/>
                    <a:pt x="443784" y="134482"/>
                  </a:cubicBezTo>
                  <a:lnTo>
                    <a:pt x="473245" y="148209"/>
                  </a:lnTo>
                  <a:cubicBezTo>
                    <a:pt x="483720" y="153158"/>
                    <a:pt x="488209" y="165671"/>
                    <a:pt x="483346" y="176130"/>
                  </a:cubicBezTo>
                  <a:lnTo>
                    <a:pt x="470252" y="203957"/>
                  </a:lnTo>
                  <a:cubicBezTo>
                    <a:pt x="492231" y="219646"/>
                    <a:pt x="511123" y="240003"/>
                    <a:pt x="525526" y="264095"/>
                  </a:cubicBezTo>
                  <a:lnTo>
                    <a:pt x="554426" y="253636"/>
                  </a:lnTo>
                  <a:cubicBezTo>
                    <a:pt x="565368" y="249714"/>
                    <a:pt x="577340" y="255411"/>
                    <a:pt x="581361" y="266243"/>
                  </a:cubicBezTo>
                  <a:lnTo>
                    <a:pt x="592491" y="296592"/>
                  </a:lnTo>
                  <a:cubicBezTo>
                    <a:pt x="596419" y="307612"/>
                    <a:pt x="590714" y="319564"/>
                    <a:pt x="579865" y="323486"/>
                  </a:cubicBezTo>
                  <a:lnTo>
                    <a:pt x="550965" y="333945"/>
                  </a:lnTo>
                  <a:cubicBezTo>
                    <a:pt x="555455" y="361586"/>
                    <a:pt x="553958" y="389414"/>
                    <a:pt x="547224" y="415561"/>
                  </a:cubicBezTo>
                  <a:lnTo>
                    <a:pt x="575095" y="428634"/>
                  </a:lnTo>
                  <a:cubicBezTo>
                    <a:pt x="585570" y="433490"/>
                    <a:pt x="590059" y="445910"/>
                    <a:pt x="585102" y="456649"/>
                  </a:cubicBezTo>
                  <a:lnTo>
                    <a:pt x="571354" y="485970"/>
                  </a:lnTo>
                  <a:cubicBezTo>
                    <a:pt x="566397" y="496429"/>
                    <a:pt x="553958" y="500911"/>
                    <a:pt x="543483" y="496056"/>
                  </a:cubicBezTo>
                  <a:lnTo>
                    <a:pt x="515238" y="482982"/>
                  </a:lnTo>
                  <a:cubicBezTo>
                    <a:pt x="499526" y="504833"/>
                    <a:pt x="479137" y="523510"/>
                    <a:pt x="455007" y="537704"/>
                  </a:cubicBezTo>
                  <a:lnTo>
                    <a:pt x="465763" y="567026"/>
                  </a:lnTo>
                  <a:cubicBezTo>
                    <a:pt x="469784" y="578045"/>
                    <a:pt x="463986" y="589997"/>
                    <a:pt x="453137" y="593919"/>
                  </a:cubicBezTo>
                  <a:lnTo>
                    <a:pt x="422741" y="605032"/>
                  </a:lnTo>
                  <a:cubicBezTo>
                    <a:pt x="411798" y="609047"/>
                    <a:pt x="399827" y="603258"/>
                    <a:pt x="395805" y="592425"/>
                  </a:cubicBezTo>
                  <a:lnTo>
                    <a:pt x="385050" y="562823"/>
                  </a:lnTo>
                  <a:cubicBezTo>
                    <a:pt x="357646" y="567212"/>
                    <a:pt x="330056" y="565718"/>
                    <a:pt x="304149" y="558995"/>
                  </a:cubicBezTo>
                  <a:lnTo>
                    <a:pt x="290682" y="587756"/>
                  </a:lnTo>
                  <a:cubicBezTo>
                    <a:pt x="285725" y="598215"/>
                    <a:pt x="273192" y="602697"/>
                    <a:pt x="262717" y="597841"/>
                  </a:cubicBezTo>
                  <a:lnTo>
                    <a:pt x="233350" y="584114"/>
                  </a:lnTo>
                  <a:cubicBezTo>
                    <a:pt x="222875" y="579165"/>
                    <a:pt x="218385" y="566652"/>
                    <a:pt x="223249" y="556193"/>
                  </a:cubicBezTo>
                  <a:lnTo>
                    <a:pt x="236810" y="527338"/>
                  </a:lnTo>
                  <a:cubicBezTo>
                    <a:pt x="215112" y="511650"/>
                    <a:pt x="196407" y="491480"/>
                    <a:pt x="182284" y="467668"/>
                  </a:cubicBezTo>
                  <a:lnTo>
                    <a:pt x="152169" y="478687"/>
                  </a:lnTo>
                  <a:cubicBezTo>
                    <a:pt x="141133" y="482609"/>
                    <a:pt x="129161" y="476912"/>
                    <a:pt x="125233" y="466080"/>
                  </a:cubicBezTo>
                  <a:lnTo>
                    <a:pt x="114104" y="435731"/>
                  </a:lnTo>
                  <a:cubicBezTo>
                    <a:pt x="110082" y="424712"/>
                    <a:pt x="115881" y="412759"/>
                    <a:pt x="126730" y="408837"/>
                  </a:cubicBezTo>
                  <a:lnTo>
                    <a:pt x="156845" y="397818"/>
                  </a:lnTo>
                  <a:cubicBezTo>
                    <a:pt x="153852" y="379422"/>
                    <a:pt x="153478" y="361026"/>
                    <a:pt x="155629" y="342910"/>
                  </a:cubicBezTo>
                  <a:lnTo>
                    <a:pt x="158622" y="343097"/>
                  </a:lnTo>
                  <a:cubicBezTo>
                    <a:pt x="181162" y="344030"/>
                    <a:pt x="200522" y="327408"/>
                    <a:pt x="203141" y="305370"/>
                  </a:cubicBezTo>
                  <a:cubicBezTo>
                    <a:pt x="207723" y="303876"/>
                    <a:pt x="212119" y="302195"/>
                    <a:pt x="216515" y="300515"/>
                  </a:cubicBezTo>
                  <a:cubicBezTo>
                    <a:pt x="220349" y="304063"/>
                    <a:pt x="224745" y="306958"/>
                    <a:pt x="229609" y="308919"/>
                  </a:cubicBezTo>
                  <a:cubicBezTo>
                    <a:pt x="219227" y="330957"/>
                    <a:pt x="214831" y="355983"/>
                    <a:pt x="217824" y="381943"/>
                  </a:cubicBezTo>
                  <a:cubicBezTo>
                    <a:pt x="226709" y="456462"/>
                    <a:pt x="294329" y="509876"/>
                    <a:pt x="368963" y="501192"/>
                  </a:cubicBezTo>
                  <a:cubicBezTo>
                    <a:pt x="443691" y="492320"/>
                    <a:pt x="497188" y="424899"/>
                    <a:pt x="488490" y="350287"/>
                  </a:cubicBezTo>
                  <a:cubicBezTo>
                    <a:pt x="479605" y="275675"/>
                    <a:pt x="411985" y="222260"/>
                    <a:pt x="337351" y="231038"/>
                  </a:cubicBezTo>
                  <a:cubicBezTo>
                    <a:pt x="324632" y="232532"/>
                    <a:pt x="312473" y="235707"/>
                    <a:pt x="301156" y="240376"/>
                  </a:cubicBezTo>
                  <a:cubicBezTo>
                    <a:pt x="299660" y="236268"/>
                    <a:pt x="297509" y="232345"/>
                    <a:pt x="294797" y="228890"/>
                  </a:cubicBezTo>
                  <a:cubicBezTo>
                    <a:pt x="297041" y="224688"/>
                    <a:pt x="299005" y="220393"/>
                    <a:pt x="300782" y="216097"/>
                  </a:cubicBezTo>
                  <a:cubicBezTo>
                    <a:pt x="311164" y="215817"/>
                    <a:pt x="320891" y="211802"/>
                    <a:pt x="328466" y="204891"/>
                  </a:cubicBezTo>
                  <a:cubicBezTo>
                    <a:pt x="336977" y="197141"/>
                    <a:pt x="341934" y="186589"/>
                    <a:pt x="342402" y="175103"/>
                  </a:cubicBezTo>
                  <a:lnTo>
                    <a:pt x="342776" y="166978"/>
                  </a:lnTo>
                  <a:cubicBezTo>
                    <a:pt x="363164" y="165764"/>
                    <a:pt x="383460" y="167912"/>
                    <a:pt x="402820" y="172768"/>
                  </a:cubicBezTo>
                  <a:lnTo>
                    <a:pt x="415913" y="144567"/>
                  </a:lnTo>
                  <a:cubicBezTo>
                    <a:pt x="418392" y="139338"/>
                    <a:pt x="422741" y="135602"/>
                    <a:pt x="427779" y="133781"/>
                  </a:cubicBezTo>
                  <a:close/>
                  <a:moveTo>
                    <a:pt x="159906" y="88589"/>
                  </a:moveTo>
                  <a:cubicBezTo>
                    <a:pt x="142487" y="87818"/>
                    <a:pt x="124764" y="93678"/>
                    <a:pt x="110828" y="106378"/>
                  </a:cubicBezTo>
                  <a:cubicBezTo>
                    <a:pt x="96145" y="119731"/>
                    <a:pt x="88663" y="138127"/>
                    <a:pt x="88663" y="156523"/>
                  </a:cubicBezTo>
                  <a:cubicBezTo>
                    <a:pt x="88663" y="172958"/>
                    <a:pt x="94555" y="189393"/>
                    <a:pt x="106526" y="202467"/>
                  </a:cubicBezTo>
                  <a:cubicBezTo>
                    <a:pt x="131965" y="230294"/>
                    <a:pt x="175081" y="232162"/>
                    <a:pt x="202764" y="206762"/>
                  </a:cubicBezTo>
                  <a:cubicBezTo>
                    <a:pt x="217448" y="193409"/>
                    <a:pt x="224930" y="175013"/>
                    <a:pt x="224930" y="156523"/>
                  </a:cubicBezTo>
                  <a:cubicBezTo>
                    <a:pt x="224930" y="140088"/>
                    <a:pt x="219132" y="123653"/>
                    <a:pt x="207160" y="110580"/>
                  </a:cubicBezTo>
                  <a:cubicBezTo>
                    <a:pt x="194441" y="96760"/>
                    <a:pt x="177325" y="89359"/>
                    <a:pt x="159906" y="88589"/>
                  </a:cubicBezTo>
                  <a:close/>
                  <a:moveTo>
                    <a:pt x="153289" y="17"/>
                  </a:moveTo>
                  <a:lnTo>
                    <a:pt x="173678" y="951"/>
                  </a:lnTo>
                  <a:cubicBezTo>
                    <a:pt x="180786" y="1325"/>
                    <a:pt x="186304" y="7114"/>
                    <a:pt x="186304" y="14118"/>
                  </a:cubicBezTo>
                  <a:lnTo>
                    <a:pt x="186304" y="14771"/>
                  </a:lnTo>
                  <a:lnTo>
                    <a:pt x="185462" y="34755"/>
                  </a:lnTo>
                  <a:cubicBezTo>
                    <a:pt x="201923" y="38677"/>
                    <a:pt x="217729" y="45774"/>
                    <a:pt x="231851" y="56232"/>
                  </a:cubicBezTo>
                  <a:lnTo>
                    <a:pt x="246535" y="42786"/>
                  </a:lnTo>
                  <a:cubicBezTo>
                    <a:pt x="251866" y="37930"/>
                    <a:pt x="260283" y="38303"/>
                    <a:pt x="265240" y="43626"/>
                  </a:cubicBezTo>
                  <a:lnTo>
                    <a:pt x="279082" y="58660"/>
                  </a:lnTo>
                  <a:cubicBezTo>
                    <a:pt x="281420" y="61275"/>
                    <a:pt x="282542" y="64450"/>
                    <a:pt x="282542" y="67625"/>
                  </a:cubicBezTo>
                  <a:cubicBezTo>
                    <a:pt x="282542" y="71173"/>
                    <a:pt x="281233" y="74722"/>
                    <a:pt x="278334" y="77337"/>
                  </a:cubicBezTo>
                  <a:lnTo>
                    <a:pt x="263744" y="90690"/>
                  </a:lnTo>
                  <a:cubicBezTo>
                    <a:pt x="273096" y="105537"/>
                    <a:pt x="278988" y="121973"/>
                    <a:pt x="281420" y="138781"/>
                  </a:cubicBezTo>
                  <a:lnTo>
                    <a:pt x="301061" y="139621"/>
                  </a:lnTo>
                  <a:cubicBezTo>
                    <a:pt x="308169" y="139995"/>
                    <a:pt x="313593" y="145878"/>
                    <a:pt x="313593" y="152788"/>
                  </a:cubicBezTo>
                  <a:lnTo>
                    <a:pt x="313593" y="153442"/>
                  </a:lnTo>
                  <a:lnTo>
                    <a:pt x="312751" y="173892"/>
                  </a:lnTo>
                  <a:cubicBezTo>
                    <a:pt x="312377" y="181083"/>
                    <a:pt x="306298" y="186779"/>
                    <a:pt x="298910" y="186405"/>
                  </a:cubicBezTo>
                  <a:lnTo>
                    <a:pt x="279456" y="185565"/>
                  </a:lnTo>
                  <a:cubicBezTo>
                    <a:pt x="275622" y="202093"/>
                    <a:pt x="268327" y="218061"/>
                    <a:pt x="257758" y="232162"/>
                  </a:cubicBezTo>
                  <a:lnTo>
                    <a:pt x="270852" y="246449"/>
                  </a:lnTo>
                  <a:cubicBezTo>
                    <a:pt x="273190" y="249064"/>
                    <a:pt x="274312" y="252145"/>
                    <a:pt x="274312" y="255414"/>
                  </a:cubicBezTo>
                  <a:cubicBezTo>
                    <a:pt x="274312" y="258869"/>
                    <a:pt x="273003" y="262511"/>
                    <a:pt x="270104" y="265126"/>
                  </a:cubicBezTo>
                  <a:lnTo>
                    <a:pt x="255046" y="278946"/>
                  </a:lnTo>
                  <a:cubicBezTo>
                    <a:pt x="249621" y="283802"/>
                    <a:pt x="241297" y="283428"/>
                    <a:pt x="236340" y="278106"/>
                  </a:cubicBezTo>
                  <a:lnTo>
                    <a:pt x="223247" y="263724"/>
                  </a:lnTo>
                  <a:cubicBezTo>
                    <a:pt x="208282" y="272970"/>
                    <a:pt x="191635" y="278853"/>
                    <a:pt x="174800" y="281187"/>
                  </a:cubicBezTo>
                  <a:lnTo>
                    <a:pt x="173958" y="300610"/>
                  </a:lnTo>
                  <a:cubicBezTo>
                    <a:pt x="173584" y="307801"/>
                    <a:pt x="167505" y="313590"/>
                    <a:pt x="160117" y="313217"/>
                  </a:cubicBezTo>
                  <a:lnTo>
                    <a:pt x="139634" y="312283"/>
                  </a:lnTo>
                  <a:cubicBezTo>
                    <a:pt x="132526" y="311909"/>
                    <a:pt x="127102" y="306120"/>
                    <a:pt x="127102" y="299116"/>
                  </a:cubicBezTo>
                  <a:lnTo>
                    <a:pt x="127102" y="298463"/>
                  </a:lnTo>
                  <a:lnTo>
                    <a:pt x="128037" y="279039"/>
                  </a:lnTo>
                  <a:cubicBezTo>
                    <a:pt x="111577" y="275211"/>
                    <a:pt x="95771" y="267834"/>
                    <a:pt x="81648" y="257281"/>
                  </a:cubicBezTo>
                  <a:lnTo>
                    <a:pt x="67058" y="270635"/>
                  </a:lnTo>
                  <a:cubicBezTo>
                    <a:pt x="61727" y="275491"/>
                    <a:pt x="53403" y="275117"/>
                    <a:pt x="48353" y="269701"/>
                  </a:cubicBezTo>
                  <a:lnTo>
                    <a:pt x="34511" y="254667"/>
                  </a:lnTo>
                  <a:cubicBezTo>
                    <a:pt x="32173" y="252052"/>
                    <a:pt x="31051" y="248970"/>
                    <a:pt x="31051" y="245702"/>
                  </a:cubicBezTo>
                  <a:cubicBezTo>
                    <a:pt x="31051" y="242247"/>
                    <a:pt x="32453" y="238605"/>
                    <a:pt x="35259" y="235990"/>
                  </a:cubicBezTo>
                  <a:lnTo>
                    <a:pt x="50036" y="222544"/>
                  </a:lnTo>
                  <a:cubicBezTo>
                    <a:pt x="40777" y="207696"/>
                    <a:pt x="35072" y="191261"/>
                    <a:pt x="32640" y="174639"/>
                  </a:cubicBezTo>
                  <a:lnTo>
                    <a:pt x="12626" y="173705"/>
                  </a:lnTo>
                  <a:cubicBezTo>
                    <a:pt x="5518" y="173332"/>
                    <a:pt x="0" y="167542"/>
                    <a:pt x="0" y="160539"/>
                  </a:cubicBezTo>
                  <a:lnTo>
                    <a:pt x="0" y="159885"/>
                  </a:lnTo>
                  <a:lnTo>
                    <a:pt x="842" y="139621"/>
                  </a:lnTo>
                  <a:cubicBezTo>
                    <a:pt x="1216" y="132431"/>
                    <a:pt x="7388" y="126642"/>
                    <a:pt x="14683" y="127015"/>
                  </a:cubicBezTo>
                  <a:lnTo>
                    <a:pt x="34885" y="127949"/>
                  </a:lnTo>
                  <a:cubicBezTo>
                    <a:pt x="38813" y="111514"/>
                    <a:pt x="46015" y="95826"/>
                    <a:pt x="56490" y="81819"/>
                  </a:cubicBezTo>
                  <a:lnTo>
                    <a:pt x="42741" y="66878"/>
                  </a:lnTo>
                  <a:cubicBezTo>
                    <a:pt x="40403" y="64263"/>
                    <a:pt x="39281" y="61182"/>
                    <a:pt x="39281" y="57913"/>
                  </a:cubicBezTo>
                  <a:cubicBezTo>
                    <a:pt x="39281" y="54458"/>
                    <a:pt x="40684" y="50816"/>
                    <a:pt x="43490" y="48202"/>
                  </a:cubicBezTo>
                  <a:lnTo>
                    <a:pt x="58641" y="34381"/>
                  </a:lnTo>
                  <a:cubicBezTo>
                    <a:pt x="63972" y="29526"/>
                    <a:pt x="72296" y="29899"/>
                    <a:pt x="77346" y="35315"/>
                  </a:cubicBezTo>
                  <a:lnTo>
                    <a:pt x="90627" y="50256"/>
                  </a:lnTo>
                  <a:cubicBezTo>
                    <a:pt x="105591" y="41011"/>
                    <a:pt x="121864" y="35128"/>
                    <a:pt x="138512" y="32794"/>
                  </a:cubicBezTo>
                  <a:lnTo>
                    <a:pt x="139447" y="12624"/>
                  </a:lnTo>
                  <a:cubicBezTo>
                    <a:pt x="139821" y="5433"/>
                    <a:pt x="145901" y="-356"/>
                    <a:pt x="153289" y="17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1" name="îṣḻïḓè">
              <a:extLst>
                <a:ext uri="{FF2B5EF4-FFF2-40B4-BE49-F238E27FC236}">
                  <a16:creationId xmlns:a16="http://schemas.microsoft.com/office/drawing/2014/main" id="{30C8A656-A69C-4844-9B4C-38593487F7D6}"/>
                </a:ext>
              </a:extLst>
            </p:cNvPr>
            <p:cNvSpPr/>
            <p:nvPr/>
          </p:nvSpPr>
          <p:spPr bwMode="auto">
            <a:xfrm>
              <a:off x="3563916" y="3658051"/>
              <a:ext cx="377806" cy="377072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81741" h="580612">
                  <a:moveTo>
                    <a:pt x="291612" y="187916"/>
                  </a:moveTo>
                  <a:cubicBezTo>
                    <a:pt x="304876" y="187916"/>
                    <a:pt x="315648" y="198758"/>
                    <a:pt x="315648" y="212088"/>
                  </a:cubicBezTo>
                  <a:lnTo>
                    <a:pt x="315648" y="491836"/>
                  </a:lnTo>
                  <a:lnTo>
                    <a:pt x="331227" y="473974"/>
                  </a:lnTo>
                  <a:cubicBezTo>
                    <a:pt x="339863" y="463932"/>
                    <a:pt x="355086" y="462866"/>
                    <a:pt x="365145" y="471574"/>
                  </a:cubicBezTo>
                  <a:cubicBezTo>
                    <a:pt x="375116" y="480372"/>
                    <a:pt x="376184" y="495657"/>
                    <a:pt x="367460" y="505699"/>
                  </a:cubicBezTo>
                  <a:lnTo>
                    <a:pt x="309773" y="572348"/>
                  </a:lnTo>
                  <a:cubicBezTo>
                    <a:pt x="305143" y="577502"/>
                    <a:pt x="298556" y="580612"/>
                    <a:pt x="291612" y="580612"/>
                  </a:cubicBezTo>
                  <a:cubicBezTo>
                    <a:pt x="284579" y="580612"/>
                    <a:pt x="278080" y="577680"/>
                    <a:pt x="273451" y="572348"/>
                  </a:cubicBezTo>
                  <a:lnTo>
                    <a:pt x="215764" y="505699"/>
                  </a:lnTo>
                  <a:cubicBezTo>
                    <a:pt x="207039" y="495657"/>
                    <a:pt x="208108" y="480372"/>
                    <a:pt x="218078" y="471574"/>
                  </a:cubicBezTo>
                  <a:cubicBezTo>
                    <a:pt x="228049" y="462866"/>
                    <a:pt x="243272" y="463932"/>
                    <a:pt x="252085" y="473974"/>
                  </a:cubicBezTo>
                  <a:lnTo>
                    <a:pt x="267486" y="491747"/>
                  </a:lnTo>
                  <a:lnTo>
                    <a:pt x="267486" y="212088"/>
                  </a:lnTo>
                  <a:cubicBezTo>
                    <a:pt x="267486" y="198758"/>
                    <a:pt x="278258" y="187916"/>
                    <a:pt x="291612" y="187916"/>
                  </a:cubicBezTo>
                  <a:close/>
                  <a:moveTo>
                    <a:pt x="329499" y="0"/>
                  </a:moveTo>
                  <a:cubicBezTo>
                    <a:pt x="426248" y="0"/>
                    <a:pt x="465322" y="80426"/>
                    <a:pt x="473332" y="108153"/>
                  </a:cubicBezTo>
                  <a:cubicBezTo>
                    <a:pt x="535280" y="120684"/>
                    <a:pt x="581474" y="175693"/>
                    <a:pt x="581741" y="241190"/>
                  </a:cubicBezTo>
                  <a:cubicBezTo>
                    <a:pt x="581741" y="315840"/>
                    <a:pt x="521306" y="376537"/>
                    <a:pt x="446987" y="376537"/>
                  </a:cubicBezTo>
                  <a:lnTo>
                    <a:pt x="372756" y="376537"/>
                  </a:lnTo>
                  <a:cubicBezTo>
                    <a:pt x="359316" y="376537"/>
                    <a:pt x="348546" y="365606"/>
                    <a:pt x="348546" y="352276"/>
                  </a:cubicBezTo>
                  <a:cubicBezTo>
                    <a:pt x="348546" y="338857"/>
                    <a:pt x="359316" y="327926"/>
                    <a:pt x="372756" y="327926"/>
                  </a:cubicBezTo>
                  <a:lnTo>
                    <a:pt x="446987" y="327926"/>
                  </a:lnTo>
                  <a:cubicBezTo>
                    <a:pt x="494605" y="327926"/>
                    <a:pt x="533322" y="289090"/>
                    <a:pt x="533322" y="241190"/>
                  </a:cubicBezTo>
                  <a:cubicBezTo>
                    <a:pt x="533322" y="195334"/>
                    <a:pt x="497720" y="157298"/>
                    <a:pt x="452238" y="154632"/>
                  </a:cubicBezTo>
                  <a:cubicBezTo>
                    <a:pt x="440934" y="153921"/>
                    <a:pt x="431589" y="145478"/>
                    <a:pt x="429809" y="134192"/>
                  </a:cubicBezTo>
                  <a:cubicBezTo>
                    <a:pt x="421709" y="84692"/>
                    <a:pt x="379609" y="48789"/>
                    <a:pt x="329677" y="48789"/>
                  </a:cubicBezTo>
                  <a:cubicBezTo>
                    <a:pt x="279567" y="48789"/>
                    <a:pt x="238001" y="84781"/>
                    <a:pt x="229457" y="134192"/>
                  </a:cubicBezTo>
                  <a:cubicBezTo>
                    <a:pt x="226520" y="151521"/>
                    <a:pt x="212190" y="162807"/>
                    <a:pt x="192964" y="151077"/>
                  </a:cubicBezTo>
                  <a:cubicBezTo>
                    <a:pt x="178011" y="141834"/>
                    <a:pt x="160922" y="136947"/>
                    <a:pt x="143299" y="136947"/>
                  </a:cubicBezTo>
                  <a:cubicBezTo>
                    <a:pt x="90964" y="136947"/>
                    <a:pt x="48419" y="179693"/>
                    <a:pt x="48419" y="232303"/>
                  </a:cubicBezTo>
                  <a:cubicBezTo>
                    <a:pt x="48419" y="284913"/>
                    <a:pt x="90964" y="327748"/>
                    <a:pt x="143299" y="327748"/>
                  </a:cubicBezTo>
                  <a:lnTo>
                    <a:pt x="218776" y="327748"/>
                  </a:lnTo>
                  <a:cubicBezTo>
                    <a:pt x="232216" y="327748"/>
                    <a:pt x="242986" y="338590"/>
                    <a:pt x="242986" y="352009"/>
                  </a:cubicBezTo>
                  <a:cubicBezTo>
                    <a:pt x="242986" y="365429"/>
                    <a:pt x="232216" y="376271"/>
                    <a:pt x="218776" y="376271"/>
                  </a:cubicBezTo>
                  <a:lnTo>
                    <a:pt x="143299" y="376271"/>
                  </a:lnTo>
                  <a:cubicBezTo>
                    <a:pt x="64262" y="376271"/>
                    <a:pt x="0" y="311574"/>
                    <a:pt x="0" y="232214"/>
                  </a:cubicBezTo>
                  <a:cubicBezTo>
                    <a:pt x="0" y="152854"/>
                    <a:pt x="64262" y="88158"/>
                    <a:pt x="143210" y="88158"/>
                  </a:cubicBezTo>
                  <a:cubicBezTo>
                    <a:pt x="159231" y="88158"/>
                    <a:pt x="174896" y="90735"/>
                    <a:pt x="189849" y="95978"/>
                  </a:cubicBezTo>
                  <a:cubicBezTo>
                    <a:pt x="198749" y="73050"/>
                    <a:pt x="238891" y="0"/>
                    <a:pt x="32949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2" name="iş1iḑe">
              <a:extLst>
                <a:ext uri="{FF2B5EF4-FFF2-40B4-BE49-F238E27FC236}">
                  <a16:creationId xmlns:a16="http://schemas.microsoft.com/office/drawing/2014/main" id="{79D5FAF9-096B-4C61-A299-6A26A276E128}"/>
                </a:ext>
              </a:extLst>
            </p:cNvPr>
            <p:cNvSpPr/>
            <p:nvPr/>
          </p:nvSpPr>
          <p:spPr bwMode="auto">
            <a:xfrm>
              <a:off x="3025037" y="4301073"/>
              <a:ext cx="377806" cy="377236"/>
            </a:xfrm>
            <a:custGeom>
              <a:avLst/>
              <a:gdLst>
                <a:gd name="connsiteX0" fmla="*/ 303820 w 607639"/>
                <a:gd name="connsiteY0" fmla="*/ 278099 h 606722"/>
                <a:gd name="connsiteX1" fmla="*/ 329118 w 607639"/>
                <a:gd name="connsiteY1" fmla="*/ 303362 h 606722"/>
                <a:gd name="connsiteX2" fmla="*/ 303820 w 607639"/>
                <a:gd name="connsiteY2" fmla="*/ 328625 h 606722"/>
                <a:gd name="connsiteX3" fmla="*/ 278522 w 607639"/>
                <a:gd name="connsiteY3" fmla="*/ 303362 h 606722"/>
                <a:gd name="connsiteX4" fmla="*/ 303820 w 607639"/>
                <a:gd name="connsiteY4" fmla="*/ 278099 h 606722"/>
                <a:gd name="connsiteX5" fmla="*/ 303775 w 607639"/>
                <a:gd name="connsiteY5" fmla="*/ 252735 h 606722"/>
                <a:gd name="connsiteX6" fmla="*/ 253140 w 607639"/>
                <a:gd name="connsiteY6" fmla="*/ 303317 h 606722"/>
                <a:gd name="connsiteX7" fmla="*/ 303775 w 607639"/>
                <a:gd name="connsiteY7" fmla="*/ 353900 h 606722"/>
                <a:gd name="connsiteX8" fmla="*/ 354410 w 607639"/>
                <a:gd name="connsiteY8" fmla="*/ 303317 h 606722"/>
                <a:gd name="connsiteX9" fmla="*/ 303775 w 607639"/>
                <a:gd name="connsiteY9" fmla="*/ 252735 h 606722"/>
                <a:gd name="connsiteX10" fmla="*/ 303775 w 607639"/>
                <a:gd name="connsiteY10" fmla="*/ 202241 h 606722"/>
                <a:gd name="connsiteX11" fmla="*/ 405045 w 607639"/>
                <a:gd name="connsiteY11" fmla="*/ 303317 h 606722"/>
                <a:gd name="connsiteX12" fmla="*/ 303775 w 607639"/>
                <a:gd name="connsiteY12" fmla="*/ 404482 h 606722"/>
                <a:gd name="connsiteX13" fmla="*/ 202593 w 607639"/>
                <a:gd name="connsiteY13" fmla="*/ 303317 h 606722"/>
                <a:gd name="connsiteX14" fmla="*/ 303775 w 607639"/>
                <a:gd name="connsiteY14" fmla="*/ 202241 h 606722"/>
                <a:gd name="connsiteX15" fmla="*/ 303775 w 607639"/>
                <a:gd name="connsiteY15" fmla="*/ 151703 h 606722"/>
                <a:gd name="connsiteX16" fmla="*/ 151932 w 607639"/>
                <a:gd name="connsiteY16" fmla="*/ 303317 h 606722"/>
                <a:gd name="connsiteX17" fmla="*/ 303775 w 607639"/>
                <a:gd name="connsiteY17" fmla="*/ 455019 h 606722"/>
                <a:gd name="connsiteX18" fmla="*/ 455707 w 607639"/>
                <a:gd name="connsiteY18" fmla="*/ 303317 h 606722"/>
                <a:gd name="connsiteX19" fmla="*/ 303775 w 607639"/>
                <a:gd name="connsiteY19" fmla="*/ 151703 h 606722"/>
                <a:gd name="connsiteX20" fmla="*/ 253131 w 607639"/>
                <a:gd name="connsiteY20" fmla="*/ 0 h 606722"/>
                <a:gd name="connsiteX21" fmla="*/ 354419 w 607639"/>
                <a:gd name="connsiteY21" fmla="*/ 0 h 606722"/>
                <a:gd name="connsiteX22" fmla="*/ 379786 w 607639"/>
                <a:gd name="connsiteY22" fmla="*/ 25239 h 606722"/>
                <a:gd name="connsiteX23" fmla="*/ 379786 w 607639"/>
                <a:gd name="connsiteY23" fmla="*/ 62387 h 606722"/>
                <a:gd name="connsiteX24" fmla="*/ 420639 w 607639"/>
                <a:gd name="connsiteY24" fmla="*/ 79451 h 606722"/>
                <a:gd name="connsiteX25" fmla="*/ 446985 w 607639"/>
                <a:gd name="connsiteY25" fmla="*/ 53145 h 606722"/>
                <a:gd name="connsiteX26" fmla="*/ 482854 w 607639"/>
                <a:gd name="connsiteY26" fmla="*/ 53145 h 606722"/>
                <a:gd name="connsiteX27" fmla="*/ 554414 w 607639"/>
                <a:gd name="connsiteY27" fmla="*/ 124597 h 606722"/>
                <a:gd name="connsiteX28" fmla="*/ 554414 w 607639"/>
                <a:gd name="connsiteY28" fmla="*/ 160323 h 606722"/>
                <a:gd name="connsiteX29" fmla="*/ 528069 w 607639"/>
                <a:gd name="connsiteY29" fmla="*/ 186629 h 606722"/>
                <a:gd name="connsiteX30" fmla="*/ 545158 w 607639"/>
                <a:gd name="connsiteY30" fmla="*/ 227510 h 606722"/>
                <a:gd name="connsiteX31" fmla="*/ 582273 w 607639"/>
                <a:gd name="connsiteY31" fmla="*/ 227510 h 606722"/>
                <a:gd name="connsiteX32" fmla="*/ 607639 w 607639"/>
                <a:gd name="connsiteY32" fmla="*/ 252749 h 606722"/>
                <a:gd name="connsiteX33" fmla="*/ 607639 w 607639"/>
                <a:gd name="connsiteY33" fmla="*/ 353884 h 606722"/>
                <a:gd name="connsiteX34" fmla="*/ 582273 w 607639"/>
                <a:gd name="connsiteY34" fmla="*/ 379212 h 606722"/>
                <a:gd name="connsiteX35" fmla="*/ 545158 w 607639"/>
                <a:gd name="connsiteY35" fmla="*/ 379212 h 606722"/>
                <a:gd name="connsiteX36" fmla="*/ 528069 w 607639"/>
                <a:gd name="connsiteY36" fmla="*/ 420004 h 606722"/>
                <a:gd name="connsiteX37" fmla="*/ 554414 w 607639"/>
                <a:gd name="connsiteY37" fmla="*/ 446310 h 606722"/>
                <a:gd name="connsiteX38" fmla="*/ 554414 w 607639"/>
                <a:gd name="connsiteY38" fmla="*/ 482125 h 606722"/>
                <a:gd name="connsiteX39" fmla="*/ 482854 w 607639"/>
                <a:gd name="connsiteY39" fmla="*/ 553577 h 606722"/>
                <a:gd name="connsiteX40" fmla="*/ 446985 w 607639"/>
                <a:gd name="connsiteY40" fmla="*/ 553577 h 606722"/>
                <a:gd name="connsiteX41" fmla="*/ 420639 w 607639"/>
                <a:gd name="connsiteY41" fmla="*/ 527271 h 606722"/>
                <a:gd name="connsiteX42" fmla="*/ 379786 w 607639"/>
                <a:gd name="connsiteY42" fmla="*/ 544246 h 606722"/>
                <a:gd name="connsiteX43" fmla="*/ 379786 w 607639"/>
                <a:gd name="connsiteY43" fmla="*/ 581394 h 606722"/>
                <a:gd name="connsiteX44" fmla="*/ 354419 w 607639"/>
                <a:gd name="connsiteY44" fmla="*/ 606722 h 606722"/>
                <a:gd name="connsiteX45" fmla="*/ 253131 w 607639"/>
                <a:gd name="connsiteY45" fmla="*/ 606722 h 606722"/>
                <a:gd name="connsiteX46" fmla="*/ 227854 w 607639"/>
                <a:gd name="connsiteY46" fmla="*/ 581394 h 606722"/>
                <a:gd name="connsiteX47" fmla="*/ 227854 w 607639"/>
                <a:gd name="connsiteY47" fmla="*/ 544246 h 606722"/>
                <a:gd name="connsiteX48" fmla="*/ 186911 w 607639"/>
                <a:gd name="connsiteY48" fmla="*/ 527271 h 606722"/>
                <a:gd name="connsiteX49" fmla="*/ 160566 w 607639"/>
                <a:gd name="connsiteY49" fmla="*/ 553577 h 606722"/>
                <a:gd name="connsiteX50" fmla="*/ 124786 w 607639"/>
                <a:gd name="connsiteY50" fmla="*/ 553577 h 606722"/>
                <a:gd name="connsiteX51" fmla="*/ 53225 w 607639"/>
                <a:gd name="connsiteY51" fmla="*/ 482125 h 606722"/>
                <a:gd name="connsiteX52" fmla="*/ 53225 w 607639"/>
                <a:gd name="connsiteY52" fmla="*/ 446310 h 606722"/>
                <a:gd name="connsiteX53" fmla="*/ 79482 w 607639"/>
                <a:gd name="connsiteY53" fmla="*/ 420004 h 606722"/>
                <a:gd name="connsiteX54" fmla="*/ 62482 w 607639"/>
                <a:gd name="connsiteY54" fmla="*/ 379212 h 606722"/>
                <a:gd name="connsiteX55" fmla="*/ 25278 w 607639"/>
                <a:gd name="connsiteY55" fmla="*/ 379212 h 606722"/>
                <a:gd name="connsiteX56" fmla="*/ 0 w 607639"/>
                <a:gd name="connsiteY56" fmla="*/ 353884 h 606722"/>
                <a:gd name="connsiteX57" fmla="*/ 0 w 607639"/>
                <a:gd name="connsiteY57" fmla="*/ 252749 h 606722"/>
                <a:gd name="connsiteX58" fmla="*/ 25278 w 607639"/>
                <a:gd name="connsiteY58" fmla="*/ 227510 h 606722"/>
                <a:gd name="connsiteX59" fmla="*/ 62482 w 607639"/>
                <a:gd name="connsiteY59" fmla="*/ 227510 h 606722"/>
                <a:gd name="connsiteX60" fmla="*/ 79482 w 607639"/>
                <a:gd name="connsiteY60" fmla="*/ 186629 h 606722"/>
                <a:gd name="connsiteX61" fmla="*/ 53225 w 607639"/>
                <a:gd name="connsiteY61" fmla="*/ 160323 h 606722"/>
                <a:gd name="connsiteX62" fmla="*/ 53225 w 607639"/>
                <a:gd name="connsiteY62" fmla="*/ 124597 h 606722"/>
                <a:gd name="connsiteX63" fmla="*/ 124786 w 607639"/>
                <a:gd name="connsiteY63" fmla="*/ 53145 h 606722"/>
                <a:gd name="connsiteX64" fmla="*/ 160566 w 607639"/>
                <a:gd name="connsiteY64" fmla="*/ 53145 h 606722"/>
                <a:gd name="connsiteX65" fmla="*/ 186911 w 607639"/>
                <a:gd name="connsiteY65" fmla="*/ 79451 h 606722"/>
                <a:gd name="connsiteX66" fmla="*/ 227854 w 607639"/>
                <a:gd name="connsiteY66" fmla="*/ 62387 h 606722"/>
                <a:gd name="connsiteX67" fmla="*/ 227854 w 607639"/>
                <a:gd name="connsiteY67" fmla="*/ 25239 h 606722"/>
                <a:gd name="connsiteX68" fmla="*/ 253131 w 607639"/>
                <a:gd name="connsiteY68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607639" h="606722">
                  <a:moveTo>
                    <a:pt x="303820" y="278099"/>
                  </a:moveTo>
                  <a:cubicBezTo>
                    <a:pt x="317792" y="278099"/>
                    <a:pt x="329118" y="289410"/>
                    <a:pt x="329118" y="303362"/>
                  </a:cubicBezTo>
                  <a:cubicBezTo>
                    <a:pt x="329118" y="317314"/>
                    <a:pt x="317792" y="328625"/>
                    <a:pt x="303820" y="328625"/>
                  </a:cubicBezTo>
                  <a:cubicBezTo>
                    <a:pt x="289848" y="328625"/>
                    <a:pt x="278522" y="317314"/>
                    <a:pt x="278522" y="303362"/>
                  </a:cubicBezTo>
                  <a:cubicBezTo>
                    <a:pt x="278522" y="289410"/>
                    <a:pt x="289848" y="278099"/>
                    <a:pt x="303820" y="278099"/>
                  </a:cubicBezTo>
                  <a:close/>
                  <a:moveTo>
                    <a:pt x="303775" y="252735"/>
                  </a:moveTo>
                  <a:cubicBezTo>
                    <a:pt x="275921" y="252735"/>
                    <a:pt x="253140" y="275492"/>
                    <a:pt x="253140" y="303317"/>
                  </a:cubicBezTo>
                  <a:cubicBezTo>
                    <a:pt x="253140" y="331231"/>
                    <a:pt x="275921" y="353900"/>
                    <a:pt x="303775" y="353900"/>
                  </a:cubicBezTo>
                  <a:cubicBezTo>
                    <a:pt x="331718" y="353900"/>
                    <a:pt x="354410" y="331231"/>
                    <a:pt x="354410" y="303317"/>
                  </a:cubicBezTo>
                  <a:cubicBezTo>
                    <a:pt x="354410" y="275492"/>
                    <a:pt x="331718" y="252735"/>
                    <a:pt x="303775" y="252735"/>
                  </a:cubicBezTo>
                  <a:close/>
                  <a:moveTo>
                    <a:pt x="303775" y="202241"/>
                  </a:moveTo>
                  <a:cubicBezTo>
                    <a:pt x="359660" y="202241"/>
                    <a:pt x="405045" y="247579"/>
                    <a:pt x="405045" y="303317"/>
                  </a:cubicBezTo>
                  <a:cubicBezTo>
                    <a:pt x="405045" y="359144"/>
                    <a:pt x="359660" y="404482"/>
                    <a:pt x="303775" y="404482"/>
                  </a:cubicBezTo>
                  <a:cubicBezTo>
                    <a:pt x="247978" y="404482"/>
                    <a:pt x="202593" y="359144"/>
                    <a:pt x="202593" y="303317"/>
                  </a:cubicBezTo>
                  <a:cubicBezTo>
                    <a:pt x="202593" y="247579"/>
                    <a:pt x="247978" y="202241"/>
                    <a:pt x="303775" y="202241"/>
                  </a:cubicBezTo>
                  <a:close/>
                  <a:moveTo>
                    <a:pt x="303775" y="151703"/>
                  </a:moveTo>
                  <a:cubicBezTo>
                    <a:pt x="220021" y="151703"/>
                    <a:pt x="151932" y="219689"/>
                    <a:pt x="151932" y="303317"/>
                  </a:cubicBezTo>
                  <a:cubicBezTo>
                    <a:pt x="151932" y="387033"/>
                    <a:pt x="220021" y="455019"/>
                    <a:pt x="303775" y="455019"/>
                  </a:cubicBezTo>
                  <a:cubicBezTo>
                    <a:pt x="387618" y="455019"/>
                    <a:pt x="455707" y="387033"/>
                    <a:pt x="455707" y="303317"/>
                  </a:cubicBezTo>
                  <a:cubicBezTo>
                    <a:pt x="455707" y="219689"/>
                    <a:pt x="387618" y="151703"/>
                    <a:pt x="303775" y="151703"/>
                  </a:cubicBezTo>
                  <a:close/>
                  <a:moveTo>
                    <a:pt x="253131" y="0"/>
                  </a:moveTo>
                  <a:lnTo>
                    <a:pt x="354419" y="0"/>
                  </a:lnTo>
                  <a:cubicBezTo>
                    <a:pt x="368482" y="0"/>
                    <a:pt x="379786" y="11287"/>
                    <a:pt x="379786" y="25239"/>
                  </a:cubicBezTo>
                  <a:lnTo>
                    <a:pt x="379786" y="62387"/>
                  </a:lnTo>
                  <a:cubicBezTo>
                    <a:pt x="393849" y="66831"/>
                    <a:pt x="407555" y="72519"/>
                    <a:pt x="420639" y="79451"/>
                  </a:cubicBezTo>
                  <a:lnTo>
                    <a:pt x="446985" y="53145"/>
                  </a:lnTo>
                  <a:cubicBezTo>
                    <a:pt x="456953" y="43191"/>
                    <a:pt x="472974" y="43191"/>
                    <a:pt x="482854" y="53145"/>
                  </a:cubicBezTo>
                  <a:lnTo>
                    <a:pt x="554414" y="124597"/>
                  </a:lnTo>
                  <a:cubicBezTo>
                    <a:pt x="564294" y="134462"/>
                    <a:pt x="564294" y="150459"/>
                    <a:pt x="554414" y="160323"/>
                  </a:cubicBezTo>
                  <a:lnTo>
                    <a:pt x="528069" y="186629"/>
                  </a:lnTo>
                  <a:cubicBezTo>
                    <a:pt x="535011" y="199782"/>
                    <a:pt x="540707" y="213468"/>
                    <a:pt x="545158" y="227510"/>
                  </a:cubicBezTo>
                  <a:lnTo>
                    <a:pt x="582273" y="227510"/>
                  </a:lnTo>
                  <a:cubicBezTo>
                    <a:pt x="596336" y="227510"/>
                    <a:pt x="607639" y="238796"/>
                    <a:pt x="607639" y="252749"/>
                  </a:cubicBezTo>
                  <a:lnTo>
                    <a:pt x="607639" y="353884"/>
                  </a:lnTo>
                  <a:cubicBezTo>
                    <a:pt x="607639" y="367926"/>
                    <a:pt x="596247" y="379212"/>
                    <a:pt x="582273" y="379212"/>
                  </a:cubicBezTo>
                  <a:lnTo>
                    <a:pt x="545158" y="379212"/>
                  </a:lnTo>
                  <a:cubicBezTo>
                    <a:pt x="540707" y="393254"/>
                    <a:pt x="535011" y="406940"/>
                    <a:pt x="528069" y="420004"/>
                  </a:cubicBezTo>
                  <a:lnTo>
                    <a:pt x="554414" y="446310"/>
                  </a:lnTo>
                  <a:cubicBezTo>
                    <a:pt x="564294" y="456263"/>
                    <a:pt x="564294" y="472260"/>
                    <a:pt x="554414" y="482125"/>
                  </a:cubicBezTo>
                  <a:lnTo>
                    <a:pt x="482854" y="553577"/>
                  </a:lnTo>
                  <a:cubicBezTo>
                    <a:pt x="472974" y="563442"/>
                    <a:pt x="456953" y="563442"/>
                    <a:pt x="446985" y="553577"/>
                  </a:cubicBezTo>
                  <a:lnTo>
                    <a:pt x="420639" y="527271"/>
                  </a:lnTo>
                  <a:cubicBezTo>
                    <a:pt x="407555" y="534203"/>
                    <a:pt x="393849" y="539802"/>
                    <a:pt x="379786" y="544246"/>
                  </a:cubicBezTo>
                  <a:lnTo>
                    <a:pt x="379786" y="581394"/>
                  </a:lnTo>
                  <a:cubicBezTo>
                    <a:pt x="379786" y="595435"/>
                    <a:pt x="368393" y="606722"/>
                    <a:pt x="354419" y="606722"/>
                  </a:cubicBezTo>
                  <a:lnTo>
                    <a:pt x="253131" y="606722"/>
                  </a:lnTo>
                  <a:cubicBezTo>
                    <a:pt x="239157" y="606722"/>
                    <a:pt x="227854" y="595435"/>
                    <a:pt x="227854" y="581394"/>
                  </a:cubicBezTo>
                  <a:lnTo>
                    <a:pt x="227854" y="544246"/>
                  </a:lnTo>
                  <a:cubicBezTo>
                    <a:pt x="213791" y="539802"/>
                    <a:pt x="200084" y="534203"/>
                    <a:pt x="186911" y="527271"/>
                  </a:cubicBezTo>
                  <a:lnTo>
                    <a:pt x="160566" y="553577"/>
                  </a:lnTo>
                  <a:cubicBezTo>
                    <a:pt x="150686" y="563442"/>
                    <a:pt x="134665" y="563442"/>
                    <a:pt x="124786" y="553577"/>
                  </a:cubicBezTo>
                  <a:lnTo>
                    <a:pt x="53225" y="482125"/>
                  </a:lnTo>
                  <a:cubicBezTo>
                    <a:pt x="43257" y="472260"/>
                    <a:pt x="43257" y="456263"/>
                    <a:pt x="53225" y="446310"/>
                  </a:cubicBezTo>
                  <a:lnTo>
                    <a:pt x="79482" y="420004"/>
                  </a:lnTo>
                  <a:cubicBezTo>
                    <a:pt x="72629" y="406940"/>
                    <a:pt x="66932" y="393254"/>
                    <a:pt x="62482" y="379212"/>
                  </a:cubicBezTo>
                  <a:lnTo>
                    <a:pt x="25278" y="379212"/>
                  </a:lnTo>
                  <a:cubicBezTo>
                    <a:pt x="11304" y="379212"/>
                    <a:pt x="0" y="367926"/>
                    <a:pt x="0" y="353884"/>
                  </a:cubicBezTo>
                  <a:lnTo>
                    <a:pt x="0" y="252749"/>
                  </a:lnTo>
                  <a:cubicBezTo>
                    <a:pt x="0" y="238796"/>
                    <a:pt x="11304" y="227510"/>
                    <a:pt x="25278" y="227510"/>
                  </a:cubicBezTo>
                  <a:lnTo>
                    <a:pt x="62482" y="227510"/>
                  </a:lnTo>
                  <a:cubicBezTo>
                    <a:pt x="66932" y="213468"/>
                    <a:pt x="72629" y="199782"/>
                    <a:pt x="79482" y="186629"/>
                  </a:cubicBezTo>
                  <a:lnTo>
                    <a:pt x="53225" y="160323"/>
                  </a:lnTo>
                  <a:cubicBezTo>
                    <a:pt x="43257" y="150459"/>
                    <a:pt x="43257" y="134462"/>
                    <a:pt x="53225" y="124597"/>
                  </a:cubicBezTo>
                  <a:lnTo>
                    <a:pt x="124786" y="53145"/>
                  </a:lnTo>
                  <a:cubicBezTo>
                    <a:pt x="134665" y="43191"/>
                    <a:pt x="150686" y="43191"/>
                    <a:pt x="160566" y="53145"/>
                  </a:cubicBezTo>
                  <a:lnTo>
                    <a:pt x="186911" y="79451"/>
                  </a:lnTo>
                  <a:cubicBezTo>
                    <a:pt x="200084" y="72519"/>
                    <a:pt x="213791" y="66831"/>
                    <a:pt x="227854" y="62387"/>
                  </a:cubicBezTo>
                  <a:lnTo>
                    <a:pt x="227854" y="25239"/>
                  </a:lnTo>
                  <a:cubicBezTo>
                    <a:pt x="227854" y="11287"/>
                    <a:pt x="239157" y="0"/>
                    <a:pt x="253131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3" name="ïṧľíďê">
              <a:extLst>
                <a:ext uri="{FF2B5EF4-FFF2-40B4-BE49-F238E27FC236}">
                  <a16:creationId xmlns:a16="http://schemas.microsoft.com/office/drawing/2014/main" id="{83AC56C8-BB22-4DB6-8372-AA84DFFA3A81}"/>
                </a:ext>
              </a:extLst>
            </p:cNvPr>
            <p:cNvSpPr/>
            <p:nvPr/>
          </p:nvSpPr>
          <p:spPr bwMode="auto">
            <a:xfrm>
              <a:off x="2498293" y="4944202"/>
              <a:ext cx="377806" cy="377188"/>
            </a:xfrm>
            <a:custGeom>
              <a:avLst/>
              <a:gdLst>
                <a:gd name="connsiteX0" fmla="*/ 380418 w 604181"/>
                <a:gd name="connsiteY0" fmla="*/ 268007 h 603193"/>
                <a:gd name="connsiteX1" fmla="*/ 519220 w 604181"/>
                <a:gd name="connsiteY1" fmla="*/ 339187 h 603193"/>
                <a:gd name="connsiteX2" fmla="*/ 519220 w 604181"/>
                <a:gd name="connsiteY2" fmla="*/ 355820 h 603193"/>
                <a:gd name="connsiteX3" fmla="*/ 380418 w 604181"/>
                <a:gd name="connsiteY3" fmla="*/ 426850 h 603193"/>
                <a:gd name="connsiteX4" fmla="*/ 380418 w 604181"/>
                <a:gd name="connsiteY4" fmla="*/ 406320 h 603193"/>
                <a:gd name="connsiteX5" fmla="*/ 498212 w 604181"/>
                <a:gd name="connsiteY5" fmla="*/ 347728 h 603193"/>
                <a:gd name="connsiteX6" fmla="*/ 498212 w 604181"/>
                <a:gd name="connsiteY6" fmla="*/ 347129 h 603193"/>
                <a:gd name="connsiteX7" fmla="*/ 380418 w 604181"/>
                <a:gd name="connsiteY7" fmla="*/ 288687 h 603193"/>
                <a:gd name="connsiteX8" fmla="*/ 216565 w 604181"/>
                <a:gd name="connsiteY8" fmla="*/ 268007 h 603193"/>
                <a:gd name="connsiteX9" fmla="*/ 216565 w 604181"/>
                <a:gd name="connsiteY9" fmla="*/ 288687 h 603193"/>
                <a:gd name="connsiteX10" fmla="*/ 99664 w 604181"/>
                <a:gd name="connsiteY10" fmla="*/ 347129 h 603193"/>
                <a:gd name="connsiteX11" fmla="*/ 99664 w 604181"/>
                <a:gd name="connsiteY11" fmla="*/ 347728 h 603193"/>
                <a:gd name="connsiteX12" fmla="*/ 216565 w 604181"/>
                <a:gd name="connsiteY12" fmla="*/ 406320 h 603193"/>
                <a:gd name="connsiteX13" fmla="*/ 216565 w 604181"/>
                <a:gd name="connsiteY13" fmla="*/ 426850 h 603193"/>
                <a:gd name="connsiteX14" fmla="*/ 77904 w 604181"/>
                <a:gd name="connsiteY14" fmla="*/ 355521 h 603193"/>
                <a:gd name="connsiteX15" fmla="*/ 77904 w 604181"/>
                <a:gd name="connsiteY15" fmla="*/ 339486 h 603193"/>
                <a:gd name="connsiteX16" fmla="*/ 338273 w 604181"/>
                <a:gd name="connsiteY16" fmla="*/ 222493 h 603193"/>
                <a:gd name="connsiteX17" fmla="*/ 358684 w 604181"/>
                <a:gd name="connsiteY17" fmla="*/ 222493 h 603193"/>
                <a:gd name="connsiteX18" fmla="*/ 253179 w 604181"/>
                <a:gd name="connsiteY18" fmla="*/ 482103 h 603193"/>
                <a:gd name="connsiteX19" fmla="*/ 233219 w 604181"/>
                <a:gd name="connsiteY19" fmla="*/ 482103 h 603193"/>
                <a:gd name="connsiteX20" fmla="*/ 28813 w 604181"/>
                <a:gd name="connsiteY20" fmla="*/ 128849 h 603193"/>
                <a:gd name="connsiteX21" fmla="*/ 28813 w 604181"/>
                <a:gd name="connsiteY21" fmla="*/ 557497 h 603193"/>
                <a:gd name="connsiteX22" fmla="*/ 45921 w 604181"/>
                <a:gd name="connsiteY22" fmla="*/ 574427 h 603193"/>
                <a:gd name="connsiteX23" fmla="*/ 558410 w 604181"/>
                <a:gd name="connsiteY23" fmla="*/ 574427 h 603193"/>
                <a:gd name="connsiteX24" fmla="*/ 575368 w 604181"/>
                <a:gd name="connsiteY24" fmla="*/ 557497 h 603193"/>
                <a:gd name="connsiteX25" fmla="*/ 575368 w 604181"/>
                <a:gd name="connsiteY25" fmla="*/ 128849 h 603193"/>
                <a:gd name="connsiteX26" fmla="*/ 502734 w 604181"/>
                <a:gd name="connsiteY26" fmla="*/ 43149 h 603193"/>
                <a:gd name="connsiteX27" fmla="*/ 502734 w 604181"/>
                <a:gd name="connsiteY27" fmla="*/ 77309 h 603193"/>
                <a:gd name="connsiteX28" fmla="*/ 537100 w 604181"/>
                <a:gd name="connsiteY28" fmla="*/ 77309 h 603193"/>
                <a:gd name="connsiteX29" fmla="*/ 537100 w 604181"/>
                <a:gd name="connsiteY29" fmla="*/ 43149 h 603193"/>
                <a:gd name="connsiteX30" fmla="*/ 423197 w 604181"/>
                <a:gd name="connsiteY30" fmla="*/ 43149 h 603193"/>
                <a:gd name="connsiteX31" fmla="*/ 423197 w 604181"/>
                <a:gd name="connsiteY31" fmla="*/ 77309 h 603193"/>
                <a:gd name="connsiteX32" fmla="*/ 457563 w 604181"/>
                <a:gd name="connsiteY32" fmla="*/ 77309 h 603193"/>
                <a:gd name="connsiteX33" fmla="*/ 457563 w 604181"/>
                <a:gd name="connsiteY33" fmla="*/ 43149 h 603193"/>
                <a:gd name="connsiteX34" fmla="*/ 45921 w 604181"/>
                <a:gd name="connsiteY34" fmla="*/ 0 h 603193"/>
                <a:gd name="connsiteX35" fmla="*/ 558410 w 604181"/>
                <a:gd name="connsiteY35" fmla="*/ 0 h 603193"/>
                <a:gd name="connsiteX36" fmla="*/ 604181 w 604181"/>
                <a:gd name="connsiteY36" fmla="*/ 45846 h 603193"/>
                <a:gd name="connsiteX37" fmla="*/ 604181 w 604181"/>
                <a:gd name="connsiteY37" fmla="*/ 557497 h 603193"/>
                <a:gd name="connsiteX38" fmla="*/ 558410 w 604181"/>
                <a:gd name="connsiteY38" fmla="*/ 603193 h 603193"/>
                <a:gd name="connsiteX39" fmla="*/ 45921 w 604181"/>
                <a:gd name="connsiteY39" fmla="*/ 603193 h 603193"/>
                <a:gd name="connsiteX40" fmla="*/ 0 w 604181"/>
                <a:gd name="connsiteY40" fmla="*/ 557497 h 603193"/>
                <a:gd name="connsiteX41" fmla="*/ 0 w 604181"/>
                <a:gd name="connsiteY41" fmla="*/ 45846 h 603193"/>
                <a:gd name="connsiteX42" fmla="*/ 45921 w 604181"/>
                <a:gd name="connsiteY42" fmla="*/ 0 h 603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04181" h="603193">
                  <a:moveTo>
                    <a:pt x="380418" y="268007"/>
                  </a:moveTo>
                  <a:lnTo>
                    <a:pt x="519220" y="339187"/>
                  </a:lnTo>
                  <a:lnTo>
                    <a:pt x="519220" y="355820"/>
                  </a:lnTo>
                  <a:lnTo>
                    <a:pt x="380418" y="426850"/>
                  </a:lnTo>
                  <a:lnTo>
                    <a:pt x="380418" y="406320"/>
                  </a:lnTo>
                  <a:lnTo>
                    <a:pt x="498212" y="347728"/>
                  </a:lnTo>
                  <a:lnTo>
                    <a:pt x="498212" y="347129"/>
                  </a:lnTo>
                  <a:lnTo>
                    <a:pt x="380418" y="288687"/>
                  </a:lnTo>
                  <a:close/>
                  <a:moveTo>
                    <a:pt x="216565" y="268007"/>
                  </a:moveTo>
                  <a:lnTo>
                    <a:pt x="216565" y="288687"/>
                  </a:lnTo>
                  <a:lnTo>
                    <a:pt x="99664" y="347129"/>
                  </a:lnTo>
                  <a:lnTo>
                    <a:pt x="99664" y="347728"/>
                  </a:lnTo>
                  <a:lnTo>
                    <a:pt x="216565" y="406320"/>
                  </a:lnTo>
                  <a:lnTo>
                    <a:pt x="216565" y="426850"/>
                  </a:lnTo>
                  <a:lnTo>
                    <a:pt x="77904" y="355521"/>
                  </a:lnTo>
                  <a:lnTo>
                    <a:pt x="77904" y="339486"/>
                  </a:lnTo>
                  <a:close/>
                  <a:moveTo>
                    <a:pt x="338273" y="222493"/>
                  </a:moveTo>
                  <a:lnTo>
                    <a:pt x="358684" y="222493"/>
                  </a:lnTo>
                  <a:lnTo>
                    <a:pt x="253179" y="482103"/>
                  </a:lnTo>
                  <a:lnTo>
                    <a:pt x="233219" y="482103"/>
                  </a:lnTo>
                  <a:close/>
                  <a:moveTo>
                    <a:pt x="28813" y="128849"/>
                  </a:moveTo>
                  <a:lnTo>
                    <a:pt x="28813" y="557497"/>
                  </a:lnTo>
                  <a:cubicBezTo>
                    <a:pt x="28813" y="566786"/>
                    <a:pt x="36467" y="574427"/>
                    <a:pt x="45921" y="574427"/>
                  </a:cubicBezTo>
                  <a:lnTo>
                    <a:pt x="558410" y="574427"/>
                  </a:lnTo>
                  <a:cubicBezTo>
                    <a:pt x="567714" y="574427"/>
                    <a:pt x="575368" y="566786"/>
                    <a:pt x="575368" y="557497"/>
                  </a:cubicBezTo>
                  <a:lnTo>
                    <a:pt x="575368" y="128849"/>
                  </a:lnTo>
                  <a:close/>
                  <a:moveTo>
                    <a:pt x="502734" y="43149"/>
                  </a:moveTo>
                  <a:lnTo>
                    <a:pt x="502734" y="77309"/>
                  </a:lnTo>
                  <a:lnTo>
                    <a:pt x="537100" y="77309"/>
                  </a:lnTo>
                  <a:lnTo>
                    <a:pt x="537100" y="43149"/>
                  </a:lnTo>
                  <a:close/>
                  <a:moveTo>
                    <a:pt x="423197" y="43149"/>
                  </a:moveTo>
                  <a:lnTo>
                    <a:pt x="423197" y="77309"/>
                  </a:lnTo>
                  <a:lnTo>
                    <a:pt x="457563" y="77309"/>
                  </a:lnTo>
                  <a:lnTo>
                    <a:pt x="457563" y="43149"/>
                  </a:lnTo>
                  <a:close/>
                  <a:moveTo>
                    <a:pt x="45921" y="0"/>
                  </a:moveTo>
                  <a:lnTo>
                    <a:pt x="558410" y="0"/>
                  </a:lnTo>
                  <a:cubicBezTo>
                    <a:pt x="583621" y="0"/>
                    <a:pt x="604181" y="20526"/>
                    <a:pt x="604181" y="45846"/>
                  </a:cubicBezTo>
                  <a:lnTo>
                    <a:pt x="604181" y="557497"/>
                  </a:lnTo>
                  <a:cubicBezTo>
                    <a:pt x="604181" y="582667"/>
                    <a:pt x="583621" y="603193"/>
                    <a:pt x="558410" y="603193"/>
                  </a:cubicBezTo>
                  <a:lnTo>
                    <a:pt x="45921" y="603193"/>
                  </a:lnTo>
                  <a:cubicBezTo>
                    <a:pt x="20560" y="603193"/>
                    <a:pt x="0" y="582667"/>
                    <a:pt x="0" y="557497"/>
                  </a:cubicBezTo>
                  <a:lnTo>
                    <a:pt x="0" y="45846"/>
                  </a:lnTo>
                  <a:cubicBezTo>
                    <a:pt x="0" y="20526"/>
                    <a:pt x="20560" y="0"/>
                    <a:pt x="45921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4" name="îṣḻîḍé">
              <a:extLst>
                <a:ext uri="{FF2B5EF4-FFF2-40B4-BE49-F238E27FC236}">
                  <a16:creationId xmlns:a16="http://schemas.microsoft.com/office/drawing/2014/main" id="{716A4AAF-66FE-4462-901E-658C29D84AD8}"/>
                </a:ext>
              </a:extLst>
            </p:cNvPr>
            <p:cNvSpPr/>
            <p:nvPr/>
          </p:nvSpPr>
          <p:spPr bwMode="auto">
            <a:xfrm>
              <a:off x="1959174" y="5587283"/>
              <a:ext cx="377806" cy="377235"/>
            </a:xfrm>
            <a:custGeom>
              <a:avLst/>
              <a:gdLst>
                <a:gd name="T0" fmla="*/ 6624 w 7154"/>
                <a:gd name="T1" fmla="*/ 2037 h 7154"/>
                <a:gd name="T2" fmla="*/ 6106 w 7154"/>
                <a:gd name="T3" fmla="*/ 1048 h 7154"/>
                <a:gd name="T4" fmla="*/ 5117 w 7154"/>
                <a:gd name="T5" fmla="*/ 530 h 7154"/>
                <a:gd name="T6" fmla="*/ 4643 w 7154"/>
                <a:gd name="T7" fmla="*/ 334 h 7154"/>
                <a:gd name="T8" fmla="*/ 3577 w 7154"/>
                <a:gd name="T9" fmla="*/ 0 h 7154"/>
                <a:gd name="T10" fmla="*/ 2511 w 7154"/>
                <a:gd name="T11" fmla="*/ 334 h 7154"/>
                <a:gd name="T12" fmla="*/ 2037 w 7154"/>
                <a:gd name="T13" fmla="*/ 530 h 7154"/>
                <a:gd name="T14" fmla="*/ 1048 w 7154"/>
                <a:gd name="T15" fmla="*/ 1048 h 7154"/>
                <a:gd name="T16" fmla="*/ 530 w 7154"/>
                <a:gd name="T17" fmla="*/ 2037 h 7154"/>
                <a:gd name="T18" fmla="*/ 334 w 7154"/>
                <a:gd name="T19" fmla="*/ 2511 h 7154"/>
                <a:gd name="T20" fmla="*/ 0 w 7154"/>
                <a:gd name="T21" fmla="*/ 3577 h 7154"/>
                <a:gd name="T22" fmla="*/ 334 w 7154"/>
                <a:gd name="T23" fmla="*/ 4643 h 7154"/>
                <a:gd name="T24" fmla="*/ 530 w 7154"/>
                <a:gd name="T25" fmla="*/ 5117 h 7154"/>
                <a:gd name="T26" fmla="*/ 1048 w 7154"/>
                <a:gd name="T27" fmla="*/ 6106 h 7154"/>
                <a:gd name="T28" fmla="*/ 2037 w 7154"/>
                <a:gd name="T29" fmla="*/ 6624 h 7154"/>
                <a:gd name="T30" fmla="*/ 2511 w 7154"/>
                <a:gd name="T31" fmla="*/ 6820 h 7154"/>
                <a:gd name="T32" fmla="*/ 3577 w 7154"/>
                <a:gd name="T33" fmla="*/ 7154 h 7154"/>
                <a:gd name="T34" fmla="*/ 4643 w 7154"/>
                <a:gd name="T35" fmla="*/ 6820 h 7154"/>
                <a:gd name="T36" fmla="*/ 5117 w 7154"/>
                <a:gd name="T37" fmla="*/ 6624 h 7154"/>
                <a:gd name="T38" fmla="*/ 6106 w 7154"/>
                <a:gd name="T39" fmla="*/ 6106 h 7154"/>
                <a:gd name="T40" fmla="*/ 6624 w 7154"/>
                <a:gd name="T41" fmla="*/ 5117 h 7154"/>
                <a:gd name="T42" fmla="*/ 6820 w 7154"/>
                <a:gd name="T43" fmla="*/ 4643 h 7154"/>
                <a:gd name="T44" fmla="*/ 7154 w 7154"/>
                <a:gd name="T45" fmla="*/ 3577 h 7154"/>
                <a:gd name="T46" fmla="*/ 6820 w 7154"/>
                <a:gd name="T47" fmla="*/ 2511 h 7154"/>
                <a:gd name="T48" fmla="*/ 6624 w 7154"/>
                <a:gd name="T49" fmla="*/ 2037 h 7154"/>
                <a:gd name="T50" fmla="*/ 5857 w 7154"/>
                <a:gd name="T51" fmla="*/ 2406 h 7154"/>
                <a:gd name="T52" fmla="*/ 3286 w 7154"/>
                <a:gd name="T53" fmla="*/ 4976 h 7154"/>
                <a:gd name="T54" fmla="*/ 2875 w 7154"/>
                <a:gd name="T55" fmla="*/ 5387 h 7154"/>
                <a:gd name="T56" fmla="*/ 2464 w 7154"/>
                <a:gd name="T57" fmla="*/ 5387 h 7154"/>
                <a:gd name="T58" fmla="*/ 2053 w 7154"/>
                <a:gd name="T59" fmla="*/ 4976 h 7154"/>
                <a:gd name="T60" fmla="*/ 1297 w 7154"/>
                <a:gd name="T61" fmla="*/ 4221 h 7154"/>
                <a:gd name="T62" fmla="*/ 1297 w 7154"/>
                <a:gd name="T63" fmla="*/ 3809 h 7154"/>
                <a:gd name="T64" fmla="*/ 1708 w 7154"/>
                <a:gd name="T65" fmla="*/ 3398 h 7154"/>
                <a:gd name="T66" fmla="*/ 2120 w 7154"/>
                <a:gd name="T67" fmla="*/ 3398 h 7154"/>
                <a:gd name="T68" fmla="*/ 2669 w 7154"/>
                <a:gd name="T69" fmla="*/ 3948 h 7154"/>
                <a:gd name="T70" fmla="*/ 5034 w 7154"/>
                <a:gd name="T71" fmla="*/ 1583 h 7154"/>
                <a:gd name="T72" fmla="*/ 5445 w 7154"/>
                <a:gd name="T73" fmla="*/ 1583 h 7154"/>
                <a:gd name="T74" fmla="*/ 5857 w 7154"/>
                <a:gd name="T75" fmla="*/ 1994 h 7154"/>
                <a:gd name="T76" fmla="*/ 5857 w 7154"/>
                <a:gd name="T77" fmla="*/ 2406 h 7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154" h="7154">
                  <a:moveTo>
                    <a:pt x="6624" y="2037"/>
                  </a:moveTo>
                  <a:cubicBezTo>
                    <a:pt x="6580" y="1703"/>
                    <a:pt x="6403" y="1345"/>
                    <a:pt x="6106" y="1048"/>
                  </a:cubicBezTo>
                  <a:cubicBezTo>
                    <a:pt x="5809" y="751"/>
                    <a:pt x="5451" y="574"/>
                    <a:pt x="5117" y="530"/>
                  </a:cubicBezTo>
                  <a:cubicBezTo>
                    <a:pt x="4966" y="510"/>
                    <a:pt x="4764" y="427"/>
                    <a:pt x="4643" y="334"/>
                  </a:cubicBezTo>
                  <a:cubicBezTo>
                    <a:pt x="4375" y="128"/>
                    <a:pt x="3997" y="0"/>
                    <a:pt x="3577" y="0"/>
                  </a:cubicBezTo>
                  <a:cubicBezTo>
                    <a:pt x="3157" y="0"/>
                    <a:pt x="2779" y="128"/>
                    <a:pt x="2511" y="334"/>
                  </a:cubicBezTo>
                  <a:cubicBezTo>
                    <a:pt x="2390" y="427"/>
                    <a:pt x="2188" y="510"/>
                    <a:pt x="2037" y="530"/>
                  </a:cubicBezTo>
                  <a:cubicBezTo>
                    <a:pt x="1702" y="574"/>
                    <a:pt x="1345" y="751"/>
                    <a:pt x="1048" y="1048"/>
                  </a:cubicBezTo>
                  <a:cubicBezTo>
                    <a:pt x="751" y="1345"/>
                    <a:pt x="574" y="1703"/>
                    <a:pt x="530" y="2037"/>
                  </a:cubicBezTo>
                  <a:cubicBezTo>
                    <a:pt x="510" y="2188"/>
                    <a:pt x="427" y="2390"/>
                    <a:pt x="334" y="2511"/>
                  </a:cubicBezTo>
                  <a:cubicBezTo>
                    <a:pt x="128" y="2779"/>
                    <a:pt x="0" y="3157"/>
                    <a:pt x="0" y="3577"/>
                  </a:cubicBezTo>
                  <a:cubicBezTo>
                    <a:pt x="0" y="3997"/>
                    <a:pt x="128" y="4375"/>
                    <a:pt x="334" y="4643"/>
                  </a:cubicBezTo>
                  <a:cubicBezTo>
                    <a:pt x="427" y="4764"/>
                    <a:pt x="510" y="4966"/>
                    <a:pt x="530" y="5117"/>
                  </a:cubicBezTo>
                  <a:cubicBezTo>
                    <a:pt x="574" y="5451"/>
                    <a:pt x="751" y="5809"/>
                    <a:pt x="1048" y="6106"/>
                  </a:cubicBezTo>
                  <a:cubicBezTo>
                    <a:pt x="1345" y="6403"/>
                    <a:pt x="1702" y="6580"/>
                    <a:pt x="2037" y="6624"/>
                  </a:cubicBezTo>
                  <a:cubicBezTo>
                    <a:pt x="2188" y="6644"/>
                    <a:pt x="2390" y="6727"/>
                    <a:pt x="2511" y="6820"/>
                  </a:cubicBezTo>
                  <a:cubicBezTo>
                    <a:pt x="2779" y="7025"/>
                    <a:pt x="3157" y="7154"/>
                    <a:pt x="3577" y="7154"/>
                  </a:cubicBezTo>
                  <a:cubicBezTo>
                    <a:pt x="3997" y="7154"/>
                    <a:pt x="4375" y="7025"/>
                    <a:pt x="4643" y="6820"/>
                  </a:cubicBezTo>
                  <a:cubicBezTo>
                    <a:pt x="4764" y="6727"/>
                    <a:pt x="4966" y="6644"/>
                    <a:pt x="5117" y="6624"/>
                  </a:cubicBezTo>
                  <a:cubicBezTo>
                    <a:pt x="5451" y="6580"/>
                    <a:pt x="5809" y="6403"/>
                    <a:pt x="6106" y="6106"/>
                  </a:cubicBezTo>
                  <a:cubicBezTo>
                    <a:pt x="6403" y="5809"/>
                    <a:pt x="6580" y="5451"/>
                    <a:pt x="6624" y="5117"/>
                  </a:cubicBezTo>
                  <a:cubicBezTo>
                    <a:pt x="6644" y="4966"/>
                    <a:pt x="6727" y="4764"/>
                    <a:pt x="6820" y="4643"/>
                  </a:cubicBezTo>
                  <a:cubicBezTo>
                    <a:pt x="7026" y="4375"/>
                    <a:pt x="7154" y="3997"/>
                    <a:pt x="7154" y="3577"/>
                  </a:cubicBezTo>
                  <a:cubicBezTo>
                    <a:pt x="7154" y="3157"/>
                    <a:pt x="7026" y="2779"/>
                    <a:pt x="6820" y="2511"/>
                  </a:cubicBezTo>
                  <a:cubicBezTo>
                    <a:pt x="6727" y="2390"/>
                    <a:pt x="6644" y="2188"/>
                    <a:pt x="6624" y="2037"/>
                  </a:cubicBezTo>
                  <a:close/>
                  <a:moveTo>
                    <a:pt x="5857" y="2406"/>
                  </a:moveTo>
                  <a:lnTo>
                    <a:pt x="3286" y="4976"/>
                  </a:lnTo>
                  <a:lnTo>
                    <a:pt x="2875" y="5387"/>
                  </a:lnTo>
                  <a:cubicBezTo>
                    <a:pt x="2762" y="5501"/>
                    <a:pt x="2577" y="5501"/>
                    <a:pt x="2464" y="5387"/>
                  </a:cubicBezTo>
                  <a:lnTo>
                    <a:pt x="2053" y="4976"/>
                  </a:lnTo>
                  <a:lnTo>
                    <a:pt x="1297" y="4221"/>
                  </a:lnTo>
                  <a:cubicBezTo>
                    <a:pt x="1183" y="4107"/>
                    <a:pt x="1183" y="3923"/>
                    <a:pt x="1297" y="3809"/>
                  </a:cubicBezTo>
                  <a:lnTo>
                    <a:pt x="1708" y="3398"/>
                  </a:lnTo>
                  <a:cubicBezTo>
                    <a:pt x="1822" y="3285"/>
                    <a:pt x="2006" y="3285"/>
                    <a:pt x="2120" y="3398"/>
                  </a:cubicBezTo>
                  <a:lnTo>
                    <a:pt x="2669" y="3948"/>
                  </a:lnTo>
                  <a:lnTo>
                    <a:pt x="5034" y="1583"/>
                  </a:lnTo>
                  <a:cubicBezTo>
                    <a:pt x="5148" y="1470"/>
                    <a:pt x="5332" y="1470"/>
                    <a:pt x="5445" y="1583"/>
                  </a:cubicBezTo>
                  <a:lnTo>
                    <a:pt x="5857" y="1994"/>
                  </a:lnTo>
                  <a:cubicBezTo>
                    <a:pt x="5970" y="2108"/>
                    <a:pt x="5970" y="2292"/>
                    <a:pt x="5857" y="2406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5" name="iṧḷiḑé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743264" y="4276135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按分布模式进行配置</a:t>
              </a:r>
              <a:endParaRPr lang="en-US" altLang="zh-CN" sz="1100" dirty="0"/>
            </a:p>
          </p:txBody>
        </p:sp>
        <p:sp>
          <p:nvSpPr>
            <p:cNvPr id="216" name="îṧḻiḑe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197100" y="4926511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>
                  <a:solidFill>
                    <a:schemeClr val="bg1"/>
                  </a:solidFill>
                </a:rPr>
                <a:t>运行第一个实例</a:t>
              </a: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17" name="îṣľïd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2651098" y="5576887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开心</a:t>
              </a:r>
              <a:r>
                <a:rPr lang="en-US" altLang="zh-CN" sz="1100" dirty="0" err="1"/>
                <a:t>ing</a:t>
              </a:r>
              <a:r>
                <a:rPr lang="en-US" altLang="zh-CN" sz="1100" dirty="0"/>
                <a:t>~</a:t>
              </a:r>
            </a:p>
          </p:txBody>
        </p:sp>
        <p:sp>
          <p:nvSpPr>
            <p:cNvPr id="218" name="íṧ1îd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289201" y="3625759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 解压</a:t>
              </a:r>
              <a:endParaRPr lang="en-US" altLang="zh-CN" sz="1100" dirty="0"/>
            </a:p>
          </p:txBody>
        </p:sp>
        <p:sp>
          <p:nvSpPr>
            <p:cNvPr id="219" name="îs1ïḋ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842020" y="2975382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配置环境变量 使之生效</a:t>
              </a:r>
              <a:endParaRPr lang="en-US" altLang="zh-CN" sz="1100" dirty="0"/>
            </a:p>
          </p:txBody>
        </p:sp>
        <p:sp>
          <p:nvSpPr>
            <p:cNvPr id="220" name="íšliḓ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5387990" y="2325006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</a:t>
              </a:r>
              <a:r>
                <a:rPr lang="en-US" altLang="zh-CN" sz="1100" dirty="0"/>
                <a:t> </a:t>
              </a:r>
              <a:r>
                <a:rPr lang="zh-CN" altLang="en-US" sz="1100" dirty="0"/>
                <a:t>解压</a:t>
              </a:r>
              <a:endParaRPr lang="en-US" altLang="zh-CN" sz="1100" dirty="0"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653777F-C200-4DD9-896D-DFE3FC5A0E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794" y="132609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4097" name="Picture 1" descr="L:\Water\Documents\Tencent Files\1106367305\Image\C2C\S_~PNJLRA$(`BM~E~CRVP@6.jpg">
            <a:extLst>
              <a:ext uri="{FF2B5EF4-FFF2-40B4-BE49-F238E27FC236}">
                <a16:creationId xmlns:a16="http://schemas.microsoft.com/office/drawing/2014/main" id="{870A9B0F-80D3-4BB8-9E6D-5163109C031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2"/>
          <a:stretch>
            <a:fillRect/>
          </a:stretch>
        </p:blipFill>
        <p:spPr bwMode="auto">
          <a:xfrm>
            <a:off x="1092994" y="1284288"/>
            <a:ext cx="6958012" cy="4695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104D7166-3B85-4412-9659-285206FA2824}"/>
              </a:ext>
            </a:extLst>
          </p:cNvPr>
          <p:cNvSpPr/>
          <p:nvPr/>
        </p:nvSpPr>
        <p:spPr>
          <a:xfrm>
            <a:off x="1092994" y="2552700"/>
            <a:ext cx="6958012" cy="3427411"/>
          </a:xfrm>
          <a:prstGeom prst="rect">
            <a:avLst/>
          </a:prstGeom>
          <a:solidFill>
            <a:srgbClr val="2D0A2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CB3EE618-32F8-4966-A35B-D1376D9131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045762" y="14732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3AE81623-7CD6-49D9-AB93-2743959343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11265" name="Picture 1" descr="L:\Water\Documents\Tencent Files\1106367305\Image\C2C\4J4}B_S})4`LN1DH01A%OK4.jpg">
            <a:extLst>
              <a:ext uri="{FF2B5EF4-FFF2-40B4-BE49-F238E27FC236}">
                <a16:creationId xmlns:a16="http://schemas.microsoft.com/office/drawing/2014/main" id="{685AB060-72F0-48F7-85D6-B9FF3EF6D6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91"/>
          <a:stretch>
            <a:fillRect/>
          </a:stretch>
        </p:blipFill>
        <p:spPr bwMode="auto">
          <a:xfrm>
            <a:off x="1119188" y="1284288"/>
            <a:ext cx="6905625" cy="4695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57466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250">
        <p159:morph option="byObject"/>
      </p:transition>
    </mc:Choice>
    <mc:Fallback xmlns="">
      <p:transition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执行几个看看？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4</a:t>
            </a:fld>
            <a:endParaRPr lang="zh-CN" altLang="en-US"/>
          </a:p>
        </p:txBody>
      </p:sp>
      <p:grpSp>
        <p:nvGrpSpPr>
          <p:cNvPr id="194" name="180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4D56F3B-0686-4E9E-A675-DA7BF2C9F6C2}"/>
              </a:ext>
            </a:extLst>
          </p:cNvPr>
          <p:cNvGrpSpPr>
            <a:grpSpLocks noChangeAspect="1"/>
          </p:cNvGrpSpPr>
          <p:nvPr/>
        </p:nvGrpSpPr>
        <p:grpSpPr>
          <a:xfrm>
            <a:off x="1875381" y="-2460624"/>
            <a:ext cx="5393238" cy="2212975"/>
            <a:chOff x="938530" y="1805421"/>
            <a:chExt cx="10580370" cy="4341379"/>
          </a:xfrm>
        </p:grpSpPr>
        <p:sp>
          <p:nvSpPr>
            <p:cNvPr id="195" name="iṧḻîďè">
              <a:extLst>
                <a:ext uri="{FF2B5EF4-FFF2-40B4-BE49-F238E27FC236}">
                  <a16:creationId xmlns:a16="http://schemas.microsoft.com/office/drawing/2014/main" id="{6FC8272D-4563-47EB-B741-E738A21C2623}"/>
                </a:ext>
              </a:extLst>
            </p:cNvPr>
            <p:cNvSpPr/>
            <p:nvPr/>
          </p:nvSpPr>
          <p:spPr bwMode="auto">
            <a:xfrm>
              <a:off x="5637082" y="5226400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搞定！</a:t>
              </a:r>
              <a:endParaRPr lang="en-US" altLang="zh-CN" b="1" dirty="0"/>
            </a:p>
          </p:txBody>
        </p:sp>
        <p:sp>
          <p:nvSpPr>
            <p:cNvPr id="196" name="îŝḻiḋé">
              <a:extLst>
                <a:ext uri="{FF2B5EF4-FFF2-40B4-BE49-F238E27FC236}">
                  <a16:creationId xmlns:a16="http://schemas.microsoft.com/office/drawing/2014/main" id="{C05C75D7-4258-49B9-958F-F2EEF0B840E0}"/>
                </a:ext>
              </a:extLst>
            </p:cNvPr>
            <p:cNvSpPr/>
            <p:nvPr/>
          </p:nvSpPr>
          <p:spPr bwMode="auto">
            <a:xfrm>
              <a:off x="6176201" y="4576024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>
                  <a:solidFill>
                    <a:schemeClr val="bg1"/>
                  </a:solidFill>
                </a:rPr>
                <a:t>测试</a:t>
              </a:r>
              <a:endParaRPr lang="en-US" altLang="zh-CN" sz="1750" b="1" dirty="0">
                <a:solidFill>
                  <a:schemeClr val="bg1"/>
                </a:solidFill>
              </a:endParaRPr>
            </a:p>
          </p:txBody>
        </p:sp>
        <p:sp>
          <p:nvSpPr>
            <p:cNvPr id="197" name="íṥḷíďê">
              <a:extLst>
                <a:ext uri="{FF2B5EF4-FFF2-40B4-BE49-F238E27FC236}">
                  <a16:creationId xmlns:a16="http://schemas.microsoft.com/office/drawing/2014/main" id="{D4FCC7AE-5767-4EC4-BB68-B94457D3AE6D}"/>
                </a:ext>
              </a:extLst>
            </p:cNvPr>
            <p:cNvSpPr/>
            <p:nvPr/>
          </p:nvSpPr>
          <p:spPr bwMode="auto">
            <a:xfrm>
              <a:off x="6703850" y="3925648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/>
                <a:t>配置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8" name="ïś1ïḓè">
              <a:extLst>
                <a:ext uri="{FF2B5EF4-FFF2-40B4-BE49-F238E27FC236}">
                  <a16:creationId xmlns:a16="http://schemas.microsoft.com/office/drawing/2014/main" id="{F32E844B-E27C-4A92-9B60-95E4AD88D81F}"/>
                </a:ext>
              </a:extLst>
            </p:cNvPr>
            <p:cNvSpPr/>
            <p:nvPr/>
          </p:nvSpPr>
          <p:spPr bwMode="auto">
            <a:xfrm>
              <a:off x="7241823" y="3275272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 dirty="0"/>
                <a:t>安装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9" name="îśļïḍè">
              <a:extLst>
                <a:ext uri="{FF2B5EF4-FFF2-40B4-BE49-F238E27FC236}">
                  <a16:creationId xmlns:a16="http://schemas.microsoft.com/office/drawing/2014/main" id="{F812BB55-77DE-4E23-95E6-156A22FAD363}"/>
                </a:ext>
              </a:extLst>
            </p:cNvPr>
            <p:cNvSpPr/>
            <p:nvPr/>
          </p:nvSpPr>
          <p:spPr bwMode="auto">
            <a:xfrm>
              <a:off x="7743555" y="2624895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配置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0" name="ï$1íḍé">
              <a:extLst>
                <a:ext uri="{FF2B5EF4-FFF2-40B4-BE49-F238E27FC236}">
                  <a16:creationId xmlns:a16="http://schemas.microsoft.com/office/drawing/2014/main" id="{48245F16-84E7-4201-9485-85B5E5B15ECD}"/>
                </a:ext>
              </a:extLst>
            </p:cNvPr>
            <p:cNvSpPr/>
            <p:nvPr/>
          </p:nvSpPr>
          <p:spPr bwMode="auto">
            <a:xfrm>
              <a:off x="8263856" y="1974519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安装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1" name="îṥľïďê">
              <a:extLst>
                <a:ext uri="{FF2B5EF4-FFF2-40B4-BE49-F238E27FC236}">
                  <a16:creationId xmlns:a16="http://schemas.microsoft.com/office/drawing/2014/main" id="{920DFBAA-02E5-4206-86B0-FE10F93A7509}"/>
                </a:ext>
              </a:extLst>
            </p:cNvPr>
            <p:cNvSpPr/>
            <p:nvPr/>
          </p:nvSpPr>
          <p:spPr bwMode="auto">
            <a:xfrm>
              <a:off x="5220497" y="3438015"/>
              <a:ext cx="3741918" cy="1239562"/>
            </a:xfrm>
            <a:custGeom>
              <a:avLst/>
              <a:gdLst>
                <a:gd name="T0" fmla="*/ 179 w 203"/>
                <a:gd name="T1" fmla="*/ 82 h 82"/>
                <a:gd name="T2" fmla="*/ 203 w 203"/>
                <a:gd name="T3" fmla="*/ 29 h 82"/>
                <a:gd name="T4" fmla="*/ 65 w 203"/>
                <a:gd name="T5" fmla="*/ 27 h 82"/>
                <a:gd name="T6" fmla="*/ 59 w 203"/>
                <a:gd name="T7" fmla="*/ 0 h 82"/>
                <a:gd name="T8" fmla="*/ 59 w 203"/>
                <a:gd name="T9" fmla="*/ 0 h 82"/>
                <a:gd name="T10" fmla="*/ 0 w 203"/>
                <a:gd name="T11" fmla="*/ 80 h 82"/>
                <a:gd name="T12" fmla="*/ 61 w 203"/>
                <a:gd name="T13" fmla="*/ 82 h 82"/>
                <a:gd name="T14" fmla="*/ 179 w 203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82">
                  <a:moveTo>
                    <a:pt x="179" y="82"/>
                  </a:moveTo>
                  <a:lnTo>
                    <a:pt x="203" y="29"/>
                  </a:lnTo>
                  <a:lnTo>
                    <a:pt x="65" y="27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0" y="80"/>
                  </a:lnTo>
                  <a:lnTo>
                    <a:pt x="61" y="82"/>
                  </a:lnTo>
                  <a:lnTo>
                    <a:pt x="179" y="8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2" name="i$ḻíḋè">
              <a:extLst>
                <a:ext uri="{FF2B5EF4-FFF2-40B4-BE49-F238E27FC236}">
                  <a16:creationId xmlns:a16="http://schemas.microsoft.com/office/drawing/2014/main" id="{430BE7EB-B6F0-4F05-80EA-1F517165029F}"/>
                </a:ext>
              </a:extLst>
            </p:cNvPr>
            <p:cNvSpPr/>
            <p:nvPr/>
          </p:nvSpPr>
          <p:spPr bwMode="auto">
            <a:xfrm>
              <a:off x="8032938" y="1974519"/>
              <a:ext cx="1398307" cy="247664"/>
            </a:xfrm>
            <a:prstGeom prst="triangle">
              <a:avLst>
                <a:gd name="adj" fmla="val 14726"/>
              </a:avLst>
            </a:pr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3" name="işľiḋe">
              <a:extLst>
                <a:ext uri="{FF2B5EF4-FFF2-40B4-BE49-F238E27FC236}">
                  <a16:creationId xmlns:a16="http://schemas.microsoft.com/office/drawing/2014/main" id="{E4DECB97-43D1-4D26-8C48-41447675AE79}"/>
                </a:ext>
              </a:extLst>
            </p:cNvPr>
            <p:cNvSpPr/>
            <p:nvPr/>
          </p:nvSpPr>
          <p:spPr bwMode="auto">
            <a:xfrm>
              <a:off x="3675422" y="1805421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4" name="iś1íďé">
              <a:extLst>
                <a:ext uri="{FF2B5EF4-FFF2-40B4-BE49-F238E27FC236}">
                  <a16:creationId xmlns:a16="http://schemas.microsoft.com/office/drawing/2014/main" id="{6E7EA96A-F20A-4912-AC31-63A0F19E66DE}"/>
                </a:ext>
              </a:extLst>
            </p:cNvPr>
            <p:cNvSpPr/>
            <p:nvPr/>
          </p:nvSpPr>
          <p:spPr bwMode="auto">
            <a:xfrm>
              <a:off x="3129452" y="2455797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5" name="ïŝlíḋe">
              <a:extLst>
                <a:ext uri="{FF2B5EF4-FFF2-40B4-BE49-F238E27FC236}">
                  <a16:creationId xmlns:a16="http://schemas.microsoft.com/office/drawing/2014/main" id="{66D30D6F-26C9-4C2C-BC01-900AC07DC57E}"/>
                </a:ext>
              </a:extLst>
            </p:cNvPr>
            <p:cNvSpPr/>
            <p:nvPr/>
          </p:nvSpPr>
          <p:spPr bwMode="auto">
            <a:xfrm>
              <a:off x="2576633" y="3106174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6" name="îSliďè">
              <a:extLst>
                <a:ext uri="{FF2B5EF4-FFF2-40B4-BE49-F238E27FC236}">
                  <a16:creationId xmlns:a16="http://schemas.microsoft.com/office/drawing/2014/main" id="{2F6D5554-EACD-4DDD-892F-2E5F97A9C421}"/>
                </a:ext>
              </a:extLst>
            </p:cNvPr>
            <p:cNvSpPr/>
            <p:nvPr/>
          </p:nvSpPr>
          <p:spPr bwMode="auto">
            <a:xfrm>
              <a:off x="2030696" y="3756550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7" name="îSliďé">
              <a:extLst>
                <a:ext uri="{FF2B5EF4-FFF2-40B4-BE49-F238E27FC236}">
                  <a16:creationId xmlns:a16="http://schemas.microsoft.com/office/drawing/2014/main" id="{2E278F3F-C8D8-4E2A-A3EA-29ADCF1A02AA}"/>
                </a:ext>
              </a:extLst>
            </p:cNvPr>
            <p:cNvSpPr/>
            <p:nvPr/>
          </p:nvSpPr>
          <p:spPr bwMode="auto">
            <a:xfrm>
              <a:off x="1484532" y="4406926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8" name="îs1iďé">
              <a:extLst>
                <a:ext uri="{FF2B5EF4-FFF2-40B4-BE49-F238E27FC236}">
                  <a16:creationId xmlns:a16="http://schemas.microsoft.com/office/drawing/2014/main" id="{EB74D0C2-5677-4F3F-A043-44D01A3F3D48}"/>
                </a:ext>
              </a:extLst>
            </p:cNvPr>
            <p:cNvSpPr/>
            <p:nvPr/>
          </p:nvSpPr>
          <p:spPr bwMode="auto">
            <a:xfrm>
              <a:off x="938530" y="5057302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9" name="ïṣḻïḋe">
              <a:extLst>
                <a:ext uri="{FF2B5EF4-FFF2-40B4-BE49-F238E27FC236}">
                  <a16:creationId xmlns:a16="http://schemas.microsoft.com/office/drawing/2014/main" id="{7709F84E-C33F-462F-B538-51CB71C9284E}"/>
                </a:ext>
              </a:extLst>
            </p:cNvPr>
            <p:cNvSpPr/>
            <p:nvPr/>
          </p:nvSpPr>
          <p:spPr bwMode="auto">
            <a:xfrm>
              <a:off x="4585947" y="2371737"/>
              <a:ext cx="377807" cy="377281"/>
            </a:xfrm>
            <a:custGeom>
              <a:avLst/>
              <a:gdLst>
                <a:gd name="T0" fmla="*/ 400 w 11264"/>
                <a:gd name="T1" fmla="*/ 7099 h 11264"/>
                <a:gd name="T2" fmla="*/ 4165 w 11264"/>
                <a:gd name="T3" fmla="*/ 7099 h 11264"/>
                <a:gd name="T4" fmla="*/ 4165 w 11264"/>
                <a:gd name="T5" fmla="*/ 10864 h 11264"/>
                <a:gd name="T6" fmla="*/ 4565 w 11264"/>
                <a:gd name="T7" fmla="*/ 11264 h 11264"/>
                <a:gd name="T8" fmla="*/ 6699 w 11264"/>
                <a:gd name="T9" fmla="*/ 11264 h 11264"/>
                <a:gd name="T10" fmla="*/ 7099 w 11264"/>
                <a:gd name="T11" fmla="*/ 10864 h 11264"/>
                <a:gd name="T12" fmla="*/ 7099 w 11264"/>
                <a:gd name="T13" fmla="*/ 7099 h 11264"/>
                <a:gd name="T14" fmla="*/ 10864 w 11264"/>
                <a:gd name="T15" fmla="*/ 7099 h 11264"/>
                <a:gd name="T16" fmla="*/ 11264 w 11264"/>
                <a:gd name="T17" fmla="*/ 6699 h 11264"/>
                <a:gd name="T18" fmla="*/ 11264 w 11264"/>
                <a:gd name="T19" fmla="*/ 4565 h 11264"/>
                <a:gd name="T20" fmla="*/ 10864 w 11264"/>
                <a:gd name="T21" fmla="*/ 4165 h 11264"/>
                <a:gd name="T22" fmla="*/ 7099 w 11264"/>
                <a:gd name="T23" fmla="*/ 4165 h 11264"/>
                <a:gd name="T24" fmla="*/ 7099 w 11264"/>
                <a:gd name="T25" fmla="*/ 400 h 11264"/>
                <a:gd name="T26" fmla="*/ 6699 w 11264"/>
                <a:gd name="T27" fmla="*/ 0 h 11264"/>
                <a:gd name="T28" fmla="*/ 4565 w 11264"/>
                <a:gd name="T29" fmla="*/ 0 h 11264"/>
                <a:gd name="T30" fmla="*/ 4165 w 11264"/>
                <a:gd name="T31" fmla="*/ 400 h 11264"/>
                <a:gd name="T32" fmla="*/ 4165 w 11264"/>
                <a:gd name="T33" fmla="*/ 4165 h 11264"/>
                <a:gd name="T34" fmla="*/ 400 w 11264"/>
                <a:gd name="T35" fmla="*/ 4165 h 11264"/>
                <a:gd name="T36" fmla="*/ 0 w 11264"/>
                <a:gd name="T37" fmla="*/ 4565 h 11264"/>
                <a:gd name="T38" fmla="*/ 0 w 11264"/>
                <a:gd name="T39" fmla="*/ 6699 h 11264"/>
                <a:gd name="T40" fmla="*/ 400 w 11264"/>
                <a:gd name="T41" fmla="*/ 7099 h 1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64" h="11264">
                  <a:moveTo>
                    <a:pt x="400" y="7099"/>
                  </a:moveTo>
                  <a:lnTo>
                    <a:pt x="4165" y="7099"/>
                  </a:lnTo>
                  <a:lnTo>
                    <a:pt x="4165" y="10864"/>
                  </a:lnTo>
                  <a:cubicBezTo>
                    <a:pt x="4165" y="11085"/>
                    <a:pt x="4344" y="11264"/>
                    <a:pt x="4565" y="11264"/>
                  </a:cubicBezTo>
                  <a:lnTo>
                    <a:pt x="6699" y="11264"/>
                  </a:lnTo>
                  <a:cubicBezTo>
                    <a:pt x="6920" y="11264"/>
                    <a:pt x="7099" y="11085"/>
                    <a:pt x="7099" y="10864"/>
                  </a:cubicBezTo>
                  <a:lnTo>
                    <a:pt x="7099" y="7099"/>
                  </a:lnTo>
                  <a:lnTo>
                    <a:pt x="10864" y="7099"/>
                  </a:lnTo>
                  <a:cubicBezTo>
                    <a:pt x="11085" y="7099"/>
                    <a:pt x="11264" y="6920"/>
                    <a:pt x="11264" y="6699"/>
                  </a:cubicBezTo>
                  <a:lnTo>
                    <a:pt x="11264" y="4565"/>
                  </a:lnTo>
                  <a:cubicBezTo>
                    <a:pt x="11264" y="4344"/>
                    <a:pt x="11085" y="4165"/>
                    <a:pt x="10864" y="4165"/>
                  </a:cubicBezTo>
                  <a:lnTo>
                    <a:pt x="7099" y="4165"/>
                  </a:lnTo>
                  <a:lnTo>
                    <a:pt x="7099" y="400"/>
                  </a:lnTo>
                  <a:cubicBezTo>
                    <a:pt x="7099" y="179"/>
                    <a:pt x="6920" y="0"/>
                    <a:pt x="6699" y="0"/>
                  </a:cubicBezTo>
                  <a:lnTo>
                    <a:pt x="4565" y="0"/>
                  </a:lnTo>
                  <a:cubicBezTo>
                    <a:pt x="4344" y="0"/>
                    <a:pt x="4165" y="179"/>
                    <a:pt x="4165" y="400"/>
                  </a:cubicBezTo>
                  <a:lnTo>
                    <a:pt x="4165" y="4165"/>
                  </a:lnTo>
                  <a:lnTo>
                    <a:pt x="400" y="4165"/>
                  </a:lnTo>
                  <a:cubicBezTo>
                    <a:pt x="179" y="4165"/>
                    <a:pt x="0" y="4344"/>
                    <a:pt x="0" y="4565"/>
                  </a:cubicBezTo>
                  <a:lnTo>
                    <a:pt x="0" y="6699"/>
                  </a:lnTo>
                  <a:cubicBezTo>
                    <a:pt x="0" y="6920"/>
                    <a:pt x="179" y="7099"/>
                    <a:pt x="400" y="709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0" name="îsḷïde">
              <a:extLst>
                <a:ext uri="{FF2B5EF4-FFF2-40B4-BE49-F238E27FC236}">
                  <a16:creationId xmlns:a16="http://schemas.microsoft.com/office/drawing/2014/main" id="{F7027C89-1BCC-4A00-9535-016DE4C49FD7}"/>
                </a:ext>
              </a:extLst>
            </p:cNvPr>
            <p:cNvSpPr/>
            <p:nvPr/>
          </p:nvSpPr>
          <p:spPr bwMode="auto">
            <a:xfrm>
              <a:off x="4069565" y="3014578"/>
              <a:ext cx="369969" cy="377806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  <a:gd name="connsiteX107" fmla="*/ 373273 h 605239"/>
                <a:gd name="connsiteY107" fmla="*/ 373273 h 605239"/>
                <a:gd name="connsiteX108" fmla="*/ 373273 h 605239"/>
                <a:gd name="connsiteY108" fmla="*/ 373273 h 605239"/>
                <a:gd name="connsiteX109" fmla="*/ 373273 h 605239"/>
                <a:gd name="connsiteY109" fmla="*/ 373273 h 605239"/>
                <a:gd name="connsiteX110" fmla="*/ 373273 h 605239"/>
                <a:gd name="connsiteY110" fmla="*/ 373273 h 605239"/>
                <a:gd name="connsiteX111" fmla="*/ 373273 h 605239"/>
                <a:gd name="connsiteY111" fmla="*/ 373273 h 605239"/>
                <a:gd name="connsiteX112" fmla="*/ 373273 h 605239"/>
                <a:gd name="connsiteY112" fmla="*/ 373273 h 605239"/>
                <a:gd name="connsiteX113" fmla="*/ 373273 h 605239"/>
                <a:gd name="connsiteY113" fmla="*/ 373273 h 605239"/>
                <a:gd name="connsiteX114" fmla="*/ 373273 h 605239"/>
                <a:gd name="connsiteY114" fmla="*/ 373273 h 605239"/>
                <a:gd name="connsiteX115" fmla="*/ 373273 h 605239"/>
                <a:gd name="connsiteY115" fmla="*/ 373273 h 605239"/>
                <a:gd name="connsiteX116" fmla="*/ 373273 h 605239"/>
                <a:gd name="connsiteY116" fmla="*/ 373273 h 605239"/>
                <a:gd name="connsiteX117" fmla="*/ 373273 h 605239"/>
                <a:gd name="connsiteY117" fmla="*/ 373273 h 605239"/>
                <a:gd name="connsiteX118" fmla="*/ 373273 h 605239"/>
                <a:gd name="connsiteY118" fmla="*/ 373273 h 605239"/>
                <a:gd name="connsiteX119" fmla="*/ 373273 h 605239"/>
                <a:gd name="connsiteY119" fmla="*/ 373273 h 605239"/>
                <a:gd name="connsiteX120" fmla="*/ 373273 h 605239"/>
                <a:gd name="connsiteY120" fmla="*/ 373273 h 605239"/>
                <a:gd name="connsiteX121" fmla="*/ 373273 h 605239"/>
                <a:gd name="connsiteY121" fmla="*/ 373273 h 605239"/>
                <a:gd name="connsiteX122" fmla="*/ 373273 h 605239"/>
                <a:gd name="connsiteY122" fmla="*/ 373273 h 605239"/>
                <a:gd name="connsiteX123" fmla="*/ 373273 h 605239"/>
                <a:gd name="connsiteY123" fmla="*/ 373273 h 605239"/>
                <a:gd name="connsiteX124" fmla="*/ 373273 h 605239"/>
                <a:gd name="connsiteY124" fmla="*/ 373273 h 605239"/>
                <a:gd name="connsiteX125" fmla="*/ 373273 h 605239"/>
                <a:gd name="connsiteY125" fmla="*/ 373273 h 605239"/>
                <a:gd name="connsiteX126" fmla="*/ 373273 h 605239"/>
                <a:gd name="connsiteY126" fmla="*/ 373273 h 605239"/>
                <a:gd name="connsiteX127" fmla="*/ 373273 h 605239"/>
                <a:gd name="connsiteY127" fmla="*/ 373273 h 605239"/>
                <a:gd name="connsiteX128" fmla="*/ 373273 h 605239"/>
                <a:gd name="connsiteY128" fmla="*/ 373273 h 605239"/>
                <a:gd name="connsiteX129" fmla="*/ 373273 h 605239"/>
                <a:gd name="connsiteY12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593733" h="606309">
                  <a:moveTo>
                    <a:pt x="353250" y="302855"/>
                  </a:moveTo>
                  <a:cubicBezTo>
                    <a:pt x="318468" y="302855"/>
                    <a:pt x="290232" y="331146"/>
                    <a:pt x="290232" y="365879"/>
                  </a:cubicBezTo>
                  <a:cubicBezTo>
                    <a:pt x="290232" y="374189"/>
                    <a:pt x="296964" y="380912"/>
                    <a:pt x="305285" y="380912"/>
                  </a:cubicBezTo>
                  <a:cubicBezTo>
                    <a:pt x="313607" y="380912"/>
                    <a:pt x="320338" y="374189"/>
                    <a:pt x="320338" y="365879"/>
                  </a:cubicBezTo>
                  <a:cubicBezTo>
                    <a:pt x="320338" y="347672"/>
                    <a:pt x="335111" y="333014"/>
                    <a:pt x="353250" y="333014"/>
                  </a:cubicBezTo>
                  <a:cubicBezTo>
                    <a:pt x="361665" y="333014"/>
                    <a:pt x="368397" y="326291"/>
                    <a:pt x="368397" y="317888"/>
                  </a:cubicBezTo>
                  <a:cubicBezTo>
                    <a:pt x="368397" y="309578"/>
                    <a:pt x="361665" y="302855"/>
                    <a:pt x="353250" y="302855"/>
                  </a:cubicBezTo>
                  <a:close/>
                  <a:moveTo>
                    <a:pt x="353250" y="265041"/>
                  </a:moveTo>
                  <a:cubicBezTo>
                    <a:pt x="409163" y="265041"/>
                    <a:pt x="454229" y="310232"/>
                    <a:pt x="454229" y="365879"/>
                  </a:cubicBezTo>
                  <a:cubicBezTo>
                    <a:pt x="454229" y="421527"/>
                    <a:pt x="408976" y="466717"/>
                    <a:pt x="353250" y="466717"/>
                  </a:cubicBezTo>
                  <a:cubicBezTo>
                    <a:pt x="297525" y="466717"/>
                    <a:pt x="252271" y="421527"/>
                    <a:pt x="252271" y="365879"/>
                  </a:cubicBezTo>
                  <a:cubicBezTo>
                    <a:pt x="252271" y="310232"/>
                    <a:pt x="297431" y="265041"/>
                    <a:pt x="353250" y="265041"/>
                  </a:cubicBezTo>
                  <a:close/>
                  <a:moveTo>
                    <a:pt x="427779" y="133781"/>
                  </a:moveTo>
                  <a:cubicBezTo>
                    <a:pt x="432818" y="131960"/>
                    <a:pt x="438547" y="132054"/>
                    <a:pt x="443784" y="134482"/>
                  </a:cubicBezTo>
                  <a:lnTo>
                    <a:pt x="473245" y="148209"/>
                  </a:lnTo>
                  <a:cubicBezTo>
                    <a:pt x="483720" y="153158"/>
                    <a:pt x="488209" y="165671"/>
                    <a:pt x="483346" y="176130"/>
                  </a:cubicBezTo>
                  <a:lnTo>
                    <a:pt x="470252" y="203957"/>
                  </a:lnTo>
                  <a:cubicBezTo>
                    <a:pt x="492231" y="219646"/>
                    <a:pt x="511123" y="240003"/>
                    <a:pt x="525526" y="264095"/>
                  </a:cubicBezTo>
                  <a:lnTo>
                    <a:pt x="554426" y="253636"/>
                  </a:lnTo>
                  <a:cubicBezTo>
                    <a:pt x="565368" y="249714"/>
                    <a:pt x="577340" y="255411"/>
                    <a:pt x="581361" y="266243"/>
                  </a:cubicBezTo>
                  <a:lnTo>
                    <a:pt x="592491" y="296592"/>
                  </a:lnTo>
                  <a:cubicBezTo>
                    <a:pt x="596419" y="307612"/>
                    <a:pt x="590714" y="319564"/>
                    <a:pt x="579865" y="323486"/>
                  </a:cubicBezTo>
                  <a:lnTo>
                    <a:pt x="550965" y="333945"/>
                  </a:lnTo>
                  <a:cubicBezTo>
                    <a:pt x="555455" y="361586"/>
                    <a:pt x="553958" y="389414"/>
                    <a:pt x="547224" y="415561"/>
                  </a:cubicBezTo>
                  <a:lnTo>
                    <a:pt x="575095" y="428634"/>
                  </a:lnTo>
                  <a:cubicBezTo>
                    <a:pt x="585570" y="433490"/>
                    <a:pt x="590059" y="445910"/>
                    <a:pt x="585102" y="456649"/>
                  </a:cubicBezTo>
                  <a:lnTo>
                    <a:pt x="571354" y="485970"/>
                  </a:lnTo>
                  <a:cubicBezTo>
                    <a:pt x="566397" y="496429"/>
                    <a:pt x="553958" y="500911"/>
                    <a:pt x="543483" y="496056"/>
                  </a:cubicBezTo>
                  <a:lnTo>
                    <a:pt x="515238" y="482982"/>
                  </a:lnTo>
                  <a:cubicBezTo>
                    <a:pt x="499526" y="504833"/>
                    <a:pt x="479137" y="523510"/>
                    <a:pt x="455007" y="537704"/>
                  </a:cubicBezTo>
                  <a:lnTo>
                    <a:pt x="465763" y="567026"/>
                  </a:lnTo>
                  <a:cubicBezTo>
                    <a:pt x="469784" y="578045"/>
                    <a:pt x="463986" y="589997"/>
                    <a:pt x="453137" y="593919"/>
                  </a:cubicBezTo>
                  <a:lnTo>
                    <a:pt x="422741" y="605032"/>
                  </a:lnTo>
                  <a:cubicBezTo>
                    <a:pt x="411798" y="609047"/>
                    <a:pt x="399827" y="603258"/>
                    <a:pt x="395805" y="592425"/>
                  </a:cubicBezTo>
                  <a:lnTo>
                    <a:pt x="385050" y="562823"/>
                  </a:lnTo>
                  <a:cubicBezTo>
                    <a:pt x="357646" y="567212"/>
                    <a:pt x="330056" y="565718"/>
                    <a:pt x="304149" y="558995"/>
                  </a:cubicBezTo>
                  <a:lnTo>
                    <a:pt x="290682" y="587756"/>
                  </a:lnTo>
                  <a:cubicBezTo>
                    <a:pt x="285725" y="598215"/>
                    <a:pt x="273192" y="602697"/>
                    <a:pt x="262717" y="597841"/>
                  </a:cubicBezTo>
                  <a:lnTo>
                    <a:pt x="233350" y="584114"/>
                  </a:lnTo>
                  <a:cubicBezTo>
                    <a:pt x="222875" y="579165"/>
                    <a:pt x="218385" y="566652"/>
                    <a:pt x="223249" y="556193"/>
                  </a:cubicBezTo>
                  <a:lnTo>
                    <a:pt x="236810" y="527338"/>
                  </a:lnTo>
                  <a:cubicBezTo>
                    <a:pt x="215112" y="511650"/>
                    <a:pt x="196407" y="491480"/>
                    <a:pt x="182284" y="467668"/>
                  </a:cubicBezTo>
                  <a:lnTo>
                    <a:pt x="152169" y="478687"/>
                  </a:lnTo>
                  <a:cubicBezTo>
                    <a:pt x="141133" y="482609"/>
                    <a:pt x="129161" y="476912"/>
                    <a:pt x="125233" y="466080"/>
                  </a:cubicBezTo>
                  <a:lnTo>
                    <a:pt x="114104" y="435731"/>
                  </a:lnTo>
                  <a:cubicBezTo>
                    <a:pt x="110082" y="424712"/>
                    <a:pt x="115881" y="412759"/>
                    <a:pt x="126730" y="408837"/>
                  </a:cubicBezTo>
                  <a:lnTo>
                    <a:pt x="156845" y="397818"/>
                  </a:lnTo>
                  <a:cubicBezTo>
                    <a:pt x="153852" y="379422"/>
                    <a:pt x="153478" y="361026"/>
                    <a:pt x="155629" y="342910"/>
                  </a:cubicBezTo>
                  <a:lnTo>
                    <a:pt x="158622" y="343097"/>
                  </a:lnTo>
                  <a:cubicBezTo>
                    <a:pt x="181162" y="344030"/>
                    <a:pt x="200522" y="327408"/>
                    <a:pt x="203141" y="305370"/>
                  </a:cubicBezTo>
                  <a:cubicBezTo>
                    <a:pt x="207723" y="303876"/>
                    <a:pt x="212119" y="302195"/>
                    <a:pt x="216515" y="300515"/>
                  </a:cubicBezTo>
                  <a:cubicBezTo>
                    <a:pt x="220349" y="304063"/>
                    <a:pt x="224745" y="306958"/>
                    <a:pt x="229609" y="308919"/>
                  </a:cubicBezTo>
                  <a:cubicBezTo>
                    <a:pt x="219227" y="330957"/>
                    <a:pt x="214831" y="355983"/>
                    <a:pt x="217824" y="381943"/>
                  </a:cubicBezTo>
                  <a:cubicBezTo>
                    <a:pt x="226709" y="456462"/>
                    <a:pt x="294329" y="509876"/>
                    <a:pt x="368963" y="501192"/>
                  </a:cubicBezTo>
                  <a:cubicBezTo>
                    <a:pt x="443691" y="492320"/>
                    <a:pt x="497188" y="424899"/>
                    <a:pt x="488490" y="350287"/>
                  </a:cubicBezTo>
                  <a:cubicBezTo>
                    <a:pt x="479605" y="275675"/>
                    <a:pt x="411985" y="222260"/>
                    <a:pt x="337351" y="231038"/>
                  </a:cubicBezTo>
                  <a:cubicBezTo>
                    <a:pt x="324632" y="232532"/>
                    <a:pt x="312473" y="235707"/>
                    <a:pt x="301156" y="240376"/>
                  </a:cubicBezTo>
                  <a:cubicBezTo>
                    <a:pt x="299660" y="236268"/>
                    <a:pt x="297509" y="232345"/>
                    <a:pt x="294797" y="228890"/>
                  </a:cubicBezTo>
                  <a:cubicBezTo>
                    <a:pt x="297041" y="224688"/>
                    <a:pt x="299005" y="220393"/>
                    <a:pt x="300782" y="216097"/>
                  </a:cubicBezTo>
                  <a:cubicBezTo>
                    <a:pt x="311164" y="215817"/>
                    <a:pt x="320891" y="211802"/>
                    <a:pt x="328466" y="204891"/>
                  </a:cubicBezTo>
                  <a:cubicBezTo>
                    <a:pt x="336977" y="197141"/>
                    <a:pt x="341934" y="186589"/>
                    <a:pt x="342402" y="175103"/>
                  </a:cubicBezTo>
                  <a:lnTo>
                    <a:pt x="342776" y="166978"/>
                  </a:lnTo>
                  <a:cubicBezTo>
                    <a:pt x="363164" y="165764"/>
                    <a:pt x="383460" y="167912"/>
                    <a:pt x="402820" y="172768"/>
                  </a:cubicBezTo>
                  <a:lnTo>
                    <a:pt x="415913" y="144567"/>
                  </a:lnTo>
                  <a:cubicBezTo>
                    <a:pt x="418392" y="139338"/>
                    <a:pt x="422741" y="135602"/>
                    <a:pt x="427779" y="133781"/>
                  </a:cubicBezTo>
                  <a:close/>
                  <a:moveTo>
                    <a:pt x="159906" y="88589"/>
                  </a:moveTo>
                  <a:cubicBezTo>
                    <a:pt x="142487" y="87818"/>
                    <a:pt x="124764" y="93678"/>
                    <a:pt x="110828" y="106378"/>
                  </a:cubicBezTo>
                  <a:cubicBezTo>
                    <a:pt x="96145" y="119731"/>
                    <a:pt x="88663" y="138127"/>
                    <a:pt x="88663" y="156523"/>
                  </a:cubicBezTo>
                  <a:cubicBezTo>
                    <a:pt x="88663" y="172958"/>
                    <a:pt x="94555" y="189393"/>
                    <a:pt x="106526" y="202467"/>
                  </a:cubicBezTo>
                  <a:cubicBezTo>
                    <a:pt x="131965" y="230294"/>
                    <a:pt x="175081" y="232162"/>
                    <a:pt x="202764" y="206762"/>
                  </a:cubicBezTo>
                  <a:cubicBezTo>
                    <a:pt x="217448" y="193409"/>
                    <a:pt x="224930" y="175013"/>
                    <a:pt x="224930" y="156523"/>
                  </a:cubicBezTo>
                  <a:cubicBezTo>
                    <a:pt x="224930" y="140088"/>
                    <a:pt x="219132" y="123653"/>
                    <a:pt x="207160" y="110580"/>
                  </a:cubicBezTo>
                  <a:cubicBezTo>
                    <a:pt x="194441" y="96760"/>
                    <a:pt x="177325" y="89359"/>
                    <a:pt x="159906" y="88589"/>
                  </a:cubicBezTo>
                  <a:close/>
                  <a:moveTo>
                    <a:pt x="153289" y="17"/>
                  </a:moveTo>
                  <a:lnTo>
                    <a:pt x="173678" y="951"/>
                  </a:lnTo>
                  <a:cubicBezTo>
                    <a:pt x="180786" y="1325"/>
                    <a:pt x="186304" y="7114"/>
                    <a:pt x="186304" y="14118"/>
                  </a:cubicBezTo>
                  <a:lnTo>
                    <a:pt x="186304" y="14771"/>
                  </a:lnTo>
                  <a:lnTo>
                    <a:pt x="185462" y="34755"/>
                  </a:lnTo>
                  <a:cubicBezTo>
                    <a:pt x="201923" y="38677"/>
                    <a:pt x="217729" y="45774"/>
                    <a:pt x="231851" y="56232"/>
                  </a:cubicBezTo>
                  <a:lnTo>
                    <a:pt x="246535" y="42786"/>
                  </a:lnTo>
                  <a:cubicBezTo>
                    <a:pt x="251866" y="37930"/>
                    <a:pt x="260283" y="38303"/>
                    <a:pt x="265240" y="43626"/>
                  </a:cubicBezTo>
                  <a:lnTo>
                    <a:pt x="279082" y="58660"/>
                  </a:lnTo>
                  <a:cubicBezTo>
                    <a:pt x="281420" y="61275"/>
                    <a:pt x="282542" y="64450"/>
                    <a:pt x="282542" y="67625"/>
                  </a:cubicBezTo>
                  <a:cubicBezTo>
                    <a:pt x="282542" y="71173"/>
                    <a:pt x="281233" y="74722"/>
                    <a:pt x="278334" y="77337"/>
                  </a:cubicBezTo>
                  <a:lnTo>
                    <a:pt x="263744" y="90690"/>
                  </a:lnTo>
                  <a:cubicBezTo>
                    <a:pt x="273096" y="105537"/>
                    <a:pt x="278988" y="121973"/>
                    <a:pt x="281420" y="138781"/>
                  </a:cubicBezTo>
                  <a:lnTo>
                    <a:pt x="301061" y="139621"/>
                  </a:lnTo>
                  <a:cubicBezTo>
                    <a:pt x="308169" y="139995"/>
                    <a:pt x="313593" y="145878"/>
                    <a:pt x="313593" y="152788"/>
                  </a:cubicBezTo>
                  <a:lnTo>
                    <a:pt x="313593" y="153442"/>
                  </a:lnTo>
                  <a:lnTo>
                    <a:pt x="312751" y="173892"/>
                  </a:lnTo>
                  <a:cubicBezTo>
                    <a:pt x="312377" y="181083"/>
                    <a:pt x="306298" y="186779"/>
                    <a:pt x="298910" y="186405"/>
                  </a:cubicBezTo>
                  <a:lnTo>
                    <a:pt x="279456" y="185565"/>
                  </a:lnTo>
                  <a:cubicBezTo>
                    <a:pt x="275622" y="202093"/>
                    <a:pt x="268327" y="218061"/>
                    <a:pt x="257758" y="232162"/>
                  </a:cubicBezTo>
                  <a:lnTo>
                    <a:pt x="270852" y="246449"/>
                  </a:lnTo>
                  <a:cubicBezTo>
                    <a:pt x="273190" y="249064"/>
                    <a:pt x="274312" y="252145"/>
                    <a:pt x="274312" y="255414"/>
                  </a:cubicBezTo>
                  <a:cubicBezTo>
                    <a:pt x="274312" y="258869"/>
                    <a:pt x="273003" y="262511"/>
                    <a:pt x="270104" y="265126"/>
                  </a:cubicBezTo>
                  <a:lnTo>
                    <a:pt x="255046" y="278946"/>
                  </a:lnTo>
                  <a:cubicBezTo>
                    <a:pt x="249621" y="283802"/>
                    <a:pt x="241297" y="283428"/>
                    <a:pt x="236340" y="278106"/>
                  </a:cubicBezTo>
                  <a:lnTo>
                    <a:pt x="223247" y="263724"/>
                  </a:lnTo>
                  <a:cubicBezTo>
                    <a:pt x="208282" y="272970"/>
                    <a:pt x="191635" y="278853"/>
                    <a:pt x="174800" y="281187"/>
                  </a:cubicBezTo>
                  <a:lnTo>
                    <a:pt x="173958" y="300610"/>
                  </a:lnTo>
                  <a:cubicBezTo>
                    <a:pt x="173584" y="307801"/>
                    <a:pt x="167505" y="313590"/>
                    <a:pt x="160117" y="313217"/>
                  </a:cubicBezTo>
                  <a:lnTo>
                    <a:pt x="139634" y="312283"/>
                  </a:lnTo>
                  <a:cubicBezTo>
                    <a:pt x="132526" y="311909"/>
                    <a:pt x="127102" y="306120"/>
                    <a:pt x="127102" y="299116"/>
                  </a:cubicBezTo>
                  <a:lnTo>
                    <a:pt x="127102" y="298463"/>
                  </a:lnTo>
                  <a:lnTo>
                    <a:pt x="128037" y="279039"/>
                  </a:lnTo>
                  <a:cubicBezTo>
                    <a:pt x="111577" y="275211"/>
                    <a:pt x="95771" y="267834"/>
                    <a:pt x="81648" y="257281"/>
                  </a:cubicBezTo>
                  <a:lnTo>
                    <a:pt x="67058" y="270635"/>
                  </a:lnTo>
                  <a:cubicBezTo>
                    <a:pt x="61727" y="275491"/>
                    <a:pt x="53403" y="275117"/>
                    <a:pt x="48353" y="269701"/>
                  </a:cubicBezTo>
                  <a:lnTo>
                    <a:pt x="34511" y="254667"/>
                  </a:lnTo>
                  <a:cubicBezTo>
                    <a:pt x="32173" y="252052"/>
                    <a:pt x="31051" y="248970"/>
                    <a:pt x="31051" y="245702"/>
                  </a:cubicBezTo>
                  <a:cubicBezTo>
                    <a:pt x="31051" y="242247"/>
                    <a:pt x="32453" y="238605"/>
                    <a:pt x="35259" y="235990"/>
                  </a:cubicBezTo>
                  <a:lnTo>
                    <a:pt x="50036" y="222544"/>
                  </a:lnTo>
                  <a:cubicBezTo>
                    <a:pt x="40777" y="207696"/>
                    <a:pt x="35072" y="191261"/>
                    <a:pt x="32640" y="174639"/>
                  </a:cubicBezTo>
                  <a:lnTo>
                    <a:pt x="12626" y="173705"/>
                  </a:lnTo>
                  <a:cubicBezTo>
                    <a:pt x="5518" y="173332"/>
                    <a:pt x="0" y="167542"/>
                    <a:pt x="0" y="160539"/>
                  </a:cubicBezTo>
                  <a:lnTo>
                    <a:pt x="0" y="159885"/>
                  </a:lnTo>
                  <a:lnTo>
                    <a:pt x="842" y="139621"/>
                  </a:lnTo>
                  <a:cubicBezTo>
                    <a:pt x="1216" y="132431"/>
                    <a:pt x="7388" y="126642"/>
                    <a:pt x="14683" y="127015"/>
                  </a:cubicBezTo>
                  <a:lnTo>
                    <a:pt x="34885" y="127949"/>
                  </a:lnTo>
                  <a:cubicBezTo>
                    <a:pt x="38813" y="111514"/>
                    <a:pt x="46015" y="95826"/>
                    <a:pt x="56490" y="81819"/>
                  </a:cubicBezTo>
                  <a:lnTo>
                    <a:pt x="42741" y="66878"/>
                  </a:lnTo>
                  <a:cubicBezTo>
                    <a:pt x="40403" y="64263"/>
                    <a:pt x="39281" y="61182"/>
                    <a:pt x="39281" y="57913"/>
                  </a:cubicBezTo>
                  <a:cubicBezTo>
                    <a:pt x="39281" y="54458"/>
                    <a:pt x="40684" y="50816"/>
                    <a:pt x="43490" y="48202"/>
                  </a:cubicBezTo>
                  <a:lnTo>
                    <a:pt x="58641" y="34381"/>
                  </a:lnTo>
                  <a:cubicBezTo>
                    <a:pt x="63972" y="29526"/>
                    <a:pt x="72296" y="29899"/>
                    <a:pt x="77346" y="35315"/>
                  </a:cubicBezTo>
                  <a:lnTo>
                    <a:pt x="90627" y="50256"/>
                  </a:lnTo>
                  <a:cubicBezTo>
                    <a:pt x="105591" y="41011"/>
                    <a:pt x="121864" y="35128"/>
                    <a:pt x="138512" y="32794"/>
                  </a:cubicBezTo>
                  <a:lnTo>
                    <a:pt x="139447" y="12624"/>
                  </a:lnTo>
                  <a:cubicBezTo>
                    <a:pt x="139821" y="5433"/>
                    <a:pt x="145901" y="-356"/>
                    <a:pt x="153289" y="17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1" name="îṣḻïḓè">
              <a:extLst>
                <a:ext uri="{FF2B5EF4-FFF2-40B4-BE49-F238E27FC236}">
                  <a16:creationId xmlns:a16="http://schemas.microsoft.com/office/drawing/2014/main" id="{30C8A656-A69C-4844-9B4C-38593487F7D6}"/>
                </a:ext>
              </a:extLst>
            </p:cNvPr>
            <p:cNvSpPr/>
            <p:nvPr/>
          </p:nvSpPr>
          <p:spPr bwMode="auto">
            <a:xfrm>
              <a:off x="3563916" y="3658051"/>
              <a:ext cx="377806" cy="377072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81741" h="580612">
                  <a:moveTo>
                    <a:pt x="291612" y="187916"/>
                  </a:moveTo>
                  <a:cubicBezTo>
                    <a:pt x="304876" y="187916"/>
                    <a:pt x="315648" y="198758"/>
                    <a:pt x="315648" y="212088"/>
                  </a:cubicBezTo>
                  <a:lnTo>
                    <a:pt x="315648" y="491836"/>
                  </a:lnTo>
                  <a:lnTo>
                    <a:pt x="331227" y="473974"/>
                  </a:lnTo>
                  <a:cubicBezTo>
                    <a:pt x="339863" y="463932"/>
                    <a:pt x="355086" y="462866"/>
                    <a:pt x="365145" y="471574"/>
                  </a:cubicBezTo>
                  <a:cubicBezTo>
                    <a:pt x="375116" y="480372"/>
                    <a:pt x="376184" y="495657"/>
                    <a:pt x="367460" y="505699"/>
                  </a:cubicBezTo>
                  <a:lnTo>
                    <a:pt x="309773" y="572348"/>
                  </a:lnTo>
                  <a:cubicBezTo>
                    <a:pt x="305143" y="577502"/>
                    <a:pt x="298556" y="580612"/>
                    <a:pt x="291612" y="580612"/>
                  </a:cubicBezTo>
                  <a:cubicBezTo>
                    <a:pt x="284579" y="580612"/>
                    <a:pt x="278080" y="577680"/>
                    <a:pt x="273451" y="572348"/>
                  </a:cubicBezTo>
                  <a:lnTo>
                    <a:pt x="215764" y="505699"/>
                  </a:lnTo>
                  <a:cubicBezTo>
                    <a:pt x="207039" y="495657"/>
                    <a:pt x="208108" y="480372"/>
                    <a:pt x="218078" y="471574"/>
                  </a:cubicBezTo>
                  <a:cubicBezTo>
                    <a:pt x="228049" y="462866"/>
                    <a:pt x="243272" y="463932"/>
                    <a:pt x="252085" y="473974"/>
                  </a:cubicBezTo>
                  <a:lnTo>
                    <a:pt x="267486" y="491747"/>
                  </a:lnTo>
                  <a:lnTo>
                    <a:pt x="267486" y="212088"/>
                  </a:lnTo>
                  <a:cubicBezTo>
                    <a:pt x="267486" y="198758"/>
                    <a:pt x="278258" y="187916"/>
                    <a:pt x="291612" y="187916"/>
                  </a:cubicBezTo>
                  <a:close/>
                  <a:moveTo>
                    <a:pt x="329499" y="0"/>
                  </a:moveTo>
                  <a:cubicBezTo>
                    <a:pt x="426248" y="0"/>
                    <a:pt x="465322" y="80426"/>
                    <a:pt x="473332" y="108153"/>
                  </a:cubicBezTo>
                  <a:cubicBezTo>
                    <a:pt x="535280" y="120684"/>
                    <a:pt x="581474" y="175693"/>
                    <a:pt x="581741" y="241190"/>
                  </a:cubicBezTo>
                  <a:cubicBezTo>
                    <a:pt x="581741" y="315840"/>
                    <a:pt x="521306" y="376537"/>
                    <a:pt x="446987" y="376537"/>
                  </a:cubicBezTo>
                  <a:lnTo>
                    <a:pt x="372756" y="376537"/>
                  </a:lnTo>
                  <a:cubicBezTo>
                    <a:pt x="359316" y="376537"/>
                    <a:pt x="348546" y="365606"/>
                    <a:pt x="348546" y="352276"/>
                  </a:cubicBezTo>
                  <a:cubicBezTo>
                    <a:pt x="348546" y="338857"/>
                    <a:pt x="359316" y="327926"/>
                    <a:pt x="372756" y="327926"/>
                  </a:cubicBezTo>
                  <a:lnTo>
                    <a:pt x="446987" y="327926"/>
                  </a:lnTo>
                  <a:cubicBezTo>
                    <a:pt x="494605" y="327926"/>
                    <a:pt x="533322" y="289090"/>
                    <a:pt x="533322" y="241190"/>
                  </a:cubicBezTo>
                  <a:cubicBezTo>
                    <a:pt x="533322" y="195334"/>
                    <a:pt x="497720" y="157298"/>
                    <a:pt x="452238" y="154632"/>
                  </a:cubicBezTo>
                  <a:cubicBezTo>
                    <a:pt x="440934" y="153921"/>
                    <a:pt x="431589" y="145478"/>
                    <a:pt x="429809" y="134192"/>
                  </a:cubicBezTo>
                  <a:cubicBezTo>
                    <a:pt x="421709" y="84692"/>
                    <a:pt x="379609" y="48789"/>
                    <a:pt x="329677" y="48789"/>
                  </a:cubicBezTo>
                  <a:cubicBezTo>
                    <a:pt x="279567" y="48789"/>
                    <a:pt x="238001" y="84781"/>
                    <a:pt x="229457" y="134192"/>
                  </a:cubicBezTo>
                  <a:cubicBezTo>
                    <a:pt x="226520" y="151521"/>
                    <a:pt x="212190" y="162807"/>
                    <a:pt x="192964" y="151077"/>
                  </a:cubicBezTo>
                  <a:cubicBezTo>
                    <a:pt x="178011" y="141834"/>
                    <a:pt x="160922" y="136947"/>
                    <a:pt x="143299" y="136947"/>
                  </a:cubicBezTo>
                  <a:cubicBezTo>
                    <a:pt x="90964" y="136947"/>
                    <a:pt x="48419" y="179693"/>
                    <a:pt x="48419" y="232303"/>
                  </a:cubicBezTo>
                  <a:cubicBezTo>
                    <a:pt x="48419" y="284913"/>
                    <a:pt x="90964" y="327748"/>
                    <a:pt x="143299" y="327748"/>
                  </a:cubicBezTo>
                  <a:lnTo>
                    <a:pt x="218776" y="327748"/>
                  </a:lnTo>
                  <a:cubicBezTo>
                    <a:pt x="232216" y="327748"/>
                    <a:pt x="242986" y="338590"/>
                    <a:pt x="242986" y="352009"/>
                  </a:cubicBezTo>
                  <a:cubicBezTo>
                    <a:pt x="242986" y="365429"/>
                    <a:pt x="232216" y="376271"/>
                    <a:pt x="218776" y="376271"/>
                  </a:cubicBezTo>
                  <a:lnTo>
                    <a:pt x="143299" y="376271"/>
                  </a:lnTo>
                  <a:cubicBezTo>
                    <a:pt x="64262" y="376271"/>
                    <a:pt x="0" y="311574"/>
                    <a:pt x="0" y="232214"/>
                  </a:cubicBezTo>
                  <a:cubicBezTo>
                    <a:pt x="0" y="152854"/>
                    <a:pt x="64262" y="88158"/>
                    <a:pt x="143210" y="88158"/>
                  </a:cubicBezTo>
                  <a:cubicBezTo>
                    <a:pt x="159231" y="88158"/>
                    <a:pt x="174896" y="90735"/>
                    <a:pt x="189849" y="95978"/>
                  </a:cubicBezTo>
                  <a:cubicBezTo>
                    <a:pt x="198749" y="73050"/>
                    <a:pt x="238891" y="0"/>
                    <a:pt x="32949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2" name="iş1iḑe">
              <a:extLst>
                <a:ext uri="{FF2B5EF4-FFF2-40B4-BE49-F238E27FC236}">
                  <a16:creationId xmlns:a16="http://schemas.microsoft.com/office/drawing/2014/main" id="{79D5FAF9-096B-4C61-A299-6A26A276E128}"/>
                </a:ext>
              </a:extLst>
            </p:cNvPr>
            <p:cNvSpPr/>
            <p:nvPr/>
          </p:nvSpPr>
          <p:spPr bwMode="auto">
            <a:xfrm>
              <a:off x="3025037" y="4301073"/>
              <a:ext cx="377806" cy="377236"/>
            </a:xfrm>
            <a:custGeom>
              <a:avLst/>
              <a:gdLst>
                <a:gd name="connsiteX0" fmla="*/ 303820 w 607639"/>
                <a:gd name="connsiteY0" fmla="*/ 278099 h 606722"/>
                <a:gd name="connsiteX1" fmla="*/ 329118 w 607639"/>
                <a:gd name="connsiteY1" fmla="*/ 303362 h 606722"/>
                <a:gd name="connsiteX2" fmla="*/ 303820 w 607639"/>
                <a:gd name="connsiteY2" fmla="*/ 328625 h 606722"/>
                <a:gd name="connsiteX3" fmla="*/ 278522 w 607639"/>
                <a:gd name="connsiteY3" fmla="*/ 303362 h 606722"/>
                <a:gd name="connsiteX4" fmla="*/ 303820 w 607639"/>
                <a:gd name="connsiteY4" fmla="*/ 278099 h 606722"/>
                <a:gd name="connsiteX5" fmla="*/ 303775 w 607639"/>
                <a:gd name="connsiteY5" fmla="*/ 252735 h 606722"/>
                <a:gd name="connsiteX6" fmla="*/ 253140 w 607639"/>
                <a:gd name="connsiteY6" fmla="*/ 303317 h 606722"/>
                <a:gd name="connsiteX7" fmla="*/ 303775 w 607639"/>
                <a:gd name="connsiteY7" fmla="*/ 353900 h 606722"/>
                <a:gd name="connsiteX8" fmla="*/ 354410 w 607639"/>
                <a:gd name="connsiteY8" fmla="*/ 303317 h 606722"/>
                <a:gd name="connsiteX9" fmla="*/ 303775 w 607639"/>
                <a:gd name="connsiteY9" fmla="*/ 252735 h 606722"/>
                <a:gd name="connsiteX10" fmla="*/ 303775 w 607639"/>
                <a:gd name="connsiteY10" fmla="*/ 202241 h 606722"/>
                <a:gd name="connsiteX11" fmla="*/ 405045 w 607639"/>
                <a:gd name="connsiteY11" fmla="*/ 303317 h 606722"/>
                <a:gd name="connsiteX12" fmla="*/ 303775 w 607639"/>
                <a:gd name="connsiteY12" fmla="*/ 404482 h 606722"/>
                <a:gd name="connsiteX13" fmla="*/ 202593 w 607639"/>
                <a:gd name="connsiteY13" fmla="*/ 303317 h 606722"/>
                <a:gd name="connsiteX14" fmla="*/ 303775 w 607639"/>
                <a:gd name="connsiteY14" fmla="*/ 202241 h 606722"/>
                <a:gd name="connsiteX15" fmla="*/ 303775 w 607639"/>
                <a:gd name="connsiteY15" fmla="*/ 151703 h 606722"/>
                <a:gd name="connsiteX16" fmla="*/ 151932 w 607639"/>
                <a:gd name="connsiteY16" fmla="*/ 303317 h 606722"/>
                <a:gd name="connsiteX17" fmla="*/ 303775 w 607639"/>
                <a:gd name="connsiteY17" fmla="*/ 455019 h 606722"/>
                <a:gd name="connsiteX18" fmla="*/ 455707 w 607639"/>
                <a:gd name="connsiteY18" fmla="*/ 303317 h 606722"/>
                <a:gd name="connsiteX19" fmla="*/ 303775 w 607639"/>
                <a:gd name="connsiteY19" fmla="*/ 151703 h 606722"/>
                <a:gd name="connsiteX20" fmla="*/ 253131 w 607639"/>
                <a:gd name="connsiteY20" fmla="*/ 0 h 606722"/>
                <a:gd name="connsiteX21" fmla="*/ 354419 w 607639"/>
                <a:gd name="connsiteY21" fmla="*/ 0 h 606722"/>
                <a:gd name="connsiteX22" fmla="*/ 379786 w 607639"/>
                <a:gd name="connsiteY22" fmla="*/ 25239 h 606722"/>
                <a:gd name="connsiteX23" fmla="*/ 379786 w 607639"/>
                <a:gd name="connsiteY23" fmla="*/ 62387 h 606722"/>
                <a:gd name="connsiteX24" fmla="*/ 420639 w 607639"/>
                <a:gd name="connsiteY24" fmla="*/ 79451 h 606722"/>
                <a:gd name="connsiteX25" fmla="*/ 446985 w 607639"/>
                <a:gd name="connsiteY25" fmla="*/ 53145 h 606722"/>
                <a:gd name="connsiteX26" fmla="*/ 482854 w 607639"/>
                <a:gd name="connsiteY26" fmla="*/ 53145 h 606722"/>
                <a:gd name="connsiteX27" fmla="*/ 554414 w 607639"/>
                <a:gd name="connsiteY27" fmla="*/ 124597 h 606722"/>
                <a:gd name="connsiteX28" fmla="*/ 554414 w 607639"/>
                <a:gd name="connsiteY28" fmla="*/ 160323 h 606722"/>
                <a:gd name="connsiteX29" fmla="*/ 528069 w 607639"/>
                <a:gd name="connsiteY29" fmla="*/ 186629 h 606722"/>
                <a:gd name="connsiteX30" fmla="*/ 545158 w 607639"/>
                <a:gd name="connsiteY30" fmla="*/ 227510 h 606722"/>
                <a:gd name="connsiteX31" fmla="*/ 582273 w 607639"/>
                <a:gd name="connsiteY31" fmla="*/ 227510 h 606722"/>
                <a:gd name="connsiteX32" fmla="*/ 607639 w 607639"/>
                <a:gd name="connsiteY32" fmla="*/ 252749 h 606722"/>
                <a:gd name="connsiteX33" fmla="*/ 607639 w 607639"/>
                <a:gd name="connsiteY33" fmla="*/ 353884 h 606722"/>
                <a:gd name="connsiteX34" fmla="*/ 582273 w 607639"/>
                <a:gd name="connsiteY34" fmla="*/ 379212 h 606722"/>
                <a:gd name="connsiteX35" fmla="*/ 545158 w 607639"/>
                <a:gd name="connsiteY35" fmla="*/ 379212 h 606722"/>
                <a:gd name="connsiteX36" fmla="*/ 528069 w 607639"/>
                <a:gd name="connsiteY36" fmla="*/ 420004 h 606722"/>
                <a:gd name="connsiteX37" fmla="*/ 554414 w 607639"/>
                <a:gd name="connsiteY37" fmla="*/ 446310 h 606722"/>
                <a:gd name="connsiteX38" fmla="*/ 554414 w 607639"/>
                <a:gd name="connsiteY38" fmla="*/ 482125 h 606722"/>
                <a:gd name="connsiteX39" fmla="*/ 482854 w 607639"/>
                <a:gd name="connsiteY39" fmla="*/ 553577 h 606722"/>
                <a:gd name="connsiteX40" fmla="*/ 446985 w 607639"/>
                <a:gd name="connsiteY40" fmla="*/ 553577 h 606722"/>
                <a:gd name="connsiteX41" fmla="*/ 420639 w 607639"/>
                <a:gd name="connsiteY41" fmla="*/ 527271 h 606722"/>
                <a:gd name="connsiteX42" fmla="*/ 379786 w 607639"/>
                <a:gd name="connsiteY42" fmla="*/ 544246 h 606722"/>
                <a:gd name="connsiteX43" fmla="*/ 379786 w 607639"/>
                <a:gd name="connsiteY43" fmla="*/ 581394 h 606722"/>
                <a:gd name="connsiteX44" fmla="*/ 354419 w 607639"/>
                <a:gd name="connsiteY44" fmla="*/ 606722 h 606722"/>
                <a:gd name="connsiteX45" fmla="*/ 253131 w 607639"/>
                <a:gd name="connsiteY45" fmla="*/ 606722 h 606722"/>
                <a:gd name="connsiteX46" fmla="*/ 227854 w 607639"/>
                <a:gd name="connsiteY46" fmla="*/ 581394 h 606722"/>
                <a:gd name="connsiteX47" fmla="*/ 227854 w 607639"/>
                <a:gd name="connsiteY47" fmla="*/ 544246 h 606722"/>
                <a:gd name="connsiteX48" fmla="*/ 186911 w 607639"/>
                <a:gd name="connsiteY48" fmla="*/ 527271 h 606722"/>
                <a:gd name="connsiteX49" fmla="*/ 160566 w 607639"/>
                <a:gd name="connsiteY49" fmla="*/ 553577 h 606722"/>
                <a:gd name="connsiteX50" fmla="*/ 124786 w 607639"/>
                <a:gd name="connsiteY50" fmla="*/ 553577 h 606722"/>
                <a:gd name="connsiteX51" fmla="*/ 53225 w 607639"/>
                <a:gd name="connsiteY51" fmla="*/ 482125 h 606722"/>
                <a:gd name="connsiteX52" fmla="*/ 53225 w 607639"/>
                <a:gd name="connsiteY52" fmla="*/ 446310 h 606722"/>
                <a:gd name="connsiteX53" fmla="*/ 79482 w 607639"/>
                <a:gd name="connsiteY53" fmla="*/ 420004 h 606722"/>
                <a:gd name="connsiteX54" fmla="*/ 62482 w 607639"/>
                <a:gd name="connsiteY54" fmla="*/ 379212 h 606722"/>
                <a:gd name="connsiteX55" fmla="*/ 25278 w 607639"/>
                <a:gd name="connsiteY55" fmla="*/ 379212 h 606722"/>
                <a:gd name="connsiteX56" fmla="*/ 0 w 607639"/>
                <a:gd name="connsiteY56" fmla="*/ 353884 h 606722"/>
                <a:gd name="connsiteX57" fmla="*/ 0 w 607639"/>
                <a:gd name="connsiteY57" fmla="*/ 252749 h 606722"/>
                <a:gd name="connsiteX58" fmla="*/ 25278 w 607639"/>
                <a:gd name="connsiteY58" fmla="*/ 227510 h 606722"/>
                <a:gd name="connsiteX59" fmla="*/ 62482 w 607639"/>
                <a:gd name="connsiteY59" fmla="*/ 227510 h 606722"/>
                <a:gd name="connsiteX60" fmla="*/ 79482 w 607639"/>
                <a:gd name="connsiteY60" fmla="*/ 186629 h 606722"/>
                <a:gd name="connsiteX61" fmla="*/ 53225 w 607639"/>
                <a:gd name="connsiteY61" fmla="*/ 160323 h 606722"/>
                <a:gd name="connsiteX62" fmla="*/ 53225 w 607639"/>
                <a:gd name="connsiteY62" fmla="*/ 124597 h 606722"/>
                <a:gd name="connsiteX63" fmla="*/ 124786 w 607639"/>
                <a:gd name="connsiteY63" fmla="*/ 53145 h 606722"/>
                <a:gd name="connsiteX64" fmla="*/ 160566 w 607639"/>
                <a:gd name="connsiteY64" fmla="*/ 53145 h 606722"/>
                <a:gd name="connsiteX65" fmla="*/ 186911 w 607639"/>
                <a:gd name="connsiteY65" fmla="*/ 79451 h 606722"/>
                <a:gd name="connsiteX66" fmla="*/ 227854 w 607639"/>
                <a:gd name="connsiteY66" fmla="*/ 62387 h 606722"/>
                <a:gd name="connsiteX67" fmla="*/ 227854 w 607639"/>
                <a:gd name="connsiteY67" fmla="*/ 25239 h 606722"/>
                <a:gd name="connsiteX68" fmla="*/ 253131 w 607639"/>
                <a:gd name="connsiteY68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607639" h="606722">
                  <a:moveTo>
                    <a:pt x="303820" y="278099"/>
                  </a:moveTo>
                  <a:cubicBezTo>
                    <a:pt x="317792" y="278099"/>
                    <a:pt x="329118" y="289410"/>
                    <a:pt x="329118" y="303362"/>
                  </a:cubicBezTo>
                  <a:cubicBezTo>
                    <a:pt x="329118" y="317314"/>
                    <a:pt x="317792" y="328625"/>
                    <a:pt x="303820" y="328625"/>
                  </a:cubicBezTo>
                  <a:cubicBezTo>
                    <a:pt x="289848" y="328625"/>
                    <a:pt x="278522" y="317314"/>
                    <a:pt x="278522" y="303362"/>
                  </a:cubicBezTo>
                  <a:cubicBezTo>
                    <a:pt x="278522" y="289410"/>
                    <a:pt x="289848" y="278099"/>
                    <a:pt x="303820" y="278099"/>
                  </a:cubicBezTo>
                  <a:close/>
                  <a:moveTo>
                    <a:pt x="303775" y="252735"/>
                  </a:moveTo>
                  <a:cubicBezTo>
                    <a:pt x="275921" y="252735"/>
                    <a:pt x="253140" y="275492"/>
                    <a:pt x="253140" y="303317"/>
                  </a:cubicBezTo>
                  <a:cubicBezTo>
                    <a:pt x="253140" y="331231"/>
                    <a:pt x="275921" y="353900"/>
                    <a:pt x="303775" y="353900"/>
                  </a:cubicBezTo>
                  <a:cubicBezTo>
                    <a:pt x="331718" y="353900"/>
                    <a:pt x="354410" y="331231"/>
                    <a:pt x="354410" y="303317"/>
                  </a:cubicBezTo>
                  <a:cubicBezTo>
                    <a:pt x="354410" y="275492"/>
                    <a:pt x="331718" y="252735"/>
                    <a:pt x="303775" y="252735"/>
                  </a:cubicBezTo>
                  <a:close/>
                  <a:moveTo>
                    <a:pt x="303775" y="202241"/>
                  </a:moveTo>
                  <a:cubicBezTo>
                    <a:pt x="359660" y="202241"/>
                    <a:pt x="405045" y="247579"/>
                    <a:pt x="405045" y="303317"/>
                  </a:cubicBezTo>
                  <a:cubicBezTo>
                    <a:pt x="405045" y="359144"/>
                    <a:pt x="359660" y="404482"/>
                    <a:pt x="303775" y="404482"/>
                  </a:cubicBezTo>
                  <a:cubicBezTo>
                    <a:pt x="247978" y="404482"/>
                    <a:pt x="202593" y="359144"/>
                    <a:pt x="202593" y="303317"/>
                  </a:cubicBezTo>
                  <a:cubicBezTo>
                    <a:pt x="202593" y="247579"/>
                    <a:pt x="247978" y="202241"/>
                    <a:pt x="303775" y="202241"/>
                  </a:cubicBezTo>
                  <a:close/>
                  <a:moveTo>
                    <a:pt x="303775" y="151703"/>
                  </a:moveTo>
                  <a:cubicBezTo>
                    <a:pt x="220021" y="151703"/>
                    <a:pt x="151932" y="219689"/>
                    <a:pt x="151932" y="303317"/>
                  </a:cubicBezTo>
                  <a:cubicBezTo>
                    <a:pt x="151932" y="387033"/>
                    <a:pt x="220021" y="455019"/>
                    <a:pt x="303775" y="455019"/>
                  </a:cubicBezTo>
                  <a:cubicBezTo>
                    <a:pt x="387618" y="455019"/>
                    <a:pt x="455707" y="387033"/>
                    <a:pt x="455707" y="303317"/>
                  </a:cubicBezTo>
                  <a:cubicBezTo>
                    <a:pt x="455707" y="219689"/>
                    <a:pt x="387618" y="151703"/>
                    <a:pt x="303775" y="151703"/>
                  </a:cubicBezTo>
                  <a:close/>
                  <a:moveTo>
                    <a:pt x="253131" y="0"/>
                  </a:moveTo>
                  <a:lnTo>
                    <a:pt x="354419" y="0"/>
                  </a:lnTo>
                  <a:cubicBezTo>
                    <a:pt x="368482" y="0"/>
                    <a:pt x="379786" y="11287"/>
                    <a:pt x="379786" y="25239"/>
                  </a:cubicBezTo>
                  <a:lnTo>
                    <a:pt x="379786" y="62387"/>
                  </a:lnTo>
                  <a:cubicBezTo>
                    <a:pt x="393849" y="66831"/>
                    <a:pt x="407555" y="72519"/>
                    <a:pt x="420639" y="79451"/>
                  </a:cubicBezTo>
                  <a:lnTo>
                    <a:pt x="446985" y="53145"/>
                  </a:lnTo>
                  <a:cubicBezTo>
                    <a:pt x="456953" y="43191"/>
                    <a:pt x="472974" y="43191"/>
                    <a:pt x="482854" y="53145"/>
                  </a:cubicBezTo>
                  <a:lnTo>
                    <a:pt x="554414" y="124597"/>
                  </a:lnTo>
                  <a:cubicBezTo>
                    <a:pt x="564294" y="134462"/>
                    <a:pt x="564294" y="150459"/>
                    <a:pt x="554414" y="160323"/>
                  </a:cubicBezTo>
                  <a:lnTo>
                    <a:pt x="528069" y="186629"/>
                  </a:lnTo>
                  <a:cubicBezTo>
                    <a:pt x="535011" y="199782"/>
                    <a:pt x="540707" y="213468"/>
                    <a:pt x="545158" y="227510"/>
                  </a:cubicBezTo>
                  <a:lnTo>
                    <a:pt x="582273" y="227510"/>
                  </a:lnTo>
                  <a:cubicBezTo>
                    <a:pt x="596336" y="227510"/>
                    <a:pt x="607639" y="238796"/>
                    <a:pt x="607639" y="252749"/>
                  </a:cubicBezTo>
                  <a:lnTo>
                    <a:pt x="607639" y="353884"/>
                  </a:lnTo>
                  <a:cubicBezTo>
                    <a:pt x="607639" y="367926"/>
                    <a:pt x="596247" y="379212"/>
                    <a:pt x="582273" y="379212"/>
                  </a:cubicBezTo>
                  <a:lnTo>
                    <a:pt x="545158" y="379212"/>
                  </a:lnTo>
                  <a:cubicBezTo>
                    <a:pt x="540707" y="393254"/>
                    <a:pt x="535011" y="406940"/>
                    <a:pt x="528069" y="420004"/>
                  </a:cubicBezTo>
                  <a:lnTo>
                    <a:pt x="554414" y="446310"/>
                  </a:lnTo>
                  <a:cubicBezTo>
                    <a:pt x="564294" y="456263"/>
                    <a:pt x="564294" y="472260"/>
                    <a:pt x="554414" y="482125"/>
                  </a:cubicBezTo>
                  <a:lnTo>
                    <a:pt x="482854" y="553577"/>
                  </a:lnTo>
                  <a:cubicBezTo>
                    <a:pt x="472974" y="563442"/>
                    <a:pt x="456953" y="563442"/>
                    <a:pt x="446985" y="553577"/>
                  </a:cubicBezTo>
                  <a:lnTo>
                    <a:pt x="420639" y="527271"/>
                  </a:lnTo>
                  <a:cubicBezTo>
                    <a:pt x="407555" y="534203"/>
                    <a:pt x="393849" y="539802"/>
                    <a:pt x="379786" y="544246"/>
                  </a:cubicBezTo>
                  <a:lnTo>
                    <a:pt x="379786" y="581394"/>
                  </a:lnTo>
                  <a:cubicBezTo>
                    <a:pt x="379786" y="595435"/>
                    <a:pt x="368393" y="606722"/>
                    <a:pt x="354419" y="606722"/>
                  </a:cubicBezTo>
                  <a:lnTo>
                    <a:pt x="253131" y="606722"/>
                  </a:lnTo>
                  <a:cubicBezTo>
                    <a:pt x="239157" y="606722"/>
                    <a:pt x="227854" y="595435"/>
                    <a:pt x="227854" y="581394"/>
                  </a:cubicBezTo>
                  <a:lnTo>
                    <a:pt x="227854" y="544246"/>
                  </a:lnTo>
                  <a:cubicBezTo>
                    <a:pt x="213791" y="539802"/>
                    <a:pt x="200084" y="534203"/>
                    <a:pt x="186911" y="527271"/>
                  </a:cubicBezTo>
                  <a:lnTo>
                    <a:pt x="160566" y="553577"/>
                  </a:lnTo>
                  <a:cubicBezTo>
                    <a:pt x="150686" y="563442"/>
                    <a:pt x="134665" y="563442"/>
                    <a:pt x="124786" y="553577"/>
                  </a:cubicBezTo>
                  <a:lnTo>
                    <a:pt x="53225" y="482125"/>
                  </a:lnTo>
                  <a:cubicBezTo>
                    <a:pt x="43257" y="472260"/>
                    <a:pt x="43257" y="456263"/>
                    <a:pt x="53225" y="446310"/>
                  </a:cubicBezTo>
                  <a:lnTo>
                    <a:pt x="79482" y="420004"/>
                  </a:lnTo>
                  <a:cubicBezTo>
                    <a:pt x="72629" y="406940"/>
                    <a:pt x="66932" y="393254"/>
                    <a:pt x="62482" y="379212"/>
                  </a:cubicBezTo>
                  <a:lnTo>
                    <a:pt x="25278" y="379212"/>
                  </a:lnTo>
                  <a:cubicBezTo>
                    <a:pt x="11304" y="379212"/>
                    <a:pt x="0" y="367926"/>
                    <a:pt x="0" y="353884"/>
                  </a:cubicBezTo>
                  <a:lnTo>
                    <a:pt x="0" y="252749"/>
                  </a:lnTo>
                  <a:cubicBezTo>
                    <a:pt x="0" y="238796"/>
                    <a:pt x="11304" y="227510"/>
                    <a:pt x="25278" y="227510"/>
                  </a:cubicBezTo>
                  <a:lnTo>
                    <a:pt x="62482" y="227510"/>
                  </a:lnTo>
                  <a:cubicBezTo>
                    <a:pt x="66932" y="213468"/>
                    <a:pt x="72629" y="199782"/>
                    <a:pt x="79482" y="186629"/>
                  </a:cubicBezTo>
                  <a:lnTo>
                    <a:pt x="53225" y="160323"/>
                  </a:lnTo>
                  <a:cubicBezTo>
                    <a:pt x="43257" y="150459"/>
                    <a:pt x="43257" y="134462"/>
                    <a:pt x="53225" y="124597"/>
                  </a:cubicBezTo>
                  <a:lnTo>
                    <a:pt x="124786" y="53145"/>
                  </a:lnTo>
                  <a:cubicBezTo>
                    <a:pt x="134665" y="43191"/>
                    <a:pt x="150686" y="43191"/>
                    <a:pt x="160566" y="53145"/>
                  </a:cubicBezTo>
                  <a:lnTo>
                    <a:pt x="186911" y="79451"/>
                  </a:lnTo>
                  <a:cubicBezTo>
                    <a:pt x="200084" y="72519"/>
                    <a:pt x="213791" y="66831"/>
                    <a:pt x="227854" y="62387"/>
                  </a:cubicBezTo>
                  <a:lnTo>
                    <a:pt x="227854" y="25239"/>
                  </a:lnTo>
                  <a:cubicBezTo>
                    <a:pt x="227854" y="11287"/>
                    <a:pt x="239157" y="0"/>
                    <a:pt x="253131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3" name="ïṧľíďê">
              <a:extLst>
                <a:ext uri="{FF2B5EF4-FFF2-40B4-BE49-F238E27FC236}">
                  <a16:creationId xmlns:a16="http://schemas.microsoft.com/office/drawing/2014/main" id="{83AC56C8-BB22-4DB6-8372-AA84DFFA3A81}"/>
                </a:ext>
              </a:extLst>
            </p:cNvPr>
            <p:cNvSpPr/>
            <p:nvPr/>
          </p:nvSpPr>
          <p:spPr bwMode="auto">
            <a:xfrm>
              <a:off x="2498293" y="4944202"/>
              <a:ext cx="377806" cy="377188"/>
            </a:xfrm>
            <a:custGeom>
              <a:avLst/>
              <a:gdLst>
                <a:gd name="connsiteX0" fmla="*/ 380418 w 604181"/>
                <a:gd name="connsiteY0" fmla="*/ 268007 h 603193"/>
                <a:gd name="connsiteX1" fmla="*/ 519220 w 604181"/>
                <a:gd name="connsiteY1" fmla="*/ 339187 h 603193"/>
                <a:gd name="connsiteX2" fmla="*/ 519220 w 604181"/>
                <a:gd name="connsiteY2" fmla="*/ 355820 h 603193"/>
                <a:gd name="connsiteX3" fmla="*/ 380418 w 604181"/>
                <a:gd name="connsiteY3" fmla="*/ 426850 h 603193"/>
                <a:gd name="connsiteX4" fmla="*/ 380418 w 604181"/>
                <a:gd name="connsiteY4" fmla="*/ 406320 h 603193"/>
                <a:gd name="connsiteX5" fmla="*/ 498212 w 604181"/>
                <a:gd name="connsiteY5" fmla="*/ 347728 h 603193"/>
                <a:gd name="connsiteX6" fmla="*/ 498212 w 604181"/>
                <a:gd name="connsiteY6" fmla="*/ 347129 h 603193"/>
                <a:gd name="connsiteX7" fmla="*/ 380418 w 604181"/>
                <a:gd name="connsiteY7" fmla="*/ 288687 h 603193"/>
                <a:gd name="connsiteX8" fmla="*/ 216565 w 604181"/>
                <a:gd name="connsiteY8" fmla="*/ 268007 h 603193"/>
                <a:gd name="connsiteX9" fmla="*/ 216565 w 604181"/>
                <a:gd name="connsiteY9" fmla="*/ 288687 h 603193"/>
                <a:gd name="connsiteX10" fmla="*/ 99664 w 604181"/>
                <a:gd name="connsiteY10" fmla="*/ 347129 h 603193"/>
                <a:gd name="connsiteX11" fmla="*/ 99664 w 604181"/>
                <a:gd name="connsiteY11" fmla="*/ 347728 h 603193"/>
                <a:gd name="connsiteX12" fmla="*/ 216565 w 604181"/>
                <a:gd name="connsiteY12" fmla="*/ 406320 h 603193"/>
                <a:gd name="connsiteX13" fmla="*/ 216565 w 604181"/>
                <a:gd name="connsiteY13" fmla="*/ 426850 h 603193"/>
                <a:gd name="connsiteX14" fmla="*/ 77904 w 604181"/>
                <a:gd name="connsiteY14" fmla="*/ 355521 h 603193"/>
                <a:gd name="connsiteX15" fmla="*/ 77904 w 604181"/>
                <a:gd name="connsiteY15" fmla="*/ 339486 h 603193"/>
                <a:gd name="connsiteX16" fmla="*/ 338273 w 604181"/>
                <a:gd name="connsiteY16" fmla="*/ 222493 h 603193"/>
                <a:gd name="connsiteX17" fmla="*/ 358684 w 604181"/>
                <a:gd name="connsiteY17" fmla="*/ 222493 h 603193"/>
                <a:gd name="connsiteX18" fmla="*/ 253179 w 604181"/>
                <a:gd name="connsiteY18" fmla="*/ 482103 h 603193"/>
                <a:gd name="connsiteX19" fmla="*/ 233219 w 604181"/>
                <a:gd name="connsiteY19" fmla="*/ 482103 h 603193"/>
                <a:gd name="connsiteX20" fmla="*/ 28813 w 604181"/>
                <a:gd name="connsiteY20" fmla="*/ 128849 h 603193"/>
                <a:gd name="connsiteX21" fmla="*/ 28813 w 604181"/>
                <a:gd name="connsiteY21" fmla="*/ 557497 h 603193"/>
                <a:gd name="connsiteX22" fmla="*/ 45921 w 604181"/>
                <a:gd name="connsiteY22" fmla="*/ 574427 h 603193"/>
                <a:gd name="connsiteX23" fmla="*/ 558410 w 604181"/>
                <a:gd name="connsiteY23" fmla="*/ 574427 h 603193"/>
                <a:gd name="connsiteX24" fmla="*/ 575368 w 604181"/>
                <a:gd name="connsiteY24" fmla="*/ 557497 h 603193"/>
                <a:gd name="connsiteX25" fmla="*/ 575368 w 604181"/>
                <a:gd name="connsiteY25" fmla="*/ 128849 h 603193"/>
                <a:gd name="connsiteX26" fmla="*/ 502734 w 604181"/>
                <a:gd name="connsiteY26" fmla="*/ 43149 h 603193"/>
                <a:gd name="connsiteX27" fmla="*/ 502734 w 604181"/>
                <a:gd name="connsiteY27" fmla="*/ 77309 h 603193"/>
                <a:gd name="connsiteX28" fmla="*/ 537100 w 604181"/>
                <a:gd name="connsiteY28" fmla="*/ 77309 h 603193"/>
                <a:gd name="connsiteX29" fmla="*/ 537100 w 604181"/>
                <a:gd name="connsiteY29" fmla="*/ 43149 h 603193"/>
                <a:gd name="connsiteX30" fmla="*/ 423197 w 604181"/>
                <a:gd name="connsiteY30" fmla="*/ 43149 h 603193"/>
                <a:gd name="connsiteX31" fmla="*/ 423197 w 604181"/>
                <a:gd name="connsiteY31" fmla="*/ 77309 h 603193"/>
                <a:gd name="connsiteX32" fmla="*/ 457563 w 604181"/>
                <a:gd name="connsiteY32" fmla="*/ 77309 h 603193"/>
                <a:gd name="connsiteX33" fmla="*/ 457563 w 604181"/>
                <a:gd name="connsiteY33" fmla="*/ 43149 h 603193"/>
                <a:gd name="connsiteX34" fmla="*/ 45921 w 604181"/>
                <a:gd name="connsiteY34" fmla="*/ 0 h 603193"/>
                <a:gd name="connsiteX35" fmla="*/ 558410 w 604181"/>
                <a:gd name="connsiteY35" fmla="*/ 0 h 603193"/>
                <a:gd name="connsiteX36" fmla="*/ 604181 w 604181"/>
                <a:gd name="connsiteY36" fmla="*/ 45846 h 603193"/>
                <a:gd name="connsiteX37" fmla="*/ 604181 w 604181"/>
                <a:gd name="connsiteY37" fmla="*/ 557497 h 603193"/>
                <a:gd name="connsiteX38" fmla="*/ 558410 w 604181"/>
                <a:gd name="connsiteY38" fmla="*/ 603193 h 603193"/>
                <a:gd name="connsiteX39" fmla="*/ 45921 w 604181"/>
                <a:gd name="connsiteY39" fmla="*/ 603193 h 603193"/>
                <a:gd name="connsiteX40" fmla="*/ 0 w 604181"/>
                <a:gd name="connsiteY40" fmla="*/ 557497 h 603193"/>
                <a:gd name="connsiteX41" fmla="*/ 0 w 604181"/>
                <a:gd name="connsiteY41" fmla="*/ 45846 h 603193"/>
                <a:gd name="connsiteX42" fmla="*/ 45921 w 604181"/>
                <a:gd name="connsiteY42" fmla="*/ 0 h 603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04181" h="603193">
                  <a:moveTo>
                    <a:pt x="380418" y="268007"/>
                  </a:moveTo>
                  <a:lnTo>
                    <a:pt x="519220" y="339187"/>
                  </a:lnTo>
                  <a:lnTo>
                    <a:pt x="519220" y="355820"/>
                  </a:lnTo>
                  <a:lnTo>
                    <a:pt x="380418" y="426850"/>
                  </a:lnTo>
                  <a:lnTo>
                    <a:pt x="380418" y="406320"/>
                  </a:lnTo>
                  <a:lnTo>
                    <a:pt x="498212" y="347728"/>
                  </a:lnTo>
                  <a:lnTo>
                    <a:pt x="498212" y="347129"/>
                  </a:lnTo>
                  <a:lnTo>
                    <a:pt x="380418" y="288687"/>
                  </a:lnTo>
                  <a:close/>
                  <a:moveTo>
                    <a:pt x="216565" y="268007"/>
                  </a:moveTo>
                  <a:lnTo>
                    <a:pt x="216565" y="288687"/>
                  </a:lnTo>
                  <a:lnTo>
                    <a:pt x="99664" y="347129"/>
                  </a:lnTo>
                  <a:lnTo>
                    <a:pt x="99664" y="347728"/>
                  </a:lnTo>
                  <a:lnTo>
                    <a:pt x="216565" y="406320"/>
                  </a:lnTo>
                  <a:lnTo>
                    <a:pt x="216565" y="426850"/>
                  </a:lnTo>
                  <a:lnTo>
                    <a:pt x="77904" y="355521"/>
                  </a:lnTo>
                  <a:lnTo>
                    <a:pt x="77904" y="339486"/>
                  </a:lnTo>
                  <a:close/>
                  <a:moveTo>
                    <a:pt x="338273" y="222493"/>
                  </a:moveTo>
                  <a:lnTo>
                    <a:pt x="358684" y="222493"/>
                  </a:lnTo>
                  <a:lnTo>
                    <a:pt x="253179" y="482103"/>
                  </a:lnTo>
                  <a:lnTo>
                    <a:pt x="233219" y="482103"/>
                  </a:lnTo>
                  <a:close/>
                  <a:moveTo>
                    <a:pt x="28813" y="128849"/>
                  </a:moveTo>
                  <a:lnTo>
                    <a:pt x="28813" y="557497"/>
                  </a:lnTo>
                  <a:cubicBezTo>
                    <a:pt x="28813" y="566786"/>
                    <a:pt x="36467" y="574427"/>
                    <a:pt x="45921" y="574427"/>
                  </a:cubicBezTo>
                  <a:lnTo>
                    <a:pt x="558410" y="574427"/>
                  </a:lnTo>
                  <a:cubicBezTo>
                    <a:pt x="567714" y="574427"/>
                    <a:pt x="575368" y="566786"/>
                    <a:pt x="575368" y="557497"/>
                  </a:cubicBezTo>
                  <a:lnTo>
                    <a:pt x="575368" y="128849"/>
                  </a:lnTo>
                  <a:close/>
                  <a:moveTo>
                    <a:pt x="502734" y="43149"/>
                  </a:moveTo>
                  <a:lnTo>
                    <a:pt x="502734" y="77309"/>
                  </a:lnTo>
                  <a:lnTo>
                    <a:pt x="537100" y="77309"/>
                  </a:lnTo>
                  <a:lnTo>
                    <a:pt x="537100" y="43149"/>
                  </a:lnTo>
                  <a:close/>
                  <a:moveTo>
                    <a:pt x="423197" y="43149"/>
                  </a:moveTo>
                  <a:lnTo>
                    <a:pt x="423197" y="77309"/>
                  </a:lnTo>
                  <a:lnTo>
                    <a:pt x="457563" y="77309"/>
                  </a:lnTo>
                  <a:lnTo>
                    <a:pt x="457563" y="43149"/>
                  </a:lnTo>
                  <a:close/>
                  <a:moveTo>
                    <a:pt x="45921" y="0"/>
                  </a:moveTo>
                  <a:lnTo>
                    <a:pt x="558410" y="0"/>
                  </a:lnTo>
                  <a:cubicBezTo>
                    <a:pt x="583621" y="0"/>
                    <a:pt x="604181" y="20526"/>
                    <a:pt x="604181" y="45846"/>
                  </a:cubicBezTo>
                  <a:lnTo>
                    <a:pt x="604181" y="557497"/>
                  </a:lnTo>
                  <a:cubicBezTo>
                    <a:pt x="604181" y="582667"/>
                    <a:pt x="583621" y="603193"/>
                    <a:pt x="558410" y="603193"/>
                  </a:cubicBezTo>
                  <a:lnTo>
                    <a:pt x="45921" y="603193"/>
                  </a:lnTo>
                  <a:cubicBezTo>
                    <a:pt x="20560" y="603193"/>
                    <a:pt x="0" y="582667"/>
                    <a:pt x="0" y="557497"/>
                  </a:cubicBezTo>
                  <a:lnTo>
                    <a:pt x="0" y="45846"/>
                  </a:lnTo>
                  <a:cubicBezTo>
                    <a:pt x="0" y="20526"/>
                    <a:pt x="20560" y="0"/>
                    <a:pt x="45921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4" name="îṣḻîḍé">
              <a:extLst>
                <a:ext uri="{FF2B5EF4-FFF2-40B4-BE49-F238E27FC236}">
                  <a16:creationId xmlns:a16="http://schemas.microsoft.com/office/drawing/2014/main" id="{716A4AAF-66FE-4462-901E-658C29D84AD8}"/>
                </a:ext>
              </a:extLst>
            </p:cNvPr>
            <p:cNvSpPr/>
            <p:nvPr/>
          </p:nvSpPr>
          <p:spPr bwMode="auto">
            <a:xfrm>
              <a:off x="1959174" y="5587283"/>
              <a:ext cx="377806" cy="377235"/>
            </a:xfrm>
            <a:custGeom>
              <a:avLst/>
              <a:gdLst>
                <a:gd name="T0" fmla="*/ 6624 w 7154"/>
                <a:gd name="T1" fmla="*/ 2037 h 7154"/>
                <a:gd name="T2" fmla="*/ 6106 w 7154"/>
                <a:gd name="T3" fmla="*/ 1048 h 7154"/>
                <a:gd name="T4" fmla="*/ 5117 w 7154"/>
                <a:gd name="T5" fmla="*/ 530 h 7154"/>
                <a:gd name="T6" fmla="*/ 4643 w 7154"/>
                <a:gd name="T7" fmla="*/ 334 h 7154"/>
                <a:gd name="T8" fmla="*/ 3577 w 7154"/>
                <a:gd name="T9" fmla="*/ 0 h 7154"/>
                <a:gd name="T10" fmla="*/ 2511 w 7154"/>
                <a:gd name="T11" fmla="*/ 334 h 7154"/>
                <a:gd name="T12" fmla="*/ 2037 w 7154"/>
                <a:gd name="T13" fmla="*/ 530 h 7154"/>
                <a:gd name="T14" fmla="*/ 1048 w 7154"/>
                <a:gd name="T15" fmla="*/ 1048 h 7154"/>
                <a:gd name="T16" fmla="*/ 530 w 7154"/>
                <a:gd name="T17" fmla="*/ 2037 h 7154"/>
                <a:gd name="T18" fmla="*/ 334 w 7154"/>
                <a:gd name="T19" fmla="*/ 2511 h 7154"/>
                <a:gd name="T20" fmla="*/ 0 w 7154"/>
                <a:gd name="T21" fmla="*/ 3577 h 7154"/>
                <a:gd name="T22" fmla="*/ 334 w 7154"/>
                <a:gd name="T23" fmla="*/ 4643 h 7154"/>
                <a:gd name="T24" fmla="*/ 530 w 7154"/>
                <a:gd name="T25" fmla="*/ 5117 h 7154"/>
                <a:gd name="T26" fmla="*/ 1048 w 7154"/>
                <a:gd name="T27" fmla="*/ 6106 h 7154"/>
                <a:gd name="T28" fmla="*/ 2037 w 7154"/>
                <a:gd name="T29" fmla="*/ 6624 h 7154"/>
                <a:gd name="T30" fmla="*/ 2511 w 7154"/>
                <a:gd name="T31" fmla="*/ 6820 h 7154"/>
                <a:gd name="T32" fmla="*/ 3577 w 7154"/>
                <a:gd name="T33" fmla="*/ 7154 h 7154"/>
                <a:gd name="T34" fmla="*/ 4643 w 7154"/>
                <a:gd name="T35" fmla="*/ 6820 h 7154"/>
                <a:gd name="T36" fmla="*/ 5117 w 7154"/>
                <a:gd name="T37" fmla="*/ 6624 h 7154"/>
                <a:gd name="T38" fmla="*/ 6106 w 7154"/>
                <a:gd name="T39" fmla="*/ 6106 h 7154"/>
                <a:gd name="T40" fmla="*/ 6624 w 7154"/>
                <a:gd name="T41" fmla="*/ 5117 h 7154"/>
                <a:gd name="T42" fmla="*/ 6820 w 7154"/>
                <a:gd name="T43" fmla="*/ 4643 h 7154"/>
                <a:gd name="T44" fmla="*/ 7154 w 7154"/>
                <a:gd name="T45" fmla="*/ 3577 h 7154"/>
                <a:gd name="T46" fmla="*/ 6820 w 7154"/>
                <a:gd name="T47" fmla="*/ 2511 h 7154"/>
                <a:gd name="T48" fmla="*/ 6624 w 7154"/>
                <a:gd name="T49" fmla="*/ 2037 h 7154"/>
                <a:gd name="T50" fmla="*/ 5857 w 7154"/>
                <a:gd name="T51" fmla="*/ 2406 h 7154"/>
                <a:gd name="T52" fmla="*/ 3286 w 7154"/>
                <a:gd name="T53" fmla="*/ 4976 h 7154"/>
                <a:gd name="T54" fmla="*/ 2875 w 7154"/>
                <a:gd name="T55" fmla="*/ 5387 h 7154"/>
                <a:gd name="T56" fmla="*/ 2464 w 7154"/>
                <a:gd name="T57" fmla="*/ 5387 h 7154"/>
                <a:gd name="T58" fmla="*/ 2053 w 7154"/>
                <a:gd name="T59" fmla="*/ 4976 h 7154"/>
                <a:gd name="T60" fmla="*/ 1297 w 7154"/>
                <a:gd name="T61" fmla="*/ 4221 h 7154"/>
                <a:gd name="T62" fmla="*/ 1297 w 7154"/>
                <a:gd name="T63" fmla="*/ 3809 h 7154"/>
                <a:gd name="T64" fmla="*/ 1708 w 7154"/>
                <a:gd name="T65" fmla="*/ 3398 h 7154"/>
                <a:gd name="T66" fmla="*/ 2120 w 7154"/>
                <a:gd name="T67" fmla="*/ 3398 h 7154"/>
                <a:gd name="T68" fmla="*/ 2669 w 7154"/>
                <a:gd name="T69" fmla="*/ 3948 h 7154"/>
                <a:gd name="T70" fmla="*/ 5034 w 7154"/>
                <a:gd name="T71" fmla="*/ 1583 h 7154"/>
                <a:gd name="T72" fmla="*/ 5445 w 7154"/>
                <a:gd name="T73" fmla="*/ 1583 h 7154"/>
                <a:gd name="T74" fmla="*/ 5857 w 7154"/>
                <a:gd name="T75" fmla="*/ 1994 h 7154"/>
                <a:gd name="T76" fmla="*/ 5857 w 7154"/>
                <a:gd name="T77" fmla="*/ 2406 h 7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154" h="7154">
                  <a:moveTo>
                    <a:pt x="6624" y="2037"/>
                  </a:moveTo>
                  <a:cubicBezTo>
                    <a:pt x="6580" y="1703"/>
                    <a:pt x="6403" y="1345"/>
                    <a:pt x="6106" y="1048"/>
                  </a:cubicBezTo>
                  <a:cubicBezTo>
                    <a:pt x="5809" y="751"/>
                    <a:pt x="5451" y="574"/>
                    <a:pt x="5117" y="530"/>
                  </a:cubicBezTo>
                  <a:cubicBezTo>
                    <a:pt x="4966" y="510"/>
                    <a:pt x="4764" y="427"/>
                    <a:pt x="4643" y="334"/>
                  </a:cubicBezTo>
                  <a:cubicBezTo>
                    <a:pt x="4375" y="128"/>
                    <a:pt x="3997" y="0"/>
                    <a:pt x="3577" y="0"/>
                  </a:cubicBezTo>
                  <a:cubicBezTo>
                    <a:pt x="3157" y="0"/>
                    <a:pt x="2779" y="128"/>
                    <a:pt x="2511" y="334"/>
                  </a:cubicBezTo>
                  <a:cubicBezTo>
                    <a:pt x="2390" y="427"/>
                    <a:pt x="2188" y="510"/>
                    <a:pt x="2037" y="530"/>
                  </a:cubicBezTo>
                  <a:cubicBezTo>
                    <a:pt x="1702" y="574"/>
                    <a:pt x="1345" y="751"/>
                    <a:pt x="1048" y="1048"/>
                  </a:cubicBezTo>
                  <a:cubicBezTo>
                    <a:pt x="751" y="1345"/>
                    <a:pt x="574" y="1703"/>
                    <a:pt x="530" y="2037"/>
                  </a:cubicBezTo>
                  <a:cubicBezTo>
                    <a:pt x="510" y="2188"/>
                    <a:pt x="427" y="2390"/>
                    <a:pt x="334" y="2511"/>
                  </a:cubicBezTo>
                  <a:cubicBezTo>
                    <a:pt x="128" y="2779"/>
                    <a:pt x="0" y="3157"/>
                    <a:pt x="0" y="3577"/>
                  </a:cubicBezTo>
                  <a:cubicBezTo>
                    <a:pt x="0" y="3997"/>
                    <a:pt x="128" y="4375"/>
                    <a:pt x="334" y="4643"/>
                  </a:cubicBezTo>
                  <a:cubicBezTo>
                    <a:pt x="427" y="4764"/>
                    <a:pt x="510" y="4966"/>
                    <a:pt x="530" y="5117"/>
                  </a:cubicBezTo>
                  <a:cubicBezTo>
                    <a:pt x="574" y="5451"/>
                    <a:pt x="751" y="5809"/>
                    <a:pt x="1048" y="6106"/>
                  </a:cubicBezTo>
                  <a:cubicBezTo>
                    <a:pt x="1345" y="6403"/>
                    <a:pt x="1702" y="6580"/>
                    <a:pt x="2037" y="6624"/>
                  </a:cubicBezTo>
                  <a:cubicBezTo>
                    <a:pt x="2188" y="6644"/>
                    <a:pt x="2390" y="6727"/>
                    <a:pt x="2511" y="6820"/>
                  </a:cubicBezTo>
                  <a:cubicBezTo>
                    <a:pt x="2779" y="7025"/>
                    <a:pt x="3157" y="7154"/>
                    <a:pt x="3577" y="7154"/>
                  </a:cubicBezTo>
                  <a:cubicBezTo>
                    <a:pt x="3997" y="7154"/>
                    <a:pt x="4375" y="7025"/>
                    <a:pt x="4643" y="6820"/>
                  </a:cubicBezTo>
                  <a:cubicBezTo>
                    <a:pt x="4764" y="6727"/>
                    <a:pt x="4966" y="6644"/>
                    <a:pt x="5117" y="6624"/>
                  </a:cubicBezTo>
                  <a:cubicBezTo>
                    <a:pt x="5451" y="6580"/>
                    <a:pt x="5809" y="6403"/>
                    <a:pt x="6106" y="6106"/>
                  </a:cubicBezTo>
                  <a:cubicBezTo>
                    <a:pt x="6403" y="5809"/>
                    <a:pt x="6580" y="5451"/>
                    <a:pt x="6624" y="5117"/>
                  </a:cubicBezTo>
                  <a:cubicBezTo>
                    <a:pt x="6644" y="4966"/>
                    <a:pt x="6727" y="4764"/>
                    <a:pt x="6820" y="4643"/>
                  </a:cubicBezTo>
                  <a:cubicBezTo>
                    <a:pt x="7026" y="4375"/>
                    <a:pt x="7154" y="3997"/>
                    <a:pt x="7154" y="3577"/>
                  </a:cubicBezTo>
                  <a:cubicBezTo>
                    <a:pt x="7154" y="3157"/>
                    <a:pt x="7026" y="2779"/>
                    <a:pt x="6820" y="2511"/>
                  </a:cubicBezTo>
                  <a:cubicBezTo>
                    <a:pt x="6727" y="2390"/>
                    <a:pt x="6644" y="2188"/>
                    <a:pt x="6624" y="2037"/>
                  </a:cubicBezTo>
                  <a:close/>
                  <a:moveTo>
                    <a:pt x="5857" y="2406"/>
                  </a:moveTo>
                  <a:lnTo>
                    <a:pt x="3286" y="4976"/>
                  </a:lnTo>
                  <a:lnTo>
                    <a:pt x="2875" y="5387"/>
                  </a:lnTo>
                  <a:cubicBezTo>
                    <a:pt x="2762" y="5501"/>
                    <a:pt x="2577" y="5501"/>
                    <a:pt x="2464" y="5387"/>
                  </a:cubicBezTo>
                  <a:lnTo>
                    <a:pt x="2053" y="4976"/>
                  </a:lnTo>
                  <a:lnTo>
                    <a:pt x="1297" y="4221"/>
                  </a:lnTo>
                  <a:cubicBezTo>
                    <a:pt x="1183" y="4107"/>
                    <a:pt x="1183" y="3923"/>
                    <a:pt x="1297" y="3809"/>
                  </a:cubicBezTo>
                  <a:lnTo>
                    <a:pt x="1708" y="3398"/>
                  </a:lnTo>
                  <a:cubicBezTo>
                    <a:pt x="1822" y="3285"/>
                    <a:pt x="2006" y="3285"/>
                    <a:pt x="2120" y="3398"/>
                  </a:cubicBezTo>
                  <a:lnTo>
                    <a:pt x="2669" y="3948"/>
                  </a:lnTo>
                  <a:lnTo>
                    <a:pt x="5034" y="1583"/>
                  </a:lnTo>
                  <a:cubicBezTo>
                    <a:pt x="5148" y="1470"/>
                    <a:pt x="5332" y="1470"/>
                    <a:pt x="5445" y="1583"/>
                  </a:cubicBezTo>
                  <a:lnTo>
                    <a:pt x="5857" y="1994"/>
                  </a:lnTo>
                  <a:cubicBezTo>
                    <a:pt x="5970" y="2108"/>
                    <a:pt x="5970" y="2292"/>
                    <a:pt x="5857" y="2406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5" name="iṧḷiḑé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743264" y="4276135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按分布模式进行配置</a:t>
              </a:r>
              <a:endParaRPr lang="en-US" altLang="zh-CN" sz="1100" dirty="0"/>
            </a:p>
          </p:txBody>
        </p:sp>
        <p:sp>
          <p:nvSpPr>
            <p:cNvPr id="216" name="îṧḻiḑe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197100" y="4926511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>
                  <a:solidFill>
                    <a:schemeClr val="bg1"/>
                  </a:solidFill>
                </a:rPr>
                <a:t>运行第一个实例</a:t>
              </a: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17" name="îṣľïd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2651098" y="5576887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开心</a:t>
              </a:r>
              <a:r>
                <a:rPr lang="en-US" altLang="zh-CN" sz="1100" dirty="0" err="1"/>
                <a:t>ing</a:t>
              </a:r>
              <a:r>
                <a:rPr lang="en-US" altLang="zh-CN" sz="1100" dirty="0"/>
                <a:t>~</a:t>
              </a:r>
            </a:p>
          </p:txBody>
        </p:sp>
        <p:sp>
          <p:nvSpPr>
            <p:cNvPr id="218" name="íṧ1îd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289201" y="3625759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 解压</a:t>
              </a:r>
              <a:endParaRPr lang="en-US" altLang="zh-CN" sz="1100" dirty="0"/>
            </a:p>
          </p:txBody>
        </p:sp>
        <p:sp>
          <p:nvSpPr>
            <p:cNvPr id="219" name="îs1ïḋ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842020" y="2975382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配置环境变量 使之生效</a:t>
              </a:r>
              <a:endParaRPr lang="en-US" altLang="zh-CN" sz="1100" dirty="0"/>
            </a:p>
          </p:txBody>
        </p:sp>
        <p:sp>
          <p:nvSpPr>
            <p:cNvPr id="220" name="íšliḓ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5387990" y="2325006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</a:t>
              </a:r>
              <a:r>
                <a:rPr lang="en-US" altLang="zh-CN" sz="1100" dirty="0"/>
                <a:t> </a:t>
              </a:r>
              <a:r>
                <a:rPr lang="zh-CN" altLang="en-US" sz="1100" dirty="0"/>
                <a:t>解压</a:t>
              </a:r>
              <a:endParaRPr lang="en-US" altLang="zh-CN" sz="1100" dirty="0"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653777F-C200-4DD9-896D-DFE3FC5A0E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794" y="132609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4097" name="Picture 1" descr="L:\Water\Documents\Tencent Files\1106367305\Image\C2C\S_~PNJLRA$(`BM~E~CRVP@6.jpg">
            <a:extLst>
              <a:ext uri="{FF2B5EF4-FFF2-40B4-BE49-F238E27FC236}">
                <a16:creationId xmlns:a16="http://schemas.microsoft.com/office/drawing/2014/main" id="{870A9B0F-80D3-4BB8-9E6D-5163109C031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2"/>
          <a:stretch>
            <a:fillRect/>
          </a:stretch>
        </p:blipFill>
        <p:spPr bwMode="auto">
          <a:xfrm>
            <a:off x="1092994" y="1284288"/>
            <a:ext cx="6958012" cy="4695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104D7166-3B85-4412-9659-285206FA2824}"/>
              </a:ext>
            </a:extLst>
          </p:cNvPr>
          <p:cNvSpPr/>
          <p:nvPr/>
        </p:nvSpPr>
        <p:spPr>
          <a:xfrm>
            <a:off x="1092994" y="2733675"/>
            <a:ext cx="6958012" cy="3246436"/>
          </a:xfrm>
          <a:prstGeom prst="rect">
            <a:avLst/>
          </a:prstGeom>
          <a:solidFill>
            <a:srgbClr val="2D0A2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CB3EE618-32F8-4966-A35B-D1376D9131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045762" y="14732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3AE81623-7CD6-49D9-AB93-2743959343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438222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250">
        <p159:morph option="byObject"/>
      </p:transition>
    </mc:Choice>
    <mc:Fallback xmlns="">
      <p:transition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执行几个看看？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5</a:t>
            </a:fld>
            <a:endParaRPr lang="zh-CN" altLang="en-US"/>
          </a:p>
        </p:txBody>
      </p:sp>
      <p:grpSp>
        <p:nvGrpSpPr>
          <p:cNvPr id="194" name="180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4D56F3B-0686-4E9E-A675-DA7BF2C9F6C2}"/>
              </a:ext>
            </a:extLst>
          </p:cNvPr>
          <p:cNvGrpSpPr>
            <a:grpSpLocks noChangeAspect="1"/>
          </p:cNvGrpSpPr>
          <p:nvPr/>
        </p:nvGrpSpPr>
        <p:grpSpPr>
          <a:xfrm>
            <a:off x="1875381" y="-2460624"/>
            <a:ext cx="5393238" cy="2212975"/>
            <a:chOff x="938530" y="1805421"/>
            <a:chExt cx="10580370" cy="4341379"/>
          </a:xfrm>
        </p:grpSpPr>
        <p:sp>
          <p:nvSpPr>
            <p:cNvPr id="195" name="iṧḻîďè">
              <a:extLst>
                <a:ext uri="{FF2B5EF4-FFF2-40B4-BE49-F238E27FC236}">
                  <a16:creationId xmlns:a16="http://schemas.microsoft.com/office/drawing/2014/main" id="{6FC8272D-4563-47EB-B741-E738A21C2623}"/>
                </a:ext>
              </a:extLst>
            </p:cNvPr>
            <p:cNvSpPr/>
            <p:nvPr/>
          </p:nvSpPr>
          <p:spPr bwMode="auto">
            <a:xfrm>
              <a:off x="5637082" y="5226400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搞定！</a:t>
              </a:r>
              <a:endParaRPr lang="en-US" altLang="zh-CN" b="1" dirty="0"/>
            </a:p>
          </p:txBody>
        </p:sp>
        <p:sp>
          <p:nvSpPr>
            <p:cNvPr id="196" name="îŝḻiḋé">
              <a:extLst>
                <a:ext uri="{FF2B5EF4-FFF2-40B4-BE49-F238E27FC236}">
                  <a16:creationId xmlns:a16="http://schemas.microsoft.com/office/drawing/2014/main" id="{C05C75D7-4258-49B9-958F-F2EEF0B840E0}"/>
                </a:ext>
              </a:extLst>
            </p:cNvPr>
            <p:cNvSpPr/>
            <p:nvPr/>
          </p:nvSpPr>
          <p:spPr bwMode="auto">
            <a:xfrm>
              <a:off x="6176201" y="4576024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>
                  <a:solidFill>
                    <a:schemeClr val="bg1"/>
                  </a:solidFill>
                </a:rPr>
                <a:t>测试</a:t>
              </a:r>
              <a:endParaRPr lang="en-US" altLang="zh-CN" sz="1750" b="1" dirty="0">
                <a:solidFill>
                  <a:schemeClr val="bg1"/>
                </a:solidFill>
              </a:endParaRPr>
            </a:p>
          </p:txBody>
        </p:sp>
        <p:sp>
          <p:nvSpPr>
            <p:cNvPr id="197" name="íṥḷíďê">
              <a:extLst>
                <a:ext uri="{FF2B5EF4-FFF2-40B4-BE49-F238E27FC236}">
                  <a16:creationId xmlns:a16="http://schemas.microsoft.com/office/drawing/2014/main" id="{D4FCC7AE-5767-4EC4-BB68-B94457D3AE6D}"/>
                </a:ext>
              </a:extLst>
            </p:cNvPr>
            <p:cNvSpPr/>
            <p:nvPr/>
          </p:nvSpPr>
          <p:spPr bwMode="auto">
            <a:xfrm>
              <a:off x="6703850" y="3925648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/>
                <a:t>配置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8" name="ïś1ïḓè">
              <a:extLst>
                <a:ext uri="{FF2B5EF4-FFF2-40B4-BE49-F238E27FC236}">
                  <a16:creationId xmlns:a16="http://schemas.microsoft.com/office/drawing/2014/main" id="{F32E844B-E27C-4A92-9B60-95E4AD88D81F}"/>
                </a:ext>
              </a:extLst>
            </p:cNvPr>
            <p:cNvSpPr/>
            <p:nvPr/>
          </p:nvSpPr>
          <p:spPr bwMode="auto">
            <a:xfrm>
              <a:off x="7241823" y="3275272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 dirty="0"/>
                <a:t>安装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9" name="îśļïḍè">
              <a:extLst>
                <a:ext uri="{FF2B5EF4-FFF2-40B4-BE49-F238E27FC236}">
                  <a16:creationId xmlns:a16="http://schemas.microsoft.com/office/drawing/2014/main" id="{F812BB55-77DE-4E23-95E6-156A22FAD363}"/>
                </a:ext>
              </a:extLst>
            </p:cNvPr>
            <p:cNvSpPr/>
            <p:nvPr/>
          </p:nvSpPr>
          <p:spPr bwMode="auto">
            <a:xfrm>
              <a:off x="7743555" y="2624895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配置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0" name="ï$1íḍé">
              <a:extLst>
                <a:ext uri="{FF2B5EF4-FFF2-40B4-BE49-F238E27FC236}">
                  <a16:creationId xmlns:a16="http://schemas.microsoft.com/office/drawing/2014/main" id="{48245F16-84E7-4201-9485-85B5E5B15ECD}"/>
                </a:ext>
              </a:extLst>
            </p:cNvPr>
            <p:cNvSpPr/>
            <p:nvPr/>
          </p:nvSpPr>
          <p:spPr bwMode="auto">
            <a:xfrm>
              <a:off x="8263856" y="1974519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安装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1" name="îṥľïďê">
              <a:extLst>
                <a:ext uri="{FF2B5EF4-FFF2-40B4-BE49-F238E27FC236}">
                  <a16:creationId xmlns:a16="http://schemas.microsoft.com/office/drawing/2014/main" id="{920DFBAA-02E5-4206-86B0-FE10F93A7509}"/>
                </a:ext>
              </a:extLst>
            </p:cNvPr>
            <p:cNvSpPr/>
            <p:nvPr/>
          </p:nvSpPr>
          <p:spPr bwMode="auto">
            <a:xfrm>
              <a:off x="5220497" y="3438015"/>
              <a:ext cx="3741918" cy="1239562"/>
            </a:xfrm>
            <a:custGeom>
              <a:avLst/>
              <a:gdLst>
                <a:gd name="T0" fmla="*/ 179 w 203"/>
                <a:gd name="T1" fmla="*/ 82 h 82"/>
                <a:gd name="T2" fmla="*/ 203 w 203"/>
                <a:gd name="T3" fmla="*/ 29 h 82"/>
                <a:gd name="T4" fmla="*/ 65 w 203"/>
                <a:gd name="T5" fmla="*/ 27 h 82"/>
                <a:gd name="T6" fmla="*/ 59 w 203"/>
                <a:gd name="T7" fmla="*/ 0 h 82"/>
                <a:gd name="T8" fmla="*/ 59 w 203"/>
                <a:gd name="T9" fmla="*/ 0 h 82"/>
                <a:gd name="T10" fmla="*/ 0 w 203"/>
                <a:gd name="T11" fmla="*/ 80 h 82"/>
                <a:gd name="T12" fmla="*/ 61 w 203"/>
                <a:gd name="T13" fmla="*/ 82 h 82"/>
                <a:gd name="T14" fmla="*/ 179 w 203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82">
                  <a:moveTo>
                    <a:pt x="179" y="82"/>
                  </a:moveTo>
                  <a:lnTo>
                    <a:pt x="203" y="29"/>
                  </a:lnTo>
                  <a:lnTo>
                    <a:pt x="65" y="27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0" y="80"/>
                  </a:lnTo>
                  <a:lnTo>
                    <a:pt x="61" y="82"/>
                  </a:lnTo>
                  <a:lnTo>
                    <a:pt x="179" y="8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2" name="i$ḻíḋè">
              <a:extLst>
                <a:ext uri="{FF2B5EF4-FFF2-40B4-BE49-F238E27FC236}">
                  <a16:creationId xmlns:a16="http://schemas.microsoft.com/office/drawing/2014/main" id="{430BE7EB-B6F0-4F05-80EA-1F517165029F}"/>
                </a:ext>
              </a:extLst>
            </p:cNvPr>
            <p:cNvSpPr/>
            <p:nvPr/>
          </p:nvSpPr>
          <p:spPr bwMode="auto">
            <a:xfrm>
              <a:off x="8032938" y="1974519"/>
              <a:ext cx="1398307" cy="247664"/>
            </a:xfrm>
            <a:prstGeom prst="triangle">
              <a:avLst>
                <a:gd name="adj" fmla="val 14726"/>
              </a:avLst>
            </a:pr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3" name="işľiḋe">
              <a:extLst>
                <a:ext uri="{FF2B5EF4-FFF2-40B4-BE49-F238E27FC236}">
                  <a16:creationId xmlns:a16="http://schemas.microsoft.com/office/drawing/2014/main" id="{E4DECB97-43D1-4D26-8C48-41447675AE79}"/>
                </a:ext>
              </a:extLst>
            </p:cNvPr>
            <p:cNvSpPr/>
            <p:nvPr/>
          </p:nvSpPr>
          <p:spPr bwMode="auto">
            <a:xfrm>
              <a:off x="3675422" y="1805421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4" name="iś1íďé">
              <a:extLst>
                <a:ext uri="{FF2B5EF4-FFF2-40B4-BE49-F238E27FC236}">
                  <a16:creationId xmlns:a16="http://schemas.microsoft.com/office/drawing/2014/main" id="{6E7EA96A-F20A-4912-AC31-63A0F19E66DE}"/>
                </a:ext>
              </a:extLst>
            </p:cNvPr>
            <p:cNvSpPr/>
            <p:nvPr/>
          </p:nvSpPr>
          <p:spPr bwMode="auto">
            <a:xfrm>
              <a:off x="3129452" y="2455797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5" name="ïŝlíḋe">
              <a:extLst>
                <a:ext uri="{FF2B5EF4-FFF2-40B4-BE49-F238E27FC236}">
                  <a16:creationId xmlns:a16="http://schemas.microsoft.com/office/drawing/2014/main" id="{66D30D6F-26C9-4C2C-BC01-900AC07DC57E}"/>
                </a:ext>
              </a:extLst>
            </p:cNvPr>
            <p:cNvSpPr/>
            <p:nvPr/>
          </p:nvSpPr>
          <p:spPr bwMode="auto">
            <a:xfrm>
              <a:off x="2576633" y="3106174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6" name="îSliďè">
              <a:extLst>
                <a:ext uri="{FF2B5EF4-FFF2-40B4-BE49-F238E27FC236}">
                  <a16:creationId xmlns:a16="http://schemas.microsoft.com/office/drawing/2014/main" id="{2F6D5554-EACD-4DDD-892F-2E5F97A9C421}"/>
                </a:ext>
              </a:extLst>
            </p:cNvPr>
            <p:cNvSpPr/>
            <p:nvPr/>
          </p:nvSpPr>
          <p:spPr bwMode="auto">
            <a:xfrm>
              <a:off x="2030696" y="3756550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7" name="îSliďé">
              <a:extLst>
                <a:ext uri="{FF2B5EF4-FFF2-40B4-BE49-F238E27FC236}">
                  <a16:creationId xmlns:a16="http://schemas.microsoft.com/office/drawing/2014/main" id="{2E278F3F-C8D8-4E2A-A3EA-29ADCF1A02AA}"/>
                </a:ext>
              </a:extLst>
            </p:cNvPr>
            <p:cNvSpPr/>
            <p:nvPr/>
          </p:nvSpPr>
          <p:spPr bwMode="auto">
            <a:xfrm>
              <a:off x="1484532" y="4406926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8" name="îs1iďé">
              <a:extLst>
                <a:ext uri="{FF2B5EF4-FFF2-40B4-BE49-F238E27FC236}">
                  <a16:creationId xmlns:a16="http://schemas.microsoft.com/office/drawing/2014/main" id="{EB74D0C2-5677-4F3F-A043-44D01A3F3D48}"/>
                </a:ext>
              </a:extLst>
            </p:cNvPr>
            <p:cNvSpPr/>
            <p:nvPr/>
          </p:nvSpPr>
          <p:spPr bwMode="auto">
            <a:xfrm>
              <a:off x="938530" y="5057302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9" name="ïṣḻïḋe">
              <a:extLst>
                <a:ext uri="{FF2B5EF4-FFF2-40B4-BE49-F238E27FC236}">
                  <a16:creationId xmlns:a16="http://schemas.microsoft.com/office/drawing/2014/main" id="{7709F84E-C33F-462F-B538-51CB71C9284E}"/>
                </a:ext>
              </a:extLst>
            </p:cNvPr>
            <p:cNvSpPr/>
            <p:nvPr/>
          </p:nvSpPr>
          <p:spPr bwMode="auto">
            <a:xfrm>
              <a:off x="4585947" y="2371737"/>
              <a:ext cx="377807" cy="377281"/>
            </a:xfrm>
            <a:custGeom>
              <a:avLst/>
              <a:gdLst>
                <a:gd name="T0" fmla="*/ 400 w 11264"/>
                <a:gd name="T1" fmla="*/ 7099 h 11264"/>
                <a:gd name="T2" fmla="*/ 4165 w 11264"/>
                <a:gd name="T3" fmla="*/ 7099 h 11264"/>
                <a:gd name="T4" fmla="*/ 4165 w 11264"/>
                <a:gd name="T5" fmla="*/ 10864 h 11264"/>
                <a:gd name="T6" fmla="*/ 4565 w 11264"/>
                <a:gd name="T7" fmla="*/ 11264 h 11264"/>
                <a:gd name="T8" fmla="*/ 6699 w 11264"/>
                <a:gd name="T9" fmla="*/ 11264 h 11264"/>
                <a:gd name="T10" fmla="*/ 7099 w 11264"/>
                <a:gd name="T11" fmla="*/ 10864 h 11264"/>
                <a:gd name="T12" fmla="*/ 7099 w 11264"/>
                <a:gd name="T13" fmla="*/ 7099 h 11264"/>
                <a:gd name="T14" fmla="*/ 10864 w 11264"/>
                <a:gd name="T15" fmla="*/ 7099 h 11264"/>
                <a:gd name="T16" fmla="*/ 11264 w 11264"/>
                <a:gd name="T17" fmla="*/ 6699 h 11264"/>
                <a:gd name="T18" fmla="*/ 11264 w 11264"/>
                <a:gd name="T19" fmla="*/ 4565 h 11264"/>
                <a:gd name="T20" fmla="*/ 10864 w 11264"/>
                <a:gd name="T21" fmla="*/ 4165 h 11264"/>
                <a:gd name="T22" fmla="*/ 7099 w 11264"/>
                <a:gd name="T23" fmla="*/ 4165 h 11264"/>
                <a:gd name="T24" fmla="*/ 7099 w 11264"/>
                <a:gd name="T25" fmla="*/ 400 h 11264"/>
                <a:gd name="T26" fmla="*/ 6699 w 11264"/>
                <a:gd name="T27" fmla="*/ 0 h 11264"/>
                <a:gd name="T28" fmla="*/ 4565 w 11264"/>
                <a:gd name="T29" fmla="*/ 0 h 11264"/>
                <a:gd name="T30" fmla="*/ 4165 w 11264"/>
                <a:gd name="T31" fmla="*/ 400 h 11264"/>
                <a:gd name="T32" fmla="*/ 4165 w 11264"/>
                <a:gd name="T33" fmla="*/ 4165 h 11264"/>
                <a:gd name="T34" fmla="*/ 400 w 11264"/>
                <a:gd name="T35" fmla="*/ 4165 h 11264"/>
                <a:gd name="T36" fmla="*/ 0 w 11264"/>
                <a:gd name="T37" fmla="*/ 4565 h 11264"/>
                <a:gd name="T38" fmla="*/ 0 w 11264"/>
                <a:gd name="T39" fmla="*/ 6699 h 11264"/>
                <a:gd name="T40" fmla="*/ 400 w 11264"/>
                <a:gd name="T41" fmla="*/ 7099 h 1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64" h="11264">
                  <a:moveTo>
                    <a:pt x="400" y="7099"/>
                  </a:moveTo>
                  <a:lnTo>
                    <a:pt x="4165" y="7099"/>
                  </a:lnTo>
                  <a:lnTo>
                    <a:pt x="4165" y="10864"/>
                  </a:lnTo>
                  <a:cubicBezTo>
                    <a:pt x="4165" y="11085"/>
                    <a:pt x="4344" y="11264"/>
                    <a:pt x="4565" y="11264"/>
                  </a:cubicBezTo>
                  <a:lnTo>
                    <a:pt x="6699" y="11264"/>
                  </a:lnTo>
                  <a:cubicBezTo>
                    <a:pt x="6920" y="11264"/>
                    <a:pt x="7099" y="11085"/>
                    <a:pt x="7099" y="10864"/>
                  </a:cubicBezTo>
                  <a:lnTo>
                    <a:pt x="7099" y="7099"/>
                  </a:lnTo>
                  <a:lnTo>
                    <a:pt x="10864" y="7099"/>
                  </a:lnTo>
                  <a:cubicBezTo>
                    <a:pt x="11085" y="7099"/>
                    <a:pt x="11264" y="6920"/>
                    <a:pt x="11264" y="6699"/>
                  </a:cubicBezTo>
                  <a:lnTo>
                    <a:pt x="11264" y="4565"/>
                  </a:lnTo>
                  <a:cubicBezTo>
                    <a:pt x="11264" y="4344"/>
                    <a:pt x="11085" y="4165"/>
                    <a:pt x="10864" y="4165"/>
                  </a:cubicBezTo>
                  <a:lnTo>
                    <a:pt x="7099" y="4165"/>
                  </a:lnTo>
                  <a:lnTo>
                    <a:pt x="7099" y="400"/>
                  </a:lnTo>
                  <a:cubicBezTo>
                    <a:pt x="7099" y="179"/>
                    <a:pt x="6920" y="0"/>
                    <a:pt x="6699" y="0"/>
                  </a:cubicBezTo>
                  <a:lnTo>
                    <a:pt x="4565" y="0"/>
                  </a:lnTo>
                  <a:cubicBezTo>
                    <a:pt x="4344" y="0"/>
                    <a:pt x="4165" y="179"/>
                    <a:pt x="4165" y="400"/>
                  </a:cubicBezTo>
                  <a:lnTo>
                    <a:pt x="4165" y="4165"/>
                  </a:lnTo>
                  <a:lnTo>
                    <a:pt x="400" y="4165"/>
                  </a:lnTo>
                  <a:cubicBezTo>
                    <a:pt x="179" y="4165"/>
                    <a:pt x="0" y="4344"/>
                    <a:pt x="0" y="4565"/>
                  </a:cubicBezTo>
                  <a:lnTo>
                    <a:pt x="0" y="6699"/>
                  </a:lnTo>
                  <a:cubicBezTo>
                    <a:pt x="0" y="6920"/>
                    <a:pt x="179" y="7099"/>
                    <a:pt x="400" y="709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0" name="îsḷïde">
              <a:extLst>
                <a:ext uri="{FF2B5EF4-FFF2-40B4-BE49-F238E27FC236}">
                  <a16:creationId xmlns:a16="http://schemas.microsoft.com/office/drawing/2014/main" id="{F7027C89-1BCC-4A00-9535-016DE4C49FD7}"/>
                </a:ext>
              </a:extLst>
            </p:cNvPr>
            <p:cNvSpPr/>
            <p:nvPr/>
          </p:nvSpPr>
          <p:spPr bwMode="auto">
            <a:xfrm>
              <a:off x="4069565" y="3014578"/>
              <a:ext cx="369969" cy="377806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  <a:gd name="connsiteX107" fmla="*/ 373273 h 605239"/>
                <a:gd name="connsiteY107" fmla="*/ 373273 h 605239"/>
                <a:gd name="connsiteX108" fmla="*/ 373273 h 605239"/>
                <a:gd name="connsiteY108" fmla="*/ 373273 h 605239"/>
                <a:gd name="connsiteX109" fmla="*/ 373273 h 605239"/>
                <a:gd name="connsiteY109" fmla="*/ 373273 h 605239"/>
                <a:gd name="connsiteX110" fmla="*/ 373273 h 605239"/>
                <a:gd name="connsiteY110" fmla="*/ 373273 h 605239"/>
                <a:gd name="connsiteX111" fmla="*/ 373273 h 605239"/>
                <a:gd name="connsiteY111" fmla="*/ 373273 h 605239"/>
                <a:gd name="connsiteX112" fmla="*/ 373273 h 605239"/>
                <a:gd name="connsiteY112" fmla="*/ 373273 h 605239"/>
                <a:gd name="connsiteX113" fmla="*/ 373273 h 605239"/>
                <a:gd name="connsiteY113" fmla="*/ 373273 h 605239"/>
                <a:gd name="connsiteX114" fmla="*/ 373273 h 605239"/>
                <a:gd name="connsiteY114" fmla="*/ 373273 h 605239"/>
                <a:gd name="connsiteX115" fmla="*/ 373273 h 605239"/>
                <a:gd name="connsiteY115" fmla="*/ 373273 h 605239"/>
                <a:gd name="connsiteX116" fmla="*/ 373273 h 605239"/>
                <a:gd name="connsiteY116" fmla="*/ 373273 h 605239"/>
                <a:gd name="connsiteX117" fmla="*/ 373273 h 605239"/>
                <a:gd name="connsiteY117" fmla="*/ 373273 h 605239"/>
                <a:gd name="connsiteX118" fmla="*/ 373273 h 605239"/>
                <a:gd name="connsiteY118" fmla="*/ 373273 h 605239"/>
                <a:gd name="connsiteX119" fmla="*/ 373273 h 605239"/>
                <a:gd name="connsiteY119" fmla="*/ 373273 h 605239"/>
                <a:gd name="connsiteX120" fmla="*/ 373273 h 605239"/>
                <a:gd name="connsiteY120" fmla="*/ 373273 h 605239"/>
                <a:gd name="connsiteX121" fmla="*/ 373273 h 605239"/>
                <a:gd name="connsiteY121" fmla="*/ 373273 h 605239"/>
                <a:gd name="connsiteX122" fmla="*/ 373273 h 605239"/>
                <a:gd name="connsiteY122" fmla="*/ 373273 h 605239"/>
                <a:gd name="connsiteX123" fmla="*/ 373273 h 605239"/>
                <a:gd name="connsiteY123" fmla="*/ 373273 h 605239"/>
                <a:gd name="connsiteX124" fmla="*/ 373273 h 605239"/>
                <a:gd name="connsiteY124" fmla="*/ 373273 h 605239"/>
                <a:gd name="connsiteX125" fmla="*/ 373273 h 605239"/>
                <a:gd name="connsiteY125" fmla="*/ 373273 h 605239"/>
                <a:gd name="connsiteX126" fmla="*/ 373273 h 605239"/>
                <a:gd name="connsiteY126" fmla="*/ 373273 h 605239"/>
                <a:gd name="connsiteX127" fmla="*/ 373273 h 605239"/>
                <a:gd name="connsiteY127" fmla="*/ 373273 h 605239"/>
                <a:gd name="connsiteX128" fmla="*/ 373273 h 605239"/>
                <a:gd name="connsiteY128" fmla="*/ 373273 h 605239"/>
                <a:gd name="connsiteX129" fmla="*/ 373273 h 605239"/>
                <a:gd name="connsiteY12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593733" h="606309">
                  <a:moveTo>
                    <a:pt x="353250" y="302855"/>
                  </a:moveTo>
                  <a:cubicBezTo>
                    <a:pt x="318468" y="302855"/>
                    <a:pt x="290232" y="331146"/>
                    <a:pt x="290232" y="365879"/>
                  </a:cubicBezTo>
                  <a:cubicBezTo>
                    <a:pt x="290232" y="374189"/>
                    <a:pt x="296964" y="380912"/>
                    <a:pt x="305285" y="380912"/>
                  </a:cubicBezTo>
                  <a:cubicBezTo>
                    <a:pt x="313607" y="380912"/>
                    <a:pt x="320338" y="374189"/>
                    <a:pt x="320338" y="365879"/>
                  </a:cubicBezTo>
                  <a:cubicBezTo>
                    <a:pt x="320338" y="347672"/>
                    <a:pt x="335111" y="333014"/>
                    <a:pt x="353250" y="333014"/>
                  </a:cubicBezTo>
                  <a:cubicBezTo>
                    <a:pt x="361665" y="333014"/>
                    <a:pt x="368397" y="326291"/>
                    <a:pt x="368397" y="317888"/>
                  </a:cubicBezTo>
                  <a:cubicBezTo>
                    <a:pt x="368397" y="309578"/>
                    <a:pt x="361665" y="302855"/>
                    <a:pt x="353250" y="302855"/>
                  </a:cubicBezTo>
                  <a:close/>
                  <a:moveTo>
                    <a:pt x="353250" y="265041"/>
                  </a:moveTo>
                  <a:cubicBezTo>
                    <a:pt x="409163" y="265041"/>
                    <a:pt x="454229" y="310232"/>
                    <a:pt x="454229" y="365879"/>
                  </a:cubicBezTo>
                  <a:cubicBezTo>
                    <a:pt x="454229" y="421527"/>
                    <a:pt x="408976" y="466717"/>
                    <a:pt x="353250" y="466717"/>
                  </a:cubicBezTo>
                  <a:cubicBezTo>
                    <a:pt x="297525" y="466717"/>
                    <a:pt x="252271" y="421527"/>
                    <a:pt x="252271" y="365879"/>
                  </a:cubicBezTo>
                  <a:cubicBezTo>
                    <a:pt x="252271" y="310232"/>
                    <a:pt x="297431" y="265041"/>
                    <a:pt x="353250" y="265041"/>
                  </a:cubicBezTo>
                  <a:close/>
                  <a:moveTo>
                    <a:pt x="427779" y="133781"/>
                  </a:moveTo>
                  <a:cubicBezTo>
                    <a:pt x="432818" y="131960"/>
                    <a:pt x="438547" y="132054"/>
                    <a:pt x="443784" y="134482"/>
                  </a:cubicBezTo>
                  <a:lnTo>
                    <a:pt x="473245" y="148209"/>
                  </a:lnTo>
                  <a:cubicBezTo>
                    <a:pt x="483720" y="153158"/>
                    <a:pt x="488209" y="165671"/>
                    <a:pt x="483346" y="176130"/>
                  </a:cubicBezTo>
                  <a:lnTo>
                    <a:pt x="470252" y="203957"/>
                  </a:lnTo>
                  <a:cubicBezTo>
                    <a:pt x="492231" y="219646"/>
                    <a:pt x="511123" y="240003"/>
                    <a:pt x="525526" y="264095"/>
                  </a:cubicBezTo>
                  <a:lnTo>
                    <a:pt x="554426" y="253636"/>
                  </a:lnTo>
                  <a:cubicBezTo>
                    <a:pt x="565368" y="249714"/>
                    <a:pt x="577340" y="255411"/>
                    <a:pt x="581361" y="266243"/>
                  </a:cubicBezTo>
                  <a:lnTo>
                    <a:pt x="592491" y="296592"/>
                  </a:lnTo>
                  <a:cubicBezTo>
                    <a:pt x="596419" y="307612"/>
                    <a:pt x="590714" y="319564"/>
                    <a:pt x="579865" y="323486"/>
                  </a:cubicBezTo>
                  <a:lnTo>
                    <a:pt x="550965" y="333945"/>
                  </a:lnTo>
                  <a:cubicBezTo>
                    <a:pt x="555455" y="361586"/>
                    <a:pt x="553958" y="389414"/>
                    <a:pt x="547224" y="415561"/>
                  </a:cubicBezTo>
                  <a:lnTo>
                    <a:pt x="575095" y="428634"/>
                  </a:lnTo>
                  <a:cubicBezTo>
                    <a:pt x="585570" y="433490"/>
                    <a:pt x="590059" y="445910"/>
                    <a:pt x="585102" y="456649"/>
                  </a:cubicBezTo>
                  <a:lnTo>
                    <a:pt x="571354" y="485970"/>
                  </a:lnTo>
                  <a:cubicBezTo>
                    <a:pt x="566397" y="496429"/>
                    <a:pt x="553958" y="500911"/>
                    <a:pt x="543483" y="496056"/>
                  </a:cubicBezTo>
                  <a:lnTo>
                    <a:pt x="515238" y="482982"/>
                  </a:lnTo>
                  <a:cubicBezTo>
                    <a:pt x="499526" y="504833"/>
                    <a:pt x="479137" y="523510"/>
                    <a:pt x="455007" y="537704"/>
                  </a:cubicBezTo>
                  <a:lnTo>
                    <a:pt x="465763" y="567026"/>
                  </a:lnTo>
                  <a:cubicBezTo>
                    <a:pt x="469784" y="578045"/>
                    <a:pt x="463986" y="589997"/>
                    <a:pt x="453137" y="593919"/>
                  </a:cubicBezTo>
                  <a:lnTo>
                    <a:pt x="422741" y="605032"/>
                  </a:lnTo>
                  <a:cubicBezTo>
                    <a:pt x="411798" y="609047"/>
                    <a:pt x="399827" y="603258"/>
                    <a:pt x="395805" y="592425"/>
                  </a:cubicBezTo>
                  <a:lnTo>
                    <a:pt x="385050" y="562823"/>
                  </a:lnTo>
                  <a:cubicBezTo>
                    <a:pt x="357646" y="567212"/>
                    <a:pt x="330056" y="565718"/>
                    <a:pt x="304149" y="558995"/>
                  </a:cubicBezTo>
                  <a:lnTo>
                    <a:pt x="290682" y="587756"/>
                  </a:lnTo>
                  <a:cubicBezTo>
                    <a:pt x="285725" y="598215"/>
                    <a:pt x="273192" y="602697"/>
                    <a:pt x="262717" y="597841"/>
                  </a:cubicBezTo>
                  <a:lnTo>
                    <a:pt x="233350" y="584114"/>
                  </a:lnTo>
                  <a:cubicBezTo>
                    <a:pt x="222875" y="579165"/>
                    <a:pt x="218385" y="566652"/>
                    <a:pt x="223249" y="556193"/>
                  </a:cubicBezTo>
                  <a:lnTo>
                    <a:pt x="236810" y="527338"/>
                  </a:lnTo>
                  <a:cubicBezTo>
                    <a:pt x="215112" y="511650"/>
                    <a:pt x="196407" y="491480"/>
                    <a:pt x="182284" y="467668"/>
                  </a:cubicBezTo>
                  <a:lnTo>
                    <a:pt x="152169" y="478687"/>
                  </a:lnTo>
                  <a:cubicBezTo>
                    <a:pt x="141133" y="482609"/>
                    <a:pt x="129161" y="476912"/>
                    <a:pt x="125233" y="466080"/>
                  </a:cubicBezTo>
                  <a:lnTo>
                    <a:pt x="114104" y="435731"/>
                  </a:lnTo>
                  <a:cubicBezTo>
                    <a:pt x="110082" y="424712"/>
                    <a:pt x="115881" y="412759"/>
                    <a:pt x="126730" y="408837"/>
                  </a:cubicBezTo>
                  <a:lnTo>
                    <a:pt x="156845" y="397818"/>
                  </a:lnTo>
                  <a:cubicBezTo>
                    <a:pt x="153852" y="379422"/>
                    <a:pt x="153478" y="361026"/>
                    <a:pt x="155629" y="342910"/>
                  </a:cubicBezTo>
                  <a:lnTo>
                    <a:pt x="158622" y="343097"/>
                  </a:lnTo>
                  <a:cubicBezTo>
                    <a:pt x="181162" y="344030"/>
                    <a:pt x="200522" y="327408"/>
                    <a:pt x="203141" y="305370"/>
                  </a:cubicBezTo>
                  <a:cubicBezTo>
                    <a:pt x="207723" y="303876"/>
                    <a:pt x="212119" y="302195"/>
                    <a:pt x="216515" y="300515"/>
                  </a:cubicBezTo>
                  <a:cubicBezTo>
                    <a:pt x="220349" y="304063"/>
                    <a:pt x="224745" y="306958"/>
                    <a:pt x="229609" y="308919"/>
                  </a:cubicBezTo>
                  <a:cubicBezTo>
                    <a:pt x="219227" y="330957"/>
                    <a:pt x="214831" y="355983"/>
                    <a:pt x="217824" y="381943"/>
                  </a:cubicBezTo>
                  <a:cubicBezTo>
                    <a:pt x="226709" y="456462"/>
                    <a:pt x="294329" y="509876"/>
                    <a:pt x="368963" y="501192"/>
                  </a:cubicBezTo>
                  <a:cubicBezTo>
                    <a:pt x="443691" y="492320"/>
                    <a:pt x="497188" y="424899"/>
                    <a:pt x="488490" y="350287"/>
                  </a:cubicBezTo>
                  <a:cubicBezTo>
                    <a:pt x="479605" y="275675"/>
                    <a:pt x="411985" y="222260"/>
                    <a:pt x="337351" y="231038"/>
                  </a:cubicBezTo>
                  <a:cubicBezTo>
                    <a:pt x="324632" y="232532"/>
                    <a:pt x="312473" y="235707"/>
                    <a:pt x="301156" y="240376"/>
                  </a:cubicBezTo>
                  <a:cubicBezTo>
                    <a:pt x="299660" y="236268"/>
                    <a:pt x="297509" y="232345"/>
                    <a:pt x="294797" y="228890"/>
                  </a:cubicBezTo>
                  <a:cubicBezTo>
                    <a:pt x="297041" y="224688"/>
                    <a:pt x="299005" y="220393"/>
                    <a:pt x="300782" y="216097"/>
                  </a:cubicBezTo>
                  <a:cubicBezTo>
                    <a:pt x="311164" y="215817"/>
                    <a:pt x="320891" y="211802"/>
                    <a:pt x="328466" y="204891"/>
                  </a:cubicBezTo>
                  <a:cubicBezTo>
                    <a:pt x="336977" y="197141"/>
                    <a:pt x="341934" y="186589"/>
                    <a:pt x="342402" y="175103"/>
                  </a:cubicBezTo>
                  <a:lnTo>
                    <a:pt x="342776" y="166978"/>
                  </a:lnTo>
                  <a:cubicBezTo>
                    <a:pt x="363164" y="165764"/>
                    <a:pt x="383460" y="167912"/>
                    <a:pt x="402820" y="172768"/>
                  </a:cubicBezTo>
                  <a:lnTo>
                    <a:pt x="415913" y="144567"/>
                  </a:lnTo>
                  <a:cubicBezTo>
                    <a:pt x="418392" y="139338"/>
                    <a:pt x="422741" y="135602"/>
                    <a:pt x="427779" y="133781"/>
                  </a:cubicBezTo>
                  <a:close/>
                  <a:moveTo>
                    <a:pt x="159906" y="88589"/>
                  </a:moveTo>
                  <a:cubicBezTo>
                    <a:pt x="142487" y="87818"/>
                    <a:pt x="124764" y="93678"/>
                    <a:pt x="110828" y="106378"/>
                  </a:cubicBezTo>
                  <a:cubicBezTo>
                    <a:pt x="96145" y="119731"/>
                    <a:pt x="88663" y="138127"/>
                    <a:pt x="88663" y="156523"/>
                  </a:cubicBezTo>
                  <a:cubicBezTo>
                    <a:pt x="88663" y="172958"/>
                    <a:pt x="94555" y="189393"/>
                    <a:pt x="106526" y="202467"/>
                  </a:cubicBezTo>
                  <a:cubicBezTo>
                    <a:pt x="131965" y="230294"/>
                    <a:pt x="175081" y="232162"/>
                    <a:pt x="202764" y="206762"/>
                  </a:cubicBezTo>
                  <a:cubicBezTo>
                    <a:pt x="217448" y="193409"/>
                    <a:pt x="224930" y="175013"/>
                    <a:pt x="224930" y="156523"/>
                  </a:cubicBezTo>
                  <a:cubicBezTo>
                    <a:pt x="224930" y="140088"/>
                    <a:pt x="219132" y="123653"/>
                    <a:pt x="207160" y="110580"/>
                  </a:cubicBezTo>
                  <a:cubicBezTo>
                    <a:pt x="194441" y="96760"/>
                    <a:pt x="177325" y="89359"/>
                    <a:pt x="159906" y="88589"/>
                  </a:cubicBezTo>
                  <a:close/>
                  <a:moveTo>
                    <a:pt x="153289" y="17"/>
                  </a:moveTo>
                  <a:lnTo>
                    <a:pt x="173678" y="951"/>
                  </a:lnTo>
                  <a:cubicBezTo>
                    <a:pt x="180786" y="1325"/>
                    <a:pt x="186304" y="7114"/>
                    <a:pt x="186304" y="14118"/>
                  </a:cubicBezTo>
                  <a:lnTo>
                    <a:pt x="186304" y="14771"/>
                  </a:lnTo>
                  <a:lnTo>
                    <a:pt x="185462" y="34755"/>
                  </a:lnTo>
                  <a:cubicBezTo>
                    <a:pt x="201923" y="38677"/>
                    <a:pt x="217729" y="45774"/>
                    <a:pt x="231851" y="56232"/>
                  </a:cubicBezTo>
                  <a:lnTo>
                    <a:pt x="246535" y="42786"/>
                  </a:lnTo>
                  <a:cubicBezTo>
                    <a:pt x="251866" y="37930"/>
                    <a:pt x="260283" y="38303"/>
                    <a:pt x="265240" y="43626"/>
                  </a:cubicBezTo>
                  <a:lnTo>
                    <a:pt x="279082" y="58660"/>
                  </a:lnTo>
                  <a:cubicBezTo>
                    <a:pt x="281420" y="61275"/>
                    <a:pt x="282542" y="64450"/>
                    <a:pt x="282542" y="67625"/>
                  </a:cubicBezTo>
                  <a:cubicBezTo>
                    <a:pt x="282542" y="71173"/>
                    <a:pt x="281233" y="74722"/>
                    <a:pt x="278334" y="77337"/>
                  </a:cubicBezTo>
                  <a:lnTo>
                    <a:pt x="263744" y="90690"/>
                  </a:lnTo>
                  <a:cubicBezTo>
                    <a:pt x="273096" y="105537"/>
                    <a:pt x="278988" y="121973"/>
                    <a:pt x="281420" y="138781"/>
                  </a:cubicBezTo>
                  <a:lnTo>
                    <a:pt x="301061" y="139621"/>
                  </a:lnTo>
                  <a:cubicBezTo>
                    <a:pt x="308169" y="139995"/>
                    <a:pt x="313593" y="145878"/>
                    <a:pt x="313593" y="152788"/>
                  </a:cubicBezTo>
                  <a:lnTo>
                    <a:pt x="313593" y="153442"/>
                  </a:lnTo>
                  <a:lnTo>
                    <a:pt x="312751" y="173892"/>
                  </a:lnTo>
                  <a:cubicBezTo>
                    <a:pt x="312377" y="181083"/>
                    <a:pt x="306298" y="186779"/>
                    <a:pt x="298910" y="186405"/>
                  </a:cubicBezTo>
                  <a:lnTo>
                    <a:pt x="279456" y="185565"/>
                  </a:lnTo>
                  <a:cubicBezTo>
                    <a:pt x="275622" y="202093"/>
                    <a:pt x="268327" y="218061"/>
                    <a:pt x="257758" y="232162"/>
                  </a:cubicBezTo>
                  <a:lnTo>
                    <a:pt x="270852" y="246449"/>
                  </a:lnTo>
                  <a:cubicBezTo>
                    <a:pt x="273190" y="249064"/>
                    <a:pt x="274312" y="252145"/>
                    <a:pt x="274312" y="255414"/>
                  </a:cubicBezTo>
                  <a:cubicBezTo>
                    <a:pt x="274312" y="258869"/>
                    <a:pt x="273003" y="262511"/>
                    <a:pt x="270104" y="265126"/>
                  </a:cubicBezTo>
                  <a:lnTo>
                    <a:pt x="255046" y="278946"/>
                  </a:lnTo>
                  <a:cubicBezTo>
                    <a:pt x="249621" y="283802"/>
                    <a:pt x="241297" y="283428"/>
                    <a:pt x="236340" y="278106"/>
                  </a:cubicBezTo>
                  <a:lnTo>
                    <a:pt x="223247" y="263724"/>
                  </a:lnTo>
                  <a:cubicBezTo>
                    <a:pt x="208282" y="272970"/>
                    <a:pt x="191635" y="278853"/>
                    <a:pt x="174800" y="281187"/>
                  </a:cubicBezTo>
                  <a:lnTo>
                    <a:pt x="173958" y="300610"/>
                  </a:lnTo>
                  <a:cubicBezTo>
                    <a:pt x="173584" y="307801"/>
                    <a:pt x="167505" y="313590"/>
                    <a:pt x="160117" y="313217"/>
                  </a:cubicBezTo>
                  <a:lnTo>
                    <a:pt x="139634" y="312283"/>
                  </a:lnTo>
                  <a:cubicBezTo>
                    <a:pt x="132526" y="311909"/>
                    <a:pt x="127102" y="306120"/>
                    <a:pt x="127102" y="299116"/>
                  </a:cubicBezTo>
                  <a:lnTo>
                    <a:pt x="127102" y="298463"/>
                  </a:lnTo>
                  <a:lnTo>
                    <a:pt x="128037" y="279039"/>
                  </a:lnTo>
                  <a:cubicBezTo>
                    <a:pt x="111577" y="275211"/>
                    <a:pt x="95771" y="267834"/>
                    <a:pt x="81648" y="257281"/>
                  </a:cubicBezTo>
                  <a:lnTo>
                    <a:pt x="67058" y="270635"/>
                  </a:lnTo>
                  <a:cubicBezTo>
                    <a:pt x="61727" y="275491"/>
                    <a:pt x="53403" y="275117"/>
                    <a:pt x="48353" y="269701"/>
                  </a:cubicBezTo>
                  <a:lnTo>
                    <a:pt x="34511" y="254667"/>
                  </a:lnTo>
                  <a:cubicBezTo>
                    <a:pt x="32173" y="252052"/>
                    <a:pt x="31051" y="248970"/>
                    <a:pt x="31051" y="245702"/>
                  </a:cubicBezTo>
                  <a:cubicBezTo>
                    <a:pt x="31051" y="242247"/>
                    <a:pt x="32453" y="238605"/>
                    <a:pt x="35259" y="235990"/>
                  </a:cubicBezTo>
                  <a:lnTo>
                    <a:pt x="50036" y="222544"/>
                  </a:lnTo>
                  <a:cubicBezTo>
                    <a:pt x="40777" y="207696"/>
                    <a:pt x="35072" y="191261"/>
                    <a:pt x="32640" y="174639"/>
                  </a:cubicBezTo>
                  <a:lnTo>
                    <a:pt x="12626" y="173705"/>
                  </a:lnTo>
                  <a:cubicBezTo>
                    <a:pt x="5518" y="173332"/>
                    <a:pt x="0" y="167542"/>
                    <a:pt x="0" y="160539"/>
                  </a:cubicBezTo>
                  <a:lnTo>
                    <a:pt x="0" y="159885"/>
                  </a:lnTo>
                  <a:lnTo>
                    <a:pt x="842" y="139621"/>
                  </a:lnTo>
                  <a:cubicBezTo>
                    <a:pt x="1216" y="132431"/>
                    <a:pt x="7388" y="126642"/>
                    <a:pt x="14683" y="127015"/>
                  </a:cubicBezTo>
                  <a:lnTo>
                    <a:pt x="34885" y="127949"/>
                  </a:lnTo>
                  <a:cubicBezTo>
                    <a:pt x="38813" y="111514"/>
                    <a:pt x="46015" y="95826"/>
                    <a:pt x="56490" y="81819"/>
                  </a:cubicBezTo>
                  <a:lnTo>
                    <a:pt x="42741" y="66878"/>
                  </a:lnTo>
                  <a:cubicBezTo>
                    <a:pt x="40403" y="64263"/>
                    <a:pt x="39281" y="61182"/>
                    <a:pt x="39281" y="57913"/>
                  </a:cubicBezTo>
                  <a:cubicBezTo>
                    <a:pt x="39281" y="54458"/>
                    <a:pt x="40684" y="50816"/>
                    <a:pt x="43490" y="48202"/>
                  </a:cubicBezTo>
                  <a:lnTo>
                    <a:pt x="58641" y="34381"/>
                  </a:lnTo>
                  <a:cubicBezTo>
                    <a:pt x="63972" y="29526"/>
                    <a:pt x="72296" y="29899"/>
                    <a:pt x="77346" y="35315"/>
                  </a:cubicBezTo>
                  <a:lnTo>
                    <a:pt x="90627" y="50256"/>
                  </a:lnTo>
                  <a:cubicBezTo>
                    <a:pt x="105591" y="41011"/>
                    <a:pt x="121864" y="35128"/>
                    <a:pt x="138512" y="32794"/>
                  </a:cubicBezTo>
                  <a:lnTo>
                    <a:pt x="139447" y="12624"/>
                  </a:lnTo>
                  <a:cubicBezTo>
                    <a:pt x="139821" y="5433"/>
                    <a:pt x="145901" y="-356"/>
                    <a:pt x="153289" y="17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1" name="îṣḻïḓè">
              <a:extLst>
                <a:ext uri="{FF2B5EF4-FFF2-40B4-BE49-F238E27FC236}">
                  <a16:creationId xmlns:a16="http://schemas.microsoft.com/office/drawing/2014/main" id="{30C8A656-A69C-4844-9B4C-38593487F7D6}"/>
                </a:ext>
              </a:extLst>
            </p:cNvPr>
            <p:cNvSpPr/>
            <p:nvPr/>
          </p:nvSpPr>
          <p:spPr bwMode="auto">
            <a:xfrm>
              <a:off x="3563916" y="3658051"/>
              <a:ext cx="377806" cy="377072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81741" h="580612">
                  <a:moveTo>
                    <a:pt x="291612" y="187916"/>
                  </a:moveTo>
                  <a:cubicBezTo>
                    <a:pt x="304876" y="187916"/>
                    <a:pt x="315648" y="198758"/>
                    <a:pt x="315648" y="212088"/>
                  </a:cubicBezTo>
                  <a:lnTo>
                    <a:pt x="315648" y="491836"/>
                  </a:lnTo>
                  <a:lnTo>
                    <a:pt x="331227" y="473974"/>
                  </a:lnTo>
                  <a:cubicBezTo>
                    <a:pt x="339863" y="463932"/>
                    <a:pt x="355086" y="462866"/>
                    <a:pt x="365145" y="471574"/>
                  </a:cubicBezTo>
                  <a:cubicBezTo>
                    <a:pt x="375116" y="480372"/>
                    <a:pt x="376184" y="495657"/>
                    <a:pt x="367460" y="505699"/>
                  </a:cubicBezTo>
                  <a:lnTo>
                    <a:pt x="309773" y="572348"/>
                  </a:lnTo>
                  <a:cubicBezTo>
                    <a:pt x="305143" y="577502"/>
                    <a:pt x="298556" y="580612"/>
                    <a:pt x="291612" y="580612"/>
                  </a:cubicBezTo>
                  <a:cubicBezTo>
                    <a:pt x="284579" y="580612"/>
                    <a:pt x="278080" y="577680"/>
                    <a:pt x="273451" y="572348"/>
                  </a:cubicBezTo>
                  <a:lnTo>
                    <a:pt x="215764" y="505699"/>
                  </a:lnTo>
                  <a:cubicBezTo>
                    <a:pt x="207039" y="495657"/>
                    <a:pt x="208108" y="480372"/>
                    <a:pt x="218078" y="471574"/>
                  </a:cubicBezTo>
                  <a:cubicBezTo>
                    <a:pt x="228049" y="462866"/>
                    <a:pt x="243272" y="463932"/>
                    <a:pt x="252085" y="473974"/>
                  </a:cubicBezTo>
                  <a:lnTo>
                    <a:pt x="267486" y="491747"/>
                  </a:lnTo>
                  <a:lnTo>
                    <a:pt x="267486" y="212088"/>
                  </a:lnTo>
                  <a:cubicBezTo>
                    <a:pt x="267486" y="198758"/>
                    <a:pt x="278258" y="187916"/>
                    <a:pt x="291612" y="187916"/>
                  </a:cubicBezTo>
                  <a:close/>
                  <a:moveTo>
                    <a:pt x="329499" y="0"/>
                  </a:moveTo>
                  <a:cubicBezTo>
                    <a:pt x="426248" y="0"/>
                    <a:pt x="465322" y="80426"/>
                    <a:pt x="473332" y="108153"/>
                  </a:cubicBezTo>
                  <a:cubicBezTo>
                    <a:pt x="535280" y="120684"/>
                    <a:pt x="581474" y="175693"/>
                    <a:pt x="581741" y="241190"/>
                  </a:cubicBezTo>
                  <a:cubicBezTo>
                    <a:pt x="581741" y="315840"/>
                    <a:pt x="521306" y="376537"/>
                    <a:pt x="446987" y="376537"/>
                  </a:cubicBezTo>
                  <a:lnTo>
                    <a:pt x="372756" y="376537"/>
                  </a:lnTo>
                  <a:cubicBezTo>
                    <a:pt x="359316" y="376537"/>
                    <a:pt x="348546" y="365606"/>
                    <a:pt x="348546" y="352276"/>
                  </a:cubicBezTo>
                  <a:cubicBezTo>
                    <a:pt x="348546" y="338857"/>
                    <a:pt x="359316" y="327926"/>
                    <a:pt x="372756" y="327926"/>
                  </a:cubicBezTo>
                  <a:lnTo>
                    <a:pt x="446987" y="327926"/>
                  </a:lnTo>
                  <a:cubicBezTo>
                    <a:pt x="494605" y="327926"/>
                    <a:pt x="533322" y="289090"/>
                    <a:pt x="533322" y="241190"/>
                  </a:cubicBezTo>
                  <a:cubicBezTo>
                    <a:pt x="533322" y="195334"/>
                    <a:pt x="497720" y="157298"/>
                    <a:pt x="452238" y="154632"/>
                  </a:cubicBezTo>
                  <a:cubicBezTo>
                    <a:pt x="440934" y="153921"/>
                    <a:pt x="431589" y="145478"/>
                    <a:pt x="429809" y="134192"/>
                  </a:cubicBezTo>
                  <a:cubicBezTo>
                    <a:pt x="421709" y="84692"/>
                    <a:pt x="379609" y="48789"/>
                    <a:pt x="329677" y="48789"/>
                  </a:cubicBezTo>
                  <a:cubicBezTo>
                    <a:pt x="279567" y="48789"/>
                    <a:pt x="238001" y="84781"/>
                    <a:pt x="229457" y="134192"/>
                  </a:cubicBezTo>
                  <a:cubicBezTo>
                    <a:pt x="226520" y="151521"/>
                    <a:pt x="212190" y="162807"/>
                    <a:pt x="192964" y="151077"/>
                  </a:cubicBezTo>
                  <a:cubicBezTo>
                    <a:pt x="178011" y="141834"/>
                    <a:pt x="160922" y="136947"/>
                    <a:pt x="143299" y="136947"/>
                  </a:cubicBezTo>
                  <a:cubicBezTo>
                    <a:pt x="90964" y="136947"/>
                    <a:pt x="48419" y="179693"/>
                    <a:pt x="48419" y="232303"/>
                  </a:cubicBezTo>
                  <a:cubicBezTo>
                    <a:pt x="48419" y="284913"/>
                    <a:pt x="90964" y="327748"/>
                    <a:pt x="143299" y="327748"/>
                  </a:cubicBezTo>
                  <a:lnTo>
                    <a:pt x="218776" y="327748"/>
                  </a:lnTo>
                  <a:cubicBezTo>
                    <a:pt x="232216" y="327748"/>
                    <a:pt x="242986" y="338590"/>
                    <a:pt x="242986" y="352009"/>
                  </a:cubicBezTo>
                  <a:cubicBezTo>
                    <a:pt x="242986" y="365429"/>
                    <a:pt x="232216" y="376271"/>
                    <a:pt x="218776" y="376271"/>
                  </a:cubicBezTo>
                  <a:lnTo>
                    <a:pt x="143299" y="376271"/>
                  </a:lnTo>
                  <a:cubicBezTo>
                    <a:pt x="64262" y="376271"/>
                    <a:pt x="0" y="311574"/>
                    <a:pt x="0" y="232214"/>
                  </a:cubicBezTo>
                  <a:cubicBezTo>
                    <a:pt x="0" y="152854"/>
                    <a:pt x="64262" y="88158"/>
                    <a:pt x="143210" y="88158"/>
                  </a:cubicBezTo>
                  <a:cubicBezTo>
                    <a:pt x="159231" y="88158"/>
                    <a:pt x="174896" y="90735"/>
                    <a:pt x="189849" y="95978"/>
                  </a:cubicBezTo>
                  <a:cubicBezTo>
                    <a:pt x="198749" y="73050"/>
                    <a:pt x="238891" y="0"/>
                    <a:pt x="32949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2" name="iş1iḑe">
              <a:extLst>
                <a:ext uri="{FF2B5EF4-FFF2-40B4-BE49-F238E27FC236}">
                  <a16:creationId xmlns:a16="http://schemas.microsoft.com/office/drawing/2014/main" id="{79D5FAF9-096B-4C61-A299-6A26A276E128}"/>
                </a:ext>
              </a:extLst>
            </p:cNvPr>
            <p:cNvSpPr/>
            <p:nvPr/>
          </p:nvSpPr>
          <p:spPr bwMode="auto">
            <a:xfrm>
              <a:off x="3025037" y="4301073"/>
              <a:ext cx="377806" cy="377236"/>
            </a:xfrm>
            <a:custGeom>
              <a:avLst/>
              <a:gdLst>
                <a:gd name="connsiteX0" fmla="*/ 303820 w 607639"/>
                <a:gd name="connsiteY0" fmla="*/ 278099 h 606722"/>
                <a:gd name="connsiteX1" fmla="*/ 329118 w 607639"/>
                <a:gd name="connsiteY1" fmla="*/ 303362 h 606722"/>
                <a:gd name="connsiteX2" fmla="*/ 303820 w 607639"/>
                <a:gd name="connsiteY2" fmla="*/ 328625 h 606722"/>
                <a:gd name="connsiteX3" fmla="*/ 278522 w 607639"/>
                <a:gd name="connsiteY3" fmla="*/ 303362 h 606722"/>
                <a:gd name="connsiteX4" fmla="*/ 303820 w 607639"/>
                <a:gd name="connsiteY4" fmla="*/ 278099 h 606722"/>
                <a:gd name="connsiteX5" fmla="*/ 303775 w 607639"/>
                <a:gd name="connsiteY5" fmla="*/ 252735 h 606722"/>
                <a:gd name="connsiteX6" fmla="*/ 253140 w 607639"/>
                <a:gd name="connsiteY6" fmla="*/ 303317 h 606722"/>
                <a:gd name="connsiteX7" fmla="*/ 303775 w 607639"/>
                <a:gd name="connsiteY7" fmla="*/ 353900 h 606722"/>
                <a:gd name="connsiteX8" fmla="*/ 354410 w 607639"/>
                <a:gd name="connsiteY8" fmla="*/ 303317 h 606722"/>
                <a:gd name="connsiteX9" fmla="*/ 303775 w 607639"/>
                <a:gd name="connsiteY9" fmla="*/ 252735 h 606722"/>
                <a:gd name="connsiteX10" fmla="*/ 303775 w 607639"/>
                <a:gd name="connsiteY10" fmla="*/ 202241 h 606722"/>
                <a:gd name="connsiteX11" fmla="*/ 405045 w 607639"/>
                <a:gd name="connsiteY11" fmla="*/ 303317 h 606722"/>
                <a:gd name="connsiteX12" fmla="*/ 303775 w 607639"/>
                <a:gd name="connsiteY12" fmla="*/ 404482 h 606722"/>
                <a:gd name="connsiteX13" fmla="*/ 202593 w 607639"/>
                <a:gd name="connsiteY13" fmla="*/ 303317 h 606722"/>
                <a:gd name="connsiteX14" fmla="*/ 303775 w 607639"/>
                <a:gd name="connsiteY14" fmla="*/ 202241 h 606722"/>
                <a:gd name="connsiteX15" fmla="*/ 303775 w 607639"/>
                <a:gd name="connsiteY15" fmla="*/ 151703 h 606722"/>
                <a:gd name="connsiteX16" fmla="*/ 151932 w 607639"/>
                <a:gd name="connsiteY16" fmla="*/ 303317 h 606722"/>
                <a:gd name="connsiteX17" fmla="*/ 303775 w 607639"/>
                <a:gd name="connsiteY17" fmla="*/ 455019 h 606722"/>
                <a:gd name="connsiteX18" fmla="*/ 455707 w 607639"/>
                <a:gd name="connsiteY18" fmla="*/ 303317 h 606722"/>
                <a:gd name="connsiteX19" fmla="*/ 303775 w 607639"/>
                <a:gd name="connsiteY19" fmla="*/ 151703 h 606722"/>
                <a:gd name="connsiteX20" fmla="*/ 253131 w 607639"/>
                <a:gd name="connsiteY20" fmla="*/ 0 h 606722"/>
                <a:gd name="connsiteX21" fmla="*/ 354419 w 607639"/>
                <a:gd name="connsiteY21" fmla="*/ 0 h 606722"/>
                <a:gd name="connsiteX22" fmla="*/ 379786 w 607639"/>
                <a:gd name="connsiteY22" fmla="*/ 25239 h 606722"/>
                <a:gd name="connsiteX23" fmla="*/ 379786 w 607639"/>
                <a:gd name="connsiteY23" fmla="*/ 62387 h 606722"/>
                <a:gd name="connsiteX24" fmla="*/ 420639 w 607639"/>
                <a:gd name="connsiteY24" fmla="*/ 79451 h 606722"/>
                <a:gd name="connsiteX25" fmla="*/ 446985 w 607639"/>
                <a:gd name="connsiteY25" fmla="*/ 53145 h 606722"/>
                <a:gd name="connsiteX26" fmla="*/ 482854 w 607639"/>
                <a:gd name="connsiteY26" fmla="*/ 53145 h 606722"/>
                <a:gd name="connsiteX27" fmla="*/ 554414 w 607639"/>
                <a:gd name="connsiteY27" fmla="*/ 124597 h 606722"/>
                <a:gd name="connsiteX28" fmla="*/ 554414 w 607639"/>
                <a:gd name="connsiteY28" fmla="*/ 160323 h 606722"/>
                <a:gd name="connsiteX29" fmla="*/ 528069 w 607639"/>
                <a:gd name="connsiteY29" fmla="*/ 186629 h 606722"/>
                <a:gd name="connsiteX30" fmla="*/ 545158 w 607639"/>
                <a:gd name="connsiteY30" fmla="*/ 227510 h 606722"/>
                <a:gd name="connsiteX31" fmla="*/ 582273 w 607639"/>
                <a:gd name="connsiteY31" fmla="*/ 227510 h 606722"/>
                <a:gd name="connsiteX32" fmla="*/ 607639 w 607639"/>
                <a:gd name="connsiteY32" fmla="*/ 252749 h 606722"/>
                <a:gd name="connsiteX33" fmla="*/ 607639 w 607639"/>
                <a:gd name="connsiteY33" fmla="*/ 353884 h 606722"/>
                <a:gd name="connsiteX34" fmla="*/ 582273 w 607639"/>
                <a:gd name="connsiteY34" fmla="*/ 379212 h 606722"/>
                <a:gd name="connsiteX35" fmla="*/ 545158 w 607639"/>
                <a:gd name="connsiteY35" fmla="*/ 379212 h 606722"/>
                <a:gd name="connsiteX36" fmla="*/ 528069 w 607639"/>
                <a:gd name="connsiteY36" fmla="*/ 420004 h 606722"/>
                <a:gd name="connsiteX37" fmla="*/ 554414 w 607639"/>
                <a:gd name="connsiteY37" fmla="*/ 446310 h 606722"/>
                <a:gd name="connsiteX38" fmla="*/ 554414 w 607639"/>
                <a:gd name="connsiteY38" fmla="*/ 482125 h 606722"/>
                <a:gd name="connsiteX39" fmla="*/ 482854 w 607639"/>
                <a:gd name="connsiteY39" fmla="*/ 553577 h 606722"/>
                <a:gd name="connsiteX40" fmla="*/ 446985 w 607639"/>
                <a:gd name="connsiteY40" fmla="*/ 553577 h 606722"/>
                <a:gd name="connsiteX41" fmla="*/ 420639 w 607639"/>
                <a:gd name="connsiteY41" fmla="*/ 527271 h 606722"/>
                <a:gd name="connsiteX42" fmla="*/ 379786 w 607639"/>
                <a:gd name="connsiteY42" fmla="*/ 544246 h 606722"/>
                <a:gd name="connsiteX43" fmla="*/ 379786 w 607639"/>
                <a:gd name="connsiteY43" fmla="*/ 581394 h 606722"/>
                <a:gd name="connsiteX44" fmla="*/ 354419 w 607639"/>
                <a:gd name="connsiteY44" fmla="*/ 606722 h 606722"/>
                <a:gd name="connsiteX45" fmla="*/ 253131 w 607639"/>
                <a:gd name="connsiteY45" fmla="*/ 606722 h 606722"/>
                <a:gd name="connsiteX46" fmla="*/ 227854 w 607639"/>
                <a:gd name="connsiteY46" fmla="*/ 581394 h 606722"/>
                <a:gd name="connsiteX47" fmla="*/ 227854 w 607639"/>
                <a:gd name="connsiteY47" fmla="*/ 544246 h 606722"/>
                <a:gd name="connsiteX48" fmla="*/ 186911 w 607639"/>
                <a:gd name="connsiteY48" fmla="*/ 527271 h 606722"/>
                <a:gd name="connsiteX49" fmla="*/ 160566 w 607639"/>
                <a:gd name="connsiteY49" fmla="*/ 553577 h 606722"/>
                <a:gd name="connsiteX50" fmla="*/ 124786 w 607639"/>
                <a:gd name="connsiteY50" fmla="*/ 553577 h 606722"/>
                <a:gd name="connsiteX51" fmla="*/ 53225 w 607639"/>
                <a:gd name="connsiteY51" fmla="*/ 482125 h 606722"/>
                <a:gd name="connsiteX52" fmla="*/ 53225 w 607639"/>
                <a:gd name="connsiteY52" fmla="*/ 446310 h 606722"/>
                <a:gd name="connsiteX53" fmla="*/ 79482 w 607639"/>
                <a:gd name="connsiteY53" fmla="*/ 420004 h 606722"/>
                <a:gd name="connsiteX54" fmla="*/ 62482 w 607639"/>
                <a:gd name="connsiteY54" fmla="*/ 379212 h 606722"/>
                <a:gd name="connsiteX55" fmla="*/ 25278 w 607639"/>
                <a:gd name="connsiteY55" fmla="*/ 379212 h 606722"/>
                <a:gd name="connsiteX56" fmla="*/ 0 w 607639"/>
                <a:gd name="connsiteY56" fmla="*/ 353884 h 606722"/>
                <a:gd name="connsiteX57" fmla="*/ 0 w 607639"/>
                <a:gd name="connsiteY57" fmla="*/ 252749 h 606722"/>
                <a:gd name="connsiteX58" fmla="*/ 25278 w 607639"/>
                <a:gd name="connsiteY58" fmla="*/ 227510 h 606722"/>
                <a:gd name="connsiteX59" fmla="*/ 62482 w 607639"/>
                <a:gd name="connsiteY59" fmla="*/ 227510 h 606722"/>
                <a:gd name="connsiteX60" fmla="*/ 79482 w 607639"/>
                <a:gd name="connsiteY60" fmla="*/ 186629 h 606722"/>
                <a:gd name="connsiteX61" fmla="*/ 53225 w 607639"/>
                <a:gd name="connsiteY61" fmla="*/ 160323 h 606722"/>
                <a:gd name="connsiteX62" fmla="*/ 53225 w 607639"/>
                <a:gd name="connsiteY62" fmla="*/ 124597 h 606722"/>
                <a:gd name="connsiteX63" fmla="*/ 124786 w 607639"/>
                <a:gd name="connsiteY63" fmla="*/ 53145 h 606722"/>
                <a:gd name="connsiteX64" fmla="*/ 160566 w 607639"/>
                <a:gd name="connsiteY64" fmla="*/ 53145 h 606722"/>
                <a:gd name="connsiteX65" fmla="*/ 186911 w 607639"/>
                <a:gd name="connsiteY65" fmla="*/ 79451 h 606722"/>
                <a:gd name="connsiteX66" fmla="*/ 227854 w 607639"/>
                <a:gd name="connsiteY66" fmla="*/ 62387 h 606722"/>
                <a:gd name="connsiteX67" fmla="*/ 227854 w 607639"/>
                <a:gd name="connsiteY67" fmla="*/ 25239 h 606722"/>
                <a:gd name="connsiteX68" fmla="*/ 253131 w 607639"/>
                <a:gd name="connsiteY68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607639" h="606722">
                  <a:moveTo>
                    <a:pt x="303820" y="278099"/>
                  </a:moveTo>
                  <a:cubicBezTo>
                    <a:pt x="317792" y="278099"/>
                    <a:pt x="329118" y="289410"/>
                    <a:pt x="329118" y="303362"/>
                  </a:cubicBezTo>
                  <a:cubicBezTo>
                    <a:pt x="329118" y="317314"/>
                    <a:pt x="317792" y="328625"/>
                    <a:pt x="303820" y="328625"/>
                  </a:cubicBezTo>
                  <a:cubicBezTo>
                    <a:pt x="289848" y="328625"/>
                    <a:pt x="278522" y="317314"/>
                    <a:pt x="278522" y="303362"/>
                  </a:cubicBezTo>
                  <a:cubicBezTo>
                    <a:pt x="278522" y="289410"/>
                    <a:pt x="289848" y="278099"/>
                    <a:pt x="303820" y="278099"/>
                  </a:cubicBezTo>
                  <a:close/>
                  <a:moveTo>
                    <a:pt x="303775" y="252735"/>
                  </a:moveTo>
                  <a:cubicBezTo>
                    <a:pt x="275921" y="252735"/>
                    <a:pt x="253140" y="275492"/>
                    <a:pt x="253140" y="303317"/>
                  </a:cubicBezTo>
                  <a:cubicBezTo>
                    <a:pt x="253140" y="331231"/>
                    <a:pt x="275921" y="353900"/>
                    <a:pt x="303775" y="353900"/>
                  </a:cubicBezTo>
                  <a:cubicBezTo>
                    <a:pt x="331718" y="353900"/>
                    <a:pt x="354410" y="331231"/>
                    <a:pt x="354410" y="303317"/>
                  </a:cubicBezTo>
                  <a:cubicBezTo>
                    <a:pt x="354410" y="275492"/>
                    <a:pt x="331718" y="252735"/>
                    <a:pt x="303775" y="252735"/>
                  </a:cubicBezTo>
                  <a:close/>
                  <a:moveTo>
                    <a:pt x="303775" y="202241"/>
                  </a:moveTo>
                  <a:cubicBezTo>
                    <a:pt x="359660" y="202241"/>
                    <a:pt x="405045" y="247579"/>
                    <a:pt x="405045" y="303317"/>
                  </a:cubicBezTo>
                  <a:cubicBezTo>
                    <a:pt x="405045" y="359144"/>
                    <a:pt x="359660" y="404482"/>
                    <a:pt x="303775" y="404482"/>
                  </a:cubicBezTo>
                  <a:cubicBezTo>
                    <a:pt x="247978" y="404482"/>
                    <a:pt x="202593" y="359144"/>
                    <a:pt x="202593" y="303317"/>
                  </a:cubicBezTo>
                  <a:cubicBezTo>
                    <a:pt x="202593" y="247579"/>
                    <a:pt x="247978" y="202241"/>
                    <a:pt x="303775" y="202241"/>
                  </a:cubicBezTo>
                  <a:close/>
                  <a:moveTo>
                    <a:pt x="303775" y="151703"/>
                  </a:moveTo>
                  <a:cubicBezTo>
                    <a:pt x="220021" y="151703"/>
                    <a:pt x="151932" y="219689"/>
                    <a:pt x="151932" y="303317"/>
                  </a:cubicBezTo>
                  <a:cubicBezTo>
                    <a:pt x="151932" y="387033"/>
                    <a:pt x="220021" y="455019"/>
                    <a:pt x="303775" y="455019"/>
                  </a:cubicBezTo>
                  <a:cubicBezTo>
                    <a:pt x="387618" y="455019"/>
                    <a:pt x="455707" y="387033"/>
                    <a:pt x="455707" y="303317"/>
                  </a:cubicBezTo>
                  <a:cubicBezTo>
                    <a:pt x="455707" y="219689"/>
                    <a:pt x="387618" y="151703"/>
                    <a:pt x="303775" y="151703"/>
                  </a:cubicBezTo>
                  <a:close/>
                  <a:moveTo>
                    <a:pt x="253131" y="0"/>
                  </a:moveTo>
                  <a:lnTo>
                    <a:pt x="354419" y="0"/>
                  </a:lnTo>
                  <a:cubicBezTo>
                    <a:pt x="368482" y="0"/>
                    <a:pt x="379786" y="11287"/>
                    <a:pt x="379786" y="25239"/>
                  </a:cubicBezTo>
                  <a:lnTo>
                    <a:pt x="379786" y="62387"/>
                  </a:lnTo>
                  <a:cubicBezTo>
                    <a:pt x="393849" y="66831"/>
                    <a:pt x="407555" y="72519"/>
                    <a:pt x="420639" y="79451"/>
                  </a:cubicBezTo>
                  <a:lnTo>
                    <a:pt x="446985" y="53145"/>
                  </a:lnTo>
                  <a:cubicBezTo>
                    <a:pt x="456953" y="43191"/>
                    <a:pt x="472974" y="43191"/>
                    <a:pt x="482854" y="53145"/>
                  </a:cubicBezTo>
                  <a:lnTo>
                    <a:pt x="554414" y="124597"/>
                  </a:lnTo>
                  <a:cubicBezTo>
                    <a:pt x="564294" y="134462"/>
                    <a:pt x="564294" y="150459"/>
                    <a:pt x="554414" y="160323"/>
                  </a:cubicBezTo>
                  <a:lnTo>
                    <a:pt x="528069" y="186629"/>
                  </a:lnTo>
                  <a:cubicBezTo>
                    <a:pt x="535011" y="199782"/>
                    <a:pt x="540707" y="213468"/>
                    <a:pt x="545158" y="227510"/>
                  </a:cubicBezTo>
                  <a:lnTo>
                    <a:pt x="582273" y="227510"/>
                  </a:lnTo>
                  <a:cubicBezTo>
                    <a:pt x="596336" y="227510"/>
                    <a:pt x="607639" y="238796"/>
                    <a:pt x="607639" y="252749"/>
                  </a:cubicBezTo>
                  <a:lnTo>
                    <a:pt x="607639" y="353884"/>
                  </a:lnTo>
                  <a:cubicBezTo>
                    <a:pt x="607639" y="367926"/>
                    <a:pt x="596247" y="379212"/>
                    <a:pt x="582273" y="379212"/>
                  </a:cubicBezTo>
                  <a:lnTo>
                    <a:pt x="545158" y="379212"/>
                  </a:lnTo>
                  <a:cubicBezTo>
                    <a:pt x="540707" y="393254"/>
                    <a:pt x="535011" y="406940"/>
                    <a:pt x="528069" y="420004"/>
                  </a:cubicBezTo>
                  <a:lnTo>
                    <a:pt x="554414" y="446310"/>
                  </a:lnTo>
                  <a:cubicBezTo>
                    <a:pt x="564294" y="456263"/>
                    <a:pt x="564294" y="472260"/>
                    <a:pt x="554414" y="482125"/>
                  </a:cubicBezTo>
                  <a:lnTo>
                    <a:pt x="482854" y="553577"/>
                  </a:lnTo>
                  <a:cubicBezTo>
                    <a:pt x="472974" y="563442"/>
                    <a:pt x="456953" y="563442"/>
                    <a:pt x="446985" y="553577"/>
                  </a:cubicBezTo>
                  <a:lnTo>
                    <a:pt x="420639" y="527271"/>
                  </a:lnTo>
                  <a:cubicBezTo>
                    <a:pt x="407555" y="534203"/>
                    <a:pt x="393849" y="539802"/>
                    <a:pt x="379786" y="544246"/>
                  </a:cubicBezTo>
                  <a:lnTo>
                    <a:pt x="379786" y="581394"/>
                  </a:lnTo>
                  <a:cubicBezTo>
                    <a:pt x="379786" y="595435"/>
                    <a:pt x="368393" y="606722"/>
                    <a:pt x="354419" y="606722"/>
                  </a:cubicBezTo>
                  <a:lnTo>
                    <a:pt x="253131" y="606722"/>
                  </a:lnTo>
                  <a:cubicBezTo>
                    <a:pt x="239157" y="606722"/>
                    <a:pt x="227854" y="595435"/>
                    <a:pt x="227854" y="581394"/>
                  </a:cubicBezTo>
                  <a:lnTo>
                    <a:pt x="227854" y="544246"/>
                  </a:lnTo>
                  <a:cubicBezTo>
                    <a:pt x="213791" y="539802"/>
                    <a:pt x="200084" y="534203"/>
                    <a:pt x="186911" y="527271"/>
                  </a:cubicBezTo>
                  <a:lnTo>
                    <a:pt x="160566" y="553577"/>
                  </a:lnTo>
                  <a:cubicBezTo>
                    <a:pt x="150686" y="563442"/>
                    <a:pt x="134665" y="563442"/>
                    <a:pt x="124786" y="553577"/>
                  </a:cubicBezTo>
                  <a:lnTo>
                    <a:pt x="53225" y="482125"/>
                  </a:lnTo>
                  <a:cubicBezTo>
                    <a:pt x="43257" y="472260"/>
                    <a:pt x="43257" y="456263"/>
                    <a:pt x="53225" y="446310"/>
                  </a:cubicBezTo>
                  <a:lnTo>
                    <a:pt x="79482" y="420004"/>
                  </a:lnTo>
                  <a:cubicBezTo>
                    <a:pt x="72629" y="406940"/>
                    <a:pt x="66932" y="393254"/>
                    <a:pt x="62482" y="379212"/>
                  </a:cubicBezTo>
                  <a:lnTo>
                    <a:pt x="25278" y="379212"/>
                  </a:lnTo>
                  <a:cubicBezTo>
                    <a:pt x="11304" y="379212"/>
                    <a:pt x="0" y="367926"/>
                    <a:pt x="0" y="353884"/>
                  </a:cubicBezTo>
                  <a:lnTo>
                    <a:pt x="0" y="252749"/>
                  </a:lnTo>
                  <a:cubicBezTo>
                    <a:pt x="0" y="238796"/>
                    <a:pt x="11304" y="227510"/>
                    <a:pt x="25278" y="227510"/>
                  </a:cubicBezTo>
                  <a:lnTo>
                    <a:pt x="62482" y="227510"/>
                  </a:lnTo>
                  <a:cubicBezTo>
                    <a:pt x="66932" y="213468"/>
                    <a:pt x="72629" y="199782"/>
                    <a:pt x="79482" y="186629"/>
                  </a:cubicBezTo>
                  <a:lnTo>
                    <a:pt x="53225" y="160323"/>
                  </a:lnTo>
                  <a:cubicBezTo>
                    <a:pt x="43257" y="150459"/>
                    <a:pt x="43257" y="134462"/>
                    <a:pt x="53225" y="124597"/>
                  </a:cubicBezTo>
                  <a:lnTo>
                    <a:pt x="124786" y="53145"/>
                  </a:lnTo>
                  <a:cubicBezTo>
                    <a:pt x="134665" y="43191"/>
                    <a:pt x="150686" y="43191"/>
                    <a:pt x="160566" y="53145"/>
                  </a:cubicBezTo>
                  <a:lnTo>
                    <a:pt x="186911" y="79451"/>
                  </a:lnTo>
                  <a:cubicBezTo>
                    <a:pt x="200084" y="72519"/>
                    <a:pt x="213791" y="66831"/>
                    <a:pt x="227854" y="62387"/>
                  </a:cubicBezTo>
                  <a:lnTo>
                    <a:pt x="227854" y="25239"/>
                  </a:lnTo>
                  <a:cubicBezTo>
                    <a:pt x="227854" y="11287"/>
                    <a:pt x="239157" y="0"/>
                    <a:pt x="253131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3" name="ïṧľíďê">
              <a:extLst>
                <a:ext uri="{FF2B5EF4-FFF2-40B4-BE49-F238E27FC236}">
                  <a16:creationId xmlns:a16="http://schemas.microsoft.com/office/drawing/2014/main" id="{83AC56C8-BB22-4DB6-8372-AA84DFFA3A81}"/>
                </a:ext>
              </a:extLst>
            </p:cNvPr>
            <p:cNvSpPr/>
            <p:nvPr/>
          </p:nvSpPr>
          <p:spPr bwMode="auto">
            <a:xfrm>
              <a:off x="2498293" y="4944202"/>
              <a:ext cx="377806" cy="377188"/>
            </a:xfrm>
            <a:custGeom>
              <a:avLst/>
              <a:gdLst>
                <a:gd name="connsiteX0" fmla="*/ 380418 w 604181"/>
                <a:gd name="connsiteY0" fmla="*/ 268007 h 603193"/>
                <a:gd name="connsiteX1" fmla="*/ 519220 w 604181"/>
                <a:gd name="connsiteY1" fmla="*/ 339187 h 603193"/>
                <a:gd name="connsiteX2" fmla="*/ 519220 w 604181"/>
                <a:gd name="connsiteY2" fmla="*/ 355820 h 603193"/>
                <a:gd name="connsiteX3" fmla="*/ 380418 w 604181"/>
                <a:gd name="connsiteY3" fmla="*/ 426850 h 603193"/>
                <a:gd name="connsiteX4" fmla="*/ 380418 w 604181"/>
                <a:gd name="connsiteY4" fmla="*/ 406320 h 603193"/>
                <a:gd name="connsiteX5" fmla="*/ 498212 w 604181"/>
                <a:gd name="connsiteY5" fmla="*/ 347728 h 603193"/>
                <a:gd name="connsiteX6" fmla="*/ 498212 w 604181"/>
                <a:gd name="connsiteY6" fmla="*/ 347129 h 603193"/>
                <a:gd name="connsiteX7" fmla="*/ 380418 w 604181"/>
                <a:gd name="connsiteY7" fmla="*/ 288687 h 603193"/>
                <a:gd name="connsiteX8" fmla="*/ 216565 w 604181"/>
                <a:gd name="connsiteY8" fmla="*/ 268007 h 603193"/>
                <a:gd name="connsiteX9" fmla="*/ 216565 w 604181"/>
                <a:gd name="connsiteY9" fmla="*/ 288687 h 603193"/>
                <a:gd name="connsiteX10" fmla="*/ 99664 w 604181"/>
                <a:gd name="connsiteY10" fmla="*/ 347129 h 603193"/>
                <a:gd name="connsiteX11" fmla="*/ 99664 w 604181"/>
                <a:gd name="connsiteY11" fmla="*/ 347728 h 603193"/>
                <a:gd name="connsiteX12" fmla="*/ 216565 w 604181"/>
                <a:gd name="connsiteY12" fmla="*/ 406320 h 603193"/>
                <a:gd name="connsiteX13" fmla="*/ 216565 w 604181"/>
                <a:gd name="connsiteY13" fmla="*/ 426850 h 603193"/>
                <a:gd name="connsiteX14" fmla="*/ 77904 w 604181"/>
                <a:gd name="connsiteY14" fmla="*/ 355521 h 603193"/>
                <a:gd name="connsiteX15" fmla="*/ 77904 w 604181"/>
                <a:gd name="connsiteY15" fmla="*/ 339486 h 603193"/>
                <a:gd name="connsiteX16" fmla="*/ 338273 w 604181"/>
                <a:gd name="connsiteY16" fmla="*/ 222493 h 603193"/>
                <a:gd name="connsiteX17" fmla="*/ 358684 w 604181"/>
                <a:gd name="connsiteY17" fmla="*/ 222493 h 603193"/>
                <a:gd name="connsiteX18" fmla="*/ 253179 w 604181"/>
                <a:gd name="connsiteY18" fmla="*/ 482103 h 603193"/>
                <a:gd name="connsiteX19" fmla="*/ 233219 w 604181"/>
                <a:gd name="connsiteY19" fmla="*/ 482103 h 603193"/>
                <a:gd name="connsiteX20" fmla="*/ 28813 w 604181"/>
                <a:gd name="connsiteY20" fmla="*/ 128849 h 603193"/>
                <a:gd name="connsiteX21" fmla="*/ 28813 w 604181"/>
                <a:gd name="connsiteY21" fmla="*/ 557497 h 603193"/>
                <a:gd name="connsiteX22" fmla="*/ 45921 w 604181"/>
                <a:gd name="connsiteY22" fmla="*/ 574427 h 603193"/>
                <a:gd name="connsiteX23" fmla="*/ 558410 w 604181"/>
                <a:gd name="connsiteY23" fmla="*/ 574427 h 603193"/>
                <a:gd name="connsiteX24" fmla="*/ 575368 w 604181"/>
                <a:gd name="connsiteY24" fmla="*/ 557497 h 603193"/>
                <a:gd name="connsiteX25" fmla="*/ 575368 w 604181"/>
                <a:gd name="connsiteY25" fmla="*/ 128849 h 603193"/>
                <a:gd name="connsiteX26" fmla="*/ 502734 w 604181"/>
                <a:gd name="connsiteY26" fmla="*/ 43149 h 603193"/>
                <a:gd name="connsiteX27" fmla="*/ 502734 w 604181"/>
                <a:gd name="connsiteY27" fmla="*/ 77309 h 603193"/>
                <a:gd name="connsiteX28" fmla="*/ 537100 w 604181"/>
                <a:gd name="connsiteY28" fmla="*/ 77309 h 603193"/>
                <a:gd name="connsiteX29" fmla="*/ 537100 w 604181"/>
                <a:gd name="connsiteY29" fmla="*/ 43149 h 603193"/>
                <a:gd name="connsiteX30" fmla="*/ 423197 w 604181"/>
                <a:gd name="connsiteY30" fmla="*/ 43149 h 603193"/>
                <a:gd name="connsiteX31" fmla="*/ 423197 w 604181"/>
                <a:gd name="connsiteY31" fmla="*/ 77309 h 603193"/>
                <a:gd name="connsiteX32" fmla="*/ 457563 w 604181"/>
                <a:gd name="connsiteY32" fmla="*/ 77309 h 603193"/>
                <a:gd name="connsiteX33" fmla="*/ 457563 w 604181"/>
                <a:gd name="connsiteY33" fmla="*/ 43149 h 603193"/>
                <a:gd name="connsiteX34" fmla="*/ 45921 w 604181"/>
                <a:gd name="connsiteY34" fmla="*/ 0 h 603193"/>
                <a:gd name="connsiteX35" fmla="*/ 558410 w 604181"/>
                <a:gd name="connsiteY35" fmla="*/ 0 h 603193"/>
                <a:gd name="connsiteX36" fmla="*/ 604181 w 604181"/>
                <a:gd name="connsiteY36" fmla="*/ 45846 h 603193"/>
                <a:gd name="connsiteX37" fmla="*/ 604181 w 604181"/>
                <a:gd name="connsiteY37" fmla="*/ 557497 h 603193"/>
                <a:gd name="connsiteX38" fmla="*/ 558410 w 604181"/>
                <a:gd name="connsiteY38" fmla="*/ 603193 h 603193"/>
                <a:gd name="connsiteX39" fmla="*/ 45921 w 604181"/>
                <a:gd name="connsiteY39" fmla="*/ 603193 h 603193"/>
                <a:gd name="connsiteX40" fmla="*/ 0 w 604181"/>
                <a:gd name="connsiteY40" fmla="*/ 557497 h 603193"/>
                <a:gd name="connsiteX41" fmla="*/ 0 w 604181"/>
                <a:gd name="connsiteY41" fmla="*/ 45846 h 603193"/>
                <a:gd name="connsiteX42" fmla="*/ 45921 w 604181"/>
                <a:gd name="connsiteY42" fmla="*/ 0 h 603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04181" h="603193">
                  <a:moveTo>
                    <a:pt x="380418" y="268007"/>
                  </a:moveTo>
                  <a:lnTo>
                    <a:pt x="519220" y="339187"/>
                  </a:lnTo>
                  <a:lnTo>
                    <a:pt x="519220" y="355820"/>
                  </a:lnTo>
                  <a:lnTo>
                    <a:pt x="380418" y="426850"/>
                  </a:lnTo>
                  <a:lnTo>
                    <a:pt x="380418" y="406320"/>
                  </a:lnTo>
                  <a:lnTo>
                    <a:pt x="498212" y="347728"/>
                  </a:lnTo>
                  <a:lnTo>
                    <a:pt x="498212" y="347129"/>
                  </a:lnTo>
                  <a:lnTo>
                    <a:pt x="380418" y="288687"/>
                  </a:lnTo>
                  <a:close/>
                  <a:moveTo>
                    <a:pt x="216565" y="268007"/>
                  </a:moveTo>
                  <a:lnTo>
                    <a:pt x="216565" y="288687"/>
                  </a:lnTo>
                  <a:lnTo>
                    <a:pt x="99664" y="347129"/>
                  </a:lnTo>
                  <a:lnTo>
                    <a:pt x="99664" y="347728"/>
                  </a:lnTo>
                  <a:lnTo>
                    <a:pt x="216565" y="406320"/>
                  </a:lnTo>
                  <a:lnTo>
                    <a:pt x="216565" y="426850"/>
                  </a:lnTo>
                  <a:lnTo>
                    <a:pt x="77904" y="355521"/>
                  </a:lnTo>
                  <a:lnTo>
                    <a:pt x="77904" y="339486"/>
                  </a:lnTo>
                  <a:close/>
                  <a:moveTo>
                    <a:pt x="338273" y="222493"/>
                  </a:moveTo>
                  <a:lnTo>
                    <a:pt x="358684" y="222493"/>
                  </a:lnTo>
                  <a:lnTo>
                    <a:pt x="253179" y="482103"/>
                  </a:lnTo>
                  <a:lnTo>
                    <a:pt x="233219" y="482103"/>
                  </a:lnTo>
                  <a:close/>
                  <a:moveTo>
                    <a:pt x="28813" y="128849"/>
                  </a:moveTo>
                  <a:lnTo>
                    <a:pt x="28813" y="557497"/>
                  </a:lnTo>
                  <a:cubicBezTo>
                    <a:pt x="28813" y="566786"/>
                    <a:pt x="36467" y="574427"/>
                    <a:pt x="45921" y="574427"/>
                  </a:cubicBezTo>
                  <a:lnTo>
                    <a:pt x="558410" y="574427"/>
                  </a:lnTo>
                  <a:cubicBezTo>
                    <a:pt x="567714" y="574427"/>
                    <a:pt x="575368" y="566786"/>
                    <a:pt x="575368" y="557497"/>
                  </a:cubicBezTo>
                  <a:lnTo>
                    <a:pt x="575368" y="128849"/>
                  </a:lnTo>
                  <a:close/>
                  <a:moveTo>
                    <a:pt x="502734" y="43149"/>
                  </a:moveTo>
                  <a:lnTo>
                    <a:pt x="502734" y="77309"/>
                  </a:lnTo>
                  <a:lnTo>
                    <a:pt x="537100" y="77309"/>
                  </a:lnTo>
                  <a:lnTo>
                    <a:pt x="537100" y="43149"/>
                  </a:lnTo>
                  <a:close/>
                  <a:moveTo>
                    <a:pt x="423197" y="43149"/>
                  </a:moveTo>
                  <a:lnTo>
                    <a:pt x="423197" y="77309"/>
                  </a:lnTo>
                  <a:lnTo>
                    <a:pt x="457563" y="77309"/>
                  </a:lnTo>
                  <a:lnTo>
                    <a:pt x="457563" y="43149"/>
                  </a:lnTo>
                  <a:close/>
                  <a:moveTo>
                    <a:pt x="45921" y="0"/>
                  </a:moveTo>
                  <a:lnTo>
                    <a:pt x="558410" y="0"/>
                  </a:lnTo>
                  <a:cubicBezTo>
                    <a:pt x="583621" y="0"/>
                    <a:pt x="604181" y="20526"/>
                    <a:pt x="604181" y="45846"/>
                  </a:cubicBezTo>
                  <a:lnTo>
                    <a:pt x="604181" y="557497"/>
                  </a:lnTo>
                  <a:cubicBezTo>
                    <a:pt x="604181" y="582667"/>
                    <a:pt x="583621" y="603193"/>
                    <a:pt x="558410" y="603193"/>
                  </a:cubicBezTo>
                  <a:lnTo>
                    <a:pt x="45921" y="603193"/>
                  </a:lnTo>
                  <a:cubicBezTo>
                    <a:pt x="20560" y="603193"/>
                    <a:pt x="0" y="582667"/>
                    <a:pt x="0" y="557497"/>
                  </a:cubicBezTo>
                  <a:lnTo>
                    <a:pt x="0" y="45846"/>
                  </a:lnTo>
                  <a:cubicBezTo>
                    <a:pt x="0" y="20526"/>
                    <a:pt x="20560" y="0"/>
                    <a:pt x="45921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4" name="îṣḻîḍé">
              <a:extLst>
                <a:ext uri="{FF2B5EF4-FFF2-40B4-BE49-F238E27FC236}">
                  <a16:creationId xmlns:a16="http://schemas.microsoft.com/office/drawing/2014/main" id="{716A4AAF-66FE-4462-901E-658C29D84AD8}"/>
                </a:ext>
              </a:extLst>
            </p:cNvPr>
            <p:cNvSpPr/>
            <p:nvPr/>
          </p:nvSpPr>
          <p:spPr bwMode="auto">
            <a:xfrm>
              <a:off x="1959174" y="5587283"/>
              <a:ext cx="377806" cy="377235"/>
            </a:xfrm>
            <a:custGeom>
              <a:avLst/>
              <a:gdLst>
                <a:gd name="T0" fmla="*/ 6624 w 7154"/>
                <a:gd name="T1" fmla="*/ 2037 h 7154"/>
                <a:gd name="T2" fmla="*/ 6106 w 7154"/>
                <a:gd name="T3" fmla="*/ 1048 h 7154"/>
                <a:gd name="T4" fmla="*/ 5117 w 7154"/>
                <a:gd name="T5" fmla="*/ 530 h 7154"/>
                <a:gd name="T6" fmla="*/ 4643 w 7154"/>
                <a:gd name="T7" fmla="*/ 334 h 7154"/>
                <a:gd name="T8" fmla="*/ 3577 w 7154"/>
                <a:gd name="T9" fmla="*/ 0 h 7154"/>
                <a:gd name="T10" fmla="*/ 2511 w 7154"/>
                <a:gd name="T11" fmla="*/ 334 h 7154"/>
                <a:gd name="T12" fmla="*/ 2037 w 7154"/>
                <a:gd name="T13" fmla="*/ 530 h 7154"/>
                <a:gd name="T14" fmla="*/ 1048 w 7154"/>
                <a:gd name="T15" fmla="*/ 1048 h 7154"/>
                <a:gd name="T16" fmla="*/ 530 w 7154"/>
                <a:gd name="T17" fmla="*/ 2037 h 7154"/>
                <a:gd name="T18" fmla="*/ 334 w 7154"/>
                <a:gd name="T19" fmla="*/ 2511 h 7154"/>
                <a:gd name="T20" fmla="*/ 0 w 7154"/>
                <a:gd name="T21" fmla="*/ 3577 h 7154"/>
                <a:gd name="T22" fmla="*/ 334 w 7154"/>
                <a:gd name="T23" fmla="*/ 4643 h 7154"/>
                <a:gd name="T24" fmla="*/ 530 w 7154"/>
                <a:gd name="T25" fmla="*/ 5117 h 7154"/>
                <a:gd name="T26" fmla="*/ 1048 w 7154"/>
                <a:gd name="T27" fmla="*/ 6106 h 7154"/>
                <a:gd name="T28" fmla="*/ 2037 w 7154"/>
                <a:gd name="T29" fmla="*/ 6624 h 7154"/>
                <a:gd name="T30" fmla="*/ 2511 w 7154"/>
                <a:gd name="T31" fmla="*/ 6820 h 7154"/>
                <a:gd name="T32" fmla="*/ 3577 w 7154"/>
                <a:gd name="T33" fmla="*/ 7154 h 7154"/>
                <a:gd name="T34" fmla="*/ 4643 w 7154"/>
                <a:gd name="T35" fmla="*/ 6820 h 7154"/>
                <a:gd name="T36" fmla="*/ 5117 w 7154"/>
                <a:gd name="T37" fmla="*/ 6624 h 7154"/>
                <a:gd name="T38" fmla="*/ 6106 w 7154"/>
                <a:gd name="T39" fmla="*/ 6106 h 7154"/>
                <a:gd name="T40" fmla="*/ 6624 w 7154"/>
                <a:gd name="T41" fmla="*/ 5117 h 7154"/>
                <a:gd name="T42" fmla="*/ 6820 w 7154"/>
                <a:gd name="T43" fmla="*/ 4643 h 7154"/>
                <a:gd name="T44" fmla="*/ 7154 w 7154"/>
                <a:gd name="T45" fmla="*/ 3577 h 7154"/>
                <a:gd name="T46" fmla="*/ 6820 w 7154"/>
                <a:gd name="T47" fmla="*/ 2511 h 7154"/>
                <a:gd name="T48" fmla="*/ 6624 w 7154"/>
                <a:gd name="T49" fmla="*/ 2037 h 7154"/>
                <a:gd name="T50" fmla="*/ 5857 w 7154"/>
                <a:gd name="T51" fmla="*/ 2406 h 7154"/>
                <a:gd name="T52" fmla="*/ 3286 w 7154"/>
                <a:gd name="T53" fmla="*/ 4976 h 7154"/>
                <a:gd name="T54" fmla="*/ 2875 w 7154"/>
                <a:gd name="T55" fmla="*/ 5387 h 7154"/>
                <a:gd name="T56" fmla="*/ 2464 w 7154"/>
                <a:gd name="T57" fmla="*/ 5387 h 7154"/>
                <a:gd name="T58" fmla="*/ 2053 w 7154"/>
                <a:gd name="T59" fmla="*/ 4976 h 7154"/>
                <a:gd name="T60" fmla="*/ 1297 w 7154"/>
                <a:gd name="T61" fmla="*/ 4221 h 7154"/>
                <a:gd name="T62" fmla="*/ 1297 w 7154"/>
                <a:gd name="T63" fmla="*/ 3809 h 7154"/>
                <a:gd name="T64" fmla="*/ 1708 w 7154"/>
                <a:gd name="T65" fmla="*/ 3398 h 7154"/>
                <a:gd name="T66" fmla="*/ 2120 w 7154"/>
                <a:gd name="T67" fmla="*/ 3398 h 7154"/>
                <a:gd name="T68" fmla="*/ 2669 w 7154"/>
                <a:gd name="T69" fmla="*/ 3948 h 7154"/>
                <a:gd name="T70" fmla="*/ 5034 w 7154"/>
                <a:gd name="T71" fmla="*/ 1583 h 7154"/>
                <a:gd name="T72" fmla="*/ 5445 w 7154"/>
                <a:gd name="T73" fmla="*/ 1583 h 7154"/>
                <a:gd name="T74" fmla="*/ 5857 w 7154"/>
                <a:gd name="T75" fmla="*/ 1994 h 7154"/>
                <a:gd name="T76" fmla="*/ 5857 w 7154"/>
                <a:gd name="T77" fmla="*/ 2406 h 7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154" h="7154">
                  <a:moveTo>
                    <a:pt x="6624" y="2037"/>
                  </a:moveTo>
                  <a:cubicBezTo>
                    <a:pt x="6580" y="1703"/>
                    <a:pt x="6403" y="1345"/>
                    <a:pt x="6106" y="1048"/>
                  </a:cubicBezTo>
                  <a:cubicBezTo>
                    <a:pt x="5809" y="751"/>
                    <a:pt x="5451" y="574"/>
                    <a:pt x="5117" y="530"/>
                  </a:cubicBezTo>
                  <a:cubicBezTo>
                    <a:pt x="4966" y="510"/>
                    <a:pt x="4764" y="427"/>
                    <a:pt x="4643" y="334"/>
                  </a:cubicBezTo>
                  <a:cubicBezTo>
                    <a:pt x="4375" y="128"/>
                    <a:pt x="3997" y="0"/>
                    <a:pt x="3577" y="0"/>
                  </a:cubicBezTo>
                  <a:cubicBezTo>
                    <a:pt x="3157" y="0"/>
                    <a:pt x="2779" y="128"/>
                    <a:pt x="2511" y="334"/>
                  </a:cubicBezTo>
                  <a:cubicBezTo>
                    <a:pt x="2390" y="427"/>
                    <a:pt x="2188" y="510"/>
                    <a:pt x="2037" y="530"/>
                  </a:cubicBezTo>
                  <a:cubicBezTo>
                    <a:pt x="1702" y="574"/>
                    <a:pt x="1345" y="751"/>
                    <a:pt x="1048" y="1048"/>
                  </a:cubicBezTo>
                  <a:cubicBezTo>
                    <a:pt x="751" y="1345"/>
                    <a:pt x="574" y="1703"/>
                    <a:pt x="530" y="2037"/>
                  </a:cubicBezTo>
                  <a:cubicBezTo>
                    <a:pt x="510" y="2188"/>
                    <a:pt x="427" y="2390"/>
                    <a:pt x="334" y="2511"/>
                  </a:cubicBezTo>
                  <a:cubicBezTo>
                    <a:pt x="128" y="2779"/>
                    <a:pt x="0" y="3157"/>
                    <a:pt x="0" y="3577"/>
                  </a:cubicBezTo>
                  <a:cubicBezTo>
                    <a:pt x="0" y="3997"/>
                    <a:pt x="128" y="4375"/>
                    <a:pt x="334" y="4643"/>
                  </a:cubicBezTo>
                  <a:cubicBezTo>
                    <a:pt x="427" y="4764"/>
                    <a:pt x="510" y="4966"/>
                    <a:pt x="530" y="5117"/>
                  </a:cubicBezTo>
                  <a:cubicBezTo>
                    <a:pt x="574" y="5451"/>
                    <a:pt x="751" y="5809"/>
                    <a:pt x="1048" y="6106"/>
                  </a:cubicBezTo>
                  <a:cubicBezTo>
                    <a:pt x="1345" y="6403"/>
                    <a:pt x="1702" y="6580"/>
                    <a:pt x="2037" y="6624"/>
                  </a:cubicBezTo>
                  <a:cubicBezTo>
                    <a:pt x="2188" y="6644"/>
                    <a:pt x="2390" y="6727"/>
                    <a:pt x="2511" y="6820"/>
                  </a:cubicBezTo>
                  <a:cubicBezTo>
                    <a:pt x="2779" y="7025"/>
                    <a:pt x="3157" y="7154"/>
                    <a:pt x="3577" y="7154"/>
                  </a:cubicBezTo>
                  <a:cubicBezTo>
                    <a:pt x="3997" y="7154"/>
                    <a:pt x="4375" y="7025"/>
                    <a:pt x="4643" y="6820"/>
                  </a:cubicBezTo>
                  <a:cubicBezTo>
                    <a:pt x="4764" y="6727"/>
                    <a:pt x="4966" y="6644"/>
                    <a:pt x="5117" y="6624"/>
                  </a:cubicBezTo>
                  <a:cubicBezTo>
                    <a:pt x="5451" y="6580"/>
                    <a:pt x="5809" y="6403"/>
                    <a:pt x="6106" y="6106"/>
                  </a:cubicBezTo>
                  <a:cubicBezTo>
                    <a:pt x="6403" y="5809"/>
                    <a:pt x="6580" y="5451"/>
                    <a:pt x="6624" y="5117"/>
                  </a:cubicBezTo>
                  <a:cubicBezTo>
                    <a:pt x="6644" y="4966"/>
                    <a:pt x="6727" y="4764"/>
                    <a:pt x="6820" y="4643"/>
                  </a:cubicBezTo>
                  <a:cubicBezTo>
                    <a:pt x="7026" y="4375"/>
                    <a:pt x="7154" y="3997"/>
                    <a:pt x="7154" y="3577"/>
                  </a:cubicBezTo>
                  <a:cubicBezTo>
                    <a:pt x="7154" y="3157"/>
                    <a:pt x="7026" y="2779"/>
                    <a:pt x="6820" y="2511"/>
                  </a:cubicBezTo>
                  <a:cubicBezTo>
                    <a:pt x="6727" y="2390"/>
                    <a:pt x="6644" y="2188"/>
                    <a:pt x="6624" y="2037"/>
                  </a:cubicBezTo>
                  <a:close/>
                  <a:moveTo>
                    <a:pt x="5857" y="2406"/>
                  </a:moveTo>
                  <a:lnTo>
                    <a:pt x="3286" y="4976"/>
                  </a:lnTo>
                  <a:lnTo>
                    <a:pt x="2875" y="5387"/>
                  </a:lnTo>
                  <a:cubicBezTo>
                    <a:pt x="2762" y="5501"/>
                    <a:pt x="2577" y="5501"/>
                    <a:pt x="2464" y="5387"/>
                  </a:cubicBezTo>
                  <a:lnTo>
                    <a:pt x="2053" y="4976"/>
                  </a:lnTo>
                  <a:lnTo>
                    <a:pt x="1297" y="4221"/>
                  </a:lnTo>
                  <a:cubicBezTo>
                    <a:pt x="1183" y="4107"/>
                    <a:pt x="1183" y="3923"/>
                    <a:pt x="1297" y="3809"/>
                  </a:cubicBezTo>
                  <a:lnTo>
                    <a:pt x="1708" y="3398"/>
                  </a:lnTo>
                  <a:cubicBezTo>
                    <a:pt x="1822" y="3285"/>
                    <a:pt x="2006" y="3285"/>
                    <a:pt x="2120" y="3398"/>
                  </a:cubicBezTo>
                  <a:lnTo>
                    <a:pt x="2669" y="3948"/>
                  </a:lnTo>
                  <a:lnTo>
                    <a:pt x="5034" y="1583"/>
                  </a:lnTo>
                  <a:cubicBezTo>
                    <a:pt x="5148" y="1470"/>
                    <a:pt x="5332" y="1470"/>
                    <a:pt x="5445" y="1583"/>
                  </a:cubicBezTo>
                  <a:lnTo>
                    <a:pt x="5857" y="1994"/>
                  </a:lnTo>
                  <a:cubicBezTo>
                    <a:pt x="5970" y="2108"/>
                    <a:pt x="5970" y="2292"/>
                    <a:pt x="5857" y="2406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5" name="iṧḷiḑé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743264" y="4276135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按分布模式进行配置</a:t>
              </a:r>
              <a:endParaRPr lang="en-US" altLang="zh-CN" sz="1100" dirty="0"/>
            </a:p>
          </p:txBody>
        </p:sp>
        <p:sp>
          <p:nvSpPr>
            <p:cNvPr id="216" name="îṧḻiḑe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197100" y="4926511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>
                  <a:solidFill>
                    <a:schemeClr val="bg1"/>
                  </a:solidFill>
                </a:rPr>
                <a:t>运行第一个实例</a:t>
              </a: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17" name="îṣľïd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2651098" y="5576887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开心</a:t>
              </a:r>
              <a:r>
                <a:rPr lang="en-US" altLang="zh-CN" sz="1100" dirty="0" err="1"/>
                <a:t>ing</a:t>
              </a:r>
              <a:r>
                <a:rPr lang="en-US" altLang="zh-CN" sz="1100" dirty="0"/>
                <a:t>~</a:t>
              </a:r>
            </a:p>
          </p:txBody>
        </p:sp>
        <p:sp>
          <p:nvSpPr>
            <p:cNvPr id="218" name="íṧ1îd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289201" y="3625759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 解压</a:t>
              </a:r>
              <a:endParaRPr lang="en-US" altLang="zh-CN" sz="1100" dirty="0"/>
            </a:p>
          </p:txBody>
        </p:sp>
        <p:sp>
          <p:nvSpPr>
            <p:cNvPr id="219" name="îs1ïḋ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842020" y="2975382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配置环境变量 使之生效</a:t>
              </a:r>
              <a:endParaRPr lang="en-US" altLang="zh-CN" sz="1100" dirty="0"/>
            </a:p>
          </p:txBody>
        </p:sp>
        <p:sp>
          <p:nvSpPr>
            <p:cNvPr id="220" name="íšliḓ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5387990" y="2325006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</a:t>
              </a:r>
              <a:r>
                <a:rPr lang="en-US" altLang="zh-CN" sz="1100" dirty="0"/>
                <a:t> </a:t>
              </a:r>
              <a:r>
                <a:rPr lang="zh-CN" altLang="en-US" sz="1100" dirty="0"/>
                <a:t>解压</a:t>
              </a:r>
              <a:endParaRPr lang="en-US" altLang="zh-CN" sz="1100" dirty="0"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653777F-C200-4DD9-896D-DFE3FC5A0E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794" y="132609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4097" name="Picture 1" descr="L:\Water\Documents\Tencent Files\1106367305\Image\C2C\S_~PNJLRA$(`BM~E~CRVP@6.jpg">
            <a:extLst>
              <a:ext uri="{FF2B5EF4-FFF2-40B4-BE49-F238E27FC236}">
                <a16:creationId xmlns:a16="http://schemas.microsoft.com/office/drawing/2014/main" id="{870A9B0F-80D3-4BB8-9E6D-5163109C031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2"/>
          <a:stretch>
            <a:fillRect/>
          </a:stretch>
        </p:blipFill>
        <p:spPr bwMode="auto">
          <a:xfrm>
            <a:off x="1092994" y="1284288"/>
            <a:ext cx="6958012" cy="4695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104D7166-3B85-4412-9659-285206FA2824}"/>
              </a:ext>
            </a:extLst>
          </p:cNvPr>
          <p:cNvSpPr/>
          <p:nvPr/>
        </p:nvSpPr>
        <p:spPr>
          <a:xfrm>
            <a:off x="1092994" y="2733675"/>
            <a:ext cx="6958012" cy="3246436"/>
          </a:xfrm>
          <a:prstGeom prst="rect">
            <a:avLst/>
          </a:prstGeom>
          <a:solidFill>
            <a:srgbClr val="2D0A2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CB3EE618-32F8-4966-A35B-D1376D9131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045762" y="14732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3AE81623-7CD6-49D9-AB93-2743959343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7C9400A1-127B-443B-9890-1A43D9C469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14337" name="Picture 1" descr="L:\Water\Documents\Tencent Files\1106367305\Image\C2C\2VQ1{9A{F$6GDB_]}I_8Q7F.jpg">
            <a:extLst>
              <a:ext uri="{FF2B5EF4-FFF2-40B4-BE49-F238E27FC236}">
                <a16:creationId xmlns:a16="http://schemas.microsoft.com/office/drawing/2014/main" id="{0964503F-F8D7-48FD-855C-93C238B408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3"/>
          <a:stretch>
            <a:fillRect/>
          </a:stretch>
        </p:blipFill>
        <p:spPr bwMode="auto">
          <a:xfrm>
            <a:off x="1109663" y="1289050"/>
            <a:ext cx="6924675" cy="4686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37200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250">
        <p159:morph option="byObject"/>
      </p:transition>
    </mc:Choice>
    <mc:Fallback xmlns="">
      <p:transition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执行几个看看？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6</a:t>
            </a:fld>
            <a:endParaRPr lang="zh-CN" altLang="en-US"/>
          </a:p>
        </p:txBody>
      </p:sp>
      <p:grpSp>
        <p:nvGrpSpPr>
          <p:cNvPr id="194" name="180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4D56F3B-0686-4E9E-A675-DA7BF2C9F6C2}"/>
              </a:ext>
            </a:extLst>
          </p:cNvPr>
          <p:cNvGrpSpPr>
            <a:grpSpLocks noChangeAspect="1"/>
          </p:cNvGrpSpPr>
          <p:nvPr/>
        </p:nvGrpSpPr>
        <p:grpSpPr>
          <a:xfrm>
            <a:off x="1875381" y="-2460624"/>
            <a:ext cx="5393238" cy="2212975"/>
            <a:chOff x="938530" y="1805421"/>
            <a:chExt cx="10580370" cy="4341379"/>
          </a:xfrm>
        </p:grpSpPr>
        <p:sp>
          <p:nvSpPr>
            <p:cNvPr id="195" name="iṧḻîďè">
              <a:extLst>
                <a:ext uri="{FF2B5EF4-FFF2-40B4-BE49-F238E27FC236}">
                  <a16:creationId xmlns:a16="http://schemas.microsoft.com/office/drawing/2014/main" id="{6FC8272D-4563-47EB-B741-E738A21C2623}"/>
                </a:ext>
              </a:extLst>
            </p:cNvPr>
            <p:cNvSpPr/>
            <p:nvPr/>
          </p:nvSpPr>
          <p:spPr bwMode="auto">
            <a:xfrm>
              <a:off x="5637082" y="5226400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搞定！</a:t>
              </a:r>
              <a:endParaRPr lang="en-US" altLang="zh-CN" b="1" dirty="0"/>
            </a:p>
          </p:txBody>
        </p:sp>
        <p:sp>
          <p:nvSpPr>
            <p:cNvPr id="196" name="îŝḻiḋé">
              <a:extLst>
                <a:ext uri="{FF2B5EF4-FFF2-40B4-BE49-F238E27FC236}">
                  <a16:creationId xmlns:a16="http://schemas.microsoft.com/office/drawing/2014/main" id="{C05C75D7-4258-49B9-958F-F2EEF0B840E0}"/>
                </a:ext>
              </a:extLst>
            </p:cNvPr>
            <p:cNvSpPr/>
            <p:nvPr/>
          </p:nvSpPr>
          <p:spPr bwMode="auto">
            <a:xfrm>
              <a:off x="6176201" y="4576024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>
                  <a:solidFill>
                    <a:schemeClr val="bg1"/>
                  </a:solidFill>
                </a:rPr>
                <a:t>测试</a:t>
              </a:r>
              <a:endParaRPr lang="en-US" altLang="zh-CN" sz="1750" b="1" dirty="0">
                <a:solidFill>
                  <a:schemeClr val="bg1"/>
                </a:solidFill>
              </a:endParaRPr>
            </a:p>
          </p:txBody>
        </p:sp>
        <p:sp>
          <p:nvSpPr>
            <p:cNvPr id="197" name="íṥḷíďê">
              <a:extLst>
                <a:ext uri="{FF2B5EF4-FFF2-40B4-BE49-F238E27FC236}">
                  <a16:creationId xmlns:a16="http://schemas.microsoft.com/office/drawing/2014/main" id="{D4FCC7AE-5767-4EC4-BB68-B94457D3AE6D}"/>
                </a:ext>
              </a:extLst>
            </p:cNvPr>
            <p:cNvSpPr/>
            <p:nvPr/>
          </p:nvSpPr>
          <p:spPr bwMode="auto">
            <a:xfrm>
              <a:off x="6703850" y="3925648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/>
                <a:t>配置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8" name="ïś1ïḓè">
              <a:extLst>
                <a:ext uri="{FF2B5EF4-FFF2-40B4-BE49-F238E27FC236}">
                  <a16:creationId xmlns:a16="http://schemas.microsoft.com/office/drawing/2014/main" id="{F32E844B-E27C-4A92-9B60-95E4AD88D81F}"/>
                </a:ext>
              </a:extLst>
            </p:cNvPr>
            <p:cNvSpPr/>
            <p:nvPr/>
          </p:nvSpPr>
          <p:spPr bwMode="auto">
            <a:xfrm>
              <a:off x="7241823" y="3275272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 dirty="0"/>
                <a:t>安装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9" name="îśļïḍè">
              <a:extLst>
                <a:ext uri="{FF2B5EF4-FFF2-40B4-BE49-F238E27FC236}">
                  <a16:creationId xmlns:a16="http://schemas.microsoft.com/office/drawing/2014/main" id="{F812BB55-77DE-4E23-95E6-156A22FAD363}"/>
                </a:ext>
              </a:extLst>
            </p:cNvPr>
            <p:cNvSpPr/>
            <p:nvPr/>
          </p:nvSpPr>
          <p:spPr bwMode="auto">
            <a:xfrm>
              <a:off x="7743555" y="2624895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配置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0" name="ï$1íḍé">
              <a:extLst>
                <a:ext uri="{FF2B5EF4-FFF2-40B4-BE49-F238E27FC236}">
                  <a16:creationId xmlns:a16="http://schemas.microsoft.com/office/drawing/2014/main" id="{48245F16-84E7-4201-9485-85B5E5B15ECD}"/>
                </a:ext>
              </a:extLst>
            </p:cNvPr>
            <p:cNvSpPr/>
            <p:nvPr/>
          </p:nvSpPr>
          <p:spPr bwMode="auto">
            <a:xfrm>
              <a:off x="8263856" y="1974519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安装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1" name="îṥľïďê">
              <a:extLst>
                <a:ext uri="{FF2B5EF4-FFF2-40B4-BE49-F238E27FC236}">
                  <a16:creationId xmlns:a16="http://schemas.microsoft.com/office/drawing/2014/main" id="{920DFBAA-02E5-4206-86B0-FE10F93A7509}"/>
                </a:ext>
              </a:extLst>
            </p:cNvPr>
            <p:cNvSpPr/>
            <p:nvPr/>
          </p:nvSpPr>
          <p:spPr bwMode="auto">
            <a:xfrm>
              <a:off x="5220497" y="3438015"/>
              <a:ext cx="3741918" cy="1239562"/>
            </a:xfrm>
            <a:custGeom>
              <a:avLst/>
              <a:gdLst>
                <a:gd name="T0" fmla="*/ 179 w 203"/>
                <a:gd name="T1" fmla="*/ 82 h 82"/>
                <a:gd name="T2" fmla="*/ 203 w 203"/>
                <a:gd name="T3" fmla="*/ 29 h 82"/>
                <a:gd name="T4" fmla="*/ 65 w 203"/>
                <a:gd name="T5" fmla="*/ 27 h 82"/>
                <a:gd name="T6" fmla="*/ 59 w 203"/>
                <a:gd name="T7" fmla="*/ 0 h 82"/>
                <a:gd name="T8" fmla="*/ 59 w 203"/>
                <a:gd name="T9" fmla="*/ 0 h 82"/>
                <a:gd name="T10" fmla="*/ 0 w 203"/>
                <a:gd name="T11" fmla="*/ 80 h 82"/>
                <a:gd name="T12" fmla="*/ 61 w 203"/>
                <a:gd name="T13" fmla="*/ 82 h 82"/>
                <a:gd name="T14" fmla="*/ 179 w 203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82">
                  <a:moveTo>
                    <a:pt x="179" y="82"/>
                  </a:moveTo>
                  <a:lnTo>
                    <a:pt x="203" y="29"/>
                  </a:lnTo>
                  <a:lnTo>
                    <a:pt x="65" y="27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0" y="80"/>
                  </a:lnTo>
                  <a:lnTo>
                    <a:pt x="61" y="82"/>
                  </a:lnTo>
                  <a:lnTo>
                    <a:pt x="179" y="8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2" name="i$ḻíḋè">
              <a:extLst>
                <a:ext uri="{FF2B5EF4-FFF2-40B4-BE49-F238E27FC236}">
                  <a16:creationId xmlns:a16="http://schemas.microsoft.com/office/drawing/2014/main" id="{430BE7EB-B6F0-4F05-80EA-1F517165029F}"/>
                </a:ext>
              </a:extLst>
            </p:cNvPr>
            <p:cNvSpPr/>
            <p:nvPr/>
          </p:nvSpPr>
          <p:spPr bwMode="auto">
            <a:xfrm>
              <a:off x="8032938" y="1974519"/>
              <a:ext cx="1398307" cy="247664"/>
            </a:xfrm>
            <a:prstGeom prst="triangle">
              <a:avLst>
                <a:gd name="adj" fmla="val 14726"/>
              </a:avLst>
            </a:pr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3" name="işľiḋe">
              <a:extLst>
                <a:ext uri="{FF2B5EF4-FFF2-40B4-BE49-F238E27FC236}">
                  <a16:creationId xmlns:a16="http://schemas.microsoft.com/office/drawing/2014/main" id="{E4DECB97-43D1-4D26-8C48-41447675AE79}"/>
                </a:ext>
              </a:extLst>
            </p:cNvPr>
            <p:cNvSpPr/>
            <p:nvPr/>
          </p:nvSpPr>
          <p:spPr bwMode="auto">
            <a:xfrm>
              <a:off x="3675422" y="1805421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4" name="iś1íďé">
              <a:extLst>
                <a:ext uri="{FF2B5EF4-FFF2-40B4-BE49-F238E27FC236}">
                  <a16:creationId xmlns:a16="http://schemas.microsoft.com/office/drawing/2014/main" id="{6E7EA96A-F20A-4912-AC31-63A0F19E66DE}"/>
                </a:ext>
              </a:extLst>
            </p:cNvPr>
            <p:cNvSpPr/>
            <p:nvPr/>
          </p:nvSpPr>
          <p:spPr bwMode="auto">
            <a:xfrm>
              <a:off x="3129452" y="2455797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5" name="ïŝlíḋe">
              <a:extLst>
                <a:ext uri="{FF2B5EF4-FFF2-40B4-BE49-F238E27FC236}">
                  <a16:creationId xmlns:a16="http://schemas.microsoft.com/office/drawing/2014/main" id="{66D30D6F-26C9-4C2C-BC01-900AC07DC57E}"/>
                </a:ext>
              </a:extLst>
            </p:cNvPr>
            <p:cNvSpPr/>
            <p:nvPr/>
          </p:nvSpPr>
          <p:spPr bwMode="auto">
            <a:xfrm>
              <a:off x="2576633" y="3106174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6" name="îSliďè">
              <a:extLst>
                <a:ext uri="{FF2B5EF4-FFF2-40B4-BE49-F238E27FC236}">
                  <a16:creationId xmlns:a16="http://schemas.microsoft.com/office/drawing/2014/main" id="{2F6D5554-EACD-4DDD-892F-2E5F97A9C421}"/>
                </a:ext>
              </a:extLst>
            </p:cNvPr>
            <p:cNvSpPr/>
            <p:nvPr/>
          </p:nvSpPr>
          <p:spPr bwMode="auto">
            <a:xfrm>
              <a:off x="2030696" y="3756550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7" name="îSliďé">
              <a:extLst>
                <a:ext uri="{FF2B5EF4-FFF2-40B4-BE49-F238E27FC236}">
                  <a16:creationId xmlns:a16="http://schemas.microsoft.com/office/drawing/2014/main" id="{2E278F3F-C8D8-4E2A-A3EA-29ADCF1A02AA}"/>
                </a:ext>
              </a:extLst>
            </p:cNvPr>
            <p:cNvSpPr/>
            <p:nvPr/>
          </p:nvSpPr>
          <p:spPr bwMode="auto">
            <a:xfrm>
              <a:off x="1484532" y="4406926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8" name="îs1iďé">
              <a:extLst>
                <a:ext uri="{FF2B5EF4-FFF2-40B4-BE49-F238E27FC236}">
                  <a16:creationId xmlns:a16="http://schemas.microsoft.com/office/drawing/2014/main" id="{EB74D0C2-5677-4F3F-A043-44D01A3F3D48}"/>
                </a:ext>
              </a:extLst>
            </p:cNvPr>
            <p:cNvSpPr/>
            <p:nvPr/>
          </p:nvSpPr>
          <p:spPr bwMode="auto">
            <a:xfrm>
              <a:off x="938530" y="5057302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9" name="ïṣḻïḋe">
              <a:extLst>
                <a:ext uri="{FF2B5EF4-FFF2-40B4-BE49-F238E27FC236}">
                  <a16:creationId xmlns:a16="http://schemas.microsoft.com/office/drawing/2014/main" id="{7709F84E-C33F-462F-B538-51CB71C9284E}"/>
                </a:ext>
              </a:extLst>
            </p:cNvPr>
            <p:cNvSpPr/>
            <p:nvPr/>
          </p:nvSpPr>
          <p:spPr bwMode="auto">
            <a:xfrm>
              <a:off x="4585947" y="2371737"/>
              <a:ext cx="377807" cy="377281"/>
            </a:xfrm>
            <a:custGeom>
              <a:avLst/>
              <a:gdLst>
                <a:gd name="T0" fmla="*/ 400 w 11264"/>
                <a:gd name="T1" fmla="*/ 7099 h 11264"/>
                <a:gd name="T2" fmla="*/ 4165 w 11264"/>
                <a:gd name="T3" fmla="*/ 7099 h 11264"/>
                <a:gd name="T4" fmla="*/ 4165 w 11264"/>
                <a:gd name="T5" fmla="*/ 10864 h 11264"/>
                <a:gd name="T6" fmla="*/ 4565 w 11264"/>
                <a:gd name="T7" fmla="*/ 11264 h 11264"/>
                <a:gd name="T8" fmla="*/ 6699 w 11264"/>
                <a:gd name="T9" fmla="*/ 11264 h 11264"/>
                <a:gd name="T10" fmla="*/ 7099 w 11264"/>
                <a:gd name="T11" fmla="*/ 10864 h 11264"/>
                <a:gd name="T12" fmla="*/ 7099 w 11264"/>
                <a:gd name="T13" fmla="*/ 7099 h 11264"/>
                <a:gd name="T14" fmla="*/ 10864 w 11264"/>
                <a:gd name="T15" fmla="*/ 7099 h 11264"/>
                <a:gd name="T16" fmla="*/ 11264 w 11264"/>
                <a:gd name="T17" fmla="*/ 6699 h 11264"/>
                <a:gd name="T18" fmla="*/ 11264 w 11264"/>
                <a:gd name="T19" fmla="*/ 4565 h 11264"/>
                <a:gd name="T20" fmla="*/ 10864 w 11264"/>
                <a:gd name="T21" fmla="*/ 4165 h 11264"/>
                <a:gd name="T22" fmla="*/ 7099 w 11264"/>
                <a:gd name="T23" fmla="*/ 4165 h 11264"/>
                <a:gd name="T24" fmla="*/ 7099 w 11264"/>
                <a:gd name="T25" fmla="*/ 400 h 11264"/>
                <a:gd name="T26" fmla="*/ 6699 w 11264"/>
                <a:gd name="T27" fmla="*/ 0 h 11264"/>
                <a:gd name="T28" fmla="*/ 4565 w 11264"/>
                <a:gd name="T29" fmla="*/ 0 h 11264"/>
                <a:gd name="T30" fmla="*/ 4165 w 11264"/>
                <a:gd name="T31" fmla="*/ 400 h 11264"/>
                <a:gd name="T32" fmla="*/ 4165 w 11264"/>
                <a:gd name="T33" fmla="*/ 4165 h 11264"/>
                <a:gd name="T34" fmla="*/ 400 w 11264"/>
                <a:gd name="T35" fmla="*/ 4165 h 11264"/>
                <a:gd name="T36" fmla="*/ 0 w 11264"/>
                <a:gd name="T37" fmla="*/ 4565 h 11264"/>
                <a:gd name="T38" fmla="*/ 0 w 11264"/>
                <a:gd name="T39" fmla="*/ 6699 h 11264"/>
                <a:gd name="T40" fmla="*/ 400 w 11264"/>
                <a:gd name="T41" fmla="*/ 7099 h 1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64" h="11264">
                  <a:moveTo>
                    <a:pt x="400" y="7099"/>
                  </a:moveTo>
                  <a:lnTo>
                    <a:pt x="4165" y="7099"/>
                  </a:lnTo>
                  <a:lnTo>
                    <a:pt x="4165" y="10864"/>
                  </a:lnTo>
                  <a:cubicBezTo>
                    <a:pt x="4165" y="11085"/>
                    <a:pt x="4344" y="11264"/>
                    <a:pt x="4565" y="11264"/>
                  </a:cubicBezTo>
                  <a:lnTo>
                    <a:pt x="6699" y="11264"/>
                  </a:lnTo>
                  <a:cubicBezTo>
                    <a:pt x="6920" y="11264"/>
                    <a:pt x="7099" y="11085"/>
                    <a:pt x="7099" y="10864"/>
                  </a:cubicBezTo>
                  <a:lnTo>
                    <a:pt x="7099" y="7099"/>
                  </a:lnTo>
                  <a:lnTo>
                    <a:pt x="10864" y="7099"/>
                  </a:lnTo>
                  <a:cubicBezTo>
                    <a:pt x="11085" y="7099"/>
                    <a:pt x="11264" y="6920"/>
                    <a:pt x="11264" y="6699"/>
                  </a:cubicBezTo>
                  <a:lnTo>
                    <a:pt x="11264" y="4565"/>
                  </a:lnTo>
                  <a:cubicBezTo>
                    <a:pt x="11264" y="4344"/>
                    <a:pt x="11085" y="4165"/>
                    <a:pt x="10864" y="4165"/>
                  </a:cubicBezTo>
                  <a:lnTo>
                    <a:pt x="7099" y="4165"/>
                  </a:lnTo>
                  <a:lnTo>
                    <a:pt x="7099" y="400"/>
                  </a:lnTo>
                  <a:cubicBezTo>
                    <a:pt x="7099" y="179"/>
                    <a:pt x="6920" y="0"/>
                    <a:pt x="6699" y="0"/>
                  </a:cubicBezTo>
                  <a:lnTo>
                    <a:pt x="4565" y="0"/>
                  </a:lnTo>
                  <a:cubicBezTo>
                    <a:pt x="4344" y="0"/>
                    <a:pt x="4165" y="179"/>
                    <a:pt x="4165" y="400"/>
                  </a:cubicBezTo>
                  <a:lnTo>
                    <a:pt x="4165" y="4165"/>
                  </a:lnTo>
                  <a:lnTo>
                    <a:pt x="400" y="4165"/>
                  </a:lnTo>
                  <a:cubicBezTo>
                    <a:pt x="179" y="4165"/>
                    <a:pt x="0" y="4344"/>
                    <a:pt x="0" y="4565"/>
                  </a:cubicBezTo>
                  <a:lnTo>
                    <a:pt x="0" y="6699"/>
                  </a:lnTo>
                  <a:cubicBezTo>
                    <a:pt x="0" y="6920"/>
                    <a:pt x="179" y="7099"/>
                    <a:pt x="400" y="709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0" name="îsḷïde">
              <a:extLst>
                <a:ext uri="{FF2B5EF4-FFF2-40B4-BE49-F238E27FC236}">
                  <a16:creationId xmlns:a16="http://schemas.microsoft.com/office/drawing/2014/main" id="{F7027C89-1BCC-4A00-9535-016DE4C49FD7}"/>
                </a:ext>
              </a:extLst>
            </p:cNvPr>
            <p:cNvSpPr/>
            <p:nvPr/>
          </p:nvSpPr>
          <p:spPr bwMode="auto">
            <a:xfrm>
              <a:off x="4069565" y="3014578"/>
              <a:ext cx="369969" cy="377806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  <a:gd name="connsiteX107" fmla="*/ 373273 h 605239"/>
                <a:gd name="connsiteY107" fmla="*/ 373273 h 605239"/>
                <a:gd name="connsiteX108" fmla="*/ 373273 h 605239"/>
                <a:gd name="connsiteY108" fmla="*/ 373273 h 605239"/>
                <a:gd name="connsiteX109" fmla="*/ 373273 h 605239"/>
                <a:gd name="connsiteY109" fmla="*/ 373273 h 605239"/>
                <a:gd name="connsiteX110" fmla="*/ 373273 h 605239"/>
                <a:gd name="connsiteY110" fmla="*/ 373273 h 605239"/>
                <a:gd name="connsiteX111" fmla="*/ 373273 h 605239"/>
                <a:gd name="connsiteY111" fmla="*/ 373273 h 605239"/>
                <a:gd name="connsiteX112" fmla="*/ 373273 h 605239"/>
                <a:gd name="connsiteY112" fmla="*/ 373273 h 605239"/>
                <a:gd name="connsiteX113" fmla="*/ 373273 h 605239"/>
                <a:gd name="connsiteY113" fmla="*/ 373273 h 605239"/>
                <a:gd name="connsiteX114" fmla="*/ 373273 h 605239"/>
                <a:gd name="connsiteY114" fmla="*/ 373273 h 605239"/>
                <a:gd name="connsiteX115" fmla="*/ 373273 h 605239"/>
                <a:gd name="connsiteY115" fmla="*/ 373273 h 605239"/>
                <a:gd name="connsiteX116" fmla="*/ 373273 h 605239"/>
                <a:gd name="connsiteY116" fmla="*/ 373273 h 605239"/>
                <a:gd name="connsiteX117" fmla="*/ 373273 h 605239"/>
                <a:gd name="connsiteY117" fmla="*/ 373273 h 605239"/>
                <a:gd name="connsiteX118" fmla="*/ 373273 h 605239"/>
                <a:gd name="connsiteY118" fmla="*/ 373273 h 605239"/>
                <a:gd name="connsiteX119" fmla="*/ 373273 h 605239"/>
                <a:gd name="connsiteY119" fmla="*/ 373273 h 605239"/>
                <a:gd name="connsiteX120" fmla="*/ 373273 h 605239"/>
                <a:gd name="connsiteY120" fmla="*/ 373273 h 605239"/>
                <a:gd name="connsiteX121" fmla="*/ 373273 h 605239"/>
                <a:gd name="connsiteY121" fmla="*/ 373273 h 605239"/>
                <a:gd name="connsiteX122" fmla="*/ 373273 h 605239"/>
                <a:gd name="connsiteY122" fmla="*/ 373273 h 605239"/>
                <a:gd name="connsiteX123" fmla="*/ 373273 h 605239"/>
                <a:gd name="connsiteY123" fmla="*/ 373273 h 605239"/>
                <a:gd name="connsiteX124" fmla="*/ 373273 h 605239"/>
                <a:gd name="connsiteY124" fmla="*/ 373273 h 605239"/>
                <a:gd name="connsiteX125" fmla="*/ 373273 h 605239"/>
                <a:gd name="connsiteY125" fmla="*/ 373273 h 605239"/>
                <a:gd name="connsiteX126" fmla="*/ 373273 h 605239"/>
                <a:gd name="connsiteY126" fmla="*/ 373273 h 605239"/>
                <a:gd name="connsiteX127" fmla="*/ 373273 h 605239"/>
                <a:gd name="connsiteY127" fmla="*/ 373273 h 605239"/>
                <a:gd name="connsiteX128" fmla="*/ 373273 h 605239"/>
                <a:gd name="connsiteY128" fmla="*/ 373273 h 605239"/>
                <a:gd name="connsiteX129" fmla="*/ 373273 h 605239"/>
                <a:gd name="connsiteY12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593733" h="606309">
                  <a:moveTo>
                    <a:pt x="353250" y="302855"/>
                  </a:moveTo>
                  <a:cubicBezTo>
                    <a:pt x="318468" y="302855"/>
                    <a:pt x="290232" y="331146"/>
                    <a:pt x="290232" y="365879"/>
                  </a:cubicBezTo>
                  <a:cubicBezTo>
                    <a:pt x="290232" y="374189"/>
                    <a:pt x="296964" y="380912"/>
                    <a:pt x="305285" y="380912"/>
                  </a:cubicBezTo>
                  <a:cubicBezTo>
                    <a:pt x="313607" y="380912"/>
                    <a:pt x="320338" y="374189"/>
                    <a:pt x="320338" y="365879"/>
                  </a:cubicBezTo>
                  <a:cubicBezTo>
                    <a:pt x="320338" y="347672"/>
                    <a:pt x="335111" y="333014"/>
                    <a:pt x="353250" y="333014"/>
                  </a:cubicBezTo>
                  <a:cubicBezTo>
                    <a:pt x="361665" y="333014"/>
                    <a:pt x="368397" y="326291"/>
                    <a:pt x="368397" y="317888"/>
                  </a:cubicBezTo>
                  <a:cubicBezTo>
                    <a:pt x="368397" y="309578"/>
                    <a:pt x="361665" y="302855"/>
                    <a:pt x="353250" y="302855"/>
                  </a:cubicBezTo>
                  <a:close/>
                  <a:moveTo>
                    <a:pt x="353250" y="265041"/>
                  </a:moveTo>
                  <a:cubicBezTo>
                    <a:pt x="409163" y="265041"/>
                    <a:pt x="454229" y="310232"/>
                    <a:pt x="454229" y="365879"/>
                  </a:cubicBezTo>
                  <a:cubicBezTo>
                    <a:pt x="454229" y="421527"/>
                    <a:pt x="408976" y="466717"/>
                    <a:pt x="353250" y="466717"/>
                  </a:cubicBezTo>
                  <a:cubicBezTo>
                    <a:pt x="297525" y="466717"/>
                    <a:pt x="252271" y="421527"/>
                    <a:pt x="252271" y="365879"/>
                  </a:cubicBezTo>
                  <a:cubicBezTo>
                    <a:pt x="252271" y="310232"/>
                    <a:pt x="297431" y="265041"/>
                    <a:pt x="353250" y="265041"/>
                  </a:cubicBezTo>
                  <a:close/>
                  <a:moveTo>
                    <a:pt x="427779" y="133781"/>
                  </a:moveTo>
                  <a:cubicBezTo>
                    <a:pt x="432818" y="131960"/>
                    <a:pt x="438547" y="132054"/>
                    <a:pt x="443784" y="134482"/>
                  </a:cubicBezTo>
                  <a:lnTo>
                    <a:pt x="473245" y="148209"/>
                  </a:lnTo>
                  <a:cubicBezTo>
                    <a:pt x="483720" y="153158"/>
                    <a:pt x="488209" y="165671"/>
                    <a:pt x="483346" y="176130"/>
                  </a:cubicBezTo>
                  <a:lnTo>
                    <a:pt x="470252" y="203957"/>
                  </a:lnTo>
                  <a:cubicBezTo>
                    <a:pt x="492231" y="219646"/>
                    <a:pt x="511123" y="240003"/>
                    <a:pt x="525526" y="264095"/>
                  </a:cubicBezTo>
                  <a:lnTo>
                    <a:pt x="554426" y="253636"/>
                  </a:lnTo>
                  <a:cubicBezTo>
                    <a:pt x="565368" y="249714"/>
                    <a:pt x="577340" y="255411"/>
                    <a:pt x="581361" y="266243"/>
                  </a:cubicBezTo>
                  <a:lnTo>
                    <a:pt x="592491" y="296592"/>
                  </a:lnTo>
                  <a:cubicBezTo>
                    <a:pt x="596419" y="307612"/>
                    <a:pt x="590714" y="319564"/>
                    <a:pt x="579865" y="323486"/>
                  </a:cubicBezTo>
                  <a:lnTo>
                    <a:pt x="550965" y="333945"/>
                  </a:lnTo>
                  <a:cubicBezTo>
                    <a:pt x="555455" y="361586"/>
                    <a:pt x="553958" y="389414"/>
                    <a:pt x="547224" y="415561"/>
                  </a:cubicBezTo>
                  <a:lnTo>
                    <a:pt x="575095" y="428634"/>
                  </a:lnTo>
                  <a:cubicBezTo>
                    <a:pt x="585570" y="433490"/>
                    <a:pt x="590059" y="445910"/>
                    <a:pt x="585102" y="456649"/>
                  </a:cubicBezTo>
                  <a:lnTo>
                    <a:pt x="571354" y="485970"/>
                  </a:lnTo>
                  <a:cubicBezTo>
                    <a:pt x="566397" y="496429"/>
                    <a:pt x="553958" y="500911"/>
                    <a:pt x="543483" y="496056"/>
                  </a:cubicBezTo>
                  <a:lnTo>
                    <a:pt x="515238" y="482982"/>
                  </a:lnTo>
                  <a:cubicBezTo>
                    <a:pt x="499526" y="504833"/>
                    <a:pt x="479137" y="523510"/>
                    <a:pt x="455007" y="537704"/>
                  </a:cubicBezTo>
                  <a:lnTo>
                    <a:pt x="465763" y="567026"/>
                  </a:lnTo>
                  <a:cubicBezTo>
                    <a:pt x="469784" y="578045"/>
                    <a:pt x="463986" y="589997"/>
                    <a:pt x="453137" y="593919"/>
                  </a:cubicBezTo>
                  <a:lnTo>
                    <a:pt x="422741" y="605032"/>
                  </a:lnTo>
                  <a:cubicBezTo>
                    <a:pt x="411798" y="609047"/>
                    <a:pt x="399827" y="603258"/>
                    <a:pt x="395805" y="592425"/>
                  </a:cubicBezTo>
                  <a:lnTo>
                    <a:pt x="385050" y="562823"/>
                  </a:lnTo>
                  <a:cubicBezTo>
                    <a:pt x="357646" y="567212"/>
                    <a:pt x="330056" y="565718"/>
                    <a:pt x="304149" y="558995"/>
                  </a:cubicBezTo>
                  <a:lnTo>
                    <a:pt x="290682" y="587756"/>
                  </a:lnTo>
                  <a:cubicBezTo>
                    <a:pt x="285725" y="598215"/>
                    <a:pt x="273192" y="602697"/>
                    <a:pt x="262717" y="597841"/>
                  </a:cubicBezTo>
                  <a:lnTo>
                    <a:pt x="233350" y="584114"/>
                  </a:lnTo>
                  <a:cubicBezTo>
                    <a:pt x="222875" y="579165"/>
                    <a:pt x="218385" y="566652"/>
                    <a:pt x="223249" y="556193"/>
                  </a:cubicBezTo>
                  <a:lnTo>
                    <a:pt x="236810" y="527338"/>
                  </a:lnTo>
                  <a:cubicBezTo>
                    <a:pt x="215112" y="511650"/>
                    <a:pt x="196407" y="491480"/>
                    <a:pt x="182284" y="467668"/>
                  </a:cubicBezTo>
                  <a:lnTo>
                    <a:pt x="152169" y="478687"/>
                  </a:lnTo>
                  <a:cubicBezTo>
                    <a:pt x="141133" y="482609"/>
                    <a:pt x="129161" y="476912"/>
                    <a:pt x="125233" y="466080"/>
                  </a:cubicBezTo>
                  <a:lnTo>
                    <a:pt x="114104" y="435731"/>
                  </a:lnTo>
                  <a:cubicBezTo>
                    <a:pt x="110082" y="424712"/>
                    <a:pt x="115881" y="412759"/>
                    <a:pt x="126730" y="408837"/>
                  </a:cubicBezTo>
                  <a:lnTo>
                    <a:pt x="156845" y="397818"/>
                  </a:lnTo>
                  <a:cubicBezTo>
                    <a:pt x="153852" y="379422"/>
                    <a:pt x="153478" y="361026"/>
                    <a:pt x="155629" y="342910"/>
                  </a:cubicBezTo>
                  <a:lnTo>
                    <a:pt x="158622" y="343097"/>
                  </a:lnTo>
                  <a:cubicBezTo>
                    <a:pt x="181162" y="344030"/>
                    <a:pt x="200522" y="327408"/>
                    <a:pt x="203141" y="305370"/>
                  </a:cubicBezTo>
                  <a:cubicBezTo>
                    <a:pt x="207723" y="303876"/>
                    <a:pt x="212119" y="302195"/>
                    <a:pt x="216515" y="300515"/>
                  </a:cubicBezTo>
                  <a:cubicBezTo>
                    <a:pt x="220349" y="304063"/>
                    <a:pt x="224745" y="306958"/>
                    <a:pt x="229609" y="308919"/>
                  </a:cubicBezTo>
                  <a:cubicBezTo>
                    <a:pt x="219227" y="330957"/>
                    <a:pt x="214831" y="355983"/>
                    <a:pt x="217824" y="381943"/>
                  </a:cubicBezTo>
                  <a:cubicBezTo>
                    <a:pt x="226709" y="456462"/>
                    <a:pt x="294329" y="509876"/>
                    <a:pt x="368963" y="501192"/>
                  </a:cubicBezTo>
                  <a:cubicBezTo>
                    <a:pt x="443691" y="492320"/>
                    <a:pt x="497188" y="424899"/>
                    <a:pt x="488490" y="350287"/>
                  </a:cubicBezTo>
                  <a:cubicBezTo>
                    <a:pt x="479605" y="275675"/>
                    <a:pt x="411985" y="222260"/>
                    <a:pt x="337351" y="231038"/>
                  </a:cubicBezTo>
                  <a:cubicBezTo>
                    <a:pt x="324632" y="232532"/>
                    <a:pt x="312473" y="235707"/>
                    <a:pt x="301156" y="240376"/>
                  </a:cubicBezTo>
                  <a:cubicBezTo>
                    <a:pt x="299660" y="236268"/>
                    <a:pt x="297509" y="232345"/>
                    <a:pt x="294797" y="228890"/>
                  </a:cubicBezTo>
                  <a:cubicBezTo>
                    <a:pt x="297041" y="224688"/>
                    <a:pt x="299005" y="220393"/>
                    <a:pt x="300782" y="216097"/>
                  </a:cubicBezTo>
                  <a:cubicBezTo>
                    <a:pt x="311164" y="215817"/>
                    <a:pt x="320891" y="211802"/>
                    <a:pt x="328466" y="204891"/>
                  </a:cubicBezTo>
                  <a:cubicBezTo>
                    <a:pt x="336977" y="197141"/>
                    <a:pt x="341934" y="186589"/>
                    <a:pt x="342402" y="175103"/>
                  </a:cubicBezTo>
                  <a:lnTo>
                    <a:pt x="342776" y="166978"/>
                  </a:lnTo>
                  <a:cubicBezTo>
                    <a:pt x="363164" y="165764"/>
                    <a:pt x="383460" y="167912"/>
                    <a:pt x="402820" y="172768"/>
                  </a:cubicBezTo>
                  <a:lnTo>
                    <a:pt x="415913" y="144567"/>
                  </a:lnTo>
                  <a:cubicBezTo>
                    <a:pt x="418392" y="139338"/>
                    <a:pt x="422741" y="135602"/>
                    <a:pt x="427779" y="133781"/>
                  </a:cubicBezTo>
                  <a:close/>
                  <a:moveTo>
                    <a:pt x="159906" y="88589"/>
                  </a:moveTo>
                  <a:cubicBezTo>
                    <a:pt x="142487" y="87818"/>
                    <a:pt x="124764" y="93678"/>
                    <a:pt x="110828" y="106378"/>
                  </a:cubicBezTo>
                  <a:cubicBezTo>
                    <a:pt x="96145" y="119731"/>
                    <a:pt x="88663" y="138127"/>
                    <a:pt x="88663" y="156523"/>
                  </a:cubicBezTo>
                  <a:cubicBezTo>
                    <a:pt x="88663" y="172958"/>
                    <a:pt x="94555" y="189393"/>
                    <a:pt x="106526" y="202467"/>
                  </a:cubicBezTo>
                  <a:cubicBezTo>
                    <a:pt x="131965" y="230294"/>
                    <a:pt x="175081" y="232162"/>
                    <a:pt x="202764" y="206762"/>
                  </a:cubicBezTo>
                  <a:cubicBezTo>
                    <a:pt x="217448" y="193409"/>
                    <a:pt x="224930" y="175013"/>
                    <a:pt x="224930" y="156523"/>
                  </a:cubicBezTo>
                  <a:cubicBezTo>
                    <a:pt x="224930" y="140088"/>
                    <a:pt x="219132" y="123653"/>
                    <a:pt x="207160" y="110580"/>
                  </a:cubicBezTo>
                  <a:cubicBezTo>
                    <a:pt x="194441" y="96760"/>
                    <a:pt x="177325" y="89359"/>
                    <a:pt x="159906" y="88589"/>
                  </a:cubicBezTo>
                  <a:close/>
                  <a:moveTo>
                    <a:pt x="153289" y="17"/>
                  </a:moveTo>
                  <a:lnTo>
                    <a:pt x="173678" y="951"/>
                  </a:lnTo>
                  <a:cubicBezTo>
                    <a:pt x="180786" y="1325"/>
                    <a:pt x="186304" y="7114"/>
                    <a:pt x="186304" y="14118"/>
                  </a:cubicBezTo>
                  <a:lnTo>
                    <a:pt x="186304" y="14771"/>
                  </a:lnTo>
                  <a:lnTo>
                    <a:pt x="185462" y="34755"/>
                  </a:lnTo>
                  <a:cubicBezTo>
                    <a:pt x="201923" y="38677"/>
                    <a:pt x="217729" y="45774"/>
                    <a:pt x="231851" y="56232"/>
                  </a:cubicBezTo>
                  <a:lnTo>
                    <a:pt x="246535" y="42786"/>
                  </a:lnTo>
                  <a:cubicBezTo>
                    <a:pt x="251866" y="37930"/>
                    <a:pt x="260283" y="38303"/>
                    <a:pt x="265240" y="43626"/>
                  </a:cubicBezTo>
                  <a:lnTo>
                    <a:pt x="279082" y="58660"/>
                  </a:lnTo>
                  <a:cubicBezTo>
                    <a:pt x="281420" y="61275"/>
                    <a:pt x="282542" y="64450"/>
                    <a:pt x="282542" y="67625"/>
                  </a:cubicBezTo>
                  <a:cubicBezTo>
                    <a:pt x="282542" y="71173"/>
                    <a:pt x="281233" y="74722"/>
                    <a:pt x="278334" y="77337"/>
                  </a:cubicBezTo>
                  <a:lnTo>
                    <a:pt x="263744" y="90690"/>
                  </a:lnTo>
                  <a:cubicBezTo>
                    <a:pt x="273096" y="105537"/>
                    <a:pt x="278988" y="121973"/>
                    <a:pt x="281420" y="138781"/>
                  </a:cubicBezTo>
                  <a:lnTo>
                    <a:pt x="301061" y="139621"/>
                  </a:lnTo>
                  <a:cubicBezTo>
                    <a:pt x="308169" y="139995"/>
                    <a:pt x="313593" y="145878"/>
                    <a:pt x="313593" y="152788"/>
                  </a:cubicBezTo>
                  <a:lnTo>
                    <a:pt x="313593" y="153442"/>
                  </a:lnTo>
                  <a:lnTo>
                    <a:pt x="312751" y="173892"/>
                  </a:lnTo>
                  <a:cubicBezTo>
                    <a:pt x="312377" y="181083"/>
                    <a:pt x="306298" y="186779"/>
                    <a:pt x="298910" y="186405"/>
                  </a:cubicBezTo>
                  <a:lnTo>
                    <a:pt x="279456" y="185565"/>
                  </a:lnTo>
                  <a:cubicBezTo>
                    <a:pt x="275622" y="202093"/>
                    <a:pt x="268327" y="218061"/>
                    <a:pt x="257758" y="232162"/>
                  </a:cubicBezTo>
                  <a:lnTo>
                    <a:pt x="270852" y="246449"/>
                  </a:lnTo>
                  <a:cubicBezTo>
                    <a:pt x="273190" y="249064"/>
                    <a:pt x="274312" y="252145"/>
                    <a:pt x="274312" y="255414"/>
                  </a:cubicBezTo>
                  <a:cubicBezTo>
                    <a:pt x="274312" y="258869"/>
                    <a:pt x="273003" y="262511"/>
                    <a:pt x="270104" y="265126"/>
                  </a:cubicBezTo>
                  <a:lnTo>
                    <a:pt x="255046" y="278946"/>
                  </a:lnTo>
                  <a:cubicBezTo>
                    <a:pt x="249621" y="283802"/>
                    <a:pt x="241297" y="283428"/>
                    <a:pt x="236340" y="278106"/>
                  </a:cubicBezTo>
                  <a:lnTo>
                    <a:pt x="223247" y="263724"/>
                  </a:lnTo>
                  <a:cubicBezTo>
                    <a:pt x="208282" y="272970"/>
                    <a:pt x="191635" y="278853"/>
                    <a:pt x="174800" y="281187"/>
                  </a:cubicBezTo>
                  <a:lnTo>
                    <a:pt x="173958" y="300610"/>
                  </a:lnTo>
                  <a:cubicBezTo>
                    <a:pt x="173584" y="307801"/>
                    <a:pt x="167505" y="313590"/>
                    <a:pt x="160117" y="313217"/>
                  </a:cubicBezTo>
                  <a:lnTo>
                    <a:pt x="139634" y="312283"/>
                  </a:lnTo>
                  <a:cubicBezTo>
                    <a:pt x="132526" y="311909"/>
                    <a:pt x="127102" y="306120"/>
                    <a:pt x="127102" y="299116"/>
                  </a:cubicBezTo>
                  <a:lnTo>
                    <a:pt x="127102" y="298463"/>
                  </a:lnTo>
                  <a:lnTo>
                    <a:pt x="128037" y="279039"/>
                  </a:lnTo>
                  <a:cubicBezTo>
                    <a:pt x="111577" y="275211"/>
                    <a:pt x="95771" y="267834"/>
                    <a:pt x="81648" y="257281"/>
                  </a:cubicBezTo>
                  <a:lnTo>
                    <a:pt x="67058" y="270635"/>
                  </a:lnTo>
                  <a:cubicBezTo>
                    <a:pt x="61727" y="275491"/>
                    <a:pt x="53403" y="275117"/>
                    <a:pt x="48353" y="269701"/>
                  </a:cubicBezTo>
                  <a:lnTo>
                    <a:pt x="34511" y="254667"/>
                  </a:lnTo>
                  <a:cubicBezTo>
                    <a:pt x="32173" y="252052"/>
                    <a:pt x="31051" y="248970"/>
                    <a:pt x="31051" y="245702"/>
                  </a:cubicBezTo>
                  <a:cubicBezTo>
                    <a:pt x="31051" y="242247"/>
                    <a:pt x="32453" y="238605"/>
                    <a:pt x="35259" y="235990"/>
                  </a:cubicBezTo>
                  <a:lnTo>
                    <a:pt x="50036" y="222544"/>
                  </a:lnTo>
                  <a:cubicBezTo>
                    <a:pt x="40777" y="207696"/>
                    <a:pt x="35072" y="191261"/>
                    <a:pt x="32640" y="174639"/>
                  </a:cubicBezTo>
                  <a:lnTo>
                    <a:pt x="12626" y="173705"/>
                  </a:lnTo>
                  <a:cubicBezTo>
                    <a:pt x="5518" y="173332"/>
                    <a:pt x="0" y="167542"/>
                    <a:pt x="0" y="160539"/>
                  </a:cubicBezTo>
                  <a:lnTo>
                    <a:pt x="0" y="159885"/>
                  </a:lnTo>
                  <a:lnTo>
                    <a:pt x="842" y="139621"/>
                  </a:lnTo>
                  <a:cubicBezTo>
                    <a:pt x="1216" y="132431"/>
                    <a:pt x="7388" y="126642"/>
                    <a:pt x="14683" y="127015"/>
                  </a:cubicBezTo>
                  <a:lnTo>
                    <a:pt x="34885" y="127949"/>
                  </a:lnTo>
                  <a:cubicBezTo>
                    <a:pt x="38813" y="111514"/>
                    <a:pt x="46015" y="95826"/>
                    <a:pt x="56490" y="81819"/>
                  </a:cubicBezTo>
                  <a:lnTo>
                    <a:pt x="42741" y="66878"/>
                  </a:lnTo>
                  <a:cubicBezTo>
                    <a:pt x="40403" y="64263"/>
                    <a:pt x="39281" y="61182"/>
                    <a:pt x="39281" y="57913"/>
                  </a:cubicBezTo>
                  <a:cubicBezTo>
                    <a:pt x="39281" y="54458"/>
                    <a:pt x="40684" y="50816"/>
                    <a:pt x="43490" y="48202"/>
                  </a:cubicBezTo>
                  <a:lnTo>
                    <a:pt x="58641" y="34381"/>
                  </a:lnTo>
                  <a:cubicBezTo>
                    <a:pt x="63972" y="29526"/>
                    <a:pt x="72296" y="29899"/>
                    <a:pt x="77346" y="35315"/>
                  </a:cubicBezTo>
                  <a:lnTo>
                    <a:pt x="90627" y="50256"/>
                  </a:lnTo>
                  <a:cubicBezTo>
                    <a:pt x="105591" y="41011"/>
                    <a:pt x="121864" y="35128"/>
                    <a:pt x="138512" y="32794"/>
                  </a:cubicBezTo>
                  <a:lnTo>
                    <a:pt x="139447" y="12624"/>
                  </a:lnTo>
                  <a:cubicBezTo>
                    <a:pt x="139821" y="5433"/>
                    <a:pt x="145901" y="-356"/>
                    <a:pt x="153289" y="17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1" name="îṣḻïḓè">
              <a:extLst>
                <a:ext uri="{FF2B5EF4-FFF2-40B4-BE49-F238E27FC236}">
                  <a16:creationId xmlns:a16="http://schemas.microsoft.com/office/drawing/2014/main" id="{30C8A656-A69C-4844-9B4C-38593487F7D6}"/>
                </a:ext>
              </a:extLst>
            </p:cNvPr>
            <p:cNvSpPr/>
            <p:nvPr/>
          </p:nvSpPr>
          <p:spPr bwMode="auto">
            <a:xfrm>
              <a:off x="3563916" y="3658051"/>
              <a:ext cx="377806" cy="377072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81741" h="580612">
                  <a:moveTo>
                    <a:pt x="291612" y="187916"/>
                  </a:moveTo>
                  <a:cubicBezTo>
                    <a:pt x="304876" y="187916"/>
                    <a:pt x="315648" y="198758"/>
                    <a:pt x="315648" y="212088"/>
                  </a:cubicBezTo>
                  <a:lnTo>
                    <a:pt x="315648" y="491836"/>
                  </a:lnTo>
                  <a:lnTo>
                    <a:pt x="331227" y="473974"/>
                  </a:lnTo>
                  <a:cubicBezTo>
                    <a:pt x="339863" y="463932"/>
                    <a:pt x="355086" y="462866"/>
                    <a:pt x="365145" y="471574"/>
                  </a:cubicBezTo>
                  <a:cubicBezTo>
                    <a:pt x="375116" y="480372"/>
                    <a:pt x="376184" y="495657"/>
                    <a:pt x="367460" y="505699"/>
                  </a:cubicBezTo>
                  <a:lnTo>
                    <a:pt x="309773" y="572348"/>
                  </a:lnTo>
                  <a:cubicBezTo>
                    <a:pt x="305143" y="577502"/>
                    <a:pt x="298556" y="580612"/>
                    <a:pt x="291612" y="580612"/>
                  </a:cubicBezTo>
                  <a:cubicBezTo>
                    <a:pt x="284579" y="580612"/>
                    <a:pt x="278080" y="577680"/>
                    <a:pt x="273451" y="572348"/>
                  </a:cubicBezTo>
                  <a:lnTo>
                    <a:pt x="215764" y="505699"/>
                  </a:lnTo>
                  <a:cubicBezTo>
                    <a:pt x="207039" y="495657"/>
                    <a:pt x="208108" y="480372"/>
                    <a:pt x="218078" y="471574"/>
                  </a:cubicBezTo>
                  <a:cubicBezTo>
                    <a:pt x="228049" y="462866"/>
                    <a:pt x="243272" y="463932"/>
                    <a:pt x="252085" y="473974"/>
                  </a:cubicBezTo>
                  <a:lnTo>
                    <a:pt x="267486" y="491747"/>
                  </a:lnTo>
                  <a:lnTo>
                    <a:pt x="267486" y="212088"/>
                  </a:lnTo>
                  <a:cubicBezTo>
                    <a:pt x="267486" y="198758"/>
                    <a:pt x="278258" y="187916"/>
                    <a:pt x="291612" y="187916"/>
                  </a:cubicBezTo>
                  <a:close/>
                  <a:moveTo>
                    <a:pt x="329499" y="0"/>
                  </a:moveTo>
                  <a:cubicBezTo>
                    <a:pt x="426248" y="0"/>
                    <a:pt x="465322" y="80426"/>
                    <a:pt x="473332" y="108153"/>
                  </a:cubicBezTo>
                  <a:cubicBezTo>
                    <a:pt x="535280" y="120684"/>
                    <a:pt x="581474" y="175693"/>
                    <a:pt x="581741" y="241190"/>
                  </a:cubicBezTo>
                  <a:cubicBezTo>
                    <a:pt x="581741" y="315840"/>
                    <a:pt x="521306" y="376537"/>
                    <a:pt x="446987" y="376537"/>
                  </a:cubicBezTo>
                  <a:lnTo>
                    <a:pt x="372756" y="376537"/>
                  </a:lnTo>
                  <a:cubicBezTo>
                    <a:pt x="359316" y="376537"/>
                    <a:pt x="348546" y="365606"/>
                    <a:pt x="348546" y="352276"/>
                  </a:cubicBezTo>
                  <a:cubicBezTo>
                    <a:pt x="348546" y="338857"/>
                    <a:pt x="359316" y="327926"/>
                    <a:pt x="372756" y="327926"/>
                  </a:cubicBezTo>
                  <a:lnTo>
                    <a:pt x="446987" y="327926"/>
                  </a:lnTo>
                  <a:cubicBezTo>
                    <a:pt x="494605" y="327926"/>
                    <a:pt x="533322" y="289090"/>
                    <a:pt x="533322" y="241190"/>
                  </a:cubicBezTo>
                  <a:cubicBezTo>
                    <a:pt x="533322" y="195334"/>
                    <a:pt x="497720" y="157298"/>
                    <a:pt x="452238" y="154632"/>
                  </a:cubicBezTo>
                  <a:cubicBezTo>
                    <a:pt x="440934" y="153921"/>
                    <a:pt x="431589" y="145478"/>
                    <a:pt x="429809" y="134192"/>
                  </a:cubicBezTo>
                  <a:cubicBezTo>
                    <a:pt x="421709" y="84692"/>
                    <a:pt x="379609" y="48789"/>
                    <a:pt x="329677" y="48789"/>
                  </a:cubicBezTo>
                  <a:cubicBezTo>
                    <a:pt x="279567" y="48789"/>
                    <a:pt x="238001" y="84781"/>
                    <a:pt x="229457" y="134192"/>
                  </a:cubicBezTo>
                  <a:cubicBezTo>
                    <a:pt x="226520" y="151521"/>
                    <a:pt x="212190" y="162807"/>
                    <a:pt x="192964" y="151077"/>
                  </a:cubicBezTo>
                  <a:cubicBezTo>
                    <a:pt x="178011" y="141834"/>
                    <a:pt x="160922" y="136947"/>
                    <a:pt x="143299" y="136947"/>
                  </a:cubicBezTo>
                  <a:cubicBezTo>
                    <a:pt x="90964" y="136947"/>
                    <a:pt x="48419" y="179693"/>
                    <a:pt x="48419" y="232303"/>
                  </a:cubicBezTo>
                  <a:cubicBezTo>
                    <a:pt x="48419" y="284913"/>
                    <a:pt x="90964" y="327748"/>
                    <a:pt x="143299" y="327748"/>
                  </a:cubicBezTo>
                  <a:lnTo>
                    <a:pt x="218776" y="327748"/>
                  </a:lnTo>
                  <a:cubicBezTo>
                    <a:pt x="232216" y="327748"/>
                    <a:pt x="242986" y="338590"/>
                    <a:pt x="242986" y="352009"/>
                  </a:cubicBezTo>
                  <a:cubicBezTo>
                    <a:pt x="242986" y="365429"/>
                    <a:pt x="232216" y="376271"/>
                    <a:pt x="218776" y="376271"/>
                  </a:cubicBezTo>
                  <a:lnTo>
                    <a:pt x="143299" y="376271"/>
                  </a:lnTo>
                  <a:cubicBezTo>
                    <a:pt x="64262" y="376271"/>
                    <a:pt x="0" y="311574"/>
                    <a:pt x="0" y="232214"/>
                  </a:cubicBezTo>
                  <a:cubicBezTo>
                    <a:pt x="0" y="152854"/>
                    <a:pt x="64262" y="88158"/>
                    <a:pt x="143210" y="88158"/>
                  </a:cubicBezTo>
                  <a:cubicBezTo>
                    <a:pt x="159231" y="88158"/>
                    <a:pt x="174896" y="90735"/>
                    <a:pt x="189849" y="95978"/>
                  </a:cubicBezTo>
                  <a:cubicBezTo>
                    <a:pt x="198749" y="73050"/>
                    <a:pt x="238891" y="0"/>
                    <a:pt x="32949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2" name="iş1iḑe">
              <a:extLst>
                <a:ext uri="{FF2B5EF4-FFF2-40B4-BE49-F238E27FC236}">
                  <a16:creationId xmlns:a16="http://schemas.microsoft.com/office/drawing/2014/main" id="{79D5FAF9-096B-4C61-A299-6A26A276E128}"/>
                </a:ext>
              </a:extLst>
            </p:cNvPr>
            <p:cNvSpPr/>
            <p:nvPr/>
          </p:nvSpPr>
          <p:spPr bwMode="auto">
            <a:xfrm>
              <a:off x="3025037" y="4301073"/>
              <a:ext cx="377806" cy="377236"/>
            </a:xfrm>
            <a:custGeom>
              <a:avLst/>
              <a:gdLst>
                <a:gd name="connsiteX0" fmla="*/ 303820 w 607639"/>
                <a:gd name="connsiteY0" fmla="*/ 278099 h 606722"/>
                <a:gd name="connsiteX1" fmla="*/ 329118 w 607639"/>
                <a:gd name="connsiteY1" fmla="*/ 303362 h 606722"/>
                <a:gd name="connsiteX2" fmla="*/ 303820 w 607639"/>
                <a:gd name="connsiteY2" fmla="*/ 328625 h 606722"/>
                <a:gd name="connsiteX3" fmla="*/ 278522 w 607639"/>
                <a:gd name="connsiteY3" fmla="*/ 303362 h 606722"/>
                <a:gd name="connsiteX4" fmla="*/ 303820 w 607639"/>
                <a:gd name="connsiteY4" fmla="*/ 278099 h 606722"/>
                <a:gd name="connsiteX5" fmla="*/ 303775 w 607639"/>
                <a:gd name="connsiteY5" fmla="*/ 252735 h 606722"/>
                <a:gd name="connsiteX6" fmla="*/ 253140 w 607639"/>
                <a:gd name="connsiteY6" fmla="*/ 303317 h 606722"/>
                <a:gd name="connsiteX7" fmla="*/ 303775 w 607639"/>
                <a:gd name="connsiteY7" fmla="*/ 353900 h 606722"/>
                <a:gd name="connsiteX8" fmla="*/ 354410 w 607639"/>
                <a:gd name="connsiteY8" fmla="*/ 303317 h 606722"/>
                <a:gd name="connsiteX9" fmla="*/ 303775 w 607639"/>
                <a:gd name="connsiteY9" fmla="*/ 252735 h 606722"/>
                <a:gd name="connsiteX10" fmla="*/ 303775 w 607639"/>
                <a:gd name="connsiteY10" fmla="*/ 202241 h 606722"/>
                <a:gd name="connsiteX11" fmla="*/ 405045 w 607639"/>
                <a:gd name="connsiteY11" fmla="*/ 303317 h 606722"/>
                <a:gd name="connsiteX12" fmla="*/ 303775 w 607639"/>
                <a:gd name="connsiteY12" fmla="*/ 404482 h 606722"/>
                <a:gd name="connsiteX13" fmla="*/ 202593 w 607639"/>
                <a:gd name="connsiteY13" fmla="*/ 303317 h 606722"/>
                <a:gd name="connsiteX14" fmla="*/ 303775 w 607639"/>
                <a:gd name="connsiteY14" fmla="*/ 202241 h 606722"/>
                <a:gd name="connsiteX15" fmla="*/ 303775 w 607639"/>
                <a:gd name="connsiteY15" fmla="*/ 151703 h 606722"/>
                <a:gd name="connsiteX16" fmla="*/ 151932 w 607639"/>
                <a:gd name="connsiteY16" fmla="*/ 303317 h 606722"/>
                <a:gd name="connsiteX17" fmla="*/ 303775 w 607639"/>
                <a:gd name="connsiteY17" fmla="*/ 455019 h 606722"/>
                <a:gd name="connsiteX18" fmla="*/ 455707 w 607639"/>
                <a:gd name="connsiteY18" fmla="*/ 303317 h 606722"/>
                <a:gd name="connsiteX19" fmla="*/ 303775 w 607639"/>
                <a:gd name="connsiteY19" fmla="*/ 151703 h 606722"/>
                <a:gd name="connsiteX20" fmla="*/ 253131 w 607639"/>
                <a:gd name="connsiteY20" fmla="*/ 0 h 606722"/>
                <a:gd name="connsiteX21" fmla="*/ 354419 w 607639"/>
                <a:gd name="connsiteY21" fmla="*/ 0 h 606722"/>
                <a:gd name="connsiteX22" fmla="*/ 379786 w 607639"/>
                <a:gd name="connsiteY22" fmla="*/ 25239 h 606722"/>
                <a:gd name="connsiteX23" fmla="*/ 379786 w 607639"/>
                <a:gd name="connsiteY23" fmla="*/ 62387 h 606722"/>
                <a:gd name="connsiteX24" fmla="*/ 420639 w 607639"/>
                <a:gd name="connsiteY24" fmla="*/ 79451 h 606722"/>
                <a:gd name="connsiteX25" fmla="*/ 446985 w 607639"/>
                <a:gd name="connsiteY25" fmla="*/ 53145 h 606722"/>
                <a:gd name="connsiteX26" fmla="*/ 482854 w 607639"/>
                <a:gd name="connsiteY26" fmla="*/ 53145 h 606722"/>
                <a:gd name="connsiteX27" fmla="*/ 554414 w 607639"/>
                <a:gd name="connsiteY27" fmla="*/ 124597 h 606722"/>
                <a:gd name="connsiteX28" fmla="*/ 554414 w 607639"/>
                <a:gd name="connsiteY28" fmla="*/ 160323 h 606722"/>
                <a:gd name="connsiteX29" fmla="*/ 528069 w 607639"/>
                <a:gd name="connsiteY29" fmla="*/ 186629 h 606722"/>
                <a:gd name="connsiteX30" fmla="*/ 545158 w 607639"/>
                <a:gd name="connsiteY30" fmla="*/ 227510 h 606722"/>
                <a:gd name="connsiteX31" fmla="*/ 582273 w 607639"/>
                <a:gd name="connsiteY31" fmla="*/ 227510 h 606722"/>
                <a:gd name="connsiteX32" fmla="*/ 607639 w 607639"/>
                <a:gd name="connsiteY32" fmla="*/ 252749 h 606722"/>
                <a:gd name="connsiteX33" fmla="*/ 607639 w 607639"/>
                <a:gd name="connsiteY33" fmla="*/ 353884 h 606722"/>
                <a:gd name="connsiteX34" fmla="*/ 582273 w 607639"/>
                <a:gd name="connsiteY34" fmla="*/ 379212 h 606722"/>
                <a:gd name="connsiteX35" fmla="*/ 545158 w 607639"/>
                <a:gd name="connsiteY35" fmla="*/ 379212 h 606722"/>
                <a:gd name="connsiteX36" fmla="*/ 528069 w 607639"/>
                <a:gd name="connsiteY36" fmla="*/ 420004 h 606722"/>
                <a:gd name="connsiteX37" fmla="*/ 554414 w 607639"/>
                <a:gd name="connsiteY37" fmla="*/ 446310 h 606722"/>
                <a:gd name="connsiteX38" fmla="*/ 554414 w 607639"/>
                <a:gd name="connsiteY38" fmla="*/ 482125 h 606722"/>
                <a:gd name="connsiteX39" fmla="*/ 482854 w 607639"/>
                <a:gd name="connsiteY39" fmla="*/ 553577 h 606722"/>
                <a:gd name="connsiteX40" fmla="*/ 446985 w 607639"/>
                <a:gd name="connsiteY40" fmla="*/ 553577 h 606722"/>
                <a:gd name="connsiteX41" fmla="*/ 420639 w 607639"/>
                <a:gd name="connsiteY41" fmla="*/ 527271 h 606722"/>
                <a:gd name="connsiteX42" fmla="*/ 379786 w 607639"/>
                <a:gd name="connsiteY42" fmla="*/ 544246 h 606722"/>
                <a:gd name="connsiteX43" fmla="*/ 379786 w 607639"/>
                <a:gd name="connsiteY43" fmla="*/ 581394 h 606722"/>
                <a:gd name="connsiteX44" fmla="*/ 354419 w 607639"/>
                <a:gd name="connsiteY44" fmla="*/ 606722 h 606722"/>
                <a:gd name="connsiteX45" fmla="*/ 253131 w 607639"/>
                <a:gd name="connsiteY45" fmla="*/ 606722 h 606722"/>
                <a:gd name="connsiteX46" fmla="*/ 227854 w 607639"/>
                <a:gd name="connsiteY46" fmla="*/ 581394 h 606722"/>
                <a:gd name="connsiteX47" fmla="*/ 227854 w 607639"/>
                <a:gd name="connsiteY47" fmla="*/ 544246 h 606722"/>
                <a:gd name="connsiteX48" fmla="*/ 186911 w 607639"/>
                <a:gd name="connsiteY48" fmla="*/ 527271 h 606722"/>
                <a:gd name="connsiteX49" fmla="*/ 160566 w 607639"/>
                <a:gd name="connsiteY49" fmla="*/ 553577 h 606722"/>
                <a:gd name="connsiteX50" fmla="*/ 124786 w 607639"/>
                <a:gd name="connsiteY50" fmla="*/ 553577 h 606722"/>
                <a:gd name="connsiteX51" fmla="*/ 53225 w 607639"/>
                <a:gd name="connsiteY51" fmla="*/ 482125 h 606722"/>
                <a:gd name="connsiteX52" fmla="*/ 53225 w 607639"/>
                <a:gd name="connsiteY52" fmla="*/ 446310 h 606722"/>
                <a:gd name="connsiteX53" fmla="*/ 79482 w 607639"/>
                <a:gd name="connsiteY53" fmla="*/ 420004 h 606722"/>
                <a:gd name="connsiteX54" fmla="*/ 62482 w 607639"/>
                <a:gd name="connsiteY54" fmla="*/ 379212 h 606722"/>
                <a:gd name="connsiteX55" fmla="*/ 25278 w 607639"/>
                <a:gd name="connsiteY55" fmla="*/ 379212 h 606722"/>
                <a:gd name="connsiteX56" fmla="*/ 0 w 607639"/>
                <a:gd name="connsiteY56" fmla="*/ 353884 h 606722"/>
                <a:gd name="connsiteX57" fmla="*/ 0 w 607639"/>
                <a:gd name="connsiteY57" fmla="*/ 252749 h 606722"/>
                <a:gd name="connsiteX58" fmla="*/ 25278 w 607639"/>
                <a:gd name="connsiteY58" fmla="*/ 227510 h 606722"/>
                <a:gd name="connsiteX59" fmla="*/ 62482 w 607639"/>
                <a:gd name="connsiteY59" fmla="*/ 227510 h 606722"/>
                <a:gd name="connsiteX60" fmla="*/ 79482 w 607639"/>
                <a:gd name="connsiteY60" fmla="*/ 186629 h 606722"/>
                <a:gd name="connsiteX61" fmla="*/ 53225 w 607639"/>
                <a:gd name="connsiteY61" fmla="*/ 160323 h 606722"/>
                <a:gd name="connsiteX62" fmla="*/ 53225 w 607639"/>
                <a:gd name="connsiteY62" fmla="*/ 124597 h 606722"/>
                <a:gd name="connsiteX63" fmla="*/ 124786 w 607639"/>
                <a:gd name="connsiteY63" fmla="*/ 53145 h 606722"/>
                <a:gd name="connsiteX64" fmla="*/ 160566 w 607639"/>
                <a:gd name="connsiteY64" fmla="*/ 53145 h 606722"/>
                <a:gd name="connsiteX65" fmla="*/ 186911 w 607639"/>
                <a:gd name="connsiteY65" fmla="*/ 79451 h 606722"/>
                <a:gd name="connsiteX66" fmla="*/ 227854 w 607639"/>
                <a:gd name="connsiteY66" fmla="*/ 62387 h 606722"/>
                <a:gd name="connsiteX67" fmla="*/ 227854 w 607639"/>
                <a:gd name="connsiteY67" fmla="*/ 25239 h 606722"/>
                <a:gd name="connsiteX68" fmla="*/ 253131 w 607639"/>
                <a:gd name="connsiteY68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607639" h="606722">
                  <a:moveTo>
                    <a:pt x="303820" y="278099"/>
                  </a:moveTo>
                  <a:cubicBezTo>
                    <a:pt x="317792" y="278099"/>
                    <a:pt x="329118" y="289410"/>
                    <a:pt x="329118" y="303362"/>
                  </a:cubicBezTo>
                  <a:cubicBezTo>
                    <a:pt x="329118" y="317314"/>
                    <a:pt x="317792" y="328625"/>
                    <a:pt x="303820" y="328625"/>
                  </a:cubicBezTo>
                  <a:cubicBezTo>
                    <a:pt x="289848" y="328625"/>
                    <a:pt x="278522" y="317314"/>
                    <a:pt x="278522" y="303362"/>
                  </a:cubicBezTo>
                  <a:cubicBezTo>
                    <a:pt x="278522" y="289410"/>
                    <a:pt x="289848" y="278099"/>
                    <a:pt x="303820" y="278099"/>
                  </a:cubicBezTo>
                  <a:close/>
                  <a:moveTo>
                    <a:pt x="303775" y="252735"/>
                  </a:moveTo>
                  <a:cubicBezTo>
                    <a:pt x="275921" y="252735"/>
                    <a:pt x="253140" y="275492"/>
                    <a:pt x="253140" y="303317"/>
                  </a:cubicBezTo>
                  <a:cubicBezTo>
                    <a:pt x="253140" y="331231"/>
                    <a:pt x="275921" y="353900"/>
                    <a:pt x="303775" y="353900"/>
                  </a:cubicBezTo>
                  <a:cubicBezTo>
                    <a:pt x="331718" y="353900"/>
                    <a:pt x="354410" y="331231"/>
                    <a:pt x="354410" y="303317"/>
                  </a:cubicBezTo>
                  <a:cubicBezTo>
                    <a:pt x="354410" y="275492"/>
                    <a:pt x="331718" y="252735"/>
                    <a:pt x="303775" y="252735"/>
                  </a:cubicBezTo>
                  <a:close/>
                  <a:moveTo>
                    <a:pt x="303775" y="202241"/>
                  </a:moveTo>
                  <a:cubicBezTo>
                    <a:pt x="359660" y="202241"/>
                    <a:pt x="405045" y="247579"/>
                    <a:pt x="405045" y="303317"/>
                  </a:cubicBezTo>
                  <a:cubicBezTo>
                    <a:pt x="405045" y="359144"/>
                    <a:pt x="359660" y="404482"/>
                    <a:pt x="303775" y="404482"/>
                  </a:cubicBezTo>
                  <a:cubicBezTo>
                    <a:pt x="247978" y="404482"/>
                    <a:pt x="202593" y="359144"/>
                    <a:pt x="202593" y="303317"/>
                  </a:cubicBezTo>
                  <a:cubicBezTo>
                    <a:pt x="202593" y="247579"/>
                    <a:pt x="247978" y="202241"/>
                    <a:pt x="303775" y="202241"/>
                  </a:cubicBezTo>
                  <a:close/>
                  <a:moveTo>
                    <a:pt x="303775" y="151703"/>
                  </a:moveTo>
                  <a:cubicBezTo>
                    <a:pt x="220021" y="151703"/>
                    <a:pt x="151932" y="219689"/>
                    <a:pt x="151932" y="303317"/>
                  </a:cubicBezTo>
                  <a:cubicBezTo>
                    <a:pt x="151932" y="387033"/>
                    <a:pt x="220021" y="455019"/>
                    <a:pt x="303775" y="455019"/>
                  </a:cubicBezTo>
                  <a:cubicBezTo>
                    <a:pt x="387618" y="455019"/>
                    <a:pt x="455707" y="387033"/>
                    <a:pt x="455707" y="303317"/>
                  </a:cubicBezTo>
                  <a:cubicBezTo>
                    <a:pt x="455707" y="219689"/>
                    <a:pt x="387618" y="151703"/>
                    <a:pt x="303775" y="151703"/>
                  </a:cubicBezTo>
                  <a:close/>
                  <a:moveTo>
                    <a:pt x="253131" y="0"/>
                  </a:moveTo>
                  <a:lnTo>
                    <a:pt x="354419" y="0"/>
                  </a:lnTo>
                  <a:cubicBezTo>
                    <a:pt x="368482" y="0"/>
                    <a:pt x="379786" y="11287"/>
                    <a:pt x="379786" y="25239"/>
                  </a:cubicBezTo>
                  <a:lnTo>
                    <a:pt x="379786" y="62387"/>
                  </a:lnTo>
                  <a:cubicBezTo>
                    <a:pt x="393849" y="66831"/>
                    <a:pt x="407555" y="72519"/>
                    <a:pt x="420639" y="79451"/>
                  </a:cubicBezTo>
                  <a:lnTo>
                    <a:pt x="446985" y="53145"/>
                  </a:lnTo>
                  <a:cubicBezTo>
                    <a:pt x="456953" y="43191"/>
                    <a:pt x="472974" y="43191"/>
                    <a:pt x="482854" y="53145"/>
                  </a:cubicBezTo>
                  <a:lnTo>
                    <a:pt x="554414" y="124597"/>
                  </a:lnTo>
                  <a:cubicBezTo>
                    <a:pt x="564294" y="134462"/>
                    <a:pt x="564294" y="150459"/>
                    <a:pt x="554414" y="160323"/>
                  </a:cubicBezTo>
                  <a:lnTo>
                    <a:pt x="528069" y="186629"/>
                  </a:lnTo>
                  <a:cubicBezTo>
                    <a:pt x="535011" y="199782"/>
                    <a:pt x="540707" y="213468"/>
                    <a:pt x="545158" y="227510"/>
                  </a:cubicBezTo>
                  <a:lnTo>
                    <a:pt x="582273" y="227510"/>
                  </a:lnTo>
                  <a:cubicBezTo>
                    <a:pt x="596336" y="227510"/>
                    <a:pt x="607639" y="238796"/>
                    <a:pt x="607639" y="252749"/>
                  </a:cubicBezTo>
                  <a:lnTo>
                    <a:pt x="607639" y="353884"/>
                  </a:lnTo>
                  <a:cubicBezTo>
                    <a:pt x="607639" y="367926"/>
                    <a:pt x="596247" y="379212"/>
                    <a:pt x="582273" y="379212"/>
                  </a:cubicBezTo>
                  <a:lnTo>
                    <a:pt x="545158" y="379212"/>
                  </a:lnTo>
                  <a:cubicBezTo>
                    <a:pt x="540707" y="393254"/>
                    <a:pt x="535011" y="406940"/>
                    <a:pt x="528069" y="420004"/>
                  </a:cubicBezTo>
                  <a:lnTo>
                    <a:pt x="554414" y="446310"/>
                  </a:lnTo>
                  <a:cubicBezTo>
                    <a:pt x="564294" y="456263"/>
                    <a:pt x="564294" y="472260"/>
                    <a:pt x="554414" y="482125"/>
                  </a:cubicBezTo>
                  <a:lnTo>
                    <a:pt x="482854" y="553577"/>
                  </a:lnTo>
                  <a:cubicBezTo>
                    <a:pt x="472974" y="563442"/>
                    <a:pt x="456953" y="563442"/>
                    <a:pt x="446985" y="553577"/>
                  </a:cubicBezTo>
                  <a:lnTo>
                    <a:pt x="420639" y="527271"/>
                  </a:lnTo>
                  <a:cubicBezTo>
                    <a:pt x="407555" y="534203"/>
                    <a:pt x="393849" y="539802"/>
                    <a:pt x="379786" y="544246"/>
                  </a:cubicBezTo>
                  <a:lnTo>
                    <a:pt x="379786" y="581394"/>
                  </a:lnTo>
                  <a:cubicBezTo>
                    <a:pt x="379786" y="595435"/>
                    <a:pt x="368393" y="606722"/>
                    <a:pt x="354419" y="606722"/>
                  </a:cubicBezTo>
                  <a:lnTo>
                    <a:pt x="253131" y="606722"/>
                  </a:lnTo>
                  <a:cubicBezTo>
                    <a:pt x="239157" y="606722"/>
                    <a:pt x="227854" y="595435"/>
                    <a:pt x="227854" y="581394"/>
                  </a:cubicBezTo>
                  <a:lnTo>
                    <a:pt x="227854" y="544246"/>
                  </a:lnTo>
                  <a:cubicBezTo>
                    <a:pt x="213791" y="539802"/>
                    <a:pt x="200084" y="534203"/>
                    <a:pt x="186911" y="527271"/>
                  </a:cubicBezTo>
                  <a:lnTo>
                    <a:pt x="160566" y="553577"/>
                  </a:lnTo>
                  <a:cubicBezTo>
                    <a:pt x="150686" y="563442"/>
                    <a:pt x="134665" y="563442"/>
                    <a:pt x="124786" y="553577"/>
                  </a:cubicBezTo>
                  <a:lnTo>
                    <a:pt x="53225" y="482125"/>
                  </a:lnTo>
                  <a:cubicBezTo>
                    <a:pt x="43257" y="472260"/>
                    <a:pt x="43257" y="456263"/>
                    <a:pt x="53225" y="446310"/>
                  </a:cubicBezTo>
                  <a:lnTo>
                    <a:pt x="79482" y="420004"/>
                  </a:lnTo>
                  <a:cubicBezTo>
                    <a:pt x="72629" y="406940"/>
                    <a:pt x="66932" y="393254"/>
                    <a:pt x="62482" y="379212"/>
                  </a:cubicBezTo>
                  <a:lnTo>
                    <a:pt x="25278" y="379212"/>
                  </a:lnTo>
                  <a:cubicBezTo>
                    <a:pt x="11304" y="379212"/>
                    <a:pt x="0" y="367926"/>
                    <a:pt x="0" y="353884"/>
                  </a:cubicBezTo>
                  <a:lnTo>
                    <a:pt x="0" y="252749"/>
                  </a:lnTo>
                  <a:cubicBezTo>
                    <a:pt x="0" y="238796"/>
                    <a:pt x="11304" y="227510"/>
                    <a:pt x="25278" y="227510"/>
                  </a:cubicBezTo>
                  <a:lnTo>
                    <a:pt x="62482" y="227510"/>
                  </a:lnTo>
                  <a:cubicBezTo>
                    <a:pt x="66932" y="213468"/>
                    <a:pt x="72629" y="199782"/>
                    <a:pt x="79482" y="186629"/>
                  </a:cubicBezTo>
                  <a:lnTo>
                    <a:pt x="53225" y="160323"/>
                  </a:lnTo>
                  <a:cubicBezTo>
                    <a:pt x="43257" y="150459"/>
                    <a:pt x="43257" y="134462"/>
                    <a:pt x="53225" y="124597"/>
                  </a:cubicBezTo>
                  <a:lnTo>
                    <a:pt x="124786" y="53145"/>
                  </a:lnTo>
                  <a:cubicBezTo>
                    <a:pt x="134665" y="43191"/>
                    <a:pt x="150686" y="43191"/>
                    <a:pt x="160566" y="53145"/>
                  </a:cubicBezTo>
                  <a:lnTo>
                    <a:pt x="186911" y="79451"/>
                  </a:lnTo>
                  <a:cubicBezTo>
                    <a:pt x="200084" y="72519"/>
                    <a:pt x="213791" y="66831"/>
                    <a:pt x="227854" y="62387"/>
                  </a:cubicBezTo>
                  <a:lnTo>
                    <a:pt x="227854" y="25239"/>
                  </a:lnTo>
                  <a:cubicBezTo>
                    <a:pt x="227854" y="11287"/>
                    <a:pt x="239157" y="0"/>
                    <a:pt x="253131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3" name="ïṧľíďê">
              <a:extLst>
                <a:ext uri="{FF2B5EF4-FFF2-40B4-BE49-F238E27FC236}">
                  <a16:creationId xmlns:a16="http://schemas.microsoft.com/office/drawing/2014/main" id="{83AC56C8-BB22-4DB6-8372-AA84DFFA3A81}"/>
                </a:ext>
              </a:extLst>
            </p:cNvPr>
            <p:cNvSpPr/>
            <p:nvPr/>
          </p:nvSpPr>
          <p:spPr bwMode="auto">
            <a:xfrm>
              <a:off x="2498293" y="4944202"/>
              <a:ext cx="377806" cy="377188"/>
            </a:xfrm>
            <a:custGeom>
              <a:avLst/>
              <a:gdLst>
                <a:gd name="connsiteX0" fmla="*/ 380418 w 604181"/>
                <a:gd name="connsiteY0" fmla="*/ 268007 h 603193"/>
                <a:gd name="connsiteX1" fmla="*/ 519220 w 604181"/>
                <a:gd name="connsiteY1" fmla="*/ 339187 h 603193"/>
                <a:gd name="connsiteX2" fmla="*/ 519220 w 604181"/>
                <a:gd name="connsiteY2" fmla="*/ 355820 h 603193"/>
                <a:gd name="connsiteX3" fmla="*/ 380418 w 604181"/>
                <a:gd name="connsiteY3" fmla="*/ 426850 h 603193"/>
                <a:gd name="connsiteX4" fmla="*/ 380418 w 604181"/>
                <a:gd name="connsiteY4" fmla="*/ 406320 h 603193"/>
                <a:gd name="connsiteX5" fmla="*/ 498212 w 604181"/>
                <a:gd name="connsiteY5" fmla="*/ 347728 h 603193"/>
                <a:gd name="connsiteX6" fmla="*/ 498212 w 604181"/>
                <a:gd name="connsiteY6" fmla="*/ 347129 h 603193"/>
                <a:gd name="connsiteX7" fmla="*/ 380418 w 604181"/>
                <a:gd name="connsiteY7" fmla="*/ 288687 h 603193"/>
                <a:gd name="connsiteX8" fmla="*/ 216565 w 604181"/>
                <a:gd name="connsiteY8" fmla="*/ 268007 h 603193"/>
                <a:gd name="connsiteX9" fmla="*/ 216565 w 604181"/>
                <a:gd name="connsiteY9" fmla="*/ 288687 h 603193"/>
                <a:gd name="connsiteX10" fmla="*/ 99664 w 604181"/>
                <a:gd name="connsiteY10" fmla="*/ 347129 h 603193"/>
                <a:gd name="connsiteX11" fmla="*/ 99664 w 604181"/>
                <a:gd name="connsiteY11" fmla="*/ 347728 h 603193"/>
                <a:gd name="connsiteX12" fmla="*/ 216565 w 604181"/>
                <a:gd name="connsiteY12" fmla="*/ 406320 h 603193"/>
                <a:gd name="connsiteX13" fmla="*/ 216565 w 604181"/>
                <a:gd name="connsiteY13" fmla="*/ 426850 h 603193"/>
                <a:gd name="connsiteX14" fmla="*/ 77904 w 604181"/>
                <a:gd name="connsiteY14" fmla="*/ 355521 h 603193"/>
                <a:gd name="connsiteX15" fmla="*/ 77904 w 604181"/>
                <a:gd name="connsiteY15" fmla="*/ 339486 h 603193"/>
                <a:gd name="connsiteX16" fmla="*/ 338273 w 604181"/>
                <a:gd name="connsiteY16" fmla="*/ 222493 h 603193"/>
                <a:gd name="connsiteX17" fmla="*/ 358684 w 604181"/>
                <a:gd name="connsiteY17" fmla="*/ 222493 h 603193"/>
                <a:gd name="connsiteX18" fmla="*/ 253179 w 604181"/>
                <a:gd name="connsiteY18" fmla="*/ 482103 h 603193"/>
                <a:gd name="connsiteX19" fmla="*/ 233219 w 604181"/>
                <a:gd name="connsiteY19" fmla="*/ 482103 h 603193"/>
                <a:gd name="connsiteX20" fmla="*/ 28813 w 604181"/>
                <a:gd name="connsiteY20" fmla="*/ 128849 h 603193"/>
                <a:gd name="connsiteX21" fmla="*/ 28813 w 604181"/>
                <a:gd name="connsiteY21" fmla="*/ 557497 h 603193"/>
                <a:gd name="connsiteX22" fmla="*/ 45921 w 604181"/>
                <a:gd name="connsiteY22" fmla="*/ 574427 h 603193"/>
                <a:gd name="connsiteX23" fmla="*/ 558410 w 604181"/>
                <a:gd name="connsiteY23" fmla="*/ 574427 h 603193"/>
                <a:gd name="connsiteX24" fmla="*/ 575368 w 604181"/>
                <a:gd name="connsiteY24" fmla="*/ 557497 h 603193"/>
                <a:gd name="connsiteX25" fmla="*/ 575368 w 604181"/>
                <a:gd name="connsiteY25" fmla="*/ 128849 h 603193"/>
                <a:gd name="connsiteX26" fmla="*/ 502734 w 604181"/>
                <a:gd name="connsiteY26" fmla="*/ 43149 h 603193"/>
                <a:gd name="connsiteX27" fmla="*/ 502734 w 604181"/>
                <a:gd name="connsiteY27" fmla="*/ 77309 h 603193"/>
                <a:gd name="connsiteX28" fmla="*/ 537100 w 604181"/>
                <a:gd name="connsiteY28" fmla="*/ 77309 h 603193"/>
                <a:gd name="connsiteX29" fmla="*/ 537100 w 604181"/>
                <a:gd name="connsiteY29" fmla="*/ 43149 h 603193"/>
                <a:gd name="connsiteX30" fmla="*/ 423197 w 604181"/>
                <a:gd name="connsiteY30" fmla="*/ 43149 h 603193"/>
                <a:gd name="connsiteX31" fmla="*/ 423197 w 604181"/>
                <a:gd name="connsiteY31" fmla="*/ 77309 h 603193"/>
                <a:gd name="connsiteX32" fmla="*/ 457563 w 604181"/>
                <a:gd name="connsiteY32" fmla="*/ 77309 h 603193"/>
                <a:gd name="connsiteX33" fmla="*/ 457563 w 604181"/>
                <a:gd name="connsiteY33" fmla="*/ 43149 h 603193"/>
                <a:gd name="connsiteX34" fmla="*/ 45921 w 604181"/>
                <a:gd name="connsiteY34" fmla="*/ 0 h 603193"/>
                <a:gd name="connsiteX35" fmla="*/ 558410 w 604181"/>
                <a:gd name="connsiteY35" fmla="*/ 0 h 603193"/>
                <a:gd name="connsiteX36" fmla="*/ 604181 w 604181"/>
                <a:gd name="connsiteY36" fmla="*/ 45846 h 603193"/>
                <a:gd name="connsiteX37" fmla="*/ 604181 w 604181"/>
                <a:gd name="connsiteY37" fmla="*/ 557497 h 603193"/>
                <a:gd name="connsiteX38" fmla="*/ 558410 w 604181"/>
                <a:gd name="connsiteY38" fmla="*/ 603193 h 603193"/>
                <a:gd name="connsiteX39" fmla="*/ 45921 w 604181"/>
                <a:gd name="connsiteY39" fmla="*/ 603193 h 603193"/>
                <a:gd name="connsiteX40" fmla="*/ 0 w 604181"/>
                <a:gd name="connsiteY40" fmla="*/ 557497 h 603193"/>
                <a:gd name="connsiteX41" fmla="*/ 0 w 604181"/>
                <a:gd name="connsiteY41" fmla="*/ 45846 h 603193"/>
                <a:gd name="connsiteX42" fmla="*/ 45921 w 604181"/>
                <a:gd name="connsiteY42" fmla="*/ 0 h 603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04181" h="603193">
                  <a:moveTo>
                    <a:pt x="380418" y="268007"/>
                  </a:moveTo>
                  <a:lnTo>
                    <a:pt x="519220" y="339187"/>
                  </a:lnTo>
                  <a:lnTo>
                    <a:pt x="519220" y="355820"/>
                  </a:lnTo>
                  <a:lnTo>
                    <a:pt x="380418" y="426850"/>
                  </a:lnTo>
                  <a:lnTo>
                    <a:pt x="380418" y="406320"/>
                  </a:lnTo>
                  <a:lnTo>
                    <a:pt x="498212" y="347728"/>
                  </a:lnTo>
                  <a:lnTo>
                    <a:pt x="498212" y="347129"/>
                  </a:lnTo>
                  <a:lnTo>
                    <a:pt x="380418" y="288687"/>
                  </a:lnTo>
                  <a:close/>
                  <a:moveTo>
                    <a:pt x="216565" y="268007"/>
                  </a:moveTo>
                  <a:lnTo>
                    <a:pt x="216565" y="288687"/>
                  </a:lnTo>
                  <a:lnTo>
                    <a:pt x="99664" y="347129"/>
                  </a:lnTo>
                  <a:lnTo>
                    <a:pt x="99664" y="347728"/>
                  </a:lnTo>
                  <a:lnTo>
                    <a:pt x="216565" y="406320"/>
                  </a:lnTo>
                  <a:lnTo>
                    <a:pt x="216565" y="426850"/>
                  </a:lnTo>
                  <a:lnTo>
                    <a:pt x="77904" y="355521"/>
                  </a:lnTo>
                  <a:lnTo>
                    <a:pt x="77904" y="339486"/>
                  </a:lnTo>
                  <a:close/>
                  <a:moveTo>
                    <a:pt x="338273" y="222493"/>
                  </a:moveTo>
                  <a:lnTo>
                    <a:pt x="358684" y="222493"/>
                  </a:lnTo>
                  <a:lnTo>
                    <a:pt x="253179" y="482103"/>
                  </a:lnTo>
                  <a:lnTo>
                    <a:pt x="233219" y="482103"/>
                  </a:lnTo>
                  <a:close/>
                  <a:moveTo>
                    <a:pt x="28813" y="128849"/>
                  </a:moveTo>
                  <a:lnTo>
                    <a:pt x="28813" y="557497"/>
                  </a:lnTo>
                  <a:cubicBezTo>
                    <a:pt x="28813" y="566786"/>
                    <a:pt x="36467" y="574427"/>
                    <a:pt x="45921" y="574427"/>
                  </a:cubicBezTo>
                  <a:lnTo>
                    <a:pt x="558410" y="574427"/>
                  </a:lnTo>
                  <a:cubicBezTo>
                    <a:pt x="567714" y="574427"/>
                    <a:pt x="575368" y="566786"/>
                    <a:pt x="575368" y="557497"/>
                  </a:cubicBezTo>
                  <a:lnTo>
                    <a:pt x="575368" y="128849"/>
                  </a:lnTo>
                  <a:close/>
                  <a:moveTo>
                    <a:pt x="502734" y="43149"/>
                  </a:moveTo>
                  <a:lnTo>
                    <a:pt x="502734" y="77309"/>
                  </a:lnTo>
                  <a:lnTo>
                    <a:pt x="537100" y="77309"/>
                  </a:lnTo>
                  <a:lnTo>
                    <a:pt x="537100" y="43149"/>
                  </a:lnTo>
                  <a:close/>
                  <a:moveTo>
                    <a:pt x="423197" y="43149"/>
                  </a:moveTo>
                  <a:lnTo>
                    <a:pt x="423197" y="77309"/>
                  </a:lnTo>
                  <a:lnTo>
                    <a:pt x="457563" y="77309"/>
                  </a:lnTo>
                  <a:lnTo>
                    <a:pt x="457563" y="43149"/>
                  </a:lnTo>
                  <a:close/>
                  <a:moveTo>
                    <a:pt x="45921" y="0"/>
                  </a:moveTo>
                  <a:lnTo>
                    <a:pt x="558410" y="0"/>
                  </a:lnTo>
                  <a:cubicBezTo>
                    <a:pt x="583621" y="0"/>
                    <a:pt x="604181" y="20526"/>
                    <a:pt x="604181" y="45846"/>
                  </a:cubicBezTo>
                  <a:lnTo>
                    <a:pt x="604181" y="557497"/>
                  </a:lnTo>
                  <a:cubicBezTo>
                    <a:pt x="604181" y="582667"/>
                    <a:pt x="583621" y="603193"/>
                    <a:pt x="558410" y="603193"/>
                  </a:cubicBezTo>
                  <a:lnTo>
                    <a:pt x="45921" y="603193"/>
                  </a:lnTo>
                  <a:cubicBezTo>
                    <a:pt x="20560" y="603193"/>
                    <a:pt x="0" y="582667"/>
                    <a:pt x="0" y="557497"/>
                  </a:cubicBezTo>
                  <a:lnTo>
                    <a:pt x="0" y="45846"/>
                  </a:lnTo>
                  <a:cubicBezTo>
                    <a:pt x="0" y="20526"/>
                    <a:pt x="20560" y="0"/>
                    <a:pt x="45921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4" name="îṣḻîḍé">
              <a:extLst>
                <a:ext uri="{FF2B5EF4-FFF2-40B4-BE49-F238E27FC236}">
                  <a16:creationId xmlns:a16="http://schemas.microsoft.com/office/drawing/2014/main" id="{716A4AAF-66FE-4462-901E-658C29D84AD8}"/>
                </a:ext>
              </a:extLst>
            </p:cNvPr>
            <p:cNvSpPr/>
            <p:nvPr/>
          </p:nvSpPr>
          <p:spPr bwMode="auto">
            <a:xfrm>
              <a:off x="1959174" y="5587283"/>
              <a:ext cx="377806" cy="377235"/>
            </a:xfrm>
            <a:custGeom>
              <a:avLst/>
              <a:gdLst>
                <a:gd name="T0" fmla="*/ 6624 w 7154"/>
                <a:gd name="T1" fmla="*/ 2037 h 7154"/>
                <a:gd name="T2" fmla="*/ 6106 w 7154"/>
                <a:gd name="T3" fmla="*/ 1048 h 7154"/>
                <a:gd name="T4" fmla="*/ 5117 w 7154"/>
                <a:gd name="T5" fmla="*/ 530 h 7154"/>
                <a:gd name="T6" fmla="*/ 4643 w 7154"/>
                <a:gd name="T7" fmla="*/ 334 h 7154"/>
                <a:gd name="T8" fmla="*/ 3577 w 7154"/>
                <a:gd name="T9" fmla="*/ 0 h 7154"/>
                <a:gd name="T10" fmla="*/ 2511 w 7154"/>
                <a:gd name="T11" fmla="*/ 334 h 7154"/>
                <a:gd name="T12" fmla="*/ 2037 w 7154"/>
                <a:gd name="T13" fmla="*/ 530 h 7154"/>
                <a:gd name="T14" fmla="*/ 1048 w 7154"/>
                <a:gd name="T15" fmla="*/ 1048 h 7154"/>
                <a:gd name="T16" fmla="*/ 530 w 7154"/>
                <a:gd name="T17" fmla="*/ 2037 h 7154"/>
                <a:gd name="T18" fmla="*/ 334 w 7154"/>
                <a:gd name="T19" fmla="*/ 2511 h 7154"/>
                <a:gd name="T20" fmla="*/ 0 w 7154"/>
                <a:gd name="T21" fmla="*/ 3577 h 7154"/>
                <a:gd name="T22" fmla="*/ 334 w 7154"/>
                <a:gd name="T23" fmla="*/ 4643 h 7154"/>
                <a:gd name="T24" fmla="*/ 530 w 7154"/>
                <a:gd name="T25" fmla="*/ 5117 h 7154"/>
                <a:gd name="T26" fmla="*/ 1048 w 7154"/>
                <a:gd name="T27" fmla="*/ 6106 h 7154"/>
                <a:gd name="T28" fmla="*/ 2037 w 7154"/>
                <a:gd name="T29" fmla="*/ 6624 h 7154"/>
                <a:gd name="T30" fmla="*/ 2511 w 7154"/>
                <a:gd name="T31" fmla="*/ 6820 h 7154"/>
                <a:gd name="T32" fmla="*/ 3577 w 7154"/>
                <a:gd name="T33" fmla="*/ 7154 h 7154"/>
                <a:gd name="T34" fmla="*/ 4643 w 7154"/>
                <a:gd name="T35" fmla="*/ 6820 h 7154"/>
                <a:gd name="T36" fmla="*/ 5117 w 7154"/>
                <a:gd name="T37" fmla="*/ 6624 h 7154"/>
                <a:gd name="T38" fmla="*/ 6106 w 7154"/>
                <a:gd name="T39" fmla="*/ 6106 h 7154"/>
                <a:gd name="T40" fmla="*/ 6624 w 7154"/>
                <a:gd name="T41" fmla="*/ 5117 h 7154"/>
                <a:gd name="T42" fmla="*/ 6820 w 7154"/>
                <a:gd name="T43" fmla="*/ 4643 h 7154"/>
                <a:gd name="T44" fmla="*/ 7154 w 7154"/>
                <a:gd name="T45" fmla="*/ 3577 h 7154"/>
                <a:gd name="T46" fmla="*/ 6820 w 7154"/>
                <a:gd name="T47" fmla="*/ 2511 h 7154"/>
                <a:gd name="T48" fmla="*/ 6624 w 7154"/>
                <a:gd name="T49" fmla="*/ 2037 h 7154"/>
                <a:gd name="T50" fmla="*/ 5857 w 7154"/>
                <a:gd name="T51" fmla="*/ 2406 h 7154"/>
                <a:gd name="T52" fmla="*/ 3286 w 7154"/>
                <a:gd name="T53" fmla="*/ 4976 h 7154"/>
                <a:gd name="T54" fmla="*/ 2875 w 7154"/>
                <a:gd name="T55" fmla="*/ 5387 h 7154"/>
                <a:gd name="T56" fmla="*/ 2464 w 7154"/>
                <a:gd name="T57" fmla="*/ 5387 h 7154"/>
                <a:gd name="T58" fmla="*/ 2053 w 7154"/>
                <a:gd name="T59" fmla="*/ 4976 h 7154"/>
                <a:gd name="T60" fmla="*/ 1297 w 7154"/>
                <a:gd name="T61" fmla="*/ 4221 h 7154"/>
                <a:gd name="T62" fmla="*/ 1297 w 7154"/>
                <a:gd name="T63" fmla="*/ 3809 h 7154"/>
                <a:gd name="T64" fmla="*/ 1708 w 7154"/>
                <a:gd name="T65" fmla="*/ 3398 h 7154"/>
                <a:gd name="T66" fmla="*/ 2120 w 7154"/>
                <a:gd name="T67" fmla="*/ 3398 h 7154"/>
                <a:gd name="T68" fmla="*/ 2669 w 7154"/>
                <a:gd name="T69" fmla="*/ 3948 h 7154"/>
                <a:gd name="T70" fmla="*/ 5034 w 7154"/>
                <a:gd name="T71" fmla="*/ 1583 h 7154"/>
                <a:gd name="T72" fmla="*/ 5445 w 7154"/>
                <a:gd name="T73" fmla="*/ 1583 h 7154"/>
                <a:gd name="T74" fmla="*/ 5857 w 7154"/>
                <a:gd name="T75" fmla="*/ 1994 h 7154"/>
                <a:gd name="T76" fmla="*/ 5857 w 7154"/>
                <a:gd name="T77" fmla="*/ 2406 h 7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154" h="7154">
                  <a:moveTo>
                    <a:pt x="6624" y="2037"/>
                  </a:moveTo>
                  <a:cubicBezTo>
                    <a:pt x="6580" y="1703"/>
                    <a:pt x="6403" y="1345"/>
                    <a:pt x="6106" y="1048"/>
                  </a:cubicBezTo>
                  <a:cubicBezTo>
                    <a:pt x="5809" y="751"/>
                    <a:pt x="5451" y="574"/>
                    <a:pt x="5117" y="530"/>
                  </a:cubicBezTo>
                  <a:cubicBezTo>
                    <a:pt x="4966" y="510"/>
                    <a:pt x="4764" y="427"/>
                    <a:pt x="4643" y="334"/>
                  </a:cubicBezTo>
                  <a:cubicBezTo>
                    <a:pt x="4375" y="128"/>
                    <a:pt x="3997" y="0"/>
                    <a:pt x="3577" y="0"/>
                  </a:cubicBezTo>
                  <a:cubicBezTo>
                    <a:pt x="3157" y="0"/>
                    <a:pt x="2779" y="128"/>
                    <a:pt x="2511" y="334"/>
                  </a:cubicBezTo>
                  <a:cubicBezTo>
                    <a:pt x="2390" y="427"/>
                    <a:pt x="2188" y="510"/>
                    <a:pt x="2037" y="530"/>
                  </a:cubicBezTo>
                  <a:cubicBezTo>
                    <a:pt x="1702" y="574"/>
                    <a:pt x="1345" y="751"/>
                    <a:pt x="1048" y="1048"/>
                  </a:cubicBezTo>
                  <a:cubicBezTo>
                    <a:pt x="751" y="1345"/>
                    <a:pt x="574" y="1703"/>
                    <a:pt x="530" y="2037"/>
                  </a:cubicBezTo>
                  <a:cubicBezTo>
                    <a:pt x="510" y="2188"/>
                    <a:pt x="427" y="2390"/>
                    <a:pt x="334" y="2511"/>
                  </a:cubicBezTo>
                  <a:cubicBezTo>
                    <a:pt x="128" y="2779"/>
                    <a:pt x="0" y="3157"/>
                    <a:pt x="0" y="3577"/>
                  </a:cubicBezTo>
                  <a:cubicBezTo>
                    <a:pt x="0" y="3997"/>
                    <a:pt x="128" y="4375"/>
                    <a:pt x="334" y="4643"/>
                  </a:cubicBezTo>
                  <a:cubicBezTo>
                    <a:pt x="427" y="4764"/>
                    <a:pt x="510" y="4966"/>
                    <a:pt x="530" y="5117"/>
                  </a:cubicBezTo>
                  <a:cubicBezTo>
                    <a:pt x="574" y="5451"/>
                    <a:pt x="751" y="5809"/>
                    <a:pt x="1048" y="6106"/>
                  </a:cubicBezTo>
                  <a:cubicBezTo>
                    <a:pt x="1345" y="6403"/>
                    <a:pt x="1702" y="6580"/>
                    <a:pt x="2037" y="6624"/>
                  </a:cubicBezTo>
                  <a:cubicBezTo>
                    <a:pt x="2188" y="6644"/>
                    <a:pt x="2390" y="6727"/>
                    <a:pt x="2511" y="6820"/>
                  </a:cubicBezTo>
                  <a:cubicBezTo>
                    <a:pt x="2779" y="7025"/>
                    <a:pt x="3157" y="7154"/>
                    <a:pt x="3577" y="7154"/>
                  </a:cubicBezTo>
                  <a:cubicBezTo>
                    <a:pt x="3997" y="7154"/>
                    <a:pt x="4375" y="7025"/>
                    <a:pt x="4643" y="6820"/>
                  </a:cubicBezTo>
                  <a:cubicBezTo>
                    <a:pt x="4764" y="6727"/>
                    <a:pt x="4966" y="6644"/>
                    <a:pt x="5117" y="6624"/>
                  </a:cubicBezTo>
                  <a:cubicBezTo>
                    <a:pt x="5451" y="6580"/>
                    <a:pt x="5809" y="6403"/>
                    <a:pt x="6106" y="6106"/>
                  </a:cubicBezTo>
                  <a:cubicBezTo>
                    <a:pt x="6403" y="5809"/>
                    <a:pt x="6580" y="5451"/>
                    <a:pt x="6624" y="5117"/>
                  </a:cubicBezTo>
                  <a:cubicBezTo>
                    <a:pt x="6644" y="4966"/>
                    <a:pt x="6727" y="4764"/>
                    <a:pt x="6820" y="4643"/>
                  </a:cubicBezTo>
                  <a:cubicBezTo>
                    <a:pt x="7026" y="4375"/>
                    <a:pt x="7154" y="3997"/>
                    <a:pt x="7154" y="3577"/>
                  </a:cubicBezTo>
                  <a:cubicBezTo>
                    <a:pt x="7154" y="3157"/>
                    <a:pt x="7026" y="2779"/>
                    <a:pt x="6820" y="2511"/>
                  </a:cubicBezTo>
                  <a:cubicBezTo>
                    <a:pt x="6727" y="2390"/>
                    <a:pt x="6644" y="2188"/>
                    <a:pt x="6624" y="2037"/>
                  </a:cubicBezTo>
                  <a:close/>
                  <a:moveTo>
                    <a:pt x="5857" y="2406"/>
                  </a:moveTo>
                  <a:lnTo>
                    <a:pt x="3286" y="4976"/>
                  </a:lnTo>
                  <a:lnTo>
                    <a:pt x="2875" y="5387"/>
                  </a:lnTo>
                  <a:cubicBezTo>
                    <a:pt x="2762" y="5501"/>
                    <a:pt x="2577" y="5501"/>
                    <a:pt x="2464" y="5387"/>
                  </a:cubicBezTo>
                  <a:lnTo>
                    <a:pt x="2053" y="4976"/>
                  </a:lnTo>
                  <a:lnTo>
                    <a:pt x="1297" y="4221"/>
                  </a:lnTo>
                  <a:cubicBezTo>
                    <a:pt x="1183" y="4107"/>
                    <a:pt x="1183" y="3923"/>
                    <a:pt x="1297" y="3809"/>
                  </a:cubicBezTo>
                  <a:lnTo>
                    <a:pt x="1708" y="3398"/>
                  </a:lnTo>
                  <a:cubicBezTo>
                    <a:pt x="1822" y="3285"/>
                    <a:pt x="2006" y="3285"/>
                    <a:pt x="2120" y="3398"/>
                  </a:cubicBezTo>
                  <a:lnTo>
                    <a:pt x="2669" y="3948"/>
                  </a:lnTo>
                  <a:lnTo>
                    <a:pt x="5034" y="1583"/>
                  </a:lnTo>
                  <a:cubicBezTo>
                    <a:pt x="5148" y="1470"/>
                    <a:pt x="5332" y="1470"/>
                    <a:pt x="5445" y="1583"/>
                  </a:cubicBezTo>
                  <a:lnTo>
                    <a:pt x="5857" y="1994"/>
                  </a:lnTo>
                  <a:cubicBezTo>
                    <a:pt x="5970" y="2108"/>
                    <a:pt x="5970" y="2292"/>
                    <a:pt x="5857" y="2406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5" name="iṧḷiḑé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743264" y="4276135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按分布模式进行配置</a:t>
              </a:r>
              <a:endParaRPr lang="en-US" altLang="zh-CN" sz="1100" dirty="0"/>
            </a:p>
          </p:txBody>
        </p:sp>
        <p:sp>
          <p:nvSpPr>
            <p:cNvPr id="216" name="îṧḻiḑe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197100" y="4926511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>
                  <a:solidFill>
                    <a:schemeClr val="bg1"/>
                  </a:solidFill>
                </a:rPr>
                <a:t>运行第一个实例</a:t>
              </a: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17" name="îṣľïd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2651098" y="5576887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开心</a:t>
              </a:r>
              <a:r>
                <a:rPr lang="en-US" altLang="zh-CN" sz="1100" dirty="0" err="1"/>
                <a:t>ing</a:t>
              </a:r>
              <a:r>
                <a:rPr lang="en-US" altLang="zh-CN" sz="1100" dirty="0"/>
                <a:t>~</a:t>
              </a:r>
            </a:p>
          </p:txBody>
        </p:sp>
        <p:sp>
          <p:nvSpPr>
            <p:cNvPr id="218" name="íṧ1îd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289201" y="3625759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 解压</a:t>
              </a:r>
              <a:endParaRPr lang="en-US" altLang="zh-CN" sz="1100" dirty="0"/>
            </a:p>
          </p:txBody>
        </p:sp>
        <p:sp>
          <p:nvSpPr>
            <p:cNvPr id="219" name="îs1ïḋ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842020" y="2975382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配置环境变量 使之生效</a:t>
              </a:r>
              <a:endParaRPr lang="en-US" altLang="zh-CN" sz="1100" dirty="0"/>
            </a:p>
          </p:txBody>
        </p:sp>
        <p:sp>
          <p:nvSpPr>
            <p:cNvPr id="220" name="íšliḓ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5387990" y="2325006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</a:t>
              </a:r>
              <a:r>
                <a:rPr lang="en-US" altLang="zh-CN" sz="1100" dirty="0"/>
                <a:t> </a:t>
              </a:r>
              <a:r>
                <a:rPr lang="zh-CN" altLang="en-US" sz="1100" dirty="0"/>
                <a:t>解压</a:t>
              </a:r>
              <a:endParaRPr lang="en-US" altLang="zh-CN" sz="1100" dirty="0"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653777F-C200-4DD9-896D-DFE3FC5A0E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794" y="132609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4097" name="Picture 1" descr="L:\Water\Documents\Tencent Files\1106367305\Image\C2C\S_~PNJLRA$(`BM~E~CRVP@6.jpg">
            <a:extLst>
              <a:ext uri="{FF2B5EF4-FFF2-40B4-BE49-F238E27FC236}">
                <a16:creationId xmlns:a16="http://schemas.microsoft.com/office/drawing/2014/main" id="{870A9B0F-80D3-4BB8-9E6D-5163109C031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2"/>
          <a:stretch>
            <a:fillRect/>
          </a:stretch>
        </p:blipFill>
        <p:spPr bwMode="auto">
          <a:xfrm>
            <a:off x="1092994" y="1284288"/>
            <a:ext cx="6958012" cy="4695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104D7166-3B85-4412-9659-285206FA2824}"/>
              </a:ext>
            </a:extLst>
          </p:cNvPr>
          <p:cNvSpPr/>
          <p:nvPr/>
        </p:nvSpPr>
        <p:spPr>
          <a:xfrm>
            <a:off x="1092994" y="3076577"/>
            <a:ext cx="6958012" cy="2903536"/>
          </a:xfrm>
          <a:prstGeom prst="rect">
            <a:avLst/>
          </a:prstGeom>
          <a:solidFill>
            <a:srgbClr val="2D0A2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CB3EE618-32F8-4966-A35B-D1376D9131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045762" y="14732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3AE81623-7CD6-49D9-AB93-2743959343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7C9400A1-127B-443B-9890-1A43D9C469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825442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250">
        <p159:morph option="byObject"/>
      </p:transition>
    </mc:Choice>
    <mc:Fallback xmlns="">
      <p:transition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执行几个看看？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7</a:t>
            </a:fld>
            <a:endParaRPr lang="zh-CN" altLang="en-US"/>
          </a:p>
        </p:txBody>
      </p:sp>
      <p:grpSp>
        <p:nvGrpSpPr>
          <p:cNvPr id="194" name="180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4D56F3B-0686-4E9E-A675-DA7BF2C9F6C2}"/>
              </a:ext>
            </a:extLst>
          </p:cNvPr>
          <p:cNvGrpSpPr>
            <a:grpSpLocks noChangeAspect="1"/>
          </p:cNvGrpSpPr>
          <p:nvPr/>
        </p:nvGrpSpPr>
        <p:grpSpPr>
          <a:xfrm>
            <a:off x="1875381" y="-2460624"/>
            <a:ext cx="5393238" cy="2212975"/>
            <a:chOff x="938530" y="1805421"/>
            <a:chExt cx="10580370" cy="4341379"/>
          </a:xfrm>
        </p:grpSpPr>
        <p:sp>
          <p:nvSpPr>
            <p:cNvPr id="195" name="iṧḻîďè">
              <a:extLst>
                <a:ext uri="{FF2B5EF4-FFF2-40B4-BE49-F238E27FC236}">
                  <a16:creationId xmlns:a16="http://schemas.microsoft.com/office/drawing/2014/main" id="{6FC8272D-4563-47EB-B741-E738A21C2623}"/>
                </a:ext>
              </a:extLst>
            </p:cNvPr>
            <p:cNvSpPr/>
            <p:nvPr/>
          </p:nvSpPr>
          <p:spPr bwMode="auto">
            <a:xfrm>
              <a:off x="5637082" y="5226400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搞定！</a:t>
              </a:r>
              <a:endParaRPr lang="en-US" altLang="zh-CN" b="1" dirty="0"/>
            </a:p>
          </p:txBody>
        </p:sp>
        <p:sp>
          <p:nvSpPr>
            <p:cNvPr id="196" name="îŝḻiḋé">
              <a:extLst>
                <a:ext uri="{FF2B5EF4-FFF2-40B4-BE49-F238E27FC236}">
                  <a16:creationId xmlns:a16="http://schemas.microsoft.com/office/drawing/2014/main" id="{C05C75D7-4258-49B9-958F-F2EEF0B840E0}"/>
                </a:ext>
              </a:extLst>
            </p:cNvPr>
            <p:cNvSpPr/>
            <p:nvPr/>
          </p:nvSpPr>
          <p:spPr bwMode="auto">
            <a:xfrm>
              <a:off x="6176201" y="4576024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>
                  <a:solidFill>
                    <a:schemeClr val="bg1"/>
                  </a:solidFill>
                </a:rPr>
                <a:t>测试</a:t>
              </a:r>
              <a:endParaRPr lang="en-US" altLang="zh-CN" sz="1750" b="1" dirty="0">
                <a:solidFill>
                  <a:schemeClr val="bg1"/>
                </a:solidFill>
              </a:endParaRPr>
            </a:p>
          </p:txBody>
        </p:sp>
        <p:sp>
          <p:nvSpPr>
            <p:cNvPr id="197" name="íṥḷíďê">
              <a:extLst>
                <a:ext uri="{FF2B5EF4-FFF2-40B4-BE49-F238E27FC236}">
                  <a16:creationId xmlns:a16="http://schemas.microsoft.com/office/drawing/2014/main" id="{D4FCC7AE-5767-4EC4-BB68-B94457D3AE6D}"/>
                </a:ext>
              </a:extLst>
            </p:cNvPr>
            <p:cNvSpPr/>
            <p:nvPr/>
          </p:nvSpPr>
          <p:spPr bwMode="auto">
            <a:xfrm>
              <a:off x="6703850" y="3925648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/>
                <a:t>配置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8" name="ïś1ïḓè">
              <a:extLst>
                <a:ext uri="{FF2B5EF4-FFF2-40B4-BE49-F238E27FC236}">
                  <a16:creationId xmlns:a16="http://schemas.microsoft.com/office/drawing/2014/main" id="{F32E844B-E27C-4A92-9B60-95E4AD88D81F}"/>
                </a:ext>
              </a:extLst>
            </p:cNvPr>
            <p:cNvSpPr/>
            <p:nvPr/>
          </p:nvSpPr>
          <p:spPr bwMode="auto">
            <a:xfrm>
              <a:off x="7241823" y="3275272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 dirty="0"/>
                <a:t>安装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9" name="îśļïḍè">
              <a:extLst>
                <a:ext uri="{FF2B5EF4-FFF2-40B4-BE49-F238E27FC236}">
                  <a16:creationId xmlns:a16="http://schemas.microsoft.com/office/drawing/2014/main" id="{F812BB55-77DE-4E23-95E6-156A22FAD363}"/>
                </a:ext>
              </a:extLst>
            </p:cNvPr>
            <p:cNvSpPr/>
            <p:nvPr/>
          </p:nvSpPr>
          <p:spPr bwMode="auto">
            <a:xfrm>
              <a:off x="7743555" y="2624895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配置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0" name="ï$1íḍé">
              <a:extLst>
                <a:ext uri="{FF2B5EF4-FFF2-40B4-BE49-F238E27FC236}">
                  <a16:creationId xmlns:a16="http://schemas.microsoft.com/office/drawing/2014/main" id="{48245F16-84E7-4201-9485-85B5E5B15ECD}"/>
                </a:ext>
              </a:extLst>
            </p:cNvPr>
            <p:cNvSpPr/>
            <p:nvPr/>
          </p:nvSpPr>
          <p:spPr bwMode="auto">
            <a:xfrm>
              <a:off x="8263856" y="1974519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安装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1" name="îṥľïďê">
              <a:extLst>
                <a:ext uri="{FF2B5EF4-FFF2-40B4-BE49-F238E27FC236}">
                  <a16:creationId xmlns:a16="http://schemas.microsoft.com/office/drawing/2014/main" id="{920DFBAA-02E5-4206-86B0-FE10F93A7509}"/>
                </a:ext>
              </a:extLst>
            </p:cNvPr>
            <p:cNvSpPr/>
            <p:nvPr/>
          </p:nvSpPr>
          <p:spPr bwMode="auto">
            <a:xfrm>
              <a:off x="5220497" y="3438015"/>
              <a:ext cx="3741918" cy="1239562"/>
            </a:xfrm>
            <a:custGeom>
              <a:avLst/>
              <a:gdLst>
                <a:gd name="T0" fmla="*/ 179 w 203"/>
                <a:gd name="T1" fmla="*/ 82 h 82"/>
                <a:gd name="T2" fmla="*/ 203 w 203"/>
                <a:gd name="T3" fmla="*/ 29 h 82"/>
                <a:gd name="T4" fmla="*/ 65 w 203"/>
                <a:gd name="T5" fmla="*/ 27 h 82"/>
                <a:gd name="T6" fmla="*/ 59 w 203"/>
                <a:gd name="T7" fmla="*/ 0 h 82"/>
                <a:gd name="T8" fmla="*/ 59 w 203"/>
                <a:gd name="T9" fmla="*/ 0 h 82"/>
                <a:gd name="T10" fmla="*/ 0 w 203"/>
                <a:gd name="T11" fmla="*/ 80 h 82"/>
                <a:gd name="T12" fmla="*/ 61 w 203"/>
                <a:gd name="T13" fmla="*/ 82 h 82"/>
                <a:gd name="T14" fmla="*/ 179 w 203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82">
                  <a:moveTo>
                    <a:pt x="179" y="82"/>
                  </a:moveTo>
                  <a:lnTo>
                    <a:pt x="203" y="29"/>
                  </a:lnTo>
                  <a:lnTo>
                    <a:pt x="65" y="27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0" y="80"/>
                  </a:lnTo>
                  <a:lnTo>
                    <a:pt x="61" y="82"/>
                  </a:lnTo>
                  <a:lnTo>
                    <a:pt x="179" y="8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2" name="i$ḻíḋè">
              <a:extLst>
                <a:ext uri="{FF2B5EF4-FFF2-40B4-BE49-F238E27FC236}">
                  <a16:creationId xmlns:a16="http://schemas.microsoft.com/office/drawing/2014/main" id="{430BE7EB-B6F0-4F05-80EA-1F517165029F}"/>
                </a:ext>
              </a:extLst>
            </p:cNvPr>
            <p:cNvSpPr/>
            <p:nvPr/>
          </p:nvSpPr>
          <p:spPr bwMode="auto">
            <a:xfrm>
              <a:off x="8032938" y="1974519"/>
              <a:ext cx="1398307" cy="247664"/>
            </a:xfrm>
            <a:prstGeom prst="triangle">
              <a:avLst>
                <a:gd name="adj" fmla="val 14726"/>
              </a:avLst>
            </a:pr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3" name="işľiḋe">
              <a:extLst>
                <a:ext uri="{FF2B5EF4-FFF2-40B4-BE49-F238E27FC236}">
                  <a16:creationId xmlns:a16="http://schemas.microsoft.com/office/drawing/2014/main" id="{E4DECB97-43D1-4D26-8C48-41447675AE79}"/>
                </a:ext>
              </a:extLst>
            </p:cNvPr>
            <p:cNvSpPr/>
            <p:nvPr/>
          </p:nvSpPr>
          <p:spPr bwMode="auto">
            <a:xfrm>
              <a:off x="3675422" y="1805421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4" name="iś1íďé">
              <a:extLst>
                <a:ext uri="{FF2B5EF4-FFF2-40B4-BE49-F238E27FC236}">
                  <a16:creationId xmlns:a16="http://schemas.microsoft.com/office/drawing/2014/main" id="{6E7EA96A-F20A-4912-AC31-63A0F19E66DE}"/>
                </a:ext>
              </a:extLst>
            </p:cNvPr>
            <p:cNvSpPr/>
            <p:nvPr/>
          </p:nvSpPr>
          <p:spPr bwMode="auto">
            <a:xfrm>
              <a:off x="3129452" y="2455797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5" name="ïŝlíḋe">
              <a:extLst>
                <a:ext uri="{FF2B5EF4-FFF2-40B4-BE49-F238E27FC236}">
                  <a16:creationId xmlns:a16="http://schemas.microsoft.com/office/drawing/2014/main" id="{66D30D6F-26C9-4C2C-BC01-900AC07DC57E}"/>
                </a:ext>
              </a:extLst>
            </p:cNvPr>
            <p:cNvSpPr/>
            <p:nvPr/>
          </p:nvSpPr>
          <p:spPr bwMode="auto">
            <a:xfrm>
              <a:off x="2576633" y="3106174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6" name="îSliďè">
              <a:extLst>
                <a:ext uri="{FF2B5EF4-FFF2-40B4-BE49-F238E27FC236}">
                  <a16:creationId xmlns:a16="http://schemas.microsoft.com/office/drawing/2014/main" id="{2F6D5554-EACD-4DDD-892F-2E5F97A9C421}"/>
                </a:ext>
              </a:extLst>
            </p:cNvPr>
            <p:cNvSpPr/>
            <p:nvPr/>
          </p:nvSpPr>
          <p:spPr bwMode="auto">
            <a:xfrm>
              <a:off x="2030696" y="3756550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7" name="îSliďé">
              <a:extLst>
                <a:ext uri="{FF2B5EF4-FFF2-40B4-BE49-F238E27FC236}">
                  <a16:creationId xmlns:a16="http://schemas.microsoft.com/office/drawing/2014/main" id="{2E278F3F-C8D8-4E2A-A3EA-29ADCF1A02AA}"/>
                </a:ext>
              </a:extLst>
            </p:cNvPr>
            <p:cNvSpPr/>
            <p:nvPr/>
          </p:nvSpPr>
          <p:spPr bwMode="auto">
            <a:xfrm>
              <a:off x="1484532" y="4406926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8" name="îs1iďé">
              <a:extLst>
                <a:ext uri="{FF2B5EF4-FFF2-40B4-BE49-F238E27FC236}">
                  <a16:creationId xmlns:a16="http://schemas.microsoft.com/office/drawing/2014/main" id="{EB74D0C2-5677-4F3F-A043-44D01A3F3D48}"/>
                </a:ext>
              </a:extLst>
            </p:cNvPr>
            <p:cNvSpPr/>
            <p:nvPr/>
          </p:nvSpPr>
          <p:spPr bwMode="auto">
            <a:xfrm>
              <a:off x="938530" y="5057302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9" name="ïṣḻïḋe">
              <a:extLst>
                <a:ext uri="{FF2B5EF4-FFF2-40B4-BE49-F238E27FC236}">
                  <a16:creationId xmlns:a16="http://schemas.microsoft.com/office/drawing/2014/main" id="{7709F84E-C33F-462F-B538-51CB71C9284E}"/>
                </a:ext>
              </a:extLst>
            </p:cNvPr>
            <p:cNvSpPr/>
            <p:nvPr/>
          </p:nvSpPr>
          <p:spPr bwMode="auto">
            <a:xfrm>
              <a:off x="4585947" y="2371737"/>
              <a:ext cx="377807" cy="377281"/>
            </a:xfrm>
            <a:custGeom>
              <a:avLst/>
              <a:gdLst>
                <a:gd name="T0" fmla="*/ 400 w 11264"/>
                <a:gd name="T1" fmla="*/ 7099 h 11264"/>
                <a:gd name="T2" fmla="*/ 4165 w 11264"/>
                <a:gd name="T3" fmla="*/ 7099 h 11264"/>
                <a:gd name="T4" fmla="*/ 4165 w 11264"/>
                <a:gd name="T5" fmla="*/ 10864 h 11264"/>
                <a:gd name="T6" fmla="*/ 4565 w 11264"/>
                <a:gd name="T7" fmla="*/ 11264 h 11264"/>
                <a:gd name="T8" fmla="*/ 6699 w 11264"/>
                <a:gd name="T9" fmla="*/ 11264 h 11264"/>
                <a:gd name="T10" fmla="*/ 7099 w 11264"/>
                <a:gd name="T11" fmla="*/ 10864 h 11264"/>
                <a:gd name="T12" fmla="*/ 7099 w 11264"/>
                <a:gd name="T13" fmla="*/ 7099 h 11264"/>
                <a:gd name="T14" fmla="*/ 10864 w 11264"/>
                <a:gd name="T15" fmla="*/ 7099 h 11264"/>
                <a:gd name="T16" fmla="*/ 11264 w 11264"/>
                <a:gd name="T17" fmla="*/ 6699 h 11264"/>
                <a:gd name="T18" fmla="*/ 11264 w 11264"/>
                <a:gd name="T19" fmla="*/ 4565 h 11264"/>
                <a:gd name="T20" fmla="*/ 10864 w 11264"/>
                <a:gd name="T21" fmla="*/ 4165 h 11264"/>
                <a:gd name="T22" fmla="*/ 7099 w 11264"/>
                <a:gd name="T23" fmla="*/ 4165 h 11264"/>
                <a:gd name="T24" fmla="*/ 7099 w 11264"/>
                <a:gd name="T25" fmla="*/ 400 h 11264"/>
                <a:gd name="T26" fmla="*/ 6699 w 11264"/>
                <a:gd name="T27" fmla="*/ 0 h 11264"/>
                <a:gd name="T28" fmla="*/ 4565 w 11264"/>
                <a:gd name="T29" fmla="*/ 0 h 11264"/>
                <a:gd name="T30" fmla="*/ 4165 w 11264"/>
                <a:gd name="T31" fmla="*/ 400 h 11264"/>
                <a:gd name="T32" fmla="*/ 4165 w 11264"/>
                <a:gd name="T33" fmla="*/ 4165 h 11264"/>
                <a:gd name="T34" fmla="*/ 400 w 11264"/>
                <a:gd name="T35" fmla="*/ 4165 h 11264"/>
                <a:gd name="T36" fmla="*/ 0 w 11264"/>
                <a:gd name="T37" fmla="*/ 4565 h 11264"/>
                <a:gd name="T38" fmla="*/ 0 w 11264"/>
                <a:gd name="T39" fmla="*/ 6699 h 11264"/>
                <a:gd name="T40" fmla="*/ 400 w 11264"/>
                <a:gd name="T41" fmla="*/ 7099 h 1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64" h="11264">
                  <a:moveTo>
                    <a:pt x="400" y="7099"/>
                  </a:moveTo>
                  <a:lnTo>
                    <a:pt x="4165" y="7099"/>
                  </a:lnTo>
                  <a:lnTo>
                    <a:pt x="4165" y="10864"/>
                  </a:lnTo>
                  <a:cubicBezTo>
                    <a:pt x="4165" y="11085"/>
                    <a:pt x="4344" y="11264"/>
                    <a:pt x="4565" y="11264"/>
                  </a:cubicBezTo>
                  <a:lnTo>
                    <a:pt x="6699" y="11264"/>
                  </a:lnTo>
                  <a:cubicBezTo>
                    <a:pt x="6920" y="11264"/>
                    <a:pt x="7099" y="11085"/>
                    <a:pt x="7099" y="10864"/>
                  </a:cubicBezTo>
                  <a:lnTo>
                    <a:pt x="7099" y="7099"/>
                  </a:lnTo>
                  <a:lnTo>
                    <a:pt x="10864" y="7099"/>
                  </a:lnTo>
                  <a:cubicBezTo>
                    <a:pt x="11085" y="7099"/>
                    <a:pt x="11264" y="6920"/>
                    <a:pt x="11264" y="6699"/>
                  </a:cubicBezTo>
                  <a:lnTo>
                    <a:pt x="11264" y="4565"/>
                  </a:lnTo>
                  <a:cubicBezTo>
                    <a:pt x="11264" y="4344"/>
                    <a:pt x="11085" y="4165"/>
                    <a:pt x="10864" y="4165"/>
                  </a:cubicBezTo>
                  <a:lnTo>
                    <a:pt x="7099" y="4165"/>
                  </a:lnTo>
                  <a:lnTo>
                    <a:pt x="7099" y="400"/>
                  </a:lnTo>
                  <a:cubicBezTo>
                    <a:pt x="7099" y="179"/>
                    <a:pt x="6920" y="0"/>
                    <a:pt x="6699" y="0"/>
                  </a:cubicBezTo>
                  <a:lnTo>
                    <a:pt x="4565" y="0"/>
                  </a:lnTo>
                  <a:cubicBezTo>
                    <a:pt x="4344" y="0"/>
                    <a:pt x="4165" y="179"/>
                    <a:pt x="4165" y="400"/>
                  </a:cubicBezTo>
                  <a:lnTo>
                    <a:pt x="4165" y="4165"/>
                  </a:lnTo>
                  <a:lnTo>
                    <a:pt x="400" y="4165"/>
                  </a:lnTo>
                  <a:cubicBezTo>
                    <a:pt x="179" y="4165"/>
                    <a:pt x="0" y="4344"/>
                    <a:pt x="0" y="4565"/>
                  </a:cubicBezTo>
                  <a:lnTo>
                    <a:pt x="0" y="6699"/>
                  </a:lnTo>
                  <a:cubicBezTo>
                    <a:pt x="0" y="6920"/>
                    <a:pt x="179" y="7099"/>
                    <a:pt x="400" y="709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0" name="îsḷïde">
              <a:extLst>
                <a:ext uri="{FF2B5EF4-FFF2-40B4-BE49-F238E27FC236}">
                  <a16:creationId xmlns:a16="http://schemas.microsoft.com/office/drawing/2014/main" id="{F7027C89-1BCC-4A00-9535-016DE4C49FD7}"/>
                </a:ext>
              </a:extLst>
            </p:cNvPr>
            <p:cNvSpPr/>
            <p:nvPr/>
          </p:nvSpPr>
          <p:spPr bwMode="auto">
            <a:xfrm>
              <a:off x="4069565" y="3014578"/>
              <a:ext cx="369969" cy="377806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  <a:gd name="connsiteX107" fmla="*/ 373273 h 605239"/>
                <a:gd name="connsiteY107" fmla="*/ 373273 h 605239"/>
                <a:gd name="connsiteX108" fmla="*/ 373273 h 605239"/>
                <a:gd name="connsiteY108" fmla="*/ 373273 h 605239"/>
                <a:gd name="connsiteX109" fmla="*/ 373273 h 605239"/>
                <a:gd name="connsiteY109" fmla="*/ 373273 h 605239"/>
                <a:gd name="connsiteX110" fmla="*/ 373273 h 605239"/>
                <a:gd name="connsiteY110" fmla="*/ 373273 h 605239"/>
                <a:gd name="connsiteX111" fmla="*/ 373273 h 605239"/>
                <a:gd name="connsiteY111" fmla="*/ 373273 h 605239"/>
                <a:gd name="connsiteX112" fmla="*/ 373273 h 605239"/>
                <a:gd name="connsiteY112" fmla="*/ 373273 h 605239"/>
                <a:gd name="connsiteX113" fmla="*/ 373273 h 605239"/>
                <a:gd name="connsiteY113" fmla="*/ 373273 h 605239"/>
                <a:gd name="connsiteX114" fmla="*/ 373273 h 605239"/>
                <a:gd name="connsiteY114" fmla="*/ 373273 h 605239"/>
                <a:gd name="connsiteX115" fmla="*/ 373273 h 605239"/>
                <a:gd name="connsiteY115" fmla="*/ 373273 h 605239"/>
                <a:gd name="connsiteX116" fmla="*/ 373273 h 605239"/>
                <a:gd name="connsiteY116" fmla="*/ 373273 h 605239"/>
                <a:gd name="connsiteX117" fmla="*/ 373273 h 605239"/>
                <a:gd name="connsiteY117" fmla="*/ 373273 h 605239"/>
                <a:gd name="connsiteX118" fmla="*/ 373273 h 605239"/>
                <a:gd name="connsiteY118" fmla="*/ 373273 h 605239"/>
                <a:gd name="connsiteX119" fmla="*/ 373273 h 605239"/>
                <a:gd name="connsiteY119" fmla="*/ 373273 h 605239"/>
                <a:gd name="connsiteX120" fmla="*/ 373273 h 605239"/>
                <a:gd name="connsiteY120" fmla="*/ 373273 h 605239"/>
                <a:gd name="connsiteX121" fmla="*/ 373273 h 605239"/>
                <a:gd name="connsiteY121" fmla="*/ 373273 h 605239"/>
                <a:gd name="connsiteX122" fmla="*/ 373273 h 605239"/>
                <a:gd name="connsiteY122" fmla="*/ 373273 h 605239"/>
                <a:gd name="connsiteX123" fmla="*/ 373273 h 605239"/>
                <a:gd name="connsiteY123" fmla="*/ 373273 h 605239"/>
                <a:gd name="connsiteX124" fmla="*/ 373273 h 605239"/>
                <a:gd name="connsiteY124" fmla="*/ 373273 h 605239"/>
                <a:gd name="connsiteX125" fmla="*/ 373273 h 605239"/>
                <a:gd name="connsiteY125" fmla="*/ 373273 h 605239"/>
                <a:gd name="connsiteX126" fmla="*/ 373273 h 605239"/>
                <a:gd name="connsiteY126" fmla="*/ 373273 h 605239"/>
                <a:gd name="connsiteX127" fmla="*/ 373273 h 605239"/>
                <a:gd name="connsiteY127" fmla="*/ 373273 h 605239"/>
                <a:gd name="connsiteX128" fmla="*/ 373273 h 605239"/>
                <a:gd name="connsiteY128" fmla="*/ 373273 h 605239"/>
                <a:gd name="connsiteX129" fmla="*/ 373273 h 605239"/>
                <a:gd name="connsiteY12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593733" h="606309">
                  <a:moveTo>
                    <a:pt x="353250" y="302855"/>
                  </a:moveTo>
                  <a:cubicBezTo>
                    <a:pt x="318468" y="302855"/>
                    <a:pt x="290232" y="331146"/>
                    <a:pt x="290232" y="365879"/>
                  </a:cubicBezTo>
                  <a:cubicBezTo>
                    <a:pt x="290232" y="374189"/>
                    <a:pt x="296964" y="380912"/>
                    <a:pt x="305285" y="380912"/>
                  </a:cubicBezTo>
                  <a:cubicBezTo>
                    <a:pt x="313607" y="380912"/>
                    <a:pt x="320338" y="374189"/>
                    <a:pt x="320338" y="365879"/>
                  </a:cubicBezTo>
                  <a:cubicBezTo>
                    <a:pt x="320338" y="347672"/>
                    <a:pt x="335111" y="333014"/>
                    <a:pt x="353250" y="333014"/>
                  </a:cubicBezTo>
                  <a:cubicBezTo>
                    <a:pt x="361665" y="333014"/>
                    <a:pt x="368397" y="326291"/>
                    <a:pt x="368397" y="317888"/>
                  </a:cubicBezTo>
                  <a:cubicBezTo>
                    <a:pt x="368397" y="309578"/>
                    <a:pt x="361665" y="302855"/>
                    <a:pt x="353250" y="302855"/>
                  </a:cubicBezTo>
                  <a:close/>
                  <a:moveTo>
                    <a:pt x="353250" y="265041"/>
                  </a:moveTo>
                  <a:cubicBezTo>
                    <a:pt x="409163" y="265041"/>
                    <a:pt x="454229" y="310232"/>
                    <a:pt x="454229" y="365879"/>
                  </a:cubicBezTo>
                  <a:cubicBezTo>
                    <a:pt x="454229" y="421527"/>
                    <a:pt x="408976" y="466717"/>
                    <a:pt x="353250" y="466717"/>
                  </a:cubicBezTo>
                  <a:cubicBezTo>
                    <a:pt x="297525" y="466717"/>
                    <a:pt x="252271" y="421527"/>
                    <a:pt x="252271" y="365879"/>
                  </a:cubicBezTo>
                  <a:cubicBezTo>
                    <a:pt x="252271" y="310232"/>
                    <a:pt x="297431" y="265041"/>
                    <a:pt x="353250" y="265041"/>
                  </a:cubicBezTo>
                  <a:close/>
                  <a:moveTo>
                    <a:pt x="427779" y="133781"/>
                  </a:moveTo>
                  <a:cubicBezTo>
                    <a:pt x="432818" y="131960"/>
                    <a:pt x="438547" y="132054"/>
                    <a:pt x="443784" y="134482"/>
                  </a:cubicBezTo>
                  <a:lnTo>
                    <a:pt x="473245" y="148209"/>
                  </a:lnTo>
                  <a:cubicBezTo>
                    <a:pt x="483720" y="153158"/>
                    <a:pt x="488209" y="165671"/>
                    <a:pt x="483346" y="176130"/>
                  </a:cubicBezTo>
                  <a:lnTo>
                    <a:pt x="470252" y="203957"/>
                  </a:lnTo>
                  <a:cubicBezTo>
                    <a:pt x="492231" y="219646"/>
                    <a:pt x="511123" y="240003"/>
                    <a:pt x="525526" y="264095"/>
                  </a:cubicBezTo>
                  <a:lnTo>
                    <a:pt x="554426" y="253636"/>
                  </a:lnTo>
                  <a:cubicBezTo>
                    <a:pt x="565368" y="249714"/>
                    <a:pt x="577340" y="255411"/>
                    <a:pt x="581361" y="266243"/>
                  </a:cubicBezTo>
                  <a:lnTo>
                    <a:pt x="592491" y="296592"/>
                  </a:lnTo>
                  <a:cubicBezTo>
                    <a:pt x="596419" y="307612"/>
                    <a:pt x="590714" y="319564"/>
                    <a:pt x="579865" y="323486"/>
                  </a:cubicBezTo>
                  <a:lnTo>
                    <a:pt x="550965" y="333945"/>
                  </a:lnTo>
                  <a:cubicBezTo>
                    <a:pt x="555455" y="361586"/>
                    <a:pt x="553958" y="389414"/>
                    <a:pt x="547224" y="415561"/>
                  </a:cubicBezTo>
                  <a:lnTo>
                    <a:pt x="575095" y="428634"/>
                  </a:lnTo>
                  <a:cubicBezTo>
                    <a:pt x="585570" y="433490"/>
                    <a:pt x="590059" y="445910"/>
                    <a:pt x="585102" y="456649"/>
                  </a:cubicBezTo>
                  <a:lnTo>
                    <a:pt x="571354" y="485970"/>
                  </a:lnTo>
                  <a:cubicBezTo>
                    <a:pt x="566397" y="496429"/>
                    <a:pt x="553958" y="500911"/>
                    <a:pt x="543483" y="496056"/>
                  </a:cubicBezTo>
                  <a:lnTo>
                    <a:pt x="515238" y="482982"/>
                  </a:lnTo>
                  <a:cubicBezTo>
                    <a:pt x="499526" y="504833"/>
                    <a:pt x="479137" y="523510"/>
                    <a:pt x="455007" y="537704"/>
                  </a:cubicBezTo>
                  <a:lnTo>
                    <a:pt x="465763" y="567026"/>
                  </a:lnTo>
                  <a:cubicBezTo>
                    <a:pt x="469784" y="578045"/>
                    <a:pt x="463986" y="589997"/>
                    <a:pt x="453137" y="593919"/>
                  </a:cubicBezTo>
                  <a:lnTo>
                    <a:pt x="422741" y="605032"/>
                  </a:lnTo>
                  <a:cubicBezTo>
                    <a:pt x="411798" y="609047"/>
                    <a:pt x="399827" y="603258"/>
                    <a:pt x="395805" y="592425"/>
                  </a:cubicBezTo>
                  <a:lnTo>
                    <a:pt x="385050" y="562823"/>
                  </a:lnTo>
                  <a:cubicBezTo>
                    <a:pt x="357646" y="567212"/>
                    <a:pt x="330056" y="565718"/>
                    <a:pt x="304149" y="558995"/>
                  </a:cubicBezTo>
                  <a:lnTo>
                    <a:pt x="290682" y="587756"/>
                  </a:lnTo>
                  <a:cubicBezTo>
                    <a:pt x="285725" y="598215"/>
                    <a:pt x="273192" y="602697"/>
                    <a:pt x="262717" y="597841"/>
                  </a:cubicBezTo>
                  <a:lnTo>
                    <a:pt x="233350" y="584114"/>
                  </a:lnTo>
                  <a:cubicBezTo>
                    <a:pt x="222875" y="579165"/>
                    <a:pt x="218385" y="566652"/>
                    <a:pt x="223249" y="556193"/>
                  </a:cubicBezTo>
                  <a:lnTo>
                    <a:pt x="236810" y="527338"/>
                  </a:lnTo>
                  <a:cubicBezTo>
                    <a:pt x="215112" y="511650"/>
                    <a:pt x="196407" y="491480"/>
                    <a:pt x="182284" y="467668"/>
                  </a:cubicBezTo>
                  <a:lnTo>
                    <a:pt x="152169" y="478687"/>
                  </a:lnTo>
                  <a:cubicBezTo>
                    <a:pt x="141133" y="482609"/>
                    <a:pt x="129161" y="476912"/>
                    <a:pt x="125233" y="466080"/>
                  </a:cubicBezTo>
                  <a:lnTo>
                    <a:pt x="114104" y="435731"/>
                  </a:lnTo>
                  <a:cubicBezTo>
                    <a:pt x="110082" y="424712"/>
                    <a:pt x="115881" y="412759"/>
                    <a:pt x="126730" y="408837"/>
                  </a:cubicBezTo>
                  <a:lnTo>
                    <a:pt x="156845" y="397818"/>
                  </a:lnTo>
                  <a:cubicBezTo>
                    <a:pt x="153852" y="379422"/>
                    <a:pt x="153478" y="361026"/>
                    <a:pt x="155629" y="342910"/>
                  </a:cubicBezTo>
                  <a:lnTo>
                    <a:pt x="158622" y="343097"/>
                  </a:lnTo>
                  <a:cubicBezTo>
                    <a:pt x="181162" y="344030"/>
                    <a:pt x="200522" y="327408"/>
                    <a:pt x="203141" y="305370"/>
                  </a:cubicBezTo>
                  <a:cubicBezTo>
                    <a:pt x="207723" y="303876"/>
                    <a:pt x="212119" y="302195"/>
                    <a:pt x="216515" y="300515"/>
                  </a:cubicBezTo>
                  <a:cubicBezTo>
                    <a:pt x="220349" y="304063"/>
                    <a:pt x="224745" y="306958"/>
                    <a:pt x="229609" y="308919"/>
                  </a:cubicBezTo>
                  <a:cubicBezTo>
                    <a:pt x="219227" y="330957"/>
                    <a:pt x="214831" y="355983"/>
                    <a:pt x="217824" y="381943"/>
                  </a:cubicBezTo>
                  <a:cubicBezTo>
                    <a:pt x="226709" y="456462"/>
                    <a:pt x="294329" y="509876"/>
                    <a:pt x="368963" y="501192"/>
                  </a:cubicBezTo>
                  <a:cubicBezTo>
                    <a:pt x="443691" y="492320"/>
                    <a:pt x="497188" y="424899"/>
                    <a:pt x="488490" y="350287"/>
                  </a:cubicBezTo>
                  <a:cubicBezTo>
                    <a:pt x="479605" y="275675"/>
                    <a:pt x="411985" y="222260"/>
                    <a:pt x="337351" y="231038"/>
                  </a:cubicBezTo>
                  <a:cubicBezTo>
                    <a:pt x="324632" y="232532"/>
                    <a:pt x="312473" y="235707"/>
                    <a:pt x="301156" y="240376"/>
                  </a:cubicBezTo>
                  <a:cubicBezTo>
                    <a:pt x="299660" y="236268"/>
                    <a:pt x="297509" y="232345"/>
                    <a:pt x="294797" y="228890"/>
                  </a:cubicBezTo>
                  <a:cubicBezTo>
                    <a:pt x="297041" y="224688"/>
                    <a:pt x="299005" y="220393"/>
                    <a:pt x="300782" y="216097"/>
                  </a:cubicBezTo>
                  <a:cubicBezTo>
                    <a:pt x="311164" y="215817"/>
                    <a:pt x="320891" y="211802"/>
                    <a:pt x="328466" y="204891"/>
                  </a:cubicBezTo>
                  <a:cubicBezTo>
                    <a:pt x="336977" y="197141"/>
                    <a:pt x="341934" y="186589"/>
                    <a:pt x="342402" y="175103"/>
                  </a:cubicBezTo>
                  <a:lnTo>
                    <a:pt x="342776" y="166978"/>
                  </a:lnTo>
                  <a:cubicBezTo>
                    <a:pt x="363164" y="165764"/>
                    <a:pt x="383460" y="167912"/>
                    <a:pt x="402820" y="172768"/>
                  </a:cubicBezTo>
                  <a:lnTo>
                    <a:pt x="415913" y="144567"/>
                  </a:lnTo>
                  <a:cubicBezTo>
                    <a:pt x="418392" y="139338"/>
                    <a:pt x="422741" y="135602"/>
                    <a:pt x="427779" y="133781"/>
                  </a:cubicBezTo>
                  <a:close/>
                  <a:moveTo>
                    <a:pt x="159906" y="88589"/>
                  </a:moveTo>
                  <a:cubicBezTo>
                    <a:pt x="142487" y="87818"/>
                    <a:pt x="124764" y="93678"/>
                    <a:pt x="110828" y="106378"/>
                  </a:cubicBezTo>
                  <a:cubicBezTo>
                    <a:pt x="96145" y="119731"/>
                    <a:pt x="88663" y="138127"/>
                    <a:pt x="88663" y="156523"/>
                  </a:cubicBezTo>
                  <a:cubicBezTo>
                    <a:pt x="88663" y="172958"/>
                    <a:pt x="94555" y="189393"/>
                    <a:pt x="106526" y="202467"/>
                  </a:cubicBezTo>
                  <a:cubicBezTo>
                    <a:pt x="131965" y="230294"/>
                    <a:pt x="175081" y="232162"/>
                    <a:pt x="202764" y="206762"/>
                  </a:cubicBezTo>
                  <a:cubicBezTo>
                    <a:pt x="217448" y="193409"/>
                    <a:pt x="224930" y="175013"/>
                    <a:pt x="224930" y="156523"/>
                  </a:cubicBezTo>
                  <a:cubicBezTo>
                    <a:pt x="224930" y="140088"/>
                    <a:pt x="219132" y="123653"/>
                    <a:pt x="207160" y="110580"/>
                  </a:cubicBezTo>
                  <a:cubicBezTo>
                    <a:pt x="194441" y="96760"/>
                    <a:pt x="177325" y="89359"/>
                    <a:pt x="159906" y="88589"/>
                  </a:cubicBezTo>
                  <a:close/>
                  <a:moveTo>
                    <a:pt x="153289" y="17"/>
                  </a:moveTo>
                  <a:lnTo>
                    <a:pt x="173678" y="951"/>
                  </a:lnTo>
                  <a:cubicBezTo>
                    <a:pt x="180786" y="1325"/>
                    <a:pt x="186304" y="7114"/>
                    <a:pt x="186304" y="14118"/>
                  </a:cubicBezTo>
                  <a:lnTo>
                    <a:pt x="186304" y="14771"/>
                  </a:lnTo>
                  <a:lnTo>
                    <a:pt x="185462" y="34755"/>
                  </a:lnTo>
                  <a:cubicBezTo>
                    <a:pt x="201923" y="38677"/>
                    <a:pt x="217729" y="45774"/>
                    <a:pt x="231851" y="56232"/>
                  </a:cubicBezTo>
                  <a:lnTo>
                    <a:pt x="246535" y="42786"/>
                  </a:lnTo>
                  <a:cubicBezTo>
                    <a:pt x="251866" y="37930"/>
                    <a:pt x="260283" y="38303"/>
                    <a:pt x="265240" y="43626"/>
                  </a:cubicBezTo>
                  <a:lnTo>
                    <a:pt x="279082" y="58660"/>
                  </a:lnTo>
                  <a:cubicBezTo>
                    <a:pt x="281420" y="61275"/>
                    <a:pt x="282542" y="64450"/>
                    <a:pt x="282542" y="67625"/>
                  </a:cubicBezTo>
                  <a:cubicBezTo>
                    <a:pt x="282542" y="71173"/>
                    <a:pt x="281233" y="74722"/>
                    <a:pt x="278334" y="77337"/>
                  </a:cubicBezTo>
                  <a:lnTo>
                    <a:pt x="263744" y="90690"/>
                  </a:lnTo>
                  <a:cubicBezTo>
                    <a:pt x="273096" y="105537"/>
                    <a:pt x="278988" y="121973"/>
                    <a:pt x="281420" y="138781"/>
                  </a:cubicBezTo>
                  <a:lnTo>
                    <a:pt x="301061" y="139621"/>
                  </a:lnTo>
                  <a:cubicBezTo>
                    <a:pt x="308169" y="139995"/>
                    <a:pt x="313593" y="145878"/>
                    <a:pt x="313593" y="152788"/>
                  </a:cubicBezTo>
                  <a:lnTo>
                    <a:pt x="313593" y="153442"/>
                  </a:lnTo>
                  <a:lnTo>
                    <a:pt x="312751" y="173892"/>
                  </a:lnTo>
                  <a:cubicBezTo>
                    <a:pt x="312377" y="181083"/>
                    <a:pt x="306298" y="186779"/>
                    <a:pt x="298910" y="186405"/>
                  </a:cubicBezTo>
                  <a:lnTo>
                    <a:pt x="279456" y="185565"/>
                  </a:lnTo>
                  <a:cubicBezTo>
                    <a:pt x="275622" y="202093"/>
                    <a:pt x="268327" y="218061"/>
                    <a:pt x="257758" y="232162"/>
                  </a:cubicBezTo>
                  <a:lnTo>
                    <a:pt x="270852" y="246449"/>
                  </a:lnTo>
                  <a:cubicBezTo>
                    <a:pt x="273190" y="249064"/>
                    <a:pt x="274312" y="252145"/>
                    <a:pt x="274312" y="255414"/>
                  </a:cubicBezTo>
                  <a:cubicBezTo>
                    <a:pt x="274312" y="258869"/>
                    <a:pt x="273003" y="262511"/>
                    <a:pt x="270104" y="265126"/>
                  </a:cubicBezTo>
                  <a:lnTo>
                    <a:pt x="255046" y="278946"/>
                  </a:lnTo>
                  <a:cubicBezTo>
                    <a:pt x="249621" y="283802"/>
                    <a:pt x="241297" y="283428"/>
                    <a:pt x="236340" y="278106"/>
                  </a:cubicBezTo>
                  <a:lnTo>
                    <a:pt x="223247" y="263724"/>
                  </a:lnTo>
                  <a:cubicBezTo>
                    <a:pt x="208282" y="272970"/>
                    <a:pt x="191635" y="278853"/>
                    <a:pt x="174800" y="281187"/>
                  </a:cubicBezTo>
                  <a:lnTo>
                    <a:pt x="173958" y="300610"/>
                  </a:lnTo>
                  <a:cubicBezTo>
                    <a:pt x="173584" y="307801"/>
                    <a:pt x="167505" y="313590"/>
                    <a:pt x="160117" y="313217"/>
                  </a:cubicBezTo>
                  <a:lnTo>
                    <a:pt x="139634" y="312283"/>
                  </a:lnTo>
                  <a:cubicBezTo>
                    <a:pt x="132526" y="311909"/>
                    <a:pt x="127102" y="306120"/>
                    <a:pt x="127102" y="299116"/>
                  </a:cubicBezTo>
                  <a:lnTo>
                    <a:pt x="127102" y="298463"/>
                  </a:lnTo>
                  <a:lnTo>
                    <a:pt x="128037" y="279039"/>
                  </a:lnTo>
                  <a:cubicBezTo>
                    <a:pt x="111577" y="275211"/>
                    <a:pt x="95771" y="267834"/>
                    <a:pt x="81648" y="257281"/>
                  </a:cubicBezTo>
                  <a:lnTo>
                    <a:pt x="67058" y="270635"/>
                  </a:lnTo>
                  <a:cubicBezTo>
                    <a:pt x="61727" y="275491"/>
                    <a:pt x="53403" y="275117"/>
                    <a:pt x="48353" y="269701"/>
                  </a:cubicBezTo>
                  <a:lnTo>
                    <a:pt x="34511" y="254667"/>
                  </a:lnTo>
                  <a:cubicBezTo>
                    <a:pt x="32173" y="252052"/>
                    <a:pt x="31051" y="248970"/>
                    <a:pt x="31051" y="245702"/>
                  </a:cubicBezTo>
                  <a:cubicBezTo>
                    <a:pt x="31051" y="242247"/>
                    <a:pt x="32453" y="238605"/>
                    <a:pt x="35259" y="235990"/>
                  </a:cubicBezTo>
                  <a:lnTo>
                    <a:pt x="50036" y="222544"/>
                  </a:lnTo>
                  <a:cubicBezTo>
                    <a:pt x="40777" y="207696"/>
                    <a:pt x="35072" y="191261"/>
                    <a:pt x="32640" y="174639"/>
                  </a:cubicBezTo>
                  <a:lnTo>
                    <a:pt x="12626" y="173705"/>
                  </a:lnTo>
                  <a:cubicBezTo>
                    <a:pt x="5518" y="173332"/>
                    <a:pt x="0" y="167542"/>
                    <a:pt x="0" y="160539"/>
                  </a:cubicBezTo>
                  <a:lnTo>
                    <a:pt x="0" y="159885"/>
                  </a:lnTo>
                  <a:lnTo>
                    <a:pt x="842" y="139621"/>
                  </a:lnTo>
                  <a:cubicBezTo>
                    <a:pt x="1216" y="132431"/>
                    <a:pt x="7388" y="126642"/>
                    <a:pt x="14683" y="127015"/>
                  </a:cubicBezTo>
                  <a:lnTo>
                    <a:pt x="34885" y="127949"/>
                  </a:lnTo>
                  <a:cubicBezTo>
                    <a:pt x="38813" y="111514"/>
                    <a:pt x="46015" y="95826"/>
                    <a:pt x="56490" y="81819"/>
                  </a:cubicBezTo>
                  <a:lnTo>
                    <a:pt x="42741" y="66878"/>
                  </a:lnTo>
                  <a:cubicBezTo>
                    <a:pt x="40403" y="64263"/>
                    <a:pt x="39281" y="61182"/>
                    <a:pt x="39281" y="57913"/>
                  </a:cubicBezTo>
                  <a:cubicBezTo>
                    <a:pt x="39281" y="54458"/>
                    <a:pt x="40684" y="50816"/>
                    <a:pt x="43490" y="48202"/>
                  </a:cubicBezTo>
                  <a:lnTo>
                    <a:pt x="58641" y="34381"/>
                  </a:lnTo>
                  <a:cubicBezTo>
                    <a:pt x="63972" y="29526"/>
                    <a:pt x="72296" y="29899"/>
                    <a:pt x="77346" y="35315"/>
                  </a:cubicBezTo>
                  <a:lnTo>
                    <a:pt x="90627" y="50256"/>
                  </a:lnTo>
                  <a:cubicBezTo>
                    <a:pt x="105591" y="41011"/>
                    <a:pt x="121864" y="35128"/>
                    <a:pt x="138512" y="32794"/>
                  </a:cubicBezTo>
                  <a:lnTo>
                    <a:pt x="139447" y="12624"/>
                  </a:lnTo>
                  <a:cubicBezTo>
                    <a:pt x="139821" y="5433"/>
                    <a:pt x="145901" y="-356"/>
                    <a:pt x="153289" y="17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1" name="îṣḻïḓè">
              <a:extLst>
                <a:ext uri="{FF2B5EF4-FFF2-40B4-BE49-F238E27FC236}">
                  <a16:creationId xmlns:a16="http://schemas.microsoft.com/office/drawing/2014/main" id="{30C8A656-A69C-4844-9B4C-38593487F7D6}"/>
                </a:ext>
              </a:extLst>
            </p:cNvPr>
            <p:cNvSpPr/>
            <p:nvPr/>
          </p:nvSpPr>
          <p:spPr bwMode="auto">
            <a:xfrm>
              <a:off x="3563916" y="3658051"/>
              <a:ext cx="377806" cy="377072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81741" h="580612">
                  <a:moveTo>
                    <a:pt x="291612" y="187916"/>
                  </a:moveTo>
                  <a:cubicBezTo>
                    <a:pt x="304876" y="187916"/>
                    <a:pt x="315648" y="198758"/>
                    <a:pt x="315648" y="212088"/>
                  </a:cubicBezTo>
                  <a:lnTo>
                    <a:pt x="315648" y="491836"/>
                  </a:lnTo>
                  <a:lnTo>
                    <a:pt x="331227" y="473974"/>
                  </a:lnTo>
                  <a:cubicBezTo>
                    <a:pt x="339863" y="463932"/>
                    <a:pt x="355086" y="462866"/>
                    <a:pt x="365145" y="471574"/>
                  </a:cubicBezTo>
                  <a:cubicBezTo>
                    <a:pt x="375116" y="480372"/>
                    <a:pt x="376184" y="495657"/>
                    <a:pt x="367460" y="505699"/>
                  </a:cubicBezTo>
                  <a:lnTo>
                    <a:pt x="309773" y="572348"/>
                  </a:lnTo>
                  <a:cubicBezTo>
                    <a:pt x="305143" y="577502"/>
                    <a:pt x="298556" y="580612"/>
                    <a:pt x="291612" y="580612"/>
                  </a:cubicBezTo>
                  <a:cubicBezTo>
                    <a:pt x="284579" y="580612"/>
                    <a:pt x="278080" y="577680"/>
                    <a:pt x="273451" y="572348"/>
                  </a:cubicBezTo>
                  <a:lnTo>
                    <a:pt x="215764" y="505699"/>
                  </a:lnTo>
                  <a:cubicBezTo>
                    <a:pt x="207039" y="495657"/>
                    <a:pt x="208108" y="480372"/>
                    <a:pt x="218078" y="471574"/>
                  </a:cubicBezTo>
                  <a:cubicBezTo>
                    <a:pt x="228049" y="462866"/>
                    <a:pt x="243272" y="463932"/>
                    <a:pt x="252085" y="473974"/>
                  </a:cubicBezTo>
                  <a:lnTo>
                    <a:pt x="267486" y="491747"/>
                  </a:lnTo>
                  <a:lnTo>
                    <a:pt x="267486" y="212088"/>
                  </a:lnTo>
                  <a:cubicBezTo>
                    <a:pt x="267486" y="198758"/>
                    <a:pt x="278258" y="187916"/>
                    <a:pt x="291612" y="187916"/>
                  </a:cubicBezTo>
                  <a:close/>
                  <a:moveTo>
                    <a:pt x="329499" y="0"/>
                  </a:moveTo>
                  <a:cubicBezTo>
                    <a:pt x="426248" y="0"/>
                    <a:pt x="465322" y="80426"/>
                    <a:pt x="473332" y="108153"/>
                  </a:cubicBezTo>
                  <a:cubicBezTo>
                    <a:pt x="535280" y="120684"/>
                    <a:pt x="581474" y="175693"/>
                    <a:pt x="581741" y="241190"/>
                  </a:cubicBezTo>
                  <a:cubicBezTo>
                    <a:pt x="581741" y="315840"/>
                    <a:pt x="521306" y="376537"/>
                    <a:pt x="446987" y="376537"/>
                  </a:cubicBezTo>
                  <a:lnTo>
                    <a:pt x="372756" y="376537"/>
                  </a:lnTo>
                  <a:cubicBezTo>
                    <a:pt x="359316" y="376537"/>
                    <a:pt x="348546" y="365606"/>
                    <a:pt x="348546" y="352276"/>
                  </a:cubicBezTo>
                  <a:cubicBezTo>
                    <a:pt x="348546" y="338857"/>
                    <a:pt x="359316" y="327926"/>
                    <a:pt x="372756" y="327926"/>
                  </a:cubicBezTo>
                  <a:lnTo>
                    <a:pt x="446987" y="327926"/>
                  </a:lnTo>
                  <a:cubicBezTo>
                    <a:pt x="494605" y="327926"/>
                    <a:pt x="533322" y="289090"/>
                    <a:pt x="533322" y="241190"/>
                  </a:cubicBezTo>
                  <a:cubicBezTo>
                    <a:pt x="533322" y="195334"/>
                    <a:pt x="497720" y="157298"/>
                    <a:pt x="452238" y="154632"/>
                  </a:cubicBezTo>
                  <a:cubicBezTo>
                    <a:pt x="440934" y="153921"/>
                    <a:pt x="431589" y="145478"/>
                    <a:pt x="429809" y="134192"/>
                  </a:cubicBezTo>
                  <a:cubicBezTo>
                    <a:pt x="421709" y="84692"/>
                    <a:pt x="379609" y="48789"/>
                    <a:pt x="329677" y="48789"/>
                  </a:cubicBezTo>
                  <a:cubicBezTo>
                    <a:pt x="279567" y="48789"/>
                    <a:pt x="238001" y="84781"/>
                    <a:pt x="229457" y="134192"/>
                  </a:cubicBezTo>
                  <a:cubicBezTo>
                    <a:pt x="226520" y="151521"/>
                    <a:pt x="212190" y="162807"/>
                    <a:pt x="192964" y="151077"/>
                  </a:cubicBezTo>
                  <a:cubicBezTo>
                    <a:pt x="178011" y="141834"/>
                    <a:pt x="160922" y="136947"/>
                    <a:pt x="143299" y="136947"/>
                  </a:cubicBezTo>
                  <a:cubicBezTo>
                    <a:pt x="90964" y="136947"/>
                    <a:pt x="48419" y="179693"/>
                    <a:pt x="48419" y="232303"/>
                  </a:cubicBezTo>
                  <a:cubicBezTo>
                    <a:pt x="48419" y="284913"/>
                    <a:pt x="90964" y="327748"/>
                    <a:pt x="143299" y="327748"/>
                  </a:cubicBezTo>
                  <a:lnTo>
                    <a:pt x="218776" y="327748"/>
                  </a:lnTo>
                  <a:cubicBezTo>
                    <a:pt x="232216" y="327748"/>
                    <a:pt x="242986" y="338590"/>
                    <a:pt x="242986" y="352009"/>
                  </a:cubicBezTo>
                  <a:cubicBezTo>
                    <a:pt x="242986" y="365429"/>
                    <a:pt x="232216" y="376271"/>
                    <a:pt x="218776" y="376271"/>
                  </a:cubicBezTo>
                  <a:lnTo>
                    <a:pt x="143299" y="376271"/>
                  </a:lnTo>
                  <a:cubicBezTo>
                    <a:pt x="64262" y="376271"/>
                    <a:pt x="0" y="311574"/>
                    <a:pt x="0" y="232214"/>
                  </a:cubicBezTo>
                  <a:cubicBezTo>
                    <a:pt x="0" y="152854"/>
                    <a:pt x="64262" y="88158"/>
                    <a:pt x="143210" y="88158"/>
                  </a:cubicBezTo>
                  <a:cubicBezTo>
                    <a:pt x="159231" y="88158"/>
                    <a:pt x="174896" y="90735"/>
                    <a:pt x="189849" y="95978"/>
                  </a:cubicBezTo>
                  <a:cubicBezTo>
                    <a:pt x="198749" y="73050"/>
                    <a:pt x="238891" y="0"/>
                    <a:pt x="32949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2" name="iş1iḑe">
              <a:extLst>
                <a:ext uri="{FF2B5EF4-FFF2-40B4-BE49-F238E27FC236}">
                  <a16:creationId xmlns:a16="http://schemas.microsoft.com/office/drawing/2014/main" id="{79D5FAF9-096B-4C61-A299-6A26A276E128}"/>
                </a:ext>
              </a:extLst>
            </p:cNvPr>
            <p:cNvSpPr/>
            <p:nvPr/>
          </p:nvSpPr>
          <p:spPr bwMode="auto">
            <a:xfrm>
              <a:off x="3025037" y="4301073"/>
              <a:ext cx="377806" cy="377236"/>
            </a:xfrm>
            <a:custGeom>
              <a:avLst/>
              <a:gdLst>
                <a:gd name="connsiteX0" fmla="*/ 303820 w 607639"/>
                <a:gd name="connsiteY0" fmla="*/ 278099 h 606722"/>
                <a:gd name="connsiteX1" fmla="*/ 329118 w 607639"/>
                <a:gd name="connsiteY1" fmla="*/ 303362 h 606722"/>
                <a:gd name="connsiteX2" fmla="*/ 303820 w 607639"/>
                <a:gd name="connsiteY2" fmla="*/ 328625 h 606722"/>
                <a:gd name="connsiteX3" fmla="*/ 278522 w 607639"/>
                <a:gd name="connsiteY3" fmla="*/ 303362 h 606722"/>
                <a:gd name="connsiteX4" fmla="*/ 303820 w 607639"/>
                <a:gd name="connsiteY4" fmla="*/ 278099 h 606722"/>
                <a:gd name="connsiteX5" fmla="*/ 303775 w 607639"/>
                <a:gd name="connsiteY5" fmla="*/ 252735 h 606722"/>
                <a:gd name="connsiteX6" fmla="*/ 253140 w 607639"/>
                <a:gd name="connsiteY6" fmla="*/ 303317 h 606722"/>
                <a:gd name="connsiteX7" fmla="*/ 303775 w 607639"/>
                <a:gd name="connsiteY7" fmla="*/ 353900 h 606722"/>
                <a:gd name="connsiteX8" fmla="*/ 354410 w 607639"/>
                <a:gd name="connsiteY8" fmla="*/ 303317 h 606722"/>
                <a:gd name="connsiteX9" fmla="*/ 303775 w 607639"/>
                <a:gd name="connsiteY9" fmla="*/ 252735 h 606722"/>
                <a:gd name="connsiteX10" fmla="*/ 303775 w 607639"/>
                <a:gd name="connsiteY10" fmla="*/ 202241 h 606722"/>
                <a:gd name="connsiteX11" fmla="*/ 405045 w 607639"/>
                <a:gd name="connsiteY11" fmla="*/ 303317 h 606722"/>
                <a:gd name="connsiteX12" fmla="*/ 303775 w 607639"/>
                <a:gd name="connsiteY12" fmla="*/ 404482 h 606722"/>
                <a:gd name="connsiteX13" fmla="*/ 202593 w 607639"/>
                <a:gd name="connsiteY13" fmla="*/ 303317 h 606722"/>
                <a:gd name="connsiteX14" fmla="*/ 303775 w 607639"/>
                <a:gd name="connsiteY14" fmla="*/ 202241 h 606722"/>
                <a:gd name="connsiteX15" fmla="*/ 303775 w 607639"/>
                <a:gd name="connsiteY15" fmla="*/ 151703 h 606722"/>
                <a:gd name="connsiteX16" fmla="*/ 151932 w 607639"/>
                <a:gd name="connsiteY16" fmla="*/ 303317 h 606722"/>
                <a:gd name="connsiteX17" fmla="*/ 303775 w 607639"/>
                <a:gd name="connsiteY17" fmla="*/ 455019 h 606722"/>
                <a:gd name="connsiteX18" fmla="*/ 455707 w 607639"/>
                <a:gd name="connsiteY18" fmla="*/ 303317 h 606722"/>
                <a:gd name="connsiteX19" fmla="*/ 303775 w 607639"/>
                <a:gd name="connsiteY19" fmla="*/ 151703 h 606722"/>
                <a:gd name="connsiteX20" fmla="*/ 253131 w 607639"/>
                <a:gd name="connsiteY20" fmla="*/ 0 h 606722"/>
                <a:gd name="connsiteX21" fmla="*/ 354419 w 607639"/>
                <a:gd name="connsiteY21" fmla="*/ 0 h 606722"/>
                <a:gd name="connsiteX22" fmla="*/ 379786 w 607639"/>
                <a:gd name="connsiteY22" fmla="*/ 25239 h 606722"/>
                <a:gd name="connsiteX23" fmla="*/ 379786 w 607639"/>
                <a:gd name="connsiteY23" fmla="*/ 62387 h 606722"/>
                <a:gd name="connsiteX24" fmla="*/ 420639 w 607639"/>
                <a:gd name="connsiteY24" fmla="*/ 79451 h 606722"/>
                <a:gd name="connsiteX25" fmla="*/ 446985 w 607639"/>
                <a:gd name="connsiteY25" fmla="*/ 53145 h 606722"/>
                <a:gd name="connsiteX26" fmla="*/ 482854 w 607639"/>
                <a:gd name="connsiteY26" fmla="*/ 53145 h 606722"/>
                <a:gd name="connsiteX27" fmla="*/ 554414 w 607639"/>
                <a:gd name="connsiteY27" fmla="*/ 124597 h 606722"/>
                <a:gd name="connsiteX28" fmla="*/ 554414 w 607639"/>
                <a:gd name="connsiteY28" fmla="*/ 160323 h 606722"/>
                <a:gd name="connsiteX29" fmla="*/ 528069 w 607639"/>
                <a:gd name="connsiteY29" fmla="*/ 186629 h 606722"/>
                <a:gd name="connsiteX30" fmla="*/ 545158 w 607639"/>
                <a:gd name="connsiteY30" fmla="*/ 227510 h 606722"/>
                <a:gd name="connsiteX31" fmla="*/ 582273 w 607639"/>
                <a:gd name="connsiteY31" fmla="*/ 227510 h 606722"/>
                <a:gd name="connsiteX32" fmla="*/ 607639 w 607639"/>
                <a:gd name="connsiteY32" fmla="*/ 252749 h 606722"/>
                <a:gd name="connsiteX33" fmla="*/ 607639 w 607639"/>
                <a:gd name="connsiteY33" fmla="*/ 353884 h 606722"/>
                <a:gd name="connsiteX34" fmla="*/ 582273 w 607639"/>
                <a:gd name="connsiteY34" fmla="*/ 379212 h 606722"/>
                <a:gd name="connsiteX35" fmla="*/ 545158 w 607639"/>
                <a:gd name="connsiteY35" fmla="*/ 379212 h 606722"/>
                <a:gd name="connsiteX36" fmla="*/ 528069 w 607639"/>
                <a:gd name="connsiteY36" fmla="*/ 420004 h 606722"/>
                <a:gd name="connsiteX37" fmla="*/ 554414 w 607639"/>
                <a:gd name="connsiteY37" fmla="*/ 446310 h 606722"/>
                <a:gd name="connsiteX38" fmla="*/ 554414 w 607639"/>
                <a:gd name="connsiteY38" fmla="*/ 482125 h 606722"/>
                <a:gd name="connsiteX39" fmla="*/ 482854 w 607639"/>
                <a:gd name="connsiteY39" fmla="*/ 553577 h 606722"/>
                <a:gd name="connsiteX40" fmla="*/ 446985 w 607639"/>
                <a:gd name="connsiteY40" fmla="*/ 553577 h 606722"/>
                <a:gd name="connsiteX41" fmla="*/ 420639 w 607639"/>
                <a:gd name="connsiteY41" fmla="*/ 527271 h 606722"/>
                <a:gd name="connsiteX42" fmla="*/ 379786 w 607639"/>
                <a:gd name="connsiteY42" fmla="*/ 544246 h 606722"/>
                <a:gd name="connsiteX43" fmla="*/ 379786 w 607639"/>
                <a:gd name="connsiteY43" fmla="*/ 581394 h 606722"/>
                <a:gd name="connsiteX44" fmla="*/ 354419 w 607639"/>
                <a:gd name="connsiteY44" fmla="*/ 606722 h 606722"/>
                <a:gd name="connsiteX45" fmla="*/ 253131 w 607639"/>
                <a:gd name="connsiteY45" fmla="*/ 606722 h 606722"/>
                <a:gd name="connsiteX46" fmla="*/ 227854 w 607639"/>
                <a:gd name="connsiteY46" fmla="*/ 581394 h 606722"/>
                <a:gd name="connsiteX47" fmla="*/ 227854 w 607639"/>
                <a:gd name="connsiteY47" fmla="*/ 544246 h 606722"/>
                <a:gd name="connsiteX48" fmla="*/ 186911 w 607639"/>
                <a:gd name="connsiteY48" fmla="*/ 527271 h 606722"/>
                <a:gd name="connsiteX49" fmla="*/ 160566 w 607639"/>
                <a:gd name="connsiteY49" fmla="*/ 553577 h 606722"/>
                <a:gd name="connsiteX50" fmla="*/ 124786 w 607639"/>
                <a:gd name="connsiteY50" fmla="*/ 553577 h 606722"/>
                <a:gd name="connsiteX51" fmla="*/ 53225 w 607639"/>
                <a:gd name="connsiteY51" fmla="*/ 482125 h 606722"/>
                <a:gd name="connsiteX52" fmla="*/ 53225 w 607639"/>
                <a:gd name="connsiteY52" fmla="*/ 446310 h 606722"/>
                <a:gd name="connsiteX53" fmla="*/ 79482 w 607639"/>
                <a:gd name="connsiteY53" fmla="*/ 420004 h 606722"/>
                <a:gd name="connsiteX54" fmla="*/ 62482 w 607639"/>
                <a:gd name="connsiteY54" fmla="*/ 379212 h 606722"/>
                <a:gd name="connsiteX55" fmla="*/ 25278 w 607639"/>
                <a:gd name="connsiteY55" fmla="*/ 379212 h 606722"/>
                <a:gd name="connsiteX56" fmla="*/ 0 w 607639"/>
                <a:gd name="connsiteY56" fmla="*/ 353884 h 606722"/>
                <a:gd name="connsiteX57" fmla="*/ 0 w 607639"/>
                <a:gd name="connsiteY57" fmla="*/ 252749 h 606722"/>
                <a:gd name="connsiteX58" fmla="*/ 25278 w 607639"/>
                <a:gd name="connsiteY58" fmla="*/ 227510 h 606722"/>
                <a:gd name="connsiteX59" fmla="*/ 62482 w 607639"/>
                <a:gd name="connsiteY59" fmla="*/ 227510 h 606722"/>
                <a:gd name="connsiteX60" fmla="*/ 79482 w 607639"/>
                <a:gd name="connsiteY60" fmla="*/ 186629 h 606722"/>
                <a:gd name="connsiteX61" fmla="*/ 53225 w 607639"/>
                <a:gd name="connsiteY61" fmla="*/ 160323 h 606722"/>
                <a:gd name="connsiteX62" fmla="*/ 53225 w 607639"/>
                <a:gd name="connsiteY62" fmla="*/ 124597 h 606722"/>
                <a:gd name="connsiteX63" fmla="*/ 124786 w 607639"/>
                <a:gd name="connsiteY63" fmla="*/ 53145 h 606722"/>
                <a:gd name="connsiteX64" fmla="*/ 160566 w 607639"/>
                <a:gd name="connsiteY64" fmla="*/ 53145 h 606722"/>
                <a:gd name="connsiteX65" fmla="*/ 186911 w 607639"/>
                <a:gd name="connsiteY65" fmla="*/ 79451 h 606722"/>
                <a:gd name="connsiteX66" fmla="*/ 227854 w 607639"/>
                <a:gd name="connsiteY66" fmla="*/ 62387 h 606722"/>
                <a:gd name="connsiteX67" fmla="*/ 227854 w 607639"/>
                <a:gd name="connsiteY67" fmla="*/ 25239 h 606722"/>
                <a:gd name="connsiteX68" fmla="*/ 253131 w 607639"/>
                <a:gd name="connsiteY68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607639" h="606722">
                  <a:moveTo>
                    <a:pt x="303820" y="278099"/>
                  </a:moveTo>
                  <a:cubicBezTo>
                    <a:pt x="317792" y="278099"/>
                    <a:pt x="329118" y="289410"/>
                    <a:pt x="329118" y="303362"/>
                  </a:cubicBezTo>
                  <a:cubicBezTo>
                    <a:pt x="329118" y="317314"/>
                    <a:pt x="317792" y="328625"/>
                    <a:pt x="303820" y="328625"/>
                  </a:cubicBezTo>
                  <a:cubicBezTo>
                    <a:pt x="289848" y="328625"/>
                    <a:pt x="278522" y="317314"/>
                    <a:pt x="278522" y="303362"/>
                  </a:cubicBezTo>
                  <a:cubicBezTo>
                    <a:pt x="278522" y="289410"/>
                    <a:pt x="289848" y="278099"/>
                    <a:pt x="303820" y="278099"/>
                  </a:cubicBezTo>
                  <a:close/>
                  <a:moveTo>
                    <a:pt x="303775" y="252735"/>
                  </a:moveTo>
                  <a:cubicBezTo>
                    <a:pt x="275921" y="252735"/>
                    <a:pt x="253140" y="275492"/>
                    <a:pt x="253140" y="303317"/>
                  </a:cubicBezTo>
                  <a:cubicBezTo>
                    <a:pt x="253140" y="331231"/>
                    <a:pt x="275921" y="353900"/>
                    <a:pt x="303775" y="353900"/>
                  </a:cubicBezTo>
                  <a:cubicBezTo>
                    <a:pt x="331718" y="353900"/>
                    <a:pt x="354410" y="331231"/>
                    <a:pt x="354410" y="303317"/>
                  </a:cubicBezTo>
                  <a:cubicBezTo>
                    <a:pt x="354410" y="275492"/>
                    <a:pt x="331718" y="252735"/>
                    <a:pt x="303775" y="252735"/>
                  </a:cubicBezTo>
                  <a:close/>
                  <a:moveTo>
                    <a:pt x="303775" y="202241"/>
                  </a:moveTo>
                  <a:cubicBezTo>
                    <a:pt x="359660" y="202241"/>
                    <a:pt x="405045" y="247579"/>
                    <a:pt x="405045" y="303317"/>
                  </a:cubicBezTo>
                  <a:cubicBezTo>
                    <a:pt x="405045" y="359144"/>
                    <a:pt x="359660" y="404482"/>
                    <a:pt x="303775" y="404482"/>
                  </a:cubicBezTo>
                  <a:cubicBezTo>
                    <a:pt x="247978" y="404482"/>
                    <a:pt x="202593" y="359144"/>
                    <a:pt x="202593" y="303317"/>
                  </a:cubicBezTo>
                  <a:cubicBezTo>
                    <a:pt x="202593" y="247579"/>
                    <a:pt x="247978" y="202241"/>
                    <a:pt x="303775" y="202241"/>
                  </a:cubicBezTo>
                  <a:close/>
                  <a:moveTo>
                    <a:pt x="303775" y="151703"/>
                  </a:moveTo>
                  <a:cubicBezTo>
                    <a:pt x="220021" y="151703"/>
                    <a:pt x="151932" y="219689"/>
                    <a:pt x="151932" y="303317"/>
                  </a:cubicBezTo>
                  <a:cubicBezTo>
                    <a:pt x="151932" y="387033"/>
                    <a:pt x="220021" y="455019"/>
                    <a:pt x="303775" y="455019"/>
                  </a:cubicBezTo>
                  <a:cubicBezTo>
                    <a:pt x="387618" y="455019"/>
                    <a:pt x="455707" y="387033"/>
                    <a:pt x="455707" y="303317"/>
                  </a:cubicBezTo>
                  <a:cubicBezTo>
                    <a:pt x="455707" y="219689"/>
                    <a:pt x="387618" y="151703"/>
                    <a:pt x="303775" y="151703"/>
                  </a:cubicBezTo>
                  <a:close/>
                  <a:moveTo>
                    <a:pt x="253131" y="0"/>
                  </a:moveTo>
                  <a:lnTo>
                    <a:pt x="354419" y="0"/>
                  </a:lnTo>
                  <a:cubicBezTo>
                    <a:pt x="368482" y="0"/>
                    <a:pt x="379786" y="11287"/>
                    <a:pt x="379786" y="25239"/>
                  </a:cubicBezTo>
                  <a:lnTo>
                    <a:pt x="379786" y="62387"/>
                  </a:lnTo>
                  <a:cubicBezTo>
                    <a:pt x="393849" y="66831"/>
                    <a:pt x="407555" y="72519"/>
                    <a:pt x="420639" y="79451"/>
                  </a:cubicBezTo>
                  <a:lnTo>
                    <a:pt x="446985" y="53145"/>
                  </a:lnTo>
                  <a:cubicBezTo>
                    <a:pt x="456953" y="43191"/>
                    <a:pt x="472974" y="43191"/>
                    <a:pt x="482854" y="53145"/>
                  </a:cubicBezTo>
                  <a:lnTo>
                    <a:pt x="554414" y="124597"/>
                  </a:lnTo>
                  <a:cubicBezTo>
                    <a:pt x="564294" y="134462"/>
                    <a:pt x="564294" y="150459"/>
                    <a:pt x="554414" y="160323"/>
                  </a:cubicBezTo>
                  <a:lnTo>
                    <a:pt x="528069" y="186629"/>
                  </a:lnTo>
                  <a:cubicBezTo>
                    <a:pt x="535011" y="199782"/>
                    <a:pt x="540707" y="213468"/>
                    <a:pt x="545158" y="227510"/>
                  </a:cubicBezTo>
                  <a:lnTo>
                    <a:pt x="582273" y="227510"/>
                  </a:lnTo>
                  <a:cubicBezTo>
                    <a:pt x="596336" y="227510"/>
                    <a:pt x="607639" y="238796"/>
                    <a:pt x="607639" y="252749"/>
                  </a:cubicBezTo>
                  <a:lnTo>
                    <a:pt x="607639" y="353884"/>
                  </a:lnTo>
                  <a:cubicBezTo>
                    <a:pt x="607639" y="367926"/>
                    <a:pt x="596247" y="379212"/>
                    <a:pt x="582273" y="379212"/>
                  </a:cubicBezTo>
                  <a:lnTo>
                    <a:pt x="545158" y="379212"/>
                  </a:lnTo>
                  <a:cubicBezTo>
                    <a:pt x="540707" y="393254"/>
                    <a:pt x="535011" y="406940"/>
                    <a:pt x="528069" y="420004"/>
                  </a:cubicBezTo>
                  <a:lnTo>
                    <a:pt x="554414" y="446310"/>
                  </a:lnTo>
                  <a:cubicBezTo>
                    <a:pt x="564294" y="456263"/>
                    <a:pt x="564294" y="472260"/>
                    <a:pt x="554414" y="482125"/>
                  </a:cubicBezTo>
                  <a:lnTo>
                    <a:pt x="482854" y="553577"/>
                  </a:lnTo>
                  <a:cubicBezTo>
                    <a:pt x="472974" y="563442"/>
                    <a:pt x="456953" y="563442"/>
                    <a:pt x="446985" y="553577"/>
                  </a:cubicBezTo>
                  <a:lnTo>
                    <a:pt x="420639" y="527271"/>
                  </a:lnTo>
                  <a:cubicBezTo>
                    <a:pt x="407555" y="534203"/>
                    <a:pt x="393849" y="539802"/>
                    <a:pt x="379786" y="544246"/>
                  </a:cubicBezTo>
                  <a:lnTo>
                    <a:pt x="379786" y="581394"/>
                  </a:lnTo>
                  <a:cubicBezTo>
                    <a:pt x="379786" y="595435"/>
                    <a:pt x="368393" y="606722"/>
                    <a:pt x="354419" y="606722"/>
                  </a:cubicBezTo>
                  <a:lnTo>
                    <a:pt x="253131" y="606722"/>
                  </a:lnTo>
                  <a:cubicBezTo>
                    <a:pt x="239157" y="606722"/>
                    <a:pt x="227854" y="595435"/>
                    <a:pt x="227854" y="581394"/>
                  </a:cubicBezTo>
                  <a:lnTo>
                    <a:pt x="227854" y="544246"/>
                  </a:lnTo>
                  <a:cubicBezTo>
                    <a:pt x="213791" y="539802"/>
                    <a:pt x="200084" y="534203"/>
                    <a:pt x="186911" y="527271"/>
                  </a:cubicBezTo>
                  <a:lnTo>
                    <a:pt x="160566" y="553577"/>
                  </a:lnTo>
                  <a:cubicBezTo>
                    <a:pt x="150686" y="563442"/>
                    <a:pt x="134665" y="563442"/>
                    <a:pt x="124786" y="553577"/>
                  </a:cubicBezTo>
                  <a:lnTo>
                    <a:pt x="53225" y="482125"/>
                  </a:lnTo>
                  <a:cubicBezTo>
                    <a:pt x="43257" y="472260"/>
                    <a:pt x="43257" y="456263"/>
                    <a:pt x="53225" y="446310"/>
                  </a:cubicBezTo>
                  <a:lnTo>
                    <a:pt x="79482" y="420004"/>
                  </a:lnTo>
                  <a:cubicBezTo>
                    <a:pt x="72629" y="406940"/>
                    <a:pt x="66932" y="393254"/>
                    <a:pt x="62482" y="379212"/>
                  </a:cubicBezTo>
                  <a:lnTo>
                    <a:pt x="25278" y="379212"/>
                  </a:lnTo>
                  <a:cubicBezTo>
                    <a:pt x="11304" y="379212"/>
                    <a:pt x="0" y="367926"/>
                    <a:pt x="0" y="353884"/>
                  </a:cubicBezTo>
                  <a:lnTo>
                    <a:pt x="0" y="252749"/>
                  </a:lnTo>
                  <a:cubicBezTo>
                    <a:pt x="0" y="238796"/>
                    <a:pt x="11304" y="227510"/>
                    <a:pt x="25278" y="227510"/>
                  </a:cubicBezTo>
                  <a:lnTo>
                    <a:pt x="62482" y="227510"/>
                  </a:lnTo>
                  <a:cubicBezTo>
                    <a:pt x="66932" y="213468"/>
                    <a:pt x="72629" y="199782"/>
                    <a:pt x="79482" y="186629"/>
                  </a:cubicBezTo>
                  <a:lnTo>
                    <a:pt x="53225" y="160323"/>
                  </a:lnTo>
                  <a:cubicBezTo>
                    <a:pt x="43257" y="150459"/>
                    <a:pt x="43257" y="134462"/>
                    <a:pt x="53225" y="124597"/>
                  </a:cubicBezTo>
                  <a:lnTo>
                    <a:pt x="124786" y="53145"/>
                  </a:lnTo>
                  <a:cubicBezTo>
                    <a:pt x="134665" y="43191"/>
                    <a:pt x="150686" y="43191"/>
                    <a:pt x="160566" y="53145"/>
                  </a:cubicBezTo>
                  <a:lnTo>
                    <a:pt x="186911" y="79451"/>
                  </a:lnTo>
                  <a:cubicBezTo>
                    <a:pt x="200084" y="72519"/>
                    <a:pt x="213791" y="66831"/>
                    <a:pt x="227854" y="62387"/>
                  </a:cubicBezTo>
                  <a:lnTo>
                    <a:pt x="227854" y="25239"/>
                  </a:lnTo>
                  <a:cubicBezTo>
                    <a:pt x="227854" y="11287"/>
                    <a:pt x="239157" y="0"/>
                    <a:pt x="253131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3" name="ïṧľíďê">
              <a:extLst>
                <a:ext uri="{FF2B5EF4-FFF2-40B4-BE49-F238E27FC236}">
                  <a16:creationId xmlns:a16="http://schemas.microsoft.com/office/drawing/2014/main" id="{83AC56C8-BB22-4DB6-8372-AA84DFFA3A81}"/>
                </a:ext>
              </a:extLst>
            </p:cNvPr>
            <p:cNvSpPr/>
            <p:nvPr/>
          </p:nvSpPr>
          <p:spPr bwMode="auto">
            <a:xfrm>
              <a:off x="2498293" y="4944202"/>
              <a:ext cx="377806" cy="377188"/>
            </a:xfrm>
            <a:custGeom>
              <a:avLst/>
              <a:gdLst>
                <a:gd name="connsiteX0" fmla="*/ 380418 w 604181"/>
                <a:gd name="connsiteY0" fmla="*/ 268007 h 603193"/>
                <a:gd name="connsiteX1" fmla="*/ 519220 w 604181"/>
                <a:gd name="connsiteY1" fmla="*/ 339187 h 603193"/>
                <a:gd name="connsiteX2" fmla="*/ 519220 w 604181"/>
                <a:gd name="connsiteY2" fmla="*/ 355820 h 603193"/>
                <a:gd name="connsiteX3" fmla="*/ 380418 w 604181"/>
                <a:gd name="connsiteY3" fmla="*/ 426850 h 603193"/>
                <a:gd name="connsiteX4" fmla="*/ 380418 w 604181"/>
                <a:gd name="connsiteY4" fmla="*/ 406320 h 603193"/>
                <a:gd name="connsiteX5" fmla="*/ 498212 w 604181"/>
                <a:gd name="connsiteY5" fmla="*/ 347728 h 603193"/>
                <a:gd name="connsiteX6" fmla="*/ 498212 w 604181"/>
                <a:gd name="connsiteY6" fmla="*/ 347129 h 603193"/>
                <a:gd name="connsiteX7" fmla="*/ 380418 w 604181"/>
                <a:gd name="connsiteY7" fmla="*/ 288687 h 603193"/>
                <a:gd name="connsiteX8" fmla="*/ 216565 w 604181"/>
                <a:gd name="connsiteY8" fmla="*/ 268007 h 603193"/>
                <a:gd name="connsiteX9" fmla="*/ 216565 w 604181"/>
                <a:gd name="connsiteY9" fmla="*/ 288687 h 603193"/>
                <a:gd name="connsiteX10" fmla="*/ 99664 w 604181"/>
                <a:gd name="connsiteY10" fmla="*/ 347129 h 603193"/>
                <a:gd name="connsiteX11" fmla="*/ 99664 w 604181"/>
                <a:gd name="connsiteY11" fmla="*/ 347728 h 603193"/>
                <a:gd name="connsiteX12" fmla="*/ 216565 w 604181"/>
                <a:gd name="connsiteY12" fmla="*/ 406320 h 603193"/>
                <a:gd name="connsiteX13" fmla="*/ 216565 w 604181"/>
                <a:gd name="connsiteY13" fmla="*/ 426850 h 603193"/>
                <a:gd name="connsiteX14" fmla="*/ 77904 w 604181"/>
                <a:gd name="connsiteY14" fmla="*/ 355521 h 603193"/>
                <a:gd name="connsiteX15" fmla="*/ 77904 w 604181"/>
                <a:gd name="connsiteY15" fmla="*/ 339486 h 603193"/>
                <a:gd name="connsiteX16" fmla="*/ 338273 w 604181"/>
                <a:gd name="connsiteY16" fmla="*/ 222493 h 603193"/>
                <a:gd name="connsiteX17" fmla="*/ 358684 w 604181"/>
                <a:gd name="connsiteY17" fmla="*/ 222493 h 603193"/>
                <a:gd name="connsiteX18" fmla="*/ 253179 w 604181"/>
                <a:gd name="connsiteY18" fmla="*/ 482103 h 603193"/>
                <a:gd name="connsiteX19" fmla="*/ 233219 w 604181"/>
                <a:gd name="connsiteY19" fmla="*/ 482103 h 603193"/>
                <a:gd name="connsiteX20" fmla="*/ 28813 w 604181"/>
                <a:gd name="connsiteY20" fmla="*/ 128849 h 603193"/>
                <a:gd name="connsiteX21" fmla="*/ 28813 w 604181"/>
                <a:gd name="connsiteY21" fmla="*/ 557497 h 603193"/>
                <a:gd name="connsiteX22" fmla="*/ 45921 w 604181"/>
                <a:gd name="connsiteY22" fmla="*/ 574427 h 603193"/>
                <a:gd name="connsiteX23" fmla="*/ 558410 w 604181"/>
                <a:gd name="connsiteY23" fmla="*/ 574427 h 603193"/>
                <a:gd name="connsiteX24" fmla="*/ 575368 w 604181"/>
                <a:gd name="connsiteY24" fmla="*/ 557497 h 603193"/>
                <a:gd name="connsiteX25" fmla="*/ 575368 w 604181"/>
                <a:gd name="connsiteY25" fmla="*/ 128849 h 603193"/>
                <a:gd name="connsiteX26" fmla="*/ 502734 w 604181"/>
                <a:gd name="connsiteY26" fmla="*/ 43149 h 603193"/>
                <a:gd name="connsiteX27" fmla="*/ 502734 w 604181"/>
                <a:gd name="connsiteY27" fmla="*/ 77309 h 603193"/>
                <a:gd name="connsiteX28" fmla="*/ 537100 w 604181"/>
                <a:gd name="connsiteY28" fmla="*/ 77309 h 603193"/>
                <a:gd name="connsiteX29" fmla="*/ 537100 w 604181"/>
                <a:gd name="connsiteY29" fmla="*/ 43149 h 603193"/>
                <a:gd name="connsiteX30" fmla="*/ 423197 w 604181"/>
                <a:gd name="connsiteY30" fmla="*/ 43149 h 603193"/>
                <a:gd name="connsiteX31" fmla="*/ 423197 w 604181"/>
                <a:gd name="connsiteY31" fmla="*/ 77309 h 603193"/>
                <a:gd name="connsiteX32" fmla="*/ 457563 w 604181"/>
                <a:gd name="connsiteY32" fmla="*/ 77309 h 603193"/>
                <a:gd name="connsiteX33" fmla="*/ 457563 w 604181"/>
                <a:gd name="connsiteY33" fmla="*/ 43149 h 603193"/>
                <a:gd name="connsiteX34" fmla="*/ 45921 w 604181"/>
                <a:gd name="connsiteY34" fmla="*/ 0 h 603193"/>
                <a:gd name="connsiteX35" fmla="*/ 558410 w 604181"/>
                <a:gd name="connsiteY35" fmla="*/ 0 h 603193"/>
                <a:gd name="connsiteX36" fmla="*/ 604181 w 604181"/>
                <a:gd name="connsiteY36" fmla="*/ 45846 h 603193"/>
                <a:gd name="connsiteX37" fmla="*/ 604181 w 604181"/>
                <a:gd name="connsiteY37" fmla="*/ 557497 h 603193"/>
                <a:gd name="connsiteX38" fmla="*/ 558410 w 604181"/>
                <a:gd name="connsiteY38" fmla="*/ 603193 h 603193"/>
                <a:gd name="connsiteX39" fmla="*/ 45921 w 604181"/>
                <a:gd name="connsiteY39" fmla="*/ 603193 h 603193"/>
                <a:gd name="connsiteX40" fmla="*/ 0 w 604181"/>
                <a:gd name="connsiteY40" fmla="*/ 557497 h 603193"/>
                <a:gd name="connsiteX41" fmla="*/ 0 w 604181"/>
                <a:gd name="connsiteY41" fmla="*/ 45846 h 603193"/>
                <a:gd name="connsiteX42" fmla="*/ 45921 w 604181"/>
                <a:gd name="connsiteY42" fmla="*/ 0 h 603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04181" h="603193">
                  <a:moveTo>
                    <a:pt x="380418" y="268007"/>
                  </a:moveTo>
                  <a:lnTo>
                    <a:pt x="519220" y="339187"/>
                  </a:lnTo>
                  <a:lnTo>
                    <a:pt x="519220" y="355820"/>
                  </a:lnTo>
                  <a:lnTo>
                    <a:pt x="380418" y="426850"/>
                  </a:lnTo>
                  <a:lnTo>
                    <a:pt x="380418" y="406320"/>
                  </a:lnTo>
                  <a:lnTo>
                    <a:pt x="498212" y="347728"/>
                  </a:lnTo>
                  <a:lnTo>
                    <a:pt x="498212" y="347129"/>
                  </a:lnTo>
                  <a:lnTo>
                    <a:pt x="380418" y="288687"/>
                  </a:lnTo>
                  <a:close/>
                  <a:moveTo>
                    <a:pt x="216565" y="268007"/>
                  </a:moveTo>
                  <a:lnTo>
                    <a:pt x="216565" y="288687"/>
                  </a:lnTo>
                  <a:lnTo>
                    <a:pt x="99664" y="347129"/>
                  </a:lnTo>
                  <a:lnTo>
                    <a:pt x="99664" y="347728"/>
                  </a:lnTo>
                  <a:lnTo>
                    <a:pt x="216565" y="406320"/>
                  </a:lnTo>
                  <a:lnTo>
                    <a:pt x="216565" y="426850"/>
                  </a:lnTo>
                  <a:lnTo>
                    <a:pt x="77904" y="355521"/>
                  </a:lnTo>
                  <a:lnTo>
                    <a:pt x="77904" y="339486"/>
                  </a:lnTo>
                  <a:close/>
                  <a:moveTo>
                    <a:pt x="338273" y="222493"/>
                  </a:moveTo>
                  <a:lnTo>
                    <a:pt x="358684" y="222493"/>
                  </a:lnTo>
                  <a:lnTo>
                    <a:pt x="253179" y="482103"/>
                  </a:lnTo>
                  <a:lnTo>
                    <a:pt x="233219" y="482103"/>
                  </a:lnTo>
                  <a:close/>
                  <a:moveTo>
                    <a:pt x="28813" y="128849"/>
                  </a:moveTo>
                  <a:lnTo>
                    <a:pt x="28813" y="557497"/>
                  </a:lnTo>
                  <a:cubicBezTo>
                    <a:pt x="28813" y="566786"/>
                    <a:pt x="36467" y="574427"/>
                    <a:pt x="45921" y="574427"/>
                  </a:cubicBezTo>
                  <a:lnTo>
                    <a:pt x="558410" y="574427"/>
                  </a:lnTo>
                  <a:cubicBezTo>
                    <a:pt x="567714" y="574427"/>
                    <a:pt x="575368" y="566786"/>
                    <a:pt x="575368" y="557497"/>
                  </a:cubicBezTo>
                  <a:lnTo>
                    <a:pt x="575368" y="128849"/>
                  </a:lnTo>
                  <a:close/>
                  <a:moveTo>
                    <a:pt x="502734" y="43149"/>
                  </a:moveTo>
                  <a:lnTo>
                    <a:pt x="502734" y="77309"/>
                  </a:lnTo>
                  <a:lnTo>
                    <a:pt x="537100" y="77309"/>
                  </a:lnTo>
                  <a:lnTo>
                    <a:pt x="537100" y="43149"/>
                  </a:lnTo>
                  <a:close/>
                  <a:moveTo>
                    <a:pt x="423197" y="43149"/>
                  </a:moveTo>
                  <a:lnTo>
                    <a:pt x="423197" y="77309"/>
                  </a:lnTo>
                  <a:lnTo>
                    <a:pt x="457563" y="77309"/>
                  </a:lnTo>
                  <a:lnTo>
                    <a:pt x="457563" y="43149"/>
                  </a:lnTo>
                  <a:close/>
                  <a:moveTo>
                    <a:pt x="45921" y="0"/>
                  </a:moveTo>
                  <a:lnTo>
                    <a:pt x="558410" y="0"/>
                  </a:lnTo>
                  <a:cubicBezTo>
                    <a:pt x="583621" y="0"/>
                    <a:pt x="604181" y="20526"/>
                    <a:pt x="604181" y="45846"/>
                  </a:cubicBezTo>
                  <a:lnTo>
                    <a:pt x="604181" y="557497"/>
                  </a:lnTo>
                  <a:cubicBezTo>
                    <a:pt x="604181" y="582667"/>
                    <a:pt x="583621" y="603193"/>
                    <a:pt x="558410" y="603193"/>
                  </a:cubicBezTo>
                  <a:lnTo>
                    <a:pt x="45921" y="603193"/>
                  </a:lnTo>
                  <a:cubicBezTo>
                    <a:pt x="20560" y="603193"/>
                    <a:pt x="0" y="582667"/>
                    <a:pt x="0" y="557497"/>
                  </a:cubicBezTo>
                  <a:lnTo>
                    <a:pt x="0" y="45846"/>
                  </a:lnTo>
                  <a:cubicBezTo>
                    <a:pt x="0" y="20526"/>
                    <a:pt x="20560" y="0"/>
                    <a:pt x="45921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4" name="îṣḻîḍé">
              <a:extLst>
                <a:ext uri="{FF2B5EF4-FFF2-40B4-BE49-F238E27FC236}">
                  <a16:creationId xmlns:a16="http://schemas.microsoft.com/office/drawing/2014/main" id="{716A4AAF-66FE-4462-901E-658C29D84AD8}"/>
                </a:ext>
              </a:extLst>
            </p:cNvPr>
            <p:cNvSpPr/>
            <p:nvPr/>
          </p:nvSpPr>
          <p:spPr bwMode="auto">
            <a:xfrm>
              <a:off x="1959174" y="5587283"/>
              <a:ext cx="377806" cy="377235"/>
            </a:xfrm>
            <a:custGeom>
              <a:avLst/>
              <a:gdLst>
                <a:gd name="T0" fmla="*/ 6624 w 7154"/>
                <a:gd name="T1" fmla="*/ 2037 h 7154"/>
                <a:gd name="T2" fmla="*/ 6106 w 7154"/>
                <a:gd name="T3" fmla="*/ 1048 h 7154"/>
                <a:gd name="T4" fmla="*/ 5117 w 7154"/>
                <a:gd name="T5" fmla="*/ 530 h 7154"/>
                <a:gd name="T6" fmla="*/ 4643 w 7154"/>
                <a:gd name="T7" fmla="*/ 334 h 7154"/>
                <a:gd name="T8" fmla="*/ 3577 w 7154"/>
                <a:gd name="T9" fmla="*/ 0 h 7154"/>
                <a:gd name="T10" fmla="*/ 2511 w 7154"/>
                <a:gd name="T11" fmla="*/ 334 h 7154"/>
                <a:gd name="T12" fmla="*/ 2037 w 7154"/>
                <a:gd name="T13" fmla="*/ 530 h 7154"/>
                <a:gd name="T14" fmla="*/ 1048 w 7154"/>
                <a:gd name="T15" fmla="*/ 1048 h 7154"/>
                <a:gd name="T16" fmla="*/ 530 w 7154"/>
                <a:gd name="T17" fmla="*/ 2037 h 7154"/>
                <a:gd name="T18" fmla="*/ 334 w 7154"/>
                <a:gd name="T19" fmla="*/ 2511 h 7154"/>
                <a:gd name="T20" fmla="*/ 0 w 7154"/>
                <a:gd name="T21" fmla="*/ 3577 h 7154"/>
                <a:gd name="T22" fmla="*/ 334 w 7154"/>
                <a:gd name="T23" fmla="*/ 4643 h 7154"/>
                <a:gd name="T24" fmla="*/ 530 w 7154"/>
                <a:gd name="T25" fmla="*/ 5117 h 7154"/>
                <a:gd name="T26" fmla="*/ 1048 w 7154"/>
                <a:gd name="T27" fmla="*/ 6106 h 7154"/>
                <a:gd name="T28" fmla="*/ 2037 w 7154"/>
                <a:gd name="T29" fmla="*/ 6624 h 7154"/>
                <a:gd name="T30" fmla="*/ 2511 w 7154"/>
                <a:gd name="T31" fmla="*/ 6820 h 7154"/>
                <a:gd name="T32" fmla="*/ 3577 w 7154"/>
                <a:gd name="T33" fmla="*/ 7154 h 7154"/>
                <a:gd name="T34" fmla="*/ 4643 w 7154"/>
                <a:gd name="T35" fmla="*/ 6820 h 7154"/>
                <a:gd name="T36" fmla="*/ 5117 w 7154"/>
                <a:gd name="T37" fmla="*/ 6624 h 7154"/>
                <a:gd name="T38" fmla="*/ 6106 w 7154"/>
                <a:gd name="T39" fmla="*/ 6106 h 7154"/>
                <a:gd name="T40" fmla="*/ 6624 w 7154"/>
                <a:gd name="T41" fmla="*/ 5117 h 7154"/>
                <a:gd name="T42" fmla="*/ 6820 w 7154"/>
                <a:gd name="T43" fmla="*/ 4643 h 7154"/>
                <a:gd name="T44" fmla="*/ 7154 w 7154"/>
                <a:gd name="T45" fmla="*/ 3577 h 7154"/>
                <a:gd name="T46" fmla="*/ 6820 w 7154"/>
                <a:gd name="T47" fmla="*/ 2511 h 7154"/>
                <a:gd name="T48" fmla="*/ 6624 w 7154"/>
                <a:gd name="T49" fmla="*/ 2037 h 7154"/>
                <a:gd name="T50" fmla="*/ 5857 w 7154"/>
                <a:gd name="T51" fmla="*/ 2406 h 7154"/>
                <a:gd name="T52" fmla="*/ 3286 w 7154"/>
                <a:gd name="T53" fmla="*/ 4976 h 7154"/>
                <a:gd name="T54" fmla="*/ 2875 w 7154"/>
                <a:gd name="T55" fmla="*/ 5387 h 7154"/>
                <a:gd name="T56" fmla="*/ 2464 w 7154"/>
                <a:gd name="T57" fmla="*/ 5387 h 7154"/>
                <a:gd name="T58" fmla="*/ 2053 w 7154"/>
                <a:gd name="T59" fmla="*/ 4976 h 7154"/>
                <a:gd name="T60" fmla="*/ 1297 w 7154"/>
                <a:gd name="T61" fmla="*/ 4221 h 7154"/>
                <a:gd name="T62" fmla="*/ 1297 w 7154"/>
                <a:gd name="T63" fmla="*/ 3809 h 7154"/>
                <a:gd name="T64" fmla="*/ 1708 w 7154"/>
                <a:gd name="T65" fmla="*/ 3398 h 7154"/>
                <a:gd name="T66" fmla="*/ 2120 w 7154"/>
                <a:gd name="T67" fmla="*/ 3398 h 7154"/>
                <a:gd name="T68" fmla="*/ 2669 w 7154"/>
                <a:gd name="T69" fmla="*/ 3948 h 7154"/>
                <a:gd name="T70" fmla="*/ 5034 w 7154"/>
                <a:gd name="T71" fmla="*/ 1583 h 7154"/>
                <a:gd name="T72" fmla="*/ 5445 w 7154"/>
                <a:gd name="T73" fmla="*/ 1583 h 7154"/>
                <a:gd name="T74" fmla="*/ 5857 w 7154"/>
                <a:gd name="T75" fmla="*/ 1994 h 7154"/>
                <a:gd name="T76" fmla="*/ 5857 w 7154"/>
                <a:gd name="T77" fmla="*/ 2406 h 7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154" h="7154">
                  <a:moveTo>
                    <a:pt x="6624" y="2037"/>
                  </a:moveTo>
                  <a:cubicBezTo>
                    <a:pt x="6580" y="1703"/>
                    <a:pt x="6403" y="1345"/>
                    <a:pt x="6106" y="1048"/>
                  </a:cubicBezTo>
                  <a:cubicBezTo>
                    <a:pt x="5809" y="751"/>
                    <a:pt x="5451" y="574"/>
                    <a:pt x="5117" y="530"/>
                  </a:cubicBezTo>
                  <a:cubicBezTo>
                    <a:pt x="4966" y="510"/>
                    <a:pt x="4764" y="427"/>
                    <a:pt x="4643" y="334"/>
                  </a:cubicBezTo>
                  <a:cubicBezTo>
                    <a:pt x="4375" y="128"/>
                    <a:pt x="3997" y="0"/>
                    <a:pt x="3577" y="0"/>
                  </a:cubicBezTo>
                  <a:cubicBezTo>
                    <a:pt x="3157" y="0"/>
                    <a:pt x="2779" y="128"/>
                    <a:pt x="2511" y="334"/>
                  </a:cubicBezTo>
                  <a:cubicBezTo>
                    <a:pt x="2390" y="427"/>
                    <a:pt x="2188" y="510"/>
                    <a:pt x="2037" y="530"/>
                  </a:cubicBezTo>
                  <a:cubicBezTo>
                    <a:pt x="1702" y="574"/>
                    <a:pt x="1345" y="751"/>
                    <a:pt x="1048" y="1048"/>
                  </a:cubicBezTo>
                  <a:cubicBezTo>
                    <a:pt x="751" y="1345"/>
                    <a:pt x="574" y="1703"/>
                    <a:pt x="530" y="2037"/>
                  </a:cubicBezTo>
                  <a:cubicBezTo>
                    <a:pt x="510" y="2188"/>
                    <a:pt x="427" y="2390"/>
                    <a:pt x="334" y="2511"/>
                  </a:cubicBezTo>
                  <a:cubicBezTo>
                    <a:pt x="128" y="2779"/>
                    <a:pt x="0" y="3157"/>
                    <a:pt x="0" y="3577"/>
                  </a:cubicBezTo>
                  <a:cubicBezTo>
                    <a:pt x="0" y="3997"/>
                    <a:pt x="128" y="4375"/>
                    <a:pt x="334" y="4643"/>
                  </a:cubicBezTo>
                  <a:cubicBezTo>
                    <a:pt x="427" y="4764"/>
                    <a:pt x="510" y="4966"/>
                    <a:pt x="530" y="5117"/>
                  </a:cubicBezTo>
                  <a:cubicBezTo>
                    <a:pt x="574" y="5451"/>
                    <a:pt x="751" y="5809"/>
                    <a:pt x="1048" y="6106"/>
                  </a:cubicBezTo>
                  <a:cubicBezTo>
                    <a:pt x="1345" y="6403"/>
                    <a:pt x="1702" y="6580"/>
                    <a:pt x="2037" y="6624"/>
                  </a:cubicBezTo>
                  <a:cubicBezTo>
                    <a:pt x="2188" y="6644"/>
                    <a:pt x="2390" y="6727"/>
                    <a:pt x="2511" y="6820"/>
                  </a:cubicBezTo>
                  <a:cubicBezTo>
                    <a:pt x="2779" y="7025"/>
                    <a:pt x="3157" y="7154"/>
                    <a:pt x="3577" y="7154"/>
                  </a:cubicBezTo>
                  <a:cubicBezTo>
                    <a:pt x="3997" y="7154"/>
                    <a:pt x="4375" y="7025"/>
                    <a:pt x="4643" y="6820"/>
                  </a:cubicBezTo>
                  <a:cubicBezTo>
                    <a:pt x="4764" y="6727"/>
                    <a:pt x="4966" y="6644"/>
                    <a:pt x="5117" y="6624"/>
                  </a:cubicBezTo>
                  <a:cubicBezTo>
                    <a:pt x="5451" y="6580"/>
                    <a:pt x="5809" y="6403"/>
                    <a:pt x="6106" y="6106"/>
                  </a:cubicBezTo>
                  <a:cubicBezTo>
                    <a:pt x="6403" y="5809"/>
                    <a:pt x="6580" y="5451"/>
                    <a:pt x="6624" y="5117"/>
                  </a:cubicBezTo>
                  <a:cubicBezTo>
                    <a:pt x="6644" y="4966"/>
                    <a:pt x="6727" y="4764"/>
                    <a:pt x="6820" y="4643"/>
                  </a:cubicBezTo>
                  <a:cubicBezTo>
                    <a:pt x="7026" y="4375"/>
                    <a:pt x="7154" y="3997"/>
                    <a:pt x="7154" y="3577"/>
                  </a:cubicBezTo>
                  <a:cubicBezTo>
                    <a:pt x="7154" y="3157"/>
                    <a:pt x="7026" y="2779"/>
                    <a:pt x="6820" y="2511"/>
                  </a:cubicBezTo>
                  <a:cubicBezTo>
                    <a:pt x="6727" y="2390"/>
                    <a:pt x="6644" y="2188"/>
                    <a:pt x="6624" y="2037"/>
                  </a:cubicBezTo>
                  <a:close/>
                  <a:moveTo>
                    <a:pt x="5857" y="2406"/>
                  </a:moveTo>
                  <a:lnTo>
                    <a:pt x="3286" y="4976"/>
                  </a:lnTo>
                  <a:lnTo>
                    <a:pt x="2875" y="5387"/>
                  </a:lnTo>
                  <a:cubicBezTo>
                    <a:pt x="2762" y="5501"/>
                    <a:pt x="2577" y="5501"/>
                    <a:pt x="2464" y="5387"/>
                  </a:cubicBezTo>
                  <a:lnTo>
                    <a:pt x="2053" y="4976"/>
                  </a:lnTo>
                  <a:lnTo>
                    <a:pt x="1297" y="4221"/>
                  </a:lnTo>
                  <a:cubicBezTo>
                    <a:pt x="1183" y="4107"/>
                    <a:pt x="1183" y="3923"/>
                    <a:pt x="1297" y="3809"/>
                  </a:cubicBezTo>
                  <a:lnTo>
                    <a:pt x="1708" y="3398"/>
                  </a:lnTo>
                  <a:cubicBezTo>
                    <a:pt x="1822" y="3285"/>
                    <a:pt x="2006" y="3285"/>
                    <a:pt x="2120" y="3398"/>
                  </a:cubicBezTo>
                  <a:lnTo>
                    <a:pt x="2669" y="3948"/>
                  </a:lnTo>
                  <a:lnTo>
                    <a:pt x="5034" y="1583"/>
                  </a:lnTo>
                  <a:cubicBezTo>
                    <a:pt x="5148" y="1470"/>
                    <a:pt x="5332" y="1470"/>
                    <a:pt x="5445" y="1583"/>
                  </a:cubicBezTo>
                  <a:lnTo>
                    <a:pt x="5857" y="1994"/>
                  </a:lnTo>
                  <a:cubicBezTo>
                    <a:pt x="5970" y="2108"/>
                    <a:pt x="5970" y="2292"/>
                    <a:pt x="5857" y="2406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5" name="iṧḷiḑé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743264" y="4276135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按分布模式进行配置</a:t>
              </a:r>
              <a:endParaRPr lang="en-US" altLang="zh-CN" sz="1100" dirty="0"/>
            </a:p>
          </p:txBody>
        </p:sp>
        <p:sp>
          <p:nvSpPr>
            <p:cNvPr id="216" name="îṧḻiḑe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197100" y="4926511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>
                  <a:solidFill>
                    <a:schemeClr val="bg1"/>
                  </a:solidFill>
                </a:rPr>
                <a:t>运行第一个实例</a:t>
              </a: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17" name="îṣľïd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2651098" y="5576887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开心</a:t>
              </a:r>
              <a:r>
                <a:rPr lang="en-US" altLang="zh-CN" sz="1100" dirty="0" err="1"/>
                <a:t>ing</a:t>
              </a:r>
              <a:r>
                <a:rPr lang="en-US" altLang="zh-CN" sz="1100" dirty="0"/>
                <a:t>~</a:t>
              </a:r>
            </a:p>
          </p:txBody>
        </p:sp>
        <p:sp>
          <p:nvSpPr>
            <p:cNvPr id="218" name="íṧ1îd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289201" y="3625759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 解压</a:t>
              </a:r>
              <a:endParaRPr lang="en-US" altLang="zh-CN" sz="1100" dirty="0"/>
            </a:p>
          </p:txBody>
        </p:sp>
        <p:sp>
          <p:nvSpPr>
            <p:cNvPr id="219" name="îs1ïḋ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842020" y="2975382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配置环境变量 使之生效</a:t>
              </a:r>
              <a:endParaRPr lang="en-US" altLang="zh-CN" sz="1100" dirty="0"/>
            </a:p>
          </p:txBody>
        </p:sp>
        <p:sp>
          <p:nvSpPr>
            <p:cNvPr id="220" name="íšliḓ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5387990" y="2325006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</a:t>
              </a:r>
              <a:r>
                <a:rPr lang="en-US" altLang="zh-CN" sz="1100" dirty="0"/>
                <a:t> </a:t>
              </a:r>
              <a:r>
                <a:rPr lang="zh-CN" altLang="en-US" sz="1100" dirty="0"/>
                <a:t>解压</a:t>
              </a:r>
              <a:endParaRPr lang="en-US" altLang="zh-CN" sz="1100" dirty="0"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653777F-C200-4DD9-896D-DFE3FC5A0E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794" y="132609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4097" name="Picture 1" descr="L:\Water\Documents\Tencent Files\1106367305\Image\C2C\S_~PNJLRA$(`BM~E~CRVP@6.jpg">
            <a:extLst>
              <a:ext uri="{FF2B5EF4-FFF2-40B4-BE49-F238E27FC236}">
                <a16:creationId xmlns:a16="http://schemas.microsoft.com/office/drawing/2014/main" id="{870A9B0F-80D3-4BB8-9E6D-5163109C031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2"/>
          <a:stretch>
            <a:fillRect/>
          </a:stretch>
        </p:blipFill>
        <p:spPr bwMode="auto">
          <a:xfrm>
            <a:off x="1092994" y="1284288"/>
            <a:ext cx="6958012" cy="4695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104D7166-3B85-4412-9659-285206FA2824}"/>
              </a:ext>
            </a:extLst>
          </p:cNvPr>
          <p:cNvSpPr/>
          <p:nvPr/>
        </p:nvSpPr>
        <p:spPr>
          <a:xfrm>
            <a:off x="1092994" y="5934391"/>
            <a:ext cx="6958012" cy="45719"/>
          </a:xfrm>
          <a:prstGeom prst="rect">
            <a:avLst/>
          </a:prstGeom>
          <a:solidFill>
            <a:srgbClr val="2D0A2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CB3EE618-32F8-4966-A35B-D1376D9131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045762" y="14732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3AE81623-7CD6-49D9-AB93-2743959343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7C9400A1-127B-443B-9890-1A43D9C469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37" name="Picture 1" descr="L:\Water\Documents\Tencent Files\1106367305\Image\C2C\KJD@`IB[N55]76]%]M5EN0U.png">
            <a:extLst>
              <a:ext uri="{FF2B5EF4-FFF2-40B4-BE49-F238E27FC236}">
                <a16:creationId xmlns:a16="http://schemas.microsoft.com/office/drawing/2014/main" id="{D33B8F9E-AC50-49E5-87FD-C5CEF9E35E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6" b="87764"/>
          <a:stretch>
            <a:fillRect/>
          </a:stretch>
        </p:blipFill>
        <p:spPr bwMode="auto">
          <a:xfrm>
            <a:off x="1076325" y="1285081"/>
            <a:ext cx="6991350" cy="564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86596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执行几个看看？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8</a:t>
            </a:fld>
            <a:endParaRPr lang="zh-CN" altLang="en-US"/>
          </a:p>
        </p:txBody>
      </p:sp>
      <p:grpSp>
        <p:nvGrpSpPr>
          <p:cNvPr id="194" name="180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4D56F3B-0686-4E9E-A675-DA7BF2C9F6C2}"/>
              </a:ext>
            </a:extLst>
          </p:cNvPr>
          <p:cNvGrpSpPr>
            <a:grpSpLocks noChangeAspect="1"/>
          </p:cNvGrpSpPr>
          <p:nvPr/>
        </p:nvGrpSpPr>
        <p:grpSpPr>
          <a:xfrm>
            <a:off x="1875381" y="-2460624"/>
            <a:ext cx="5393238" cy="2212975"/>
            <a:chOff x="938530" y="1805421"/>
            <a:chExt cx="10580370" cy="4341379"/>
          </a:xfrm>
        </p:grpSpPr>
        <p:sp>
          <p:nvSpPr>
            <p:cNvPr id="195" name="iṧḻîďè">
              <a:extLst>
                <a:ext uri="{FF2B5EF4-FFF2-40B4-BE49-F238E27FC236}">
                  <a16:creationId xmlns:a16="http://schemas.microsoft.com/office/drawing/2014/main" id="{6FC8272D-4563-47EB-B741-E738A21C2623}"/>
                </a:ext>
              </a:extLst>
            </p:cNvPr>
            <p:cNvSpPr/>
            <p:nvPr/>
          </p:nvSpPr>
          <p:spPr bwMode="auto">
            <a:xfrm>
              <a:off x="5637082" y="5226400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搞定！</a:t>
              </a:r>
              <a:endParaRPr lang="en-US" altLang="zh-CN" b="1" dirty="0"/>
            </a:p>
          </p:txBody>
        </p:sp>
        <p:sp>
          <p:nvSpPr>
            <p:cNvPr id="196" name="îŝḻiḋé">
              <a:extLst>
                <a:ext uri="{FF2B5EF4-FFF2-40B4-BE49-F238E27FC236}">
                  <a16:creationId xmlns:a16="http://schemas.microsoft.com/office/drawing/2014/main" id="{C05C75D7-4258-49B9-958F-F2EEF0B840E0}"/>
                </a:ext>
              </a:extLst>
            </p:cNvPr>
            <p:cNvSpPr/>
            <p:nvPr/>
          </p:nvSpPr>
          <p:spPr bwMode="auto">
            <a:xfrm>
              <a:off x="6176201" y="4576024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>
                  <a:solidFill>
                    <a:schemeClr val="bg1"/>
                  </a:solidFill>
                </a:rPr>
                <a:t>测试</a:t>
              </a:r>
              <a:endParaRPr lang="en-US" altLang="zh-CN" sz="1750" b="1" dirty="0">
                <a:solidFill>
                  <a:schemeClr val="bg1"/>
                </a:solidFill>
              </a:endParaRPr>
            </a:p>
          </p:txBody>
        </p:sp>
        <p:sp>
          <p:nvSpPr>
            <p:cNvPr id="197" name="íṥḷíďê">
              <a:extLst>
                <a:ext uri="{FF2B5EF4-FFF2-40B4-BE49-F238E27FC236}">
                  <a16:creationId xmlns:a16="http://schemas.microsoft.com/office/drawing/2014/main" id="{D4FCC7AE-5767-4EC4-BB68-B94457D3AE6D}"/>
                </a:ext>
              </a:extLst>
            </p:cNvPr>
            <p:cNvSpPr/>
            <p:nvPr/>
          </p:nvSpPr>
          <p:spPr bwMode="auto">
            <a:xfrm>
              <a:off x="6703850" y="3925648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/>
                <a:t>配置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8" name="ïś1ïḓè">
              <a:extLst>
                <a:ext uri="{FF2B5EF4-FFF2-40B4-BE49-F238E27FC236}">
                  <a16:creationId xmlns:a16="http://schemas.microsoft.com/office/drawing/2014/main" id="{F32E844B-E27C-4A92-9B60-95E4AD88D81F}"/>
                </a:ext>
              </a:extLst>
            </p:cNvPr>
            <p:cNvSpPr/>
            <p:nvPr/>
          </p:nvSpPr>
          <p:spPr bwMode="auto">
            <a:xfrm>
              <a:off x="7241823" y="3275272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 dirty="0"/>
                <a:t>安装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9" name="îśļïḍè">
              <a:extLst>
                <a:ext uri="{FF2B5EF4-FFF2-40B4-BE49-F238E27FC236}">
                  <a16:creationId xmlns:a16="http://schemas.microsoft.com/office/drawing/2014/main" id="{F812BB55-77DE-4E23-95E6-156A22FAD363}"/>
                </a:ext>
              </a:extLst>
            </p:cNvPr>
            <p:cNvSpPr/>
            <p:nvPr/>
          </p:nvSpPr>
          <p:spPr bwMode="auto">
            <a:xfrm>
              <a:off x="7743555" y="2624895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配置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0" name="ï$1íḍé">
              <a:extLst>
                <a:ext uri="{FF2B5EF4-FFF2-40B4-BE49-F238E27FC236}">
                  <a16:creationId xmlns:a16="http://schemas.microsoft.com/office/drawing/2014/main" id="{48245F16-84E7-4201-9485-85B5E5B15ECD}"/>
                </a:ext>
              </a:extLst>
            </p:cNvPr>
            <p:cNvSpPr/>
            <p:nvPr/>
          </p:nvSpPr>
          <p:spPr bwMode="auto">
            <a:xfrm>
              <a:off x="8263856" y="1974519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安装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1" name="îṥľïďê">
              <a:extLst>
                <a:ext uri="{FF2B5EF4-FFF2-40B4-BE49-F238E27FC236}">
                  <a16:creationId xmlns:a16="http://schemas.microsoft.com/office/drawing/2014/main" id="{920DFBAA-02E5-4206-86B0-FE10F93A7509}"/>
                </a:ext>
              </a:extLst>
            </p:cNvPr>
            <p:cNvSpPr/>
            <p:nvPr/>
          </p:nvSpPr>
          <p:spPr bwMode="auto">
            <a:xfrm>
              <a:off x="5220497" y="3438015"/>
              <a:ext cx="3741918" cy="1239562"/>
            </a:xfrm>
            <a:custGeom>
              <a:avLst/>
              <a:gdLst>
                <a:gd name="T0" fmla="*/ 179 w 203"/>
                <a:gd name="T1" fmla="*/ 82 h 82"/>
                <a:gd name="T2" fmla="*/ 203 w 203"/>
                <a:gd name="T3" fmla="*/ 29 h 82"/>
                <a:gd name="T4" fmla="*/ 65 w 203"/>
                <a:gd name="T5" fmla="*/ 27 h 82"/>
                <a:gd name="T6" fmla="*/ 59 w 203"/>
                <a:gd name="T7" fmla="*/ 0 h 82"/>
                <a:gd name="T8" fmla="*/ 59 w 203"/>
                <a:gd name="T9" fmla="*/ 0 h 82"/>
                <a:gd name="T10" fmla="*/ 0 w 203"/>
                <a:gd name="T11" fmla="*/ 80 h 82"/>
                <a:gd name="T12" fmla="*/ 61 w 203"/>
                <a:gd name="T13" fmla="*/ 82 h 82"/>
                <a:gd name="T14" fmla="*/ 179 w 203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82">
                  <a:moveTo>
                    <a:pt x="179" y="82"/>
                  </a:moveTo>
                  <a:lnTo>
                    <a:pt x="203" y="29"/>
                  </a:lnTo>
                  <a:lnTo>
                    <a:pt x="65" y="27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0" y="80"/>
                  </a:lnTo>
                  <a:lnTo>
                    <a:pt x="61" y="82"/>
                  </a:lnTo>
                  <a:lnTo>
                    <a:pt x="179" y="8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2" name="i$ḻíḋè">
              <a:extLst>
                <a:ext uri="{FF2B5EF4-FFF2-40B4-BE49-F238E27FC236}">
                  <a16:creationId xmlns:a16="http://schemas.microsoft.com/office/drawing/2014/main" id="{430BE7EB-B6F0-4F05-80EA-1F517165029F}"/>
                </a:ext>
              </a:extLst>
            </p:cNvPr>
            <p:cNvSpPr/>
            <p:nvPr/>
          </p:nvSpPr>
          <p:spPr bwMode="auto">
            <a:xfrm>
              <a:off x="8032938" y="1974519"/>
              <a:ext cx="1398307" cy="247664"/>
            </a:xfrm>
            <a:prstGeom prst="triangle">
              <a:avLst>
                <a:gd name="adj" fmla="val 14726"/>
              </a:avLst>
            </a:pr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3" name="işľiḋe">
              <a:extLst>
                <a:ext uri="{FF2B5EF4-FFF2-40B4-BE49-F238E27FC236}">
                  <a16:creationId xmlns:a16="http://schemas.microsoft.com/office/drawing/2014/main" id="{E4DECB97-43D1-4D26-8C48-41447675AE79}"/>
                </a:ext>
              </a:extLst>
            </p:cNvPr>
            <p:cNvSpPr/>
            <p:nvPr/>
          </p:nvSpPr>
          <p:spPr bwMode="auto">
            <a:xfrm>
              <a:off x="3675422" y="1805421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4" name="iś1íďé">
              <a:extLst>
                <a:ext uri="{FF2B5EF4-FFF2-40B4-BE49-F238E27FC236}">
                  <a16:creationId xmlns:a16="http://schemas.microsoft.com/office/drawing/2014/main" id="{6E7EA96A-F20A-4912-AC31-63A0F19E66DE}"/>
                </a:ext>
              </a:extLst>
            </p:cNvPr>
            <p:cNvSpPr/>
            <p:nvPr/>
          </p:nvSpPr>
          <p:spPr bwMode="auto">
            <a:xfrm>
              <a:off x="3129452" y="2455797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5" name="ïŝlíḋe">
              <a:extLst>
                <a:ext uri="{FF2B5EF4-FFF2-40B4-BE49-F238E27FC236}">
                  <a16:creationId xmlns:a16="http://schemas.microsoft.com/office/drawing/2014/main" id="{66D30D6F-26C9-4C2C-BC01-900AC07DC57E}"/>
                </a:ext>
              </a:extLst>
            </p:cNvPr>
            <p:cNvSpPr/>
            <p:nvPr/>
          </p:nvSpPr>
          <p:spPr bwMode="auto">
            <a:xfrm>
              <a:off x="2576633" y="3106174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6" name="îSliďè">
              <a:extLst>
                <a:ext uri="{FF2B5EF4-FFF2-40B4-BE49-F238E27FC236}">
                  <a16:creationId xmlns:a16="http://schemas.microsoft.com/office/drawing/2014/main" id="{2F6D5554-EACD-4DDD-892F-2E5F97A9C421}"/>
                </a:ext>
              </a:extLst>
            </p:cNvPr>
            <p:cNvSpPr/>
            <p:nvPr/>
          </p:nvSpPr>
          <p:spPr bwMode="auto">
            <a:xfrm>
              <a:off x="2030696" y="3756550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7" name="îSliďé">
              <a:extLst>
                <a:ext uri="{FF2B5EF4-FFF2-40B4-BE49-F238E27FC236}">
                  <a16:creationId xmlns:a16="http://schemas.microsoft.com/office/drawing/2014/main" id="{2E278F3F-C8D8-4E2A-A3EA-29ADCF1A02AA}"/>
                </a:ext>
              </a:extLst>
            </p:cNvPr>
            <p:cNvSpPr/>
            <p:nvPr/>
          </p:nvSpPr>
          <p:spPr bwMode="auto">
            <a:xfrm>
              <a:off x="1484532" y="4406926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8" name="îs1iďé">
              <a:extLst>
                <a:ext uri="{FF2B5EF4-FFF2-40B4-BE49-F238E27FC236}">
                  <a16:creationId xmlns:a16="http://schemas.microsoft.com/office/drawing/2014/main" id="{EB74D0C2-5677-4F3F-A043-44D01A3F3D48}"/>
                </a:ext>
              </a:extLst>
            </p:cNvPr>
            <p:cNvSpPr/>
            <p:nvPr/>
          </p:nvSpPr>
          <p:spPr bwMode="auto">
            <a:xfrm>
              <a:off x="938530" y="5057302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9" name="ïṣḻïḋe">
              <a:extLst>
                <a:ext uri="{FF2B5EF4-FFF2-40B4-BE49-F238E27FC236}">
                  <a16:creationId xmlns:a16="http://schemas.microsoft.com/office/drawing/2014/main" id="{7709F84E-C33F-462F-B538-51CB71C9284E}"/>
                </a:ext>
              </a:extLst>
            </p:cNvPr>
            <p:cNvSpPr/>
            <p:nvPr/>
          </p:nvSpPr>
          <p:spPr bwMode="auto">
            <a:xfrm>
              <a:off x="4585947" y="2371737"/>
              <a:ext cx="377807" cy="377281"/>
            </a:xfrm>
            <a:custGeom>
              <a:avLst/>
              <a:gdLst>
                <a:gd name="T0" fmla="*/ 400 w 11264"/>
                <a:gd name="T1" fmla="*/ 7099 h 11264"/>
                <a:gd name="T2" fmla="*/ 4165 w 11264"/>
                <a:gd name="T3" fmla="*/ 7099 h 11264"/>
                <a:gd name="T4" fmla="*/ 4165 w 11264"/>
                <a:gd name="T5" fmla="*/ 10864 h 11264"/>
                <a:gd name="T6" fmla="*/ 4565 w 11264"/>
                <a:gd name="T7" fmla="*/ 11264 h 11264"/>
                <a:gd name="T8" fmla="*/ 6699 w 11264"/>
                <a:gd name="T9" fmla="*/ 11264 h 11264"/>
                <a:gd name="T10" fmla="*/ 7099 w 11264"/>
                <a:gd name="T11" fmla="*/ 10864 h 11264"/>
                <a:gd name="T12" fmla="*/ 7099 w 11264"/>
                <a:gd name="T13" fmla="*/ 7099 h 11264"/>
                <a:gd name="T14" fmla="*/ 10864 w 11264"/>
                <a:gd name="T15" fmla="*/ 7099 h 11264"/>
                <a:gd name="T16" fmla="*/ 11264 w 11264"/>
                <a:gd name="T17" fmla="*/ 6699 h 11264"/>
                <a:gd name="T18" fmla="*/ 11264 w 11264"/>
                <a:gd name="T19" fmla="*/ 4565 h 11264"/>
                <a:gd name="T20" fmla="*/ 10864 w 11264"/>
                <a:gd name="T21" fmla="*/ 4165 h 11264"/>
                <a:gd name="T22" fmla="*/ 7099 w 11264"/>
                <a:gd name="T23" fmla="*/ 4165 h 11264"/>
                <a:gd name="T24" fmla="*/ 7099 w 11264"/>
                <a:gd name="T25" fmla="*/ 400 h 11264"/>
                <a:gd name="T26" fmla="*/ 6699 w 11264"/>
                <a:gd name="T27" fmla="*/ 0 h 11264"/>
                <a:gd name="T28" fmla="*/ 4565 w 11264"/>
                <a:gd name="T29" fmla="*/ 0 h 11264"/>
                <a:gd name="T30" fmla="*/ 4165 w 11264"/>
                <a:gd name="T31" fmla="*/ 400 h 11264"/>
                <a:gd name="T32" fmla="*/ 4165 w 11264"/>
                <a:gd name="T33" fmla="*/ 4165 h 11264"/>
                <a:gd name="T34" fmla="*/ 400 w 11264"/>
                <a:gd name="T35" fmla="*/ 4165 h 11264"/>
                <a:gd name="T36" fmla="*/ 0 w 11264"/>
                <a:gd name="T37" fmla="*/ 4565 h 11264"/>
                <a:gd name="T38" fmla="*/ 0 w 11264"/>
                <a:gd name="T39" fmla="*/ 6699 h 11264"/>
                <a:gd name="T40" fmla="*/ 400 w 11264"/>
                <a:gd name="T41" fmla="*/ 7099 h 1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64" h="11264">
                  <a:moveTo>
                    <a:pt x="400" y="7099"/>
                  </a:moveTo>
                  <a:lnTo>
                    <a:pt x="4165" y="7099"/>
                  </a:lnTo>
                  <a:lnTo>
                    <a:pt x="4165" y="10864"/>
                  </a:lnTo>
                  <a:cubicBezTo>
                    <a:pt x="4165" y="11085"/>
                    <a:pt x="4344" y="11264"/>
                    <a:pt x="4565" y="11264"/>
                  </a:cubicBezTo>
                  <a:lnTo>
                    <a:pt x="6699" y="11264"/>
                  </a:lnTo>
                  <a:cubicBezTo>
                    <a:pt x="6920" y="11264"/>
                    <a:pt x="7099" y="11085"/>
                    <a:pt x="7099" y="10864"/>
                  </a:cubicBezTo>
                  <a:lnTo>
                    <a:pt x="7099" y="7099"/>
                  </a:lnTo>
                  <a:lnTo>
                    <a:pt x="10864" y="7099"/>
                  </a:lnTo>
                  <a:cubicBezTo>
                    <a:pt x="11085" y="7099"/>
                    <a:pt x="11264" y="6920"/>
                    <a:pt x="11264" y="6699"/>
                  </a:cubicBezTo>
                  <a:lnTo>
                    <a:pt x="11264" y="4565"/>
                  </a:lnTo>
                  <a:cubicBezTo>
                    <a:pt x="11264" y="4344"/>
                    <a:pt x="11085" y="4165"/>
                    <a:pt x="10864" y="4165"/>
                  </a:cubicBezTo>
                  <a:lnTo>
                    <a:pt x="7099" y="4165"/>
                  </a:lnTo>
                  <a:lnTo>
                    <a:pt x="7099" y="400"/>
                  </a:lnTo>
                  <a:cubicBezTo>
                    <a:pt x="7099" y="179"/>
                    <a:pt x="6920" y="0"/>
                    <a:pt x="6699" y="0"/>
                  </a:cubicBezTo>
                  <a:lnTo>
                    <a:pt x="4565" y="0"/>
                  </a:lnTo>
                  <a:cubicBezTo>
                    <a:pt x="4344" y="0"/>
                    <a:pt x="4165" y="179"/>
                    <a:pt x="4165" y="400"/>
                  </a:cubicBezTo>
                  <a:lnTo>
                    <a:pt x="4165" y="4165"/>
                  </a:lnTo>
                  <a:lnTo>
                    <a:pt x="400" y="4165"/>
                  </a:lnTo>
                  <a:cubicBezTo>
                    <a:pt x="179" y="4165"/>
                    <a:pt x="0" y="4344"/>
                    <a:pt x="0" y="4565"/>
                  </a:cubicBezTo>
                  <a:lnTo>
                    <a:pt x="0" y="6699"/>
                  </a:lnTo>
                  <a:cubicBezTo>
                    <a:pt x="0" y="6920"/>
                    <a:pt x="179" y="7099"/>
                    <a:pt x="400" y="709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0" name="îsḷïde">
              <a:extLst>
                <a:ext uri="{FF2B5EF4-FFF2-40B4-BE49-F238E27FC236}">
                  <a16:creationId xmlns:a16="http://schemas.microsoft.com/office/drawing/2014/main" id="{F7027C89-1BCC-4A00-9535-016DE4C49FD7}"/>
                </a:ext>
              </a:extLst>
            </p:cNvPr>
            <p:cNvSpPr/>
            <p:nvPr/>
          </p:nvSpPr>
          <p:spPr bwMode="auto">
            <a:xfrm>
              <a:off x="4069565" y="3014578"/>
              <a:ext cx="369969" cy="377806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  <a:gd name="connsiteX107" fmla="*/ 373273 h 605239"/>
                <a:gd name="connsiteY107" fmla="*/ 373273 h 605239"/>
                <a:gd name="connsiteX108" fmla="*/ 373273 h 605239"/>
                <a:gd name="connsiteY108" fmla="*/ 373273 h 605239"/>
                <a:gd name="connsiteX109" fmla="*/ 373273 h 605239"/>
                <a:gd name="connsiteY109" fmla="*/ 373273 h 605239"/>
                <a:gd name="connsiteX110" fmla="*/ 373273 h 605239"/>
                <a:gd name="connsiteY110" fmla="*/ 373273 h 605239"/>
                <a:gd name="connsiteX111" fmla="*/ 373273 h 605239"/>
                <a:gd name="connsiteY111" fmla="*/ 373273 h 605239"/>
                <a:gd name="connsiteX112" fmla="*/ 373273 h 605239"/>
                <a:gd name="connsiteY112" fmla="*/ 373273 h 605239"/>
                <a:gd name="connsiteX113" fmla="*/ 373273 h 605239"/>
                <a:gd name="connsiteY113" fmla="*/ 373273 h 605239"/>
                <a:gd name="connsiteX114" fmla="*/ 373273 h 605239"/>
                <a:gd name="connsiteY114" fmla="*/ 373273 h 605239"/>
                <a:gd name="connsiteX115" fmla="*/ 373273 h 605239"/>
                <a:gd name="connsiteY115" fmla="*/ 373273 h 605239"/>
                <a:gd name="connsiteX116" fmla="*/ 373273 h 605239"/>
                <a:gd name="connsiteY116" fmla="*/ 373273 h 605239"/>
                <a:gd name="connsiteX117" fmla="*/ 373273 h 605239"/>
                <a:gd name="connsiteY117" fmla="*/ 373273 h 605239"/>
                <a:gd name="connsiteX118" fmla="*/ 373273 h 605239"/>
                <a:gd name="connsiteY118" fmla="*/ 373273 h 605239"/>
                <a:gd name="connsiteX119" fmla="*/ 373273 h 605239"/>
                <a:gd name="connsiteY119" fmla="*/ 373273 h 605239"/>
                <a:gd name="connsiteX120" fmla="*/ 373273 h 605239"/>
                <a:gd name="connsiteY120" fmla="*/ 373273 h 605239"/>
                <a:gd name="connsiteX121" fmla="*/ 373273 h 605239"/>
                <a:gd name="connsiteY121" fmla="*/ 373273 h 605239"/>
                <a:gd name="connsiteX122" fmla="*/ 373273 h 605239"/>
                <a:gd name="connsiteY122" fmla="*/ 373273 h 605239"/>
                <a:gd name="connsiteX123" fmla="*/ 373273 h 605239"/>
                <a:gd name="connsiteY123" fmla="*/ 373273 h 605239"/>
                <a:gd name="connsiteX124" fmla="*/ 373273 h 605239"/>
                <a:gd name="connsiteY124" fmla="*/ 373273 h 605239"/>
                <a:gd name="connsiteX125" fmla="*/ 373273 h 605239"/>
                <a:gd name="connsiteY125" fmla="*/ 373273 h 605239"/>
                <a:gd name="connsiteX126" fmla="*/ 373273 h 605239"/>
                <a:gd name="connsiteY126" fmla="*/ 373273 h 605239"/>
                <a:gd name="connsiteX127" fmla="*/ 373273 h 605239"/>
                <a:gd name="connsiteY127" fmla="*/ 373273 h 605239"/>
                <a:gd name="connsiteX128" fmla="*/ 373273 h 605239"/>
                <a:gd name="connsiteY128" fmla="*/ 373273 h 605239"/>
                <a:gd name="connsiteX129" fmla="*/ 373273 h 605239"/>
                <a:gd name="connsiteY12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593733" h="606309">
                  <a:moveTo>
                    <a:pt x="353250" y="302855"/>
                  </a:moveTo>
                  <a:cubicBezTo>
                    <a:pt x="318468" y="302855"/>
                    <a:pt x="290232" y="331146"/>
                    <a:pt x="290232" y="365879"/>
                  </a:cubicBezTo>
                  <a:cubicBezTo>
                    <a:pt x="290232" y="374189"/>
                    <a:pt x="296964" y="380912"/>
                    <a:pt x="305285" y="380912"/>
                  </a:cubicBezTo>
                  <a:cubicBezTo>
                    <a:pt x="313607" y="380912"/>
                    <a:pt x="320338" y="374189"/>
                    <a:pt x="320338" y="365879"/>
                  </a:cubicBezTo>
                  <a:cubicBezTo>
                    <a:pt x="320338" y="347672"/>
                    <a:pt x="335111" y="333014"/>
                    <a:pt x="353250" y="333014"/>
                  </a:cubicBezTo>
                  <a:cubicBezTo>
                    <a:pt x="361665" y="333014"/>
                    <a:pt x="368397" y="326291"/>
                    <a:pt x="368397" y="317888"/>
                  </a:cubicBezTo>
                  <a:cubicBezTo>
                    <a:pt x="368397" y="309578"/>
                    <a:pt x="361665" y="302855"/>
                    <a:pt x="353250" y="302855"/>
                  </a:cubicBezTo>
                  <a:close/>
                  <a:moveTo>
                    <a:pt x="353250" y="265041"/>
                  </a:moveTo>
                  <a:cubicBezTo>
                    <a:pt x="409163" y="265041"/>
                    <a:pt x="454229" y="310232"/>
                    <a:pt x="454229" y="365879"/>
                  </a:cubicBezTo>
                  <a:cubicBezTo>
                    <a:pt x="454229" y="421527"/>
                    <a:pt x="408976" y="466717"/>
                    <a:pt x="353250" y="466717"/>
                  </a:cubicBezTo>
                  <a:cubicBezTo>
                    <a:pt x="297525" y="466717"/>
                    <a:pt x="252271" y="421527"/>
                    <a:pt x="252271" y="365879"/>
                  </a:cubicBezTo>
                  <a:cubicBezTo>
                    <a:pt x="252271" y="310232"/>
                    <a:pt x="297431" y="265041"/>
                    <a:pt x="353250" y="265041"/>
                  </a:cubicBezTo>
                  <a:close/>
                  <a:moveTo>
                    <a:pt x="427779" y="133781"/>
                  </a:moveTo>
                  <a:cubicBezTo>
                    <a:pt x="432818" y="131960"/>
                    <a:pt x="438547" y="132054"/>
                    <a:pt x="443784" y="134482"/>
                  </a:cubicBezTo>
                  <a:lnTo>
                    <a:pt x="473245" y="148209"/>
                  </a:lnTo>
                  <a:cubicBezTo>
                    <a:pt x="483720" y="153158"/>
                    <a:pt x="488209" y="165671"/>
                    <a:pt x="483346" y="176130"/>
                  </a:cubicBezTo>
                  <a:lnTo>
                    <a:pt x="470252" y="203957"/>
                  </a:lnTo>
                  <a:cubicBezTo>
                    <a:pt x="492231" y="219646"/>
                    <a:pt x="511123" y="240003"/>
                    <a:pt x="525526" y="264095"/>
                  </a:cubicBezTo>
                  <a:lnTo>
                    <a:pt x="554426" y="253636"/>
                  </a:lnTo>
                  <a:cubicBezTo>
                    <a:pt x="565368" y="249714"/>
                    <a:pt x="577340" y="255411"/>
                    <a:pt x="581361" y="266243"/>
                  </a:cubicBezTo>
                  <a:lnTo>
                    <a:pt x="592491" y="296592"/>
                  </a:lnTo>
                  <a:cubicBezTo>
                    <a:pt x="596419" y="307612"/>
                    <a:pt x="590714" y="319564"/>
                    <a:pt x="579865" y="323486"/>
                  </a:cubicBezTo>
                  <a:lnTo>
                    <a:pt x="550965" y="333945"/>
                  </a:lnTo>
                  <a:cubicBezTo>
                    <a:pt x="555455" y="361586"/>
                    <a:pt x="553958" y="389414"/>
                    <a:pt x="547224" y="415561"/>
                  </a:cubicBezTo>
                  <a:lnTo>
                    <a:pt x="575095" y="428634"/>
                  </a:lnTo>
                  <a:cubicBezTo>
                    <a:pt x="585570" y="433490"/>
                    <a:pt x="590059" y="445910"/>
                    <a:pt x="585102" y="456649"/>
                  </a:cubicBezTo>
                  <a:lnTo>
                    <a:pt x="571354" y="485970"/>
                  </a:lnTo>
                  <a:cubicBezTo>
                    <a:pt x="566397" y="496429"/>
                    <a:pt x="553958" y="500911"/>
                    <a:pt x="543483" y="496056"/>
                  </a:cubicBezTo>
                  <a:lnTo>
                    <a:pt x="515238" y="482982"/>
                  </a:lnTo>
                  <a:cubicBezTo>
                    <a:pt x="499526" y="504833"/>
                    <a:pt x="479137" y="523510"/>
                    <a:pt x="455007" y="537704"/>
                  </a:cubicBezTo>
                  <a:lnTo>
                    <a:pt x="465763" y="567026"/>
                  </a:lnTo>
                  <a:cubicBezTo>
                    <a:pt x="469784" y="578045"/>
                    <a:pt x="463986" y="589997"/>
                    <a:pt x="453137" y="593919"/>
                  </a:cubicBezTo>
                  <a:lnTo>
                    <a:pt x="422741" y="605032"/>
                  </a:lnTo>
                  <a:cubicBezTo>
                    <a:pt x="411798" y="609047"/>
                    <a:pt x="399827" y="603258"/>
                    <a:pt x="395805" y="592425"/>
                  </a:cubicBezTo>
                  <a:lnTo>
                    <a:pt x="385050" y="562823"/>
                  </a:lnTo>
                  <a:cubicBezTo>
                    <a:pt x="357646" y="567212"/>
                    <a:pt x="330056" y="565718"/>
                    <a:pt x="304149" y="558995"/>
                  </a:cubicBezTo>
                  <a:lnTo>
                    <a:pt x="290682" y="587756"/>
                  </a:lnTo>
                  <a:cubicBezTo>
                    <a:pt x="285725" y="598215"/>
                    <a:pt x="273192" y="602697"/>
                    <a:pt x="262717" y="597841"/>
                  </a:cubicBezTo>
                  <a:lnTo>
                    <a:pt x="233350" y="584114"/>
                  </a:lnTo>
                  <a:cubicBezTo>
                    <a:pt x="222875" y="579165"/>
                    <a:pt x="218385" y="566652"/>
                    <a:pt x="223249" y="556193"/>
                  </a:cubicBezTo>
                  <a:lnTo>
                    <a:pt x="236810" y="527338"/>
                  </a:lnTo>
                  <a:cubicBezTo>
                    <a:pt x="215112" y="511650"/>
                    <a:pt x="196407" y="491480"/>
                    <a:pt x="182284" y="467668"/>
                  </a:cubicBezTo>
                  <a:lnTo>
                    <a:pt x="152169" y="478687"/>
                  </a:lnTo>
                  <a:cubicBezTo>
                    <a:pt x="141133" y="482609"/>
                    <a:pt x="129161" y="476912"/>
                    <a:pt x="125233" y="466080"/>
                  </a:cubicBezTo>
                  <a:lnTo>
                    <a:pt x="114104" y="435731"/>
                  </a:lnTo>
                  <a:cubicBezTo>
                    <a:pt x="110082" y="424712"/>
                    <a:pt x="115881" y="412759"/>
                    <a:pt x="126730" y="408837"/>
                  </a:cubicBezTo>
                  <a:lnTo>
                    <a:pt x="156845" y="397818"/>
                  </a:lnTo>
                  <a:cubicBezTo>
                    <a:pt x="153852" y="379422"/>
                    <a:pt x="153478" y="361026"/>
                    <a:pt x="155629" y="342910"/>
                  </a:cubicBezTo>
                  <a:lnTo>
                    <a:pt x="158622" y="343097"/>
                  </a:lnTo>
                  <a:cubicBezTo>
                    <a:pt x="181162" y="344030"/>
                    <a:pt x="200522" y="327408"/>
                    <a:pt x="203141" y="305370"/>
                  </a:cubicBezTo>
                  <a:cubicBezTo>
                    <a:pt x="207723" y="303876"/>
                    <a:pt x="212119" y="302195"/>
                    <a:pt x="216515" y="300515"/>
                  </a:cubicBezTo>
                  <a:cubicBezTo>
                    <a:pt x="220349" y="304063"/>
                    <a:pt x="224745" y="306958"/>
                    <a:pt x="229609" y="308919"/>
                  </a:cubicBezTo>
                  <a:cubicBezTo>
                    <a:pt x="219227" y="330957"/>
                    <a:pt x="214831" y="355983"/>
                    <a:pt x="217824" y="381943"/>
                  </a:cubicBezTo>
                  <a:cubicBezTo>
                    <a:pt x="226709" y="456462"/>
                    <a:pt x="294329" y="509876"/>
                    <a:pt x="368963" y="501192"/>
                  </a:cubicBezTo>
                  <a:cubicBezTo>
                    <a:pt x="443691" y="492320"/>
                    <a:pt x="497188" y="424899"/>
                    <a:pt x="488490" y="350287"/>
                  </a:cubicBezTo>
                  <a:cubicBezTo>
                    <a:pt x="479605" y="275675"/>
                    <a:pt x="411985" y="222260"/>
                    <a:pt x="337351" y="231038"/>
                  </a:cubicBezTo>
                  <a:cubicBezTo>
                    <a:pt x="324632" y="232532"/>
                    <a:pt x="312473" y="235707"/>
                    <a:pt x="301156" y="240376"/>
                  </a:cubicBezTo>
                  <a:cubicBezTo>
                    <a:pt x="299660" y="236268"/>
                    <a:pt x="297509" y="232345"/>
                    <a:pt x="294797" y="228890"/>
                  </a:cubicBezTo>
                  <a:cubicBezTo>
                    <a:pt x="297041" y="224688"/>
                    <a:pt x="299005" y="220393"/>
                    <a:pt x="300782" y="216097"/>
                  </a:cubicBezTo>
                  <a:cubicBezTo>
                    <a:pt x="311164" y="215817"/>
                    <a:pt x="320891" y="211802"/>
                    <a:pt x="328466" y="204891"/>
                  </a:cubicBezTo>
                  <a:cubicBezTo>
                    <a:pt x="336977" y="197141"/>
                    <a:pt x="341934" y="186589"/>
                    <a:pt x="342402" y="175103"/>
                  </a:cubicBezTo>
                  <a:lnTo>
                    <a:pt x="342776" y="166978"/>
                  </a:lnTo>
                  <a:cubicBezTo>
                    <a:pt x="363164" y="165764"/>
                    <a:pt x="383460" y="167912"/>
                    <a:pt x="402820" y="172768"/>
                  </a:cubicBezTo>
                  <a:lnTo>
                    <a:pt x="415913" y="144567"/>
                  </a:lnTo>
                  <a:cubicBezTo>
                    <a:pt x="418392" y="139338"/>
                    <a:pt x="422741" y="135602"/>
                    <a:pt x="427779" y="133781"/>
                  </a:cubicBezTo>
                  <a:close/>
                  <a:moveTo>
                    <a:pt x="159906" y="88589"/>
                  </a:moveTo>
                  <a:cubicBezTo>
                    <a:pt x="142487" y="87818"/>
                    <a:pt x="124764" y="93678"/>
                    <a:pt x="110828" y="106378"/>
                  </a:cubicBezTo>
                  <a:cubicBezTo>
                    <a:pt x="96145" y="119731"/>
                    <a:pt x="88663" y="138127"/>
                    <a:pt x="88663" y="156523"/>
                  </a:cubicBezTo>
                  <a:cubicBezTo>
                    <a:pt x="88663" y="172958"/>
                    <a:pt x="94555" y="189393"/>
                    <a:pt x="106526" y="202467"/>
                  </a:cubicBezTo>
                  <a:cubicBezTo>
                    <a:pt x="131965" y="230294"/>
                    <a:pt x="175081" y="232162"/>
                    <a:pt x="202764" y="206762"/>
                  </a:cubicBezTo>
                  <a:cubicBezTo>
                    <a:pt x="217448" y="193409"/>
                    <a:pt x="224930" y="175013"/>
                    <a:pt x="224930" y="156523"/>
                  </a:cubicBezTo>
                  <a:cubicBezTo>
                    <a:pt x="224930" y="140088"/>
                    <a:pt x="219132" y="123653"/>
                    <a:pt x="207160" y="110580"/>
                  </a:cubicBezTo>
                  <a:cubicBezTo>
                    <a:pt x="194441" y="96760"/>
                    <a:pt x="177325" y="89359"/>
                    <a:pt x="159906" y="88589"/>
                  </a:cubicBezTo>
                  <a:close/>
                  <a:moveTo>
                    <a:pt x="153289" y="17"/>
                  </a:moveTo>
                  <a:lnTo>
                    <a:pt x="173678" y="951"/>
                  </a:lnTo>
                  <a:cubicBezTo>
                    <a:pt x="180786" y="1325"/>
                    <a:pt x="186304" y="7114"/>
                    <a:pt x="186304" y="14118"/>
                  </a:cubicBezTo>
                  <a:lnTo>
                    <a:pt x="186304" y="14771"/>
                  </a:lnTo>
                  <a:lnTo>
                    <a:pt x="185462" y="34755"/>
                  </a:lnTo>
                  <a:cubicBezTo>
                    <a:pt x="201923" y="38677"/>
                    <a:pt x="217729" y="45774"/>
                    <a:pt x="231851" y="56232"/>
                  </a:cubicBezTo>
                  <a:lnTo>
                    <a:pt x="246535" y="42786"/>
                  </a:lnTo>
                  <a:cubicBezTo>
                    <a:pt x="251866" y="37930"/>
                    <a:pt x="260283" y="38303"/>
                    <a:pt x="265240" y="43626"/>
                  </a:cubicBezTo>
                  <a:lnTo>
                    <a:pt x="279082" y="58660"/>
                  </a:lnTo>
                  <a:cubicBezTo>
                    <a:pt x="281420" y="61275"/>
                    <a:pt x="282542" y="64450"/>
                    <a:pt x="282542" y="67625"/>
                  </a:cubicBezTo>
                  <a:cubicBezTo>
                    <a:pt x="282542" y="71173"/>
                    <a:pt x="281233" y="74722"/>
                    <a:pt x="278334" y="77337"/>
                  </a:cubicBezTo>
                  <a:lnTo>
                    <a:pt x="263744" y="90690"/>
                  </a:lnTo>
                  <a:cubicBezTo>
                    <a:pt x="273096" y="105537"/>
                    <a:pt x="278988" y="121973"/>
                    <a:pt x="281420" y="138781"/>
                  </a:cubicBezTo>
                  <a:lnTo>
                    <a:pt x="301061" y="139621"/>
                  </a:lnTo>
                  <a:cubicBezTo>
                    <a:pt x="308169" y="139995"/>
                    <a:pt x="313593" y="145878"/>
                    <a:pt x="313593" y="152788"/>
                  </a:cubicBezTo>
                  <a:lnTo>
                    <a:pt x="313593" y="153442"/>
                  </a:lnTo>
                  <a:lnTo>
                    <a:pt x="312751" y="173892"/>
                  </a:lnTo>
                  <a:cubicBezTo>
                    <a:pt x="312377" y="181083"/>
                    <a:pt x="306298" y="186779"/>
                    <a:pt x="298910" y="186405"/>
                  </a:cubicBezTo>
                  <a:lnTo>
                    <a:pt x="279456" y="185565"/>
                  </a:lnTo>
                  <a:cubicBezTo>
                    <a:pt x="275622" y="202093"/>
                    <a:pt x="268327" y="218061"/>
                    <a:pt x="257758" y="232162"/>
                  </a:cubicBezTo>
                  <a:lnTo>
                    <a:pt x="270852" y="246449"/>
                  </a:lnTo>
                  <a:cubicBezTo>
                    <a:pt x="273190" y="249064"/>
                    <a:pt x="274312" y="252145"/>
                    <a:pt x="274312" y="255414"/>
                  </a:cubicBezTo>
                  <a:cubicBezTo>
                    <a:pt x="274312" y="258869"/>
                    <a:pt x="273003" y="262511"/>
                    <a:pt x="270104" y="265126"/>
                  </a:cubicBezTo>
                  <a:lnTo>
                    <a:pt x="255046" y="278946"/>
                  </a:lnTo>
                  <a:cubicBezTo>
                    <a:pt x="249621" y="283802"/>
                    <a:pt x="241297" y="283428"/>
                    <a:pt x="236340" y="278106"/>
                  </a:cubicBezTo>
                  <a:lnTo>
                    <a:pt x="223247" y="263724"/>
                  </a:lnTo>
                  <a:cubicBezTo>
                    <a:pt x="208282" y="272970"/>
                    <a:pt x="191635" y="278853"/>
                    <a:pt x="174800" y="281187"/>
                  </a:cubicBezTo>
                  <a:lnTo>
                    <a:pt x="173958" y="300610"/>
                  </a:lnTo>
                  <a:cubicBezTo>
                    <a:pt x="173584" y="307801"/>
                    <a:pt x="167505" y="313590"/>
                    <a:pt x="160117" y="313217"/>
                  </a:cubicBezTo>
                  <a:lnTo>
                    <a:pt x="139634" y="312283"/>
                  </a:lnTo>
                  <a:cubicBezTo>
                    <a:pt x="132526" y="311909"/>
                    <a:pt x="127102" y="306120"/>
                    <a:pt x="127102" y="299116"/>
                  </a:cubicBezTo>
                  <a:lnTo>
                    <a:pt x="127102" y="298463"/>
                  </a:lnTo>
                  <a:lnTo>
                    <a:pt x="128037" y="279039"/>
                  </a:lnTo>
                  <a:cubicBezTo>
                    <a:pt x="111577" y="275211"/>
                    <a:pt x="95771" y="267834"/>
                    <a:pt x="81648" y="257281"/>
                  </a:cubicBezTo>
                  <a:lnTo>
                    <a:pt x="67058" y="270635"/>
                  </a:lnTo>
                  <a:cubicBezTo>
                    <a:pt x="61727" y="275491"/>
                    <a:pt x="53403" y="275117"/>
                    <a:pt x="48353" y="269701"/>
                  </a:cubicBezTo>
                  <a:lnTo>
                    <a:pt x="34511" y="254667"/>
                  </a:lnTo>
                  <a:cubicBezTo>
                    <a:pt x="32173" y="252052"/>
                    <a:pt x="31051" y="248970"/>
                    <a:pt x="31051" y="245702"/>
                  </a:cubicBezTo>
                  <a:cubicBezTo>
                    <a:pt x="31051" y="242247"/>
                    <a:pt x="32453" y="238605"/>
                    <a:pt x="35259" y="235990"/>
                  </a:cubicBezTo>
                  <a:lnTo>
                    <a:pt x="50036" y="222544"/>
                  </a:lnTo>
                  <a:cubicBezTo>
                    <a:pt x="40777" y="207696"/>
                    <a:pt x="35072" y="191261"/>
                    <a:pt x="32640" y="174639"/>
                  </a:cubicBezTo>
                  <a:lnTo>
                    <a:pt x="12626" y="173705"/>
                  </a:lnTo>
                  <a:cubicBezTo>
                    <a:pt x="5518" y="173332"/>
                    <a:pt x="0" y="167542"/>
                    <a:pt x="0" y="160539"/>
                  </a:cubicBezTo>
                  <a:lnTo>
                    <a:pt x="0" y="159885"/>
                  </a:lnTo>
                  <a:lnTo>
                    <a:pt x="842" y="139621"/>
                  </a:lnTo>
                  <a:cubicBezTo>
                    <a:pt x="1216" y="132431"/>
                    <a:pt x="7388" y="126642"/>
                    <a:pt x="14683" y="127015"/>
                  </a:cubicBezTo>
                  <a:lnTo>
                    <a:pt x="34885" y="127949"/>
                  </a:lnTo>
                  <a:cubicBezTo>
                    <a:pt x="38813" y="111514"/>
                    <a:pt x="46015" y="95826"/>
                    <a:pt x="56490" y="81819"/>
                  </a:cubicBezTo>
                  <a:lnTo>
                    <a:pt x="42741" y="66878"/>
                  </a:lnTo>
                  <a:cubicBezTo>
                    <a:pt x="40403" y="64263"/>
                    <a:pt x="39281" y="61182"/>
                    <a:pt x="39281" y="57913"/>
                  </a:cubicBezTo>
                  <a:cubicBezTo>
                    <a:pt x="39281" y="54458"/>
                    <a:pt x="40684" y="50816"/>
                    <a:pt x="43490" y="48202"/>
                  </a:cubicBezTo>
                  <a:lnTo>
                    <a:pt x="58641" y="34381"/>
                  </a:lnTo>
                  <a:cubicBezTo>
                    <a:pt x="63972" y="29526"/>
                    <a:pt x="72296" y="29899"/>
                    <a:pt x="77346" y="35315"/>
                  </a:cubicBezTo>
                  <a:lnTo>
                    <a:pt x="90627" y="50256"/>
                  </a:lnTo>
                  <a:cubicBezTo>
                    <a:pt x="105591" y="41011"/>
                    <a:pt x="121864" y="35128"/>
                    <a:pt x="138512" y="32794"/>
                  </a:cubicBezTo>
                  <a:lnTo>
                    <a:pt x="139447" y="12624"/>
                  </a:lnTo>
                  <a:cubicBezTo>
                    <a:pt x="139821" y="5433"/>
                    <a:pt x="145901" y="-356"/>
                    <a:pt x="153289" y="17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1" name="îṣḻïḓè">
              <a:extLst>
                <a:ext uri="{FF2B5EF4-FFF2-40B4-BE49-F238E27FC236}">
                  <a16:creationId xmlns:a16="http://schemas.microsoft.com/office/drawing/2014/main" id="{30C8A656-A69C-4844-9B4C-38593487F7D6}"/>
                </a:ext>
              </a:extLst>
            </p:cNvPr>
            <p:cNvSpPr/>
            <p:nvPr/>
          </p:nvSpPr>
          <p:spPr bwMode="auto">
            <a:xfrm>
              <a:off x="3563916" y="3658051"/>
              <a:ext cx="377806" cy="377072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81741" h="580612">
                  <a:moveTo>
                    <a:pt x="291612" y="187916"/>
                  </a:moveTo>
                  <a:cubicBezTo>
                    <a:pt x="304876" y="187916"/>
                    <a:pt x="315648" y="198758"/>
                    <a:pt x="315648" y="212088"/>
                  </a:cubicBezTo>
                  <a:lnTo>
                    <a:pt x="315648" y="491836"/>
                  </a:lnTo>
                  <a:lnTo>
                    <a:pt x="331227" y="473974"/>
                  </a:lnTo>
                  <a:cubicBezTo>
                    <a:pt x="339863" y="463932"/>
                    <a:pt x="355086" y="462866"/>
                    <a:pt x="365145" y="471574"/>
                  </a:cubicBezTo>
                  <a:cubicBezTo>
                    <a:pt x="375116" y="480372"/>
                    <a:pt x="376184" y="495657"/>
                    <a:pt x="367460" y="505699"/>
                  </a:cubicBezTo>
                  <a:lnTo>
                    <a:pt x="309773" y="572348"/>
                  </a:lnTo>
                  <a:cubicBezTo>
                    <a:pt x="305143" y="577502"/>
                    <a:pt x="298556" y="580612"/>
                    <a:pt x="291612" y="580612"/>
                  </a:cubicBezTo>
                  <a:cubicBezTo>
                    <a:pt x="284579" y="580612"/>
                    <a:pt x="278080" y="577680"/>
                    <a:pt x="273451" y="572348"/>
                  </a:cubicBezTo>
                  <a:lnTo>
                    <a:pt x="215764" y="505699"/>
                  </a:lnTo>
                  <a:cubicBezTo>
                    <a:pt x="207039" y="495657"/>
                    <a:pt x="208108" y="480372"/>
                    <a:pt x="218078" y="471574"/>
                  </a:cubicBezTo>
                  <a:cubicBezTo>
                    <a:pt x="228049" y="462866"/>
                    <a:pt x="243272" y="463932"/>
                    <a:pt x="252085" y="473974"/>
                  </a:cubicBezTo>
                  <a:lnTo>
                    <a:pt x="267486" y="491747"/>
                  </a:lnTo>
                  <a:lnTo>
                    <a:pt x="267486" y="212088"/>
                  </a:lnTo>
                  <a:cubicBezTo>
                    <a:pt x="267486" y="198758"/>
                    <a:pt x="278258" y="187916"/>
                    <a:pt x="291612" y="187916"/>
                  </a:cubicBezTo>
                  <a:close/>
                  <a:moveTo>
                    <a:pt x="329499" y="0"/>
                  </a:moveTo>
                  <a:cubicBezTo>
                    <a:pt x="426248" y="0"/>
                    <a:pt x="465322" y="80426"/>
                    <a:pt x="473332" y="108153"/>
                  </a:cubicBezTo>
                  <a:cubicBezTo>
                    <a:pt x="535280" y="120684"/>
                    <a:pt x="581474" y="175693"/>
                    <a:pt x="581741" y="241190"/>
                  </a:cubicBezTo>
                  <a:cubicBezTo>
                    <a:pt x="581741" y="315840"/>
                    <a:pt x="521306" y="376537"/>
                    <a:pt x="446987" y="376537"/>
                  </a:cubicBezTo>
                  <a:lnTo>
                    <a:pt x="372756" y="376537"/>
                  </a:lnTo>
                  <a:cubicBezTo>
                    <a:pt x="359316" y="376537"/>
                    <a:pt x="348546" y="365606"/>
                    <a:pt x="348546" y="352276"/>
                  </a:cubicBezTo>
                  <a:cubicBezTo>
                    <a:pt x="348546" y="338857"/>
                    <a:pt x="359316" y="327926"/>
                    <a:pt x="372756" y="327926"/>
                  </a:cubicBezTo>
                  <a:lnTo>
                    <a:pt x="446987" y="327926"/>
                  </a:lnTo>
                  <a:cubicBezTo>
                    <a:pt x="494605" y="327926"/>
                    <a:pt x="533322" y="289090"/>
                    <a:pt x="533322" y="241190"/>
                  </a:cubicBezTo>
                  <a:cubicBezTo>
                    <a:pt x="533322" y="195334"/>
                    <a:pt x="497720" y="157298"/>
                    <a:pt x="452238" y="154632"/>
                  </a:cubicBezTo>
                  <a:cubicBezTo>
                    <a:pt x="440934" y="153921"/>
                    <a:pt x="431589" y="145478"/>
                    <a:pt x="429809" y="134192"/>
                  </a:cubicBezTo>
                  <a:cubicBezTo>
                    <a:pt x="421709" y="84692"/>
                    <a:pt x="379609" y="48789"/>
                    <a:pt x="329677" y="48789"/>
                  </a:cubicBezTo>
                  <a:cubicBezTo>
                    <a:pt x="279567" y="48789"/>
                    <a:pt x="238001" y="84781"/>
                    <a:pt x="229457" y="134192"/>
                  </a:cubicBezTo>
                  <a:cubicBezTo>
                    <a:pt x="226520" y="151521"/>
                    <a:pt x="212190" y="162807"/>
                    <a:pt x="192964" y="151077"/>
                  </a:cubicBezTo>
                  <a:cubicBezTo>
                    <a:pt x="178011" y="141834"/>
                    <a:pt x="160922" y="136947"/>
                    <a:pt x="143299" y="136947"/>
                  </a:cubicBezTo>
                  <a:cubicBezTo>
                    <a:pt x="90964" y="136947"/>
                    <a:pt x="48419" y="179693"/>
                    <a:pt x="48419" y="232303"/>
                  </a:cubicBezTo>
                  <a:cubicBezTo>
                    <a:pt x="48419" y="284913"/>
                    <a:pt x="90964" y="327748"/>
                    <a:pt x="143299" y="327748"/>
                  </a:cubicBezTo>
                  <a:lnTo>
                    <a:pt x="218776" y="327748"/>
                  </a:lnTo>
                  <a:cubicBezTo>
                    <a:pt x="232216" y="327748"/>
                    <a:pt x="242986" y="338590"/>
                    <a:pt x="242986" y="352009"/>
                  </a:cubicBezTo>
                  <a:cubicBezTo>
                    <a:pt x="242986" y="365429"/>
                    <a:pt x="232216" y="376271"/>
                    <a:pt x="218776" y="376271"/>
                  </a:cubicBezTo>
                  <a:lnTo>
                    <a:pt x="143299" y="376271"/>
                  </a:lnTo>
                  <a:cubicBezTo>
                    <a:pt x="64262" y="376271"/>
                    <a:pt x="0" y="311574"/>
                    <a:pt x="0" y="232214"/>
                  </a:cubicBezTo>
                  <a:cubicBezTo>
                    <a:pt x="0" y="152854"/>
                    <a:pt x="64262" y="88158"/>
                    <a:pt x="143210" y="88158"/>
                  </a:cubicBezTo>
                  <a:cubicBezTo>
                    <a:pt x="159231" y="88158"/>
                    <a:pt x="174896" y="90735"/>
                    <a:pt x="189849" y="95978"/>
                  </a:cubicBezTo>
                  <a:cubicBezTo>
                    <a:pt x="198749" y="73050"/>
                    <a:pt x="238891" y="0"/>
                    <a:pt x="32949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2" name="iş1iḑe">
              <a:extLst>
                <a:ext uri="{FF2B5EF4-FFF2-40B4-BE49-F238E27FC236}">
                  <a16:creationId xmlns:a16="http://schemas.microsoft.com/office/drawing/2014/main" id="{79D5FAF9-096B-4C61-A299-6A26A276E128}"/>
                </a:ext>
              </a:extLst>
            </p:cNvPr>
            <p:cNvSpPr/>
            <p:nvPr/>
          </p:nvSpPr>
          <p:spPr bwMode="auto">
            <a:xfrm>
              <a:off x="3025037" y="4301073"/>
              <a:ext cx="377806" cy="377236"/>
            </a:xfrm>
            <a:custGeom>
              <a:avLst/>
              <a:gdLst>
                <a:gd name="connsiteX0" fmla="*/ 303820 w 607639"/>
                <a:gd name="connsiteY0" fmla="*/ 278099 h 606722"/>
                <a:gd name="connsiteX1" fmla="*/ 329118 w 607639"/>
                <a:gd name="connsiteY1" fmla="*/ 303362 h 606722"/>
                <a:gd name="connsiteX2" fmla="*/ 303820 w 607639"/>
                <a:gd name="connsiteY2" fmla="*/ 328625 h 606722"/>
                <a:gd name="connsiteX3" fmla="*/ 278522 w 607639"/>
                <a:gd name="connsiteY3" fmla="*/ 303362 h 606722"/>
                <a:gd name="connsiteX4" fmla="*/ 303820 w 607639"/>
                <a:gd name="connsiteY4" fmla="*/ 278099 h 606722"/>
                <a:gd name="connsiteX5" fmla="*/ 303775 w 607639"/>
                <a:gd name="connsiteY5" fmla="*/ 252735 h 606722"/>
                <a:gd name="connsiteX6" fmla="*/ 253140 w 607639"/>
                <a:gd name="connsiteY6" fmla="*/ 303317 h 606722"/>
                <a:gd name="connsiteX7" fmla="*/ 303775 w 607639"/>
                <a:gd name="connsiteY7" fmla="*/ 353900 h 606722"/>
                <a:gd name="connsiteX8" fmla="*/ 354410 w 607639"/>
                <a:gd name="connsiteY8" fmla="*/ 303317 h 606722"/>
                <a:gd name="connsiteX9" fmla="*/ 303775 w 607639"/>
                <a:gd name="connsiteY9" fmla="*/ 252735 h 606722"/>
                <a:gd name="connsiteX10" fmla="*/ 303775 w 607639"/>
                <a:gd name="connsiteY10" fmla="*/ 202241 h 606722"/>
                <a:gd name="connsiteX11" fmla="*/ 405045 w 607639"/>
                <a:gd name="connsiteY11" fmla="*/ 303317 h 606722"/>
                <a:gd name="connsiteX12" fmla="*/ 303775 w 607639"/>
                <a:gd name="connsiteY12" fmla="*/ 404482 h 606722"/>
                <a:gd name="connsiteX13" fmla="*/ 202593 w 607639"/>
                <a:gd name="connsiteY13" fmla="*/ 303317 h 606722"/>
                <a:gd name="connsiteX14" fmla="*/ 303775 w 607639"/>
                <a:gd name="connsiteY14" fmla="*/ 202241 h 606722"/>
                <a:gd name="connsiteX15" fmla="*/ 303775 w 607639"/>
                <a:gd name="connsiteY15" fmla="*/ 151703 h 606722"/>
                <a:gd name="connsiteX16" fmla="*/ 151932 w 607639"/>
                <a:gd name="connsiteY16" fmla="*/ 303317 h 606722"/>
                <a:gd name="connsiteX17" fmla="*/ 303775 w 607639"/>
                <a:gd name="connsiteY17" fmla="*/ 455019 h 606722"/>
                <a:gd name="connsiteX18" fmla="*/ 455707 w 607639"/>
                <a:gd name="connsiteY18" fmla="*/ 303317 h 606722"/>
                <a:gd name="connsiteX19" fmla="*/ 303775 w 607639"/>
                <a:gd name="connsiteY19" fmla="*/ 151703 h 606722"/>
                <a:gd name="connsiteX20" fmla="*/ 253131 w 607639"/>
                <a:gd name="connsiteY20" fmla="*/ 0 h 606722"/>
                <a:gd name="connsiteX21" fmla="*/ 354419 w 607639"/>
                <a:gd name="connsiteY21" fmla="*/ 0 h 606722"/>
                <a:gd name="connsiteX22" fmla="*/ 379786 w 607639"/>
                <a:gd name="connsiteY22" fmla="*/ 25239 h 606722"/>
                <a:gd name="connsiteX23" fmla="*/ 379786 w 607639"/>
                <a:gd name="connsiteY23" fmla="*/ 62387 h 606722"/>
                <a:gd name="connsiteX24" fmla="*/ 420639 w 607639"/>
                <a:gd name="connsiteY24" fmla="*/ 79451 h 606722"/>
                <a:gd name="connsiteX25" fmla="*/ 446985 w 607639"/>
                <a:gd name="connsiteY25" fmla="*/ 53145 h 606722"/>
                <a:gd name="connsiteX26" fmla="*/ 482854 w 607639"/>
                <a:gd name="connsiteY26" fmla="*/ 53145 h 606722"/>
                <a:gd name="connsiteX27" fmla="*/ 554414 w 607639"/>
                <a:gd name="connsiteY27" fmla="*/ 124597 h 606722"/>
                <a:gd name="connsiteX28" fmla="*/ 554414 w 607639"/>
                <a:gd name="connsiteY28" fmla="*/ 160323 h 606722"/>
                <a:gd name="connsiteX29" fmla="*/ 528069 w 607639"/>
                <a:gd name="connsiteY29" fmla="*/ 186629 h 606722"/>
                <a:gd name="connsiteX30" fmla="*/ 545158 w 607639"/>
                <a:gd name="connsiteY30" fmla="*/ 227510 h 606722"/>
                <a:gd name="connsiteX31" fmla="*/ 582273 w 607639"/>
                <a:gd name="connsiteY31" fmla="*/ 227510 h 606722"/>
                <a:gd name="connsiteX32" fmla="*/ 607639 w 607639"/>
                <a:gd name="connsiteY32" fmla="*/ 252749 h 606722"/>
                <a:gd name="connsiteX33" fmla="*/ 607639 w 607639"/>
                <a:gd name="connsiteY33" fmla="*/ 353884 h 606722"/>
                <a:gd name="connsiteX34" fmla="*/ 582273 w 607639"/>
                <a:gd name="connsiteY34" fmla="*/ 379212 h 606722"/>
                <a:gd name="connsiteX35" fmla="*/ 545158 w 607639"/>
                <a:gd name="connsiteY35" fmla="*/ 379212 h 606722"/>
                <a:gd name="connsiteX36" fmla="*/ 528069 w 607639"/>
                <a:gd name="connsiteY36" fmla="*/ 420004 h 606722"/>
                <a:gd name="connsiteX37" fmla="*/ 554414 w 607639"/>
                <a:gd name="connsiteY37" fmla="*/ 446310 h 606722"/>
                <a:gd name="connsiteX38" fmla="*/ 554414 w 607639"/>
                <a:gd name="connsiteY38" fmla="*/ 482125 h 606722"/>
                <a:gd name="connsiteX39" fmla="*/ 482854 w 607639"/>
                <a:gd name="connsiteY39" fmla="*/ 553577 h 606722"/>
                <a:gd name="connsiteX40" fmla="*/ 446985 w 607639"/>
                <a:gd name="connsiteY40" fmla="*/ 553577 h 606722"/>
                <a:gd name="connsiteX41" fmla="*/ 420639 w 607639"/>
                <a:gd name="connsiteY41" fmla="*/ 527271 h 606722"/>
                <a:gd name="connsiteX42" fmla="*/ 379786 w 607639"/>
                <a:gd name="connsiteY42" fmla="*/ 544246 h 606722"/>
                <a:gd name="connsiteX43" fmla="*/ 379786 w 607639"/>
                <a:gd name="connsiteY43" fmla="*/ 581394 h 606722"/>
                <a:gd name="connsiteX44" fmla="*/ 354419 w 607639"/>
                <a:gd name="connsiteY44" fmla="*/ 606722 h 606722"/>
                <a:gd name="connsiteX45" fmla="*/ 253131 w 607639"/>
                <a:gd name="connsiteY45" fmla="*/ 606722 h 606722"/>
                <a:gd name="connsiteX46" fmla="*/ 227854 w 607639"/>
                <a:gd name="connsiteY46" fmla="*/ 581394 h 606722"/>
                <a:gd name="connsiteX47" fmla="*/ 227854 w 607639"/>
                <a:gd name="connsiteY47" fmla="*/ 544246 h 606722"/>
                <a:gd name="connsiteX48" fmla="*/ 186911 w 607639"/>
                <a:gd name="connsiteY48" fmla="*/ 527271 h 606722"/>
                <a:gd name="connsiteX49" fmla="*/ 160566 w 607639"/>
                <a:gd name="connsiteY49" fmla="*/ 553577 h 606722"/>
                <a:gd name="connsiteX50" fmla="*/ 124786 w 607639"/>
                <a:gd name="connsiteY50" fmla="*/ 553577 h 606722"/>
                <a:gd name="connsiteX51" fmla="*/ 53225 w 607639"/>
                <a:gd name="connsiteY51" fmla="*/ 482125 h 606722"/>
                <a:gd name="connsiteX52" fmla="*/ 53225 w 607639"/>
                <a:gd name="connsiteY52" fmla="*/ 446310 h 606722"/>
                <a:gd name="connsiteX53" fmla="*/ 79482 w 607639"/>
                <a:gd name="connsiteY53" fmla="*/ 420004 h 606722"/>
                <a:gd name="connsiteX54" fmla="*/ 62482 w 607639"/>
                <a:gd name="connsiteY54" fmla="*/ 379212 h 606722"/>
                <a:gd name="connsiteX55" fmla="*/ 25278 w 607639"/>
                <a:gd name="connsiteY55" fmla="*/ 379212 h 606722"/>
                <a:gd name="connsiteX56" fmla="*/ 0 w 607639"/>
                <a:gd name="connsiteY56" fmla="*/ 353884 h 606722"/>
                <a:gd name="connsiteX57" fmla="*/ 0 w 607639"/>
                <a:gd name="connsiteY57" fmla="*/ 252749 h 606722"/>
                <a:gd name="connsiteX58" fmla="*/ 25278 w 607639"/>
                <a:gd name="connsiteY58" fmla="*/ 227510 h 606722"/>
                <a:gd name="connsiteX59" fmla="*/ 62482 w 607639"/>
                <a:gd name="connsiteY59" fmla="*/ 227510 h 606722"/>
                <a:gd name="connsiteX60" fmla="*/ 79482 w 607639"/>
                <a:gd name="connsiteY60" fmla="*/ 186629 h 606722"/>
                <a:gd name="connsiteX61" fmla="*/ 53225 w 607639"/>
                <a:gd name="connsiteY61" fmla="*/ 160323 h 606722"/>
                <a:gd name="connsiteX62" fmla="*/ 53225 w 607639"/>
                <a:gd name="connsiteY62" fmla="*/ 124597 h 606722"/>
                <a:gd name="connsiteX63" fmla="*/ 124786 w 607639"/>
                <a:gd name="connsiteY63" fmla="*/ 53145 h 606722"/>
                <a:gd name="connsiteX64" fmla="*/ 160566 w 607639"/>
                <a:gd name="connsiteY64" fmla="*/ 53145 h 606722"/>
                <a:gd name="connsiteX65" fmla="*/ 186911 w 607639"/>
                <a:gd name="connsiteY65" fmla="*/ 79451 h 606722"/>
                <a:gd name="connsiteX66" fmla="*/ 227854 w 607639"/>
                <a:gd name="connsiteY66" fmla="*/ 62387 h 606722"/>
                <a:gd name="connsiteX67" fmla="*/ 227854 w 607639"/>
                <a:gd name="connsiteY67" fmla="*/ 25239 h 606722"/>
                <a:gd name="connsiteX68" fmla="*/ 253131 w 607639"/>
                <a:gd name="connsiteY68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607639" h="606722">
                  <a:moveTo>
                    <a:pt x="303820" y="278099"/>
                  </a:moveTo>
                  <a:cubicBezTo>
                    <a:pt x="317792" y="278099"/>
                    <a:pt x="329118" y="289410"/>
                    <a:pt x="329118" y="303362"/>
                  </a:cubicBezTo>
                  <a:cubicBezTo>
                    <a:pt x="329118" y="317314"/>
                    <a:pt x="317792" y="328625"/>
                    <a:pt x="303820" y="328625"/>
                  </a:cubicBezTo>
                  <a:cubicBezTo>
                    <a:pt x="289848" y="328625"/>
                    <a:pt x="278522" y="317314"/>
                    <a:pt x="278522" y="303362"/>
                  </a:cubicBezTo>
                  <a:cubicBezTo>
                    <a:pt x="278522" y="289410"/>
                    <a:pt x="289848" y="278099"/>
                    <a:pt x="303820" y="278099"/>
                  </a:cubicBezTo>
                  <a:close/>
                  <a:moveTo>
                    <a:pt x="303775" y="252735"/>
                  </a:moveTo>
                  <a:cubicBezTo>
                    <a:pt x="275921" y="252735"/>
                    <a:pt x="253140" y="275492"/>
                    <a:pt x="253140" y="303317"/>
                  </a:cubicBezTo>
                  <a:cubicBezTo>
                    <a:pt x="253140" y="331231"/>
                    <a:pt x="275921" y="353900"/>
                    <a:pt x="303775" y="353900"/>
                  </a:cubicBezTo>
                  <a:cubicBezTo>
                    <a:pt x="331718" y="353900"/>
                    <a:pt x="354410" y="331231"/>
                    <a:pt x="354410" y="303317"/>
                  </a:cubicBezTo>
                  <a:cubicBezTo>
                    <a:pt x="354410" y="275492"/>
                    <a:pt x="331718" y="252735"/>
                    <a:pt x="303775" y="252735"/>
                  </a:cubicBezTo>
                  <a:close/>
                  <a:moveTo>
                    <a:pt x="303775" y="202241"/>
                  </a:moveTo>
                  <a:cubicBezTo>
                    <a:pt x="359660" y="202241"/>
                    <a:pt x="405045" y="247579"/>
                    <a:pt x="405045" y="303317"/>
                  </a:cubicBezTo>
                  <a:cubicBezTo>
                    <a:pt x="405045" y="359144"/>
                    <a:pt x="359660" y="404482"/>
                    <a:pt x="303775" y="404482"/>
                  </a:cubicBezTo>
                  <a:cubicBezTo>
                    <a:pt x="247978" y="404482"/>
                    <a:pt x="202593" y="359144"/>
                    <a:pt x="202593" y="303317"/>
                  </a:cubicBezTo>
                  <a:cubicBezTo>
                    <a:pt x="202593" y="247579"/>
                    <a:pt x="247978" y="202241"/>
                    <a:pt x="303775" y="202241"/>
                  </a:cubicBezTo>
                  <a:close/>
                  <a:moveTo>
                    <a:pt x="303775" y="151703"/>
                  </a:moveTo>
                  <a:cubicBezTo>
                    <a:pt x="220021" y="151703"/>
                    <a:pt x="151932" y="219689"/>
                    <a:pt x="151932" y="303317"/>
                  </a:cubicBezTo>
                  <a:cubicBezTo>
                    <a:pt x="151932" y="387033"/>
                    <a:pt x="220021" y="455019"/>
                    <a:pt x="303775" y="455019"/>
                  </a:cubicBezTo>
                  <a:cubicBezTo>
                    <a:pt x="387618" y="455019"/>
                    <a:pt x="455707" y="387033"/>
                    <a:pt x="455707" y="303317"/>
                  </a:cubicBezTo>
                  <a:cubicBezTo>
                    <a:pt x="455707" y="219689"/>
                    <a:pt x="387618" y="151703"/>
                    <a:pt x="303775" y="151703"/>
                  </a:cubicBezTo>
                  <a:close/>
                  <a:moveTo>
                    <a:pt x="253131" y="0"/>
                  </a:moveTo>
                  <a:lnTo>
                    <a:pt x="354419" y="0"/>
                  </a:lnTo>
                  <a:cubicBezTo>
                    <a:pt x="368482" y="0"/>
                    <a:pt x="379786" y="11287"/>
                    <a:pt x="379786" y="25239"/>
                  </a:cubicBezTo>
                  <a:lnTo>
                    <a:pt x="379786" y="62387"/>
                  </a:lnTo>
                  <a:cubicBezTo>
                    <a:pt x="393849" y="66831"/>
                    <a:pt x="407555" y="72519"/>
                    <a:pt x="420639" y="79451"/>
                  </a:cubicBezTo>
                  <a:lnTo>
                    <a:pt x="446985" y="53145"/>
                  </a:lnTo>
                  <a:cubicBezTo>
                    <a:pt x="456953" y="43191"/>
                    <a:pt x="472974" y="43191"/>
                    <a:pt x="482854" y="53145"/>
                  </a:cubicBezTo>
                  <a:lnTo>
                    <a:pt x="554414" y="124597"/>
                  </a:lnTo>
                  <a:cubicBezTo>
                    <a:pt x="564294" y="134462"/>
                    <a:pt x="564294" y="150459"/>
                    <a:pt x="554414" y="160323"/>
                  </a:cubicBezTo>
                  <a:lnTo>
                    <a:pt x="528069" y="186629"/>
                  </a:lnTo>
                  <a:cubicBezTo>
                    <a:pt x="535011" y="199782"/>
                    <a:pt x="540707" y="213468"/>
                    <a:pt x="545158" y="227510"/>
                  </a:cubicBezTo>
                  <a:lnTo>
                    <a:pt x="582273" y="227510"/>
                  </a:lnTo>
                  <a:cubicBezTo>
                    <a:pt x="596336" y="227510"/>
                    <a:pt x="607639" y="238796"/>
                    <a:pt x="607639" y="252749"/>
                  </a:cubicBezTo>
                  <a:lnTo>
                    <a:pt x="607639" y="353884"/>
                  </a:lnTo>
                  <a:cubicBezTo>
                    <a:pt x="607639" y="367926"/>
                    <a:pt x="596247" y="379212"/>
                    <a:pt x="582273" y="379212"/>
                  </a:cubicBezTo>
                  <a:lnTo>
                    <a:pt x="545158" y="379212"/>
                  </a:lnTo>
                  <a:cubicBezTo>
                    <a:pt x="540707" y="393254"/>
                    <a:pt x="535011" y="406940"/>
                    <a:pt x="528069" y="420004"/>
                  </a:cubicBezTo>
                  <a:lnTo>
                    <a:pt x="554414" y="446310"/>
                  </a:lnTo>
                  <a:cubicBezTo>
                    <a:pt x="564294" y="456263"/>
                    <a:pt x="564294" y="472260"/>
                    <a:pt x="554414" y="482125"/>
                  </a:cubicBezTo>
                  <a:lnTo>
                    <a:pt x="482854" y="553577"/>
                  </a:lnTo>
                  <a:cubicBezTo>
                    <a:pt x="472974" y="563442"/>
                    <a:pt x="456953" y="563442"/>
                    <a:pt x="446985" y="553577"/>
                  </a:cubicBezTo>
                  <a:lnTo>
                    <a:pt x="420639" y="527271"/>
                  </a:lnTo>
                  <a:cubicBezTo>
                    <a:pt x="407555" y="534203"/>
                    <a:pt x="393849" y="539802"/>
                    <a:pt x="379786" y="544246"/>
                  </a:cubicBezTo>
                  <a:lnTo>
                    <a:pt x="379786" y="581394"/>
                  </a:lnTo>
                  <a:cubicBezTo>
                    <a:pt x="379786" y="595435"/>
                    <a:pt x="368393" y="606722"/>
                    <a:pt x="354419" y="606722"/>
                  </a:cubicBezTo>
                  <a:lnTo>
                    <a:pt x="253131" y="606722"/>
                  </a:lnTo>
                  <a:cubicBezTo>
                    <a:pt x="239157" y="606722"/>
                    <a:pt x="227854" y="595435"/>
                    <a:pt x="227854" y="581394"/>
                  </a:cubicBezTo>
                  <a:lnTo>
                    <a:pt x="227854" y="544246"/>
                  </a:lnTo>
                  <a:cubicBezTo>
                    <a:pt x="213791" y="539802"/>
                    <a:pt x="200084" y="534203"/>
                    <a:pt x="186911" y="527271"/>
                  </a:cubicBezTo>
                  <a:lnTo>
                    <a:pt x="160566" y="553577"/>
                  </a:lnTo>
                  <a:cubicBezTo>
                    <a:pt x="150686" y="563442"/>
                    <a:pt x="134665" y="563442"/>
                    <a:pt x="124786" y="553577"/>
                  </a:cubicBezTo>
                  <a:lnTo>
                    <a:pt x="53225" y="482125"/>
                  </a:lnTo>
                  <a:cubicBezTo>
                    <a:pt x="43257" y="472260"/>
                    <a:pt x="43257" y="456263"/>
                    <a:pt x="53225" y="446310"/>
                  </a:cubicBezTo>
                  <a:lnTo>
                    <a:pt x="79482" y="420004"/>
                  </a:lnTo>
                  <a:cubicBezTo>
                    <a:pt x="72629" y="406940"/>
                    <a:pt x="66932" y="393254"/>
                    <a:pt x="62482" y="379212"/>
                  </a:cubicBezTo>
                  <a:lnTo>
                    <a:pt x="25278" y="379212"/>
                  </a:lnTo>
                  <a:cubicBezTo>
                    <a:pt x="11304" y="379212"/>
                    <a:pt x="0" y="367926"/>
                    <a:pt x="0" y="353884"/>
                  </a:cubicBezTo>
                  <a:lnTo>
                    <a:pt x="0" y="252749"/>
                  </a:lnTo>
                  <a:cubicBezTo>
                    <a:pt x="0" y="238796"/>
                    <a:pt x="11304" y="227510"/>
                    <a:pt x="25278" y="227510"/>
                  </a:cubicBezTo>
                  <a:lnTo>
                    <a:pt x="62482" y="227510"/>
                  </a:lnTo>
                  <a:cubicBezTo>
                    <a:pt x="66932" y="213468"/>
                    <a:pt x="72629" y="199782"/>
                    <a:pt x="79482" y="186629"/>
                  </a:cubicBezTo>
                  <a:lnTo>
                    <a:pt x="53225" y="160323"/>
                  </a:lnTo>
                  <a:cubicBezTo>
                    <a:pt x="43257" y="150459"/>
                    <a:pt x="43257" y="134462"/>
                    <a:pt x="53225" y="124597"/>
                  </a:cubicBezTo>
                  <a:lnTo>
                    <a:pt x="124786" y="53145"/>
                  </a:lnTo>
                  <a:cubicBezTo>
                    <a:pt x="134665" y="43191"/>
                    <a:pt x="150686" y="43191"/>
                    <a:pt x="160566" y="53145"/>
                  </a:cubicBezTo>
                  <a:lnTo>
                    <a:pt x="186911" y="79451"/>
                  </a:lnTo>
                  <a:cubicBezTo>
                    <a:pt x="200084" y="72519"/>
                    <a:pt x="213791" y="66831"/>
                    <a:pt x="227854" y="62387"/>
                  </a:cubicBezTo>
                  <a:lnTo>
                    <a:pt x="227854" y="25239"/>
                  </a:lnTo>
                  <a:cubicBezTo>
                    <a:pt x="227854" y="11287"/>
                    <a:pt x="239157" y="0"/>
                    <a:pt x="253131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3" name="ïṧľíďê">
              <a:extLst>
                <a:ext uri="{FF2B5EF4-FFF2-40B4-BE49-F238E27FC236}">
                  <a16:creationId xmlns:a16="http://schemas.microsoft.com/office/drawing/2014/main" id="{83AC56C8-BB22-4DB6-8372-AA84DFFA3A81}"/>
                </a:ext>
              </a:extLst>
            </p:cNvPr>
            <p:cNvSpPr/>
            <p:nvPr/>
          </p:nvSpPr>
          <p:spPr bwMode="auto">
            <a:xfrm>
              <a:off x="2498293" y="4944202"/>
              <a:ext cx="377806" cy="377188"/>
            </a:xfrm>
            <a:custGeom>
              <a:avLst/>
              <a:gdLst>
                <a:gd name="connsiteX0" fmla="*/ 380418 w 604181"/>
                <a:gd name="connsiteY0" fmla="*/ 268007 h 603193"/>
                <a:gd name="connsiteX1" fmla="*/ 519220 w 604181"/>
                <a:gd name="connsiteY1" fmla="*/ 339187 h 603193"/>
                <a:gd name="connsiteX2" fmla="*/ 519220 w 604181"/>
                <a:gd name="connsiteY2" fmla="*/ 355820 h 603193"/>
                <a:gd name="connsiteX3" fmla="*/ 380418 w 604181"/>
                <a:gd name="connsiteY3" fmla="*/ 426850 h 603193"/>
                <a:gd name="connsiteX4" fmla="*/ 380418 w 604181"/>
                <a:gd name="connsiteY4" fmla="*/ 406320 h 603193"/>
                <a:gd name="connsiteX5" fmla="*/ 498212 w 604181"/>
                <a:gd name="connsiteY5" fmla="*/ 347728 h 603193"/>
                <a:gd name="connsiteX6" fmla="*/ 498212 w 604181"/>
                <a:gd name="connsiteY6" fmla="*/ 347129 h 603193"/>
                <a:gd name="connsiteX7" fmla="*/ 380418 w 604181"/>
                <a:gd name="connsiteY7" fmla="*/ 288687 h 603193"/>
                <a:gd name="connsiteX8" fmla="*/ 216565 w 604181"/>
                <a:gd name="connsiteY8" fmla="*/ 268007 h 603193"/>
                <a:gd name="connsiteX9" fmla="*/ 216565 w 604181"/>
                <a:gd name="connsiteY9" fmla="*/ 288687 h 603193"/>
                <a:gd name="connsiteX10" fmla="*/ 99664 w 604181"/>
                <a:gd name="connsiteY10" fmla="*/ 347129 h 603193"/>
                <a:gd name="connsiteX11" fmla="*/ 99664 w 604181"/>
                <a:gd name="connsiteY11" fmla="*/ 347728 h 603193"/>
                <a:gd name="connsiteX12" fmla="*/ 216565 w 604181"/>
                <a:gd name="connsiteY12" fmla="*/ 406320 h 603193"/>
                <a:gd name="connsiteX13" fmla="*/ 216565 w 604181"/>
                <a:gd name="connsiteY13" fmla="*/ 426850 h 603193"/>
                <a:gd name="connsiteX14" fmla="*/ 77904 w 604181"/>
                <a:gd name="connsiteY14" fmla="*/ 355521 h 603193"/>
                <a:gd name="connsiteX15" fmla="*/ 77904 w 604181"/>
                <a:gd name="connsiteY15" fmla="*/ 339486 h 603193"/>
                <a:gd name="connsiteX16" fmla="*/ 338273 w 604181"/>
                <a:gd name="connsiteY16" fmla="*/ 222493 h 603193"/>
                <a:gd name="connsiteX17" fmla="*/ 358684 w 604181"/>
                <a:gd name="connsiteY17" fmla="*/ 222493 h 603193"/>
                <a:gd name="connsiteX18" fmla="*/ 253179 w 604181"/>
                <a:gd name="connsiteY18" fmla="*/ 482103 h 603193"/>
                <a:gd name="connsiteX19" fmla="*/ 233219 w 604181"/>
                <a:gd name="connsiteY19" fmla="*/ 482103 h 603193"/>
                <a:gd name="connsiteX20" fmla="*/ 28813 w 604181"/>
                <a:gd name="connsiteY20" fmla="*/ 128849 h 603193"/>
                <a:gd name="connsiteX21" fmla="*/ 28813 w 604181"/>
                <a:gd name="connsiteY21" fmla="*/ 557497 h 603193"/>
                <a:gd name="connsiteX22" fmla="*/ 45921 w 604181"/>
                <a:gd name="connsiteY22" fmla="*/ 574427 h 603193"/>
                <a:gd name="connsiteX23" fmla="*/ 558410 w 604181"/>
                <a:gd name="connsiteY23" fmla="*/ 574427 h 603193"/>
                <a:gd name="connsiteX24" fmla="*/ 575368 w 604181"/>
                <a:gd name="connsiteY24" fmla="*/ 557497 h 603193"/>
                <a:gd name="connsiteX25" fmla="*/ 575368 w 604181"/>
                <a:gd name="connsiteY25" fmla="*/ 128849 h 603193"/>
                <a:gd name="connsiteX26" fmla="*/ 502734 w 604181"/>
                <a:gd name="connsiteY26" fmla="*/ 43149 h 603193"/>
                <a:gd name="connsiteX27" fmla="*/ 502734 w 604181"/>
                <a:gd name="connsiteY27" fmla="*/ 77309 h 603193"/>
                <a:gd name="connsiteX28" fmla="*/ 537100 w 604181"/>
                <a:gd name="connsiteY28" fmla="*/ 77309 h 603193"/>
                <a:gd name="connsiteX29" fmla="*/ 537100 w 604181"/>
                <a:gd name="connsiteY29" fmla="*/ 43149 h 603193"/>
                <a:gd name="connsiteX30" fmla="*/ 423197 w 604181"/>
                <a:gd name="connsiteY30" fmla="*/ 43149 h 603193"/>
                <a:gd name="connsiteX31" fmla="*/ 423197 w 604181"/>
                <a:gd name="connsiteY31" fmla="*/ 77309 h 603193"/>
                <a:gd name="connsiteX32" fmla="*/ 457563 w 604181"/>
                <a:gd name="connsiteY32" fmla="*/ 77309 h 603193"/>
                <a:gd name="connsiteX33" fmla="*/ 457563 w 604181"/>
                <a:gd name="connsiteY33" fmla="*/ 43149 h 603193"/>
                <a:gd name="connsiteX34" fmla="*/ 45921 w 604181"/>
                <a:gd name="connsiteY34" fmla="*/ 0 h 603193"/>
                <a:gd name="connsiteX35" fmla="*/ 558410 w 604181"/>
                <a:gd name="connsiteY35" fmla="*/ 0 h 603193"/>
                <a:gd name="connsiteX36" fmla="*/ 604181 w 604181"/>
                <a:gd name="connsiteY36" fmla="*/ 45846 h 603193"/>
                <a:gd name="connsiteX37" fmla="*/ 604181 w 604181"/>
                <a:gd name="connsiteY37" fmla="*/ 557497 h 603193"/>
                <a:gd name="connsiteX38" fmla="*/ 558410 w 604181"/>
                <a:gd name="connsiteY38" fmla="*/ 603193 h 603193"/>
                <a:gd name="connsiteX39" fmla="*/ 45921 w 604181"/>
                <a:gd name="connsiteY39" fmla="*/ 603193 h 603193"/>
                <a:gd name="connsiteX40" fmla="*/ 0 w 604181"/>
                <a:gd name="connsiteY40" fmla="*/ 557497 h 603193"/>
                <a:gd name="connsiteX41" fmla="*/ 0 w 604181"/>
                <a:gd name="connsiteY41" fmla="*/ 45846 h 603193"/>
                <a:gd name="connsiteX42" fmla="*/ 45921 w 604181"/>
                <a:gd name="connsiteY42" fmla="*/ 0 h 603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04181" h="603193">
                  <a:moveTo>
                    <a:pt x="380418" y="268007"/>
                  </a:moveTo>
                  <a:lnTo>
                    <a:pt x="519220" y="339187"/>
                  </a:lnTo>
                  <a:lnTo>
                    <a:pt x="519220" y="355820"/>
                  </a:lnTo>
                  <a:lnTo>
                    <a:pt x="380418" y="426850"/>
                  </a:lnTo>
                  <a:lnTo>
                    <a:pt x="380418" y="406320"/>
                  </a:lnTo>
                  <a:lnTo>
                    <a:pt x="498212" y="347728"/>
                  </a:lnTo>
                  <a:lnTo>
                    <a:pt x="498212" y="347129"/>
                  </a:lnTo>
                  <a:lnTo>
                    <a:pt x="380418" y="288687"/>
                  </a:lnTo>
                  <a:close/>
                  <a:moveTo>
                    <a:pt x="216565" y="268007"/>
                  </a:moveTo>
                  <a:lnTo>
                    <a:pt x="216565" y="288687"/>
                  </a:lnTo>
                  <a:lnTo>
                    <a:pt x="99664" y="347129"/>
                  </a:lnTo>
                  <a:lnTo>
                    <a:pt x="99664" y="347728"/>
                  </a:lnTo>
                  <a:lnTo>
                    <a:pt x="216565" y="406320"/>
                  </a:lnTo>
                  <a:lnTo>
                    <a:pt x="216565" y="426850"/>
                  </a:lnTo>
                  <a:lnTo>
                    <a:pt x="77904" y="355521"/>
                  </a:lnTo>
                  <a:lnTo>
                    <a:pt x="77904" y="339486"/>
                  </a:lnTo>
                  <a:close/>
                  <a:moveTo>
                    <a:pt x="338273" y="222493"/>
                  </a:moveTo>
                  <a:lnTo>
                    <a:pt x="358684" y="222493"/>
                  </a:lnTo>
                  <a:lnTo>
                    <a:pt x="253179" y="482103"/>
                  </a:lnTo>
                  <a:lnTo>
                    <a:pt x="233219" y="482103"/>
                  </a:lnTo>
                  <a:close/>
                  <a:moveTo>
                    <a:pt x="28813" y="128849"/>
                  </a:moveTo>
                  <a:lnTo>
                    <a:pt x="28813" y="557497"/>
                  </a:lnTo>
                  <a:cubicBezTo>
                    <a:pt x="28813" y="566786"/>
                    <a:pt x="36467" y="574427"/>
                    <a:pt x="45921" y="574427"/>
                  </a:cubicBezTo>
                  <a:lnTo>
                    <a:pt x="558410" y="574427"/>
                  </a:lnTo>
                  <a:cubicBezTo>
                    <a:pt x="567714" y="574427"/>
                    <a:pt x="575368" y="566786"/>
                    <a:pt x="575368" y="557497"/>
                  </a:cubicBezTo>
                  <a:lnTo>
                    <a:pt x="575368" y="128849"/>
                  </a:lnTo>
                  <a:close/>
                  <a:moveTo>
                    <a:pt x="502734" y="43149"/>
                  </a:moveTo>
                  <a:lnTo>
                    <a:pt x="502734" y="77309"/>
                  </a:lnTo>
                  <a:lnTo>
                    <a:pt x="537100" y="77309"/>
                  </a:lnTo>
                  <a:lnTo>
                    <a:pt x="537100" y="43149"/>
                  </a:lnTo>
                  <a:close/>
                  <a:moveTo>
                    <a:pt x="423197" y="43149"/>
                  </a:moveTo>
                  <a:lnTo>
                    <a:pt x="423197" y="77309"/>
                  </a:lnTo>
                  <a:lnTo>
                    <a:pt x="457563" y="77309"/>
                  </a:lnTo>
                  <a:lnTo>
                    <a:pt x="457563" y="43149"/>
                  </a:lnTo>
                  <a:close/>
                  <a:moveTo>
                    <a:pt x="45921" y="0"/>
                  </a:moveTo>
                  <a:lnTo>
                    <a:pt x="558410" y="0"/>
                  </a:lnTo>
                  <a:cubicBezTo>
                    <a:pt x="583621" y="0"/>
                    <a:pt x="604181" y="20526"/>
                    <a:pt x="604181" y="45846"/>
                  </a:cubicBezTo>
                  <a:lnTo>
                    <a:pt x="604181" y="557497"/>
                  </a:lnTo>
                  <a:cubicBezTo>
                    <a:pt x="604181" y="582667"/>
                    <a:pt x="583621" y="603193"/>
                    <a:pt x="558410" y="603193"/>
                  </a:cubicBezTo>
                  <a:lnTo>
                    <a:pt x="45921" y="603193"/>
                  </a:lnTo>
                  <a:cubicBezTo>
                    <a:pt x="20560" y="603193"/>
                    <a:pt x="0" y="582667"/>
                    <a:pt x="0" y="557497"/>
                  </a:cubicBezTo>
                  <a:lnTo>
                    <a:pt x="0" y="45846"/>
                  </a:lnTo>
                  <a:cubicBezTo>
                    <a:pt x="0" y="20526"/>
                    <a:pt x="20560" y="0"/>
                    <a:pt x="45921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4" name="îṣḻîḍé">
              <a:extLst>
                <a:ext uri="{FF2B5EF4-FFF2-40B4-BE49-F238E27FC236}">
                  <a16:creationId xmlns:a16="http://schemas.microsoft.com/office/drawing/2014/main" id="{716A4AAF-66FE-4462-901E-658C29D84AD8}"/>
                </a:ext>
              </a:extLst>
            </p:cNvPr>
            <p:cNvSpPr/>
            <p:nvPr/>
          </p:nvSpPr>
          <p:spPr bwMode="auto">
            <a:xfrm>
              <a:off x="1959174" y="5587283"/>
              <a:ext cx="377806" cy="377235"/>
            </a:xfrm>
            <a:custGeom>
              <a:avLst/>
              <a:gdLst>
                <a:gd name="T0" fmla="*/ 6624 w 7154"/>
                <a:gd name="T1" fmla="*/ 2037 h 7154"/>
                <a:gd name="T2" fmla="*/ 6106 w 7154"/>
                <a:gd name="T3" fmla="*/ 1048 h 7154"/>
                <a:gd name="T4" fmla="*/ 5117 w 7154"/>
                <a:gd name="T5" fmla="*/ 530 h 7154"/>
                <a:gd name="T6" fmla="*/ 4643 w 7154"/>
                <a:gd name="T7" fmla="*/ 334 h 7154"/>
                <a:gd name="T8" fmla="*/ 3577 w 7154"/>
                <a:gd name="T9" fmla="*/ 0 h 7154"/>
                <a:gd name="T10" fmla="*/ 2511 w 7154"/>
                <a:gd name="T11" fmla="*/ 334 h 7154"/>
                <a:gd name="T12" fmla="*/ 2037 w 7154"/>
                <a:gd name="T13" fmla="*/ 530 h 7154"/>
                <a:gd name="T14" fmla="*/ 1048 w 7154"/>
                <a:gd name="T15" fmla="*/ 1048 h 7154"/>
                <a:gd name="T16" fmla="*/ 530 w 7154"/>
                <a:gd name="T17" fmla="*/ 2037 h 7154"/>
                <a:gd name="T18" fmla="*/ 334 w 7154"/>
                <a:gd name="T19" fmla="*/ 2511 h 7154"/>
                <a:gd name="T20" fmla="*/ 0 w 7154"/>
                <a:gd name="T21" fmla="*/ 3577 h 7154"/>
                <a:gd name="T22" fmla="*/ 334 w 7154"/>
                <a:gd name="T23" fmla="*/ 4643 h 7154"/>
                <a:gd name="T24" fmla="*/ 530 w 7154"/>
                <a:gd name="T25" fmla="*/ 5117 h 7154"/>
                <a:gd name="T26" fmla="*/ 1048 w 7154"/>
                <a:gd name="T27" fmla="*/ 6106 h 7154"/>
                <a:gd name="T28" fmla="*/ 2037 w 7154"/>
                <a:gd name="T29" fmla="*/ 6624 h 7154"/>
                <a:gd name="T30" fmla="*/ 2511 w 7154"/>
                <a:gd name="T31" fmla="*/ 6820 h 7154"/>
                <a:gd name="T32" fmla="*/ 3577 w 7154"/>
                <a:gd name="T33" fmla="*/ 7154 h 7154"/>
                <a:gd name="T34" fmla="*/ 4643 w 7154"/>
                <a:gd name="T35" fmla="*/ 6820 h 7154"/>
                <a:gd name="T36" fmla="*/ 5117 w 7154"/>
                <a:gd name="T37" fmla="*/ 6624 h 7154"/>
                <a:gd name="T38" fmla="*/ 6106 w 7154"/>
                <a:gd name="T39" fmla="*/ 6106 h 7154"/>
                <a:gd name="T40" fmla="*/ 6624 w 7154"/>
                <a:gd name="T41" fmla="*/ 5117 h 7154"/>
                <a:gd name="T42" fmla="*/ 6820 w 7154"/>
                <a:gd name="T43" fmla="*/ 4643 h 7154"/>
                <a:gd name="T44" fmla="*/ 7154 w 7154"/>
                <a:gd name="T45" fmla="*/ 3577 h 7154"/>
                <a:gd name="T46" fmla="*/ 6820 w 7154"/>
                <a:gd name="T47" fmla="*/ 2511 h 7154"/>
                <a:gd name="T48" fmla="*/ 6624 w 7154"/>
                <a:gd name="T49" fmla="*/ 2037 h 7154"/>
                <a:gd name="T50" fmla="*/ 5857 w 7154"/>
                <a:gd name="T51" fmla="*/ 2406 h 7154"/>
                <a:gd name="T52" fmla="*/ 3286 w 7154"/>
                <a:gd name="T53" fmla="*/ 4976 h 7154"/>
                <a:gd name="T54" fmla="*/ 2875 w 7154"/>
                <a:gd name="T55" fmla="*/ 5387 h 7154"/>
                <a:gd name="T56" fmla="*/ 2464 w 7154"/>
                <a:gd name="T57" fmla="*/ 5387 h 7154"/>
                <a:gd name="T58" fmla="*/ 2053 w 7154"/>
                <a:gd name="T59" fmla="*/ 4976 h 7154"/>
                <a:gd name="T60" fmla="*/ 1297 w 7154"/>
                <a:gd name="T61" fmla="*/ 4221 h 7154"/>
                <a:gd name="T62" fmla="*/ 1297 w 7154"/>
                <a:gd name="T63" fmla="*/ 3809 h 7154"/>
                <a:gd name="T64" fmla="*/ 1708 w 7154"/>
                <a:gd name="T65" fmla="*/ 3398 h 7154"/>
                <a:gd name="T66" fmla="*/ 2120 w 7154"/>
                <a:gd name="T67" fmla="*/ 3398 h 7154"/>
                <a:gd name="T68" fmla="*/ 2669 w 7154"/>
                <a:gd name="T69" fmla="*/ 3948 h 7154"/>
                <a:gd name="T70" fmla="*/ 5034 w 7154"/>
                <a:gd name="T71" fmla="*/ 1583 h 7154"/>
                <a:gd name="T72" fmla="*/ 5445 w 7154"/>
                <a:gd name="T73" fmla="*/ 1583 h 7154"/>
                <a:gd name="T74" fmla="*/ 5857 w 7154"/>
                <a:gd name="T75" fmla="*/ 1994 h 7154"/>
                <a:gd name="T76" fmla="*/ 5857 w 7154"/>
                <a:gd name="T77" fmla="*/ 2406 h 7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154" h="7154">
                  <a:moveTo>
                    <a:pt x="6624" y="2037"/>
                  </a:moveTo>
                  <a:cubicBezTo>
                    <a:pt x="6580" y="1703"/>
                    <a:pt x="6403" y="1345"/>
                    <a:pt x="6106" y="1048"/>
                  </a:cubicBezTo>
                  <a:cubicBezTo>
                    <a:pt x="5809" y="751"/>
                    <a:pt x="5451" y="574"/>
                    <a:pt x="5117" y="530"/>
                  </a:cubicBezTo>
                  <a:cubicBezTo>
                    <a:pt x="4966" y="510"/>
                    <a:pt x="4764" y="427"/>
                    <a:pt x="4643" y="334"/>
                  </a:cubicBezTo>
                  <a:cubicBezTo>
                    <a:pt x="4375" y="128"/>
                    <a:pt x="3997" y="0"/>
                    <a:pt x="3577" y="0"/>
                  </a:cubicBezTo>
                  <a:cubicBezTo>
                    <a:pt x="3157" y="0"/>
                    <a:pt x="2779" y="128"/>
                    <a:pt x="2511" y="334"/>
                  </a:cubicBezTo>
                  <a:cubicBezTo>
                    <a:pt x="2390" y="427"/>
                    <a:pt x="2188" y="510"/>
                    <a:pt x="2037" y="530"/>
                  </a:cubicBezTo>
                  <a:cubicBezTo>
                    <a:pt x="1702" y="574"/>
                    <a:pt x="1345" y="751"/>
                    <a:pt x="1048" y="1048"/>
                  </a:cubicBezTo>
                  <a:cubicBezTo>
                    <a:pt x="751" y="1345"/>
                    <a:pt x="574" y="1703"/>
                    <a:pt x="530" y="2037"/>
                  </a:cubicBezTo>
                  <a:cubicBezTo>
                    <a:pt x="510" y="2188"/>
                    <a:pt x="427" y="2390"/>
                    <a:pt x="334" y="2511"/>
                  </a:cubicBezTo>
                  <a:cubicBezTo>
                    <a:pt x="128" y="2779"/>
                    <a:pt x="0" y="3157"/>
                    <a:pt x="0" y="3577"/>
                  </a:cubicBezTo>
                  <a:cubicBezTo>
                    <a:pt x="0" y="3997"/>
                    <a:pt x="128" y="4375"/>
                    <a:pt x="334" y="4643"/>
                  </a:cubicBezTo>
                  <a:cubicBezTo>
                    <a:pt x="427" y="4764"/>
                    <a:pt x="510" y="4966"/>
                    <a:pt x="530" y="5117"/>
                  </a:cubicBezTo>
                  <a:cubicBezTo>
                    <a:pt x="574" y="5451"/>
                    <a:pt x="751" y="5809"/>
                    <a:pt x="1048" y="6106"/>
                  </a:cubicBezTo>
                  <a:cubicBezTo>
                    <a:pt x="1345" y="6403"/>
                    <a:pt x="1702" y="6580"/>
                    <a:pt x="2037" y="6624"/>
                  </a:cubicBezTo>
                  <a:cubicBezTo>
                    <a:pt x="2188" y="6644"/>
                    <a:pt x="2390" y="6727"/>
                    <a:pt x="2511" y="6820"/>
                  </a:cubicBezTo>
                  <a:cubicBezTo>
                    <a:pt x="2779" y="7025"/>
                    <a:pt x="3157" y="7154"/>
                    <a:pt x="3577" y="7154"/>
                  </a:cubicBezTo>
                  <a:cubicBezTo>
                    <a:pt x="3997" y="7154"/>
                    <a:pt x="4375" y="7025"/>
                    <a:pt x="4643" y="6820"/>
                  </a:cubicBezTo>
                  <a:cubicBezTo>
                    <a:pt x="4764" y="6727"/>
                    <a:pt x="4966" y="6644"/>
                    <a:pt x="5117" y="6624"/>
                  </a:cubicBezTo>
                  <a:cubicBezTo>
                    <a:pt x="5451" y="6580"/>
                    <a:pt x="5809" y="6403"/>
                    <a:pt x="6106" y="6106"/>
                  </a:cubicBezTo>
                  <a:cubicBezTo>
                    <a:pt x="6403" y="5809"/>
                    <a:pt x="6580" y="5451"/>
                    <a:pt x="6624" y="5117"/>
                  </a:cubicBezTo>
                  <a:cubicBezTo>
                    <a:pt x="6644" y="4966"/>
                    <a:pt x="6727" y="4764"/>
                    <a:pt x="6820" y="4643"/>
                  </a:cubicBezTo>
                  <a:cubicBezTo>
                    <a:pt x="7026" y="4375"/>
                    <a:pt x="7154" y="3997"/>
                    <a:pt x="7154" y="3577"/>
                  </a:cubicBezTo>
                  <a:cubicBezTo>
                    <a:pt x="7154" y="3157"/>
                    <a:pt x="7026" y="2779"/>
                    <a:pt x="6820" y="2511"/>
                  </a:cubicBezTo>
                  <a:cubicBezTo>
                    <a:pt x="6727" y="2390"/>
                    <a:pt x="6644" y="2188"/>
                    <a:pt x="6624" y="2037"/>
                  </a:cubicBezTo>
                  <a:close/>
                  <a:moveTo>
                    <a:pt x="5857" y="2406"/>
                  </a:moveTo>
                  <a:lnTo>
                    <a:pt x="3286" y="4976"/>
                  </a:lnTo>
                  <a:lnTo>
                    <a:pt x="2875" y="5387"/>
                  </a:lnTo>
                  <a:cubicBezTo>
                    <a:pt x="2762" y="5501"/>
                    <a:pt x="2577" y="5501"/>
                    <a:pt x="2464" y="5387"/>
                  </a:cubicBezTo>
                  <a:lnTo>
                    <a:pt x="2053" y="4976"/>
                  </a:lnTo>
                  <a:lnTo>
                    <a:pt x="1297" y="4221"/>
                  </a:lnTo>
                  <a:cubicBezTo>
                    <a:pt x="1183" y="4107"/>
                    <a:pt x="1183" y="3923"/>
                    <a:pt x="1297" y="3809"/>
                  </a:cubicBezTo>
                  <a:lnTo>
                    <a:pt x="1708" y="3398"/>
                  </a:lnTo>
                  <a:cubicBezTo>
                    <a:pt x="1822" y="3285"/>
                    <a:pt x="2006" y="3285"/>
                    <a:pt x="2120" y="3398"/>
                  </a:cubicBezTo>
                  <a:lnTo>
                    <a:pt x="2669" y="3948"/>
                  </a:lnTo>
                  <a:lnTo>
                    <a:pt x="5034" y="1583"/>
                  </a:lnTo>
                  <a:cubicBezTo>
                    <a:pt x="5148" y="1470"/>
                    <a:pt x="5332" y="1470"/>
                    <a:pt x="5445" y="1583"/>
                  </a:cubicBezTo>
                  <a:lnTo>
                    <a:pt x="5857" y="1994"/>
                  </a:lnTo>
                  <a:cubicBezTo>
                    <a:pt x="5970" y="2108"/>
                    <a:pt x="5970" y="2292"/>
                    <a:pt x="5857" y="2406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5" name="iṧḷiḑé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743264" y="4276135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按分布模式进行配置</a:t>
              </a:r>
              <a:endParaRPr lang="en-US" altLang="zh-CN" sz="1100" dirty="0"/>
            </a:p>
          </p:txBody>
        </p:sp>
        <p:sp>
          <p:nvSpPr>
            <p:cNvPr id="216" name="îṧḻiḑe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197100" y="4926511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>
                  <a:solidFill>
                    <a:schemeClr val="bg1"/>
                  </a:solidFill>
                </a:rPr>
                <a:t>运行第一个实例</a:t>
              </a: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17" name="îṣľïd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2651098" y="5576887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开心</a:t>
              </a:r>
              <a:r>
                <a:rPr lang="en-US" altLang="zh-CN" sz="1100" dirty="0" err="1"/>
                <a:t>ing</a:t>
              </a:r>
              <a:r>
                <a:rPr lang="en-US" altLang="zh-CN" sz="1100" dirty="0"/>
                <a:t>~</a:t>
              </a:r>
            </a:p>
          </p:txBody>
        </p:sp>
        <p:sp>
          <p:nvSpPr>
            <p:cNvPr id="218" name="íṧ1îd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289201" y="3625759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 解压</a:t>
              </a:r>
              <a:endParaRPr lang="en-US" altLang="zh-CN" sz="1100" dirty="0"/>
            </a:p>
          </p:txBody>
        </p:sp>
        <p:sp>
          <p:nvSpPr>
            <p:cNvPr id="219" name="îs1ïḋ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842020" y="2975382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配置环境变量 使之生效</a:t>
              </a:r>
              <a:endParaRPr lang="en-US" altLang="zh-CN" sz="1100" dirty="0"/>
            </a:p>
          </p:txBody>
        </p:sp>
        <p:sp>
          <p:nvSpPr>
            <p:cNvPr id="220" name="íšliḓ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5387990" y="2325006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</a:t>
              </a:r>
              <a:r>
                <a:rPr lang="en-US" altLang="zh-CN" sz="1100" dirty="0"/>
                <a:t> </a:t>
              </a:r>
              <a:r>
                <a:rPr lang="zh-CN" altLang="en-US" sz="1100" dirty="0"/>
                <a:t>解压</a:t>
              </a:r>
              <a:endParaRPr lang="en-US" altLang="zh-CN" sz="1100" dirty="0"/>
            </a:p>
          </p:txBody>
        </p:sp>
      </p:grpSp>
      <p:pic>
        <p:nvPicPr>
          <p:cNvPr id="4097" name="Picture 1" descr="L:\Water\Documents\Tencent Files\1106367305\Image\C2C\S_~PNJLRA$(`BM~E~CRVP@6.jpg">
            <a:extLst>
              <a:ext uri="{FF2B5EF4-FFF2-40B4-BE49-F238E27FC236}">
                <a16:creationId xmlns:a16="http://schemas.microsoft.com/office/drawing/2014/main" id="{870A9B0F-80D3-4BB8-9E6D-5163109C031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026" r="612"/>
          <a:stretch>
            <a:fillRect/>
          </a:stretch>
        </p:blipFill>
        <p:spPr bwMode="auto">
          <a:xfrm>
            <a:off x="1092994" y="5934394"/>
            <a:ext cx="6958012" cy="45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2">
            <a:extLst>
              <a:ext uri="{FF2B5EF4-FFF2-40B4-BE49-F238E27FC236}">
                <a16:creationId xmlns:a16="http://schemas.microsoft.com/office/drawing/2014/main" id="{3AE81623-7CD6-49D9-AB93-2743959343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7C9400A1-127B-443B-9890-1A43D9C469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16385" name="Picture 1" descr="L:\Water\Documents\Tencent Files\1106367305\Image\C2C\KJD@`IB[N55]76]%]M5EN0U.png">
            <a:extLst>
              <a:ext uri="{FF2B5EF4-FFF2-40B4-BE49-F238E27FC236}">
                <a16:creationId xmlns:a16="http://schemas.microsoft.com/office/drawing/2014/main" id="{428000AE-DA66-4502-93F7-C04F67DECB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6"/>
          <a:stretch>
            <a:fillRect/>
          </a:stretch>
        </p:blipFill>
        <p:spPr bwMode="auto">
          <a:xfrm>
            <a:off x="1076325" y="1285081"/>
            <a:ext cx="6991350" cy="4694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59884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看看其他实例？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9</a:t>
            </a:fld>
            <a:endParaRPr lang="zh-CN" altLang="en-US"/>
          </a:p>
        </p:txBody>
      </p:sp>
      <p:grpSp>
        <p:nvGrpSpPr>
          <p:cNvPr id="194" name="180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4D56F3B-0686-4E9E-A675-DA7BF2C9F6C2}"/>
              </a:ext>
            </a:extLst>
          </p:cNvPr>
          <p:cNvGrpSpPr>
            <a:grpSpLocks noChangeAspect="1"/>
          </p:cNvGrpSpPr>
          <p:nvPr/>
        </p:nvGrpSpPr>
        <p:grpSpPr>
          <a:xfrm>
            <a:off x="1875381" y="-2460624"/>
            <a:ext cx="5393238" cy="2212975"/>
            <a:chOff x="938530" y="1805421"/>
            <a:chExt cx="10580370" cy="4341379"/>
          </a:xfrm>
        </p:grpSpPr>
        <p:sp>
          <p:nvSpPr>
            <p:cNvPr id="195" name="iṧḻîďè">
              <a:extLst>
                <a:ext uri="{FF2B5EF4-FFF2-40B4-BE49-F238E27FC236}">
                  <a16:creationId xmlns:a16="http://schemas.microsoft.com/office/drawing/2014/main" id="{6FC8272D-4563-47EB-B741-E738A21C2623}"/>
                </a:ext>
              </a:extLst>
            </p:cNvPr>
            <p:cNvSpPr/>
            <p:nvPr/>
          </p:nvSpPr>
          <p:spPr bwMode="auto">
            <a:xfrm>
              <a:off x="5637082" y="5226400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搞定！</a:t>
              </a:r>
              <a:endParaRPr lang="en-US" altLang="zh-CN" b="1" dirty="0"/>
            </a:p>
          </p:txBody>
        </p:sp>
        <p:sp>
          <p:nvSpPr>
            <p:cNvPr id="196" name="îŝḻiḋé">
              <a:extLst>
                <a:ext uri="{FF2B5EF4-FFF2-40B4-BE49-F238E27FC236}">
                  <a16:creationId xmlns:a16="http://schemas.microsoft.com/office/drawing/2014/main" id="{C05C75D7-4258-49B9-958F-F2EEF0B840E0}"/>
                </a:ext>
              </a:extLst>
            </p:cNvPr>
            <p:cNvSpPr/>
            <p:nvPr/>
          </p:nvSpPr>
          <p:spPr bwMode="auto">
            <a:xfrm>
              <a:off x="6176201" y="4576024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>
                  <a:solidFill>
                    <a:schemeClr val="bg1"/>
                  </a:solidFill>
                </a:rPr>
                <a:t>测试</a:t>
              </a:r>
              <a:endParaRPr lang="en-US" altLang="zh-CN" sz="1750" b="1" dirty="0">
                <a:solidFill>
                  <a:schemeClr val="bg1"/>
                </a:solidFill>
              </a:endParaRPr>
            </a:p>
          </p:txBody>
        </p:sp>
        <p:sp>
          <p:nvSpPr>
            <p:cNvPr id="197" name="íṥḷíďê">
              <a:extLst>
                <a:ext uri="{FF2B5EF4-FFF2-40B4-BE49-F238E27FC236}">
                  <a16:creationId xmlns:a16="http://schemas.microsoft.com/office/drawing/2014/main" id="{D4FCC7AE-5767-4EC4-BB68-B94457D3AE6D}"/>
                </a:ext>
              </a:extLst>
            </p:cNvPr>
            <p:cNvSpPr/>
            <p:nvPr/>
          </p:nvSpPr>
          <p:spPr bwMode="auto">
            <a:xfrm>
              <a:off x="6703850" y="3925648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/>
                <a:t>配置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8" name="ïś1ïḓè">
              <a:extLst>
                <a:ext uri="{FF2B5EF4-FFF2-40B4-BE49-F238E27FC236}">
                  <a16:creationId xmlns:a16="http://schemas.microsoft.com/office/drawing/2014/main" id="{F32E844B-E27C-4A92-9B60-95E4AD88D81F}"/>
                </a:ext>
              </a:extLst>
            </p:cNvPr>
            <p:cNvSpPr/>
            <p:nvPr/>
          </p:nvSpPr>
          <p:spPr bwMode="auto">
            <a:xfrm>
              <a:off x="7241823" y="3275272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 dirty="0"/>
                <a:t>安装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9" name="îśļïḍè">
              <a:extLst>
                <a:ext uri="{FF2B5EF4-FFF2-40B4-BE49-F238E27FC236}">
                  <a16:creationId xmlns:a16="http://schemas.microsoft.com/office/drawing/2014/main" id="{F812BB55-77DE-4E23-95E6-156A22FAD363}"/>
                </a:ext>
              </a:extLst>
            </p:cNvPr>
            <p:cNvSpPr/>
            <p:nvPr/>
          </p:nvSpPr>
          <p:spPr bwMode="auto">
            <a:xfrm>
              <a:off x="7743555" y="2624895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配置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0" name="ï$1íḍé">
              <a:extLst>
                <a:ext uri="{FF2B5EF4-FFF2-40B4-BE49-F238E27FC236}">
                  <a16:creationId xmlns:a16="http://schemas.microsoft.com/office/drawing/2014/main" id="{48245F16-84E7-4201-9485-85B5E5B15ECD}"/>
                </a:ext>
              </a:extLst>
            </p:cNvPr>
            <p:cNvSpPr/>
            <p:nvPr/>
          </p:nvSpPr>
          <p:spPr bwMode="auto">
            <a:xfrm>
              <a:off x="8263856" y="1974519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安装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1" name="îṥľïďê">
              <a:extLst>
                <a:ext uri="{FF2B5EF4-FFF2-40B4-BE49-F238E27FC236}">
                  <a16:creationId xmlns:a16="http://schemas.microsoft.com/office/drawing/2014/main" id="{920DFBAA-02E5-4206-86B0-FE10F93A7509}"/>
                </a:ext>
              </a:extLst>
            </p:cNvPr>
            <p:cNvSpPr/>
            <p:nvPr/>
          </p:nvSpPr>
          <p:spPr bwMode="auto">
            <a:xfrm>
              <a:off x="5220497" y="3438015"/>
              <a:ext cx="3741918" cy="1239562"/>
            </a:xfrm>
            <a:custGeom>
              <a:avLst/>
              <a:gdLst>
                <a:gd name="T0" fmla="*/ 179 w 203"/>
                <a:gd name="T1" fmla="*/ 82 h 82"/>
                <a:gd name="T2" fmla="*/ 203 w 203"/>
                <a:gd name="T3" fmla="*/ 29 h 82"/>
                <a:gd name="T4" fmla="*/ 65 w 203"/>
                <a:gd name="T5" fmla="*/ 27 h 82"/>
                <a:gd name="T6" fmla="*/ 59 w 203"/>
                <a:gd name="T7" fmla="*/ 0 h 82"/>
                <a:gd name="T8" fmla="*/ 59 w 203"/>
                <a:gd name="T9" fmla="*/ 0 h 82"/>
                <a:gd name="T10" fmla="*/ 0 w 203"/>
                <a:gd name="T11" fmla="*/ 80 h 82"/>
                <a:gd name="T12" fmla="*/ 61 w 203"/>
                <a:gd name="T13" fmla="*/ 82 h 82"/>
                <a:gd name="T14" fmla="*/ 179 w 203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82">
                  <a:moveTo>
                    <a:pt x="179" y="82"/>
                  </a:moveTo>
                  <a:lnTo>
                    <a:pt x="203" y="29"/>
                  </a:lnTo>
                  <a:lnTo>
                    <a:pt x="65" y="27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0" y="80"/>
                  </a:lnTo>
                  <a:lnTo>
                    <a:pt x="61" y="82"/>
                  </a:lnTo>
                  <a:lnTo>
                    <a:pt x="179" y="8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2" name="i$ḻíḋè">
              <a:extLst>
                <a:ext uri="{FF2B5EF4-FFF2-40B4-BE49-F238E27FC236}">
                  <a16:creationId xmlns:a16="http://schemas.microsoft.com/office/drawing/2014/main" id="{430BE7EB-B6F0-4F05-80EA-1F517165029F}"/>
                </a:ext>
              </a:extLst>
            </p:cNvPr>
            <p:cNvSpPr/>
            <p:nvPr/>
          </p:nvSpPr>
          <p:spPr bwMode="auto">
            <a:xfrm>
              <a:off x="8032938" y="1974519"/>
              <a:ext cx="1398307" cy="247664"/>
            </a:xfrm>
            <a:prstGeom prst="triangle">
              <a:avLst>
                <a:gd name="adj" fmla="val 14726"/>
              </a:avLst>
            </a:pr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3" name="işľiḋe">
              <a:extLst>
                <a:ext uri="{FF2B5EF4-FFF2-40B4-BE49-F238E27FC236}">
                  <a16:creationId xmlns:a16="http://schemas.microsoft.com/office/drawing/2014/main" id="{E4DECB97-43D1-4D26-8C48-41447675AE79}"/>
                </a:ext>
              </a:extLst>
            </p:cNvPr>
            <p:cNvSpPr/>
            <p:nvPr/>
          </p:nvSpPr>
          <p:spPr bwMode="auto">
            <a:xfrm>
              <a:off x="3675422" y="1805421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4" name="iś1íďé">
              <a:extLst>
                <a:ext uri="{FF2B5EF4-FFF2-40B4-BE49-F238E27FC236}">
                  <a16:creationId xmlns:a16="http://schemas.microsoft.com/office/drawing/2014/main" id="{6E7EA96A-F20A-4912-AC31-63A0F19E66DE}"/>
                </a:ext>
              </a:extLst>
            </p:cNvPr>
            <p:cNvSpPr/>
            <p:nvPr/>
          </p:nvSpPr>
          <p:spPr bwMode="auto">
            <a:xfrm>
              <a:off x="3129452" y="2455797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5" name="ïŝlíḋe">
              <a:extLst>
                <a:ext uri="{FF2B5EF4-FFF2-40B4-BE49-F238E27FC236}">
                  <a16:creationId xmlns:a16="http://schemas.microsoft.com/office/drawing/2014/main" id="{66D30D6F-26C9-4C2C-BC01-900AC07DC57E}"/>
                </a:ext>
              </a:extLst>
            </p:cNvPr>
            <p:cNvSpPr/>
            <p:nvPr/>
          </p:nvSpPr>
          <p:spPr bwMode="auto">
            <a:xfrm>
              <a:off x="2576633" y="3106174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6" name="îSliďè">
              <a:extLst>
                <a:ext uri="{FF2B5EF4-FFF2-40B4-BE49-F238E27FC236}">
                  <a16:creationId xmlns:a16="http://schemas.microsoft.com/office/drawing/2014/main" id="{2F6D5554-EACD-4DDD-892F-2E5F97A9C421}"/>
                </a:ext>
              </a:extLst>
            </p:cNvPr>
            <p:cNvSpPr/>
            <p:nvPr/>
          </p:nvSpPr>
          <p:spPr bwMode="auto">
            <a:xfrm>
              <a:off x="2030696" y="3756550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7" name="îSliďé">
              <a:extLst>
                <a:ext uri="{FF2B5EF4-FFF2-40B4-BE49-F238E27FC236}">
                  <a16:creationId xmlns:a16="http://schemas.microsoft.com/office/drawing/2014/main" id="{2E278F3F-C8D8-4E2A-A3EA-29ADCF1A02AA}"/>
                </a:ext>
              </a:extLst>
            </p:cNvPr>
            <p:cNvSpPr/>
            <p:nvPr/>
          </p:nvSpPr>
          <p:spPr bwMode="auto">
            <a:xfrm>
              <a:off x="1484532" y="4406926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8" name="îs1iďé">
              <a:extLst>
                <a:ext uri="{FF2B5EF4-FFF2-40B4-BE49-F238E27FC236}">
                  <a16:creationId xmlns:a16="http://schemas.microsoft.com/office/drawing/2014/main" id="{EB74D0C2-5677-4F3F-A043-44D01A3F3D48}"/>
                </a:ext>
              </a:extLst>
            </p:cNvPr>
            <p:cNvSpPr/>
            <p:nvPr/>
          </p:nvSpPr>
          <p:spPr bwMode="auto">
            <a:xfrm>
              <a:off x="938530" y="5057302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9" name="ïṣḻïḋe">
              <a:extLst>
                <a:ext uri="{FF2B5EF4-FFF2-40B4-BE49-F238E27FC236}">
                  <a16:creationId xmlns:a16="http://schemas.microsoft.com/office/drawing/2014/main" id="{7709F84E-C33F-462F-B538-51CB71C9284E}"/>
                </a:ext>
              </a:extLst>
            </p:cNvPr>
            <p:cNvSpPr/>
            <p:nvPr/>
          </p:nvSpPr>
          <p:spPr bwMode="auto">
            <a:xfrm>
              <a:off x="4585947" y="2371737"/>
              <a:ext cx="377807" cy="377281"/>
            </a:xfrm>
            <a:custGeom>
              <a:avLst/>
              <a:gdLst>
                <a:gd name="T0" fmla="*/ 400 w 11264"/>
                <a:gd name="T1" fmla="*/ 7099 h 11264"/>
                <a:gd name="T2" fmla="*/ 4165 w 11264"/>
                <a:gd name="T3" fmla="*/ 7099 h 11264"/>
                <a:gd name="T4" fmla="*/ 4165 w 11264"/>
                <a:gd name="T5" fmla="*/ 10864 h 11264"/>
                <a:gd name="T6" fmla="*/ 4565 w 11264"/>
                <a:gd name="T7" fmla="*/ 11264 h 11264"/>
                <a:gd name="T8" fmla="*/ 6699 w 11264"/>
                <a:gd name="T9" fmla="*/ 11264 h 11264"/>
                <a:gd name="T10" fmla="*/ 7099 w 11264"/>
                <a:gd name="T11" fmla="*/ 10864 h 11264"/>
                <a:gd name="T12" fmla="*/ 7099 w 11264"/>
                <a:gd name="T13" fmla="*/ 7099 h 11264"/>
                <a:gd name="T14" fmla="*/ 10864 w 11264"/>
                <a:gd name="T15" fmla="*/ 7099 h 11264"/>
                <a:gd name="T16" fmla="*/ 11264 w 11264"/>
                <a:gd name="T17" fmla="*/ 6699 h 11264"/>
                <a:gd name="T18" fmla="*/ 11264 w 11264"/>
                <a:gd name="T19" fmla="*/ 4565 h 11264"/>
                <a:gd name="T20" fmla="*/ 10864 w 11264"/>
                <a:gd name="T21" fmla="*/ 4165 h 11264"/>
                <a:gd name="T22" fmla="*/ 7099 w 11264"/>
                <a:gd name="T23" fmla="*/ 4165 h 11264"/>
                <a:gd name="T24" fmla="*/ 7099 w 11264"/>
                <a:gd name="T25" fmla="*/ 400 h 11264"/>
                <a:gd name="T26" fmla="*/ 6699 w 11264"/>
                <a:gd name="T27" fmla="*/ 0 h 11264"/>
                <a:gd name="T28" fmla="*/ 4565 w 11264"/>
                <a:gd name="T29" fmla="*/ 0 h 11264"/>
                <a:gd name="T30" fmla="*/ 4165 w 11264"/>
                <a:gd name="T31" fmla="*/ 400 h 11264"/>
                <a:gd name="T32" fmla="*/ 4165 w 11264"/>
                <a:gd name="T33" fmla="*/ 4165 h 11264"/>
                <a:gd name="T34" fmla="*/ 400 w 11264"/>
                <a:gd name="T35" fmla="*/ 4165 h 11264"/>
                <a:gd name="T36" fmla="*/ 0 w 11264"/>
                <a:gd name="T37" fmla="*/ 4565 h 11264"/>
                <a:gd name="T38" fmla="*/ 0 w 11264"/>
                <a:gd name="T39" fmla="*/ 6699 h 11264"/>
                <a:gd name="T40" fmla="*/ 400 w 11264"/>
                <a:gd name="T41" fmla="*/ 7099 h 1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64" h="11264">
                  <a:moveTo>
                    <a:pt x="400" y="7099"/>
                  </a:moveTo>
                  <a:lnTo>
                    <a:pt x="4165" y="7099"/>
                  </a:lnTo>
                  <a:lnTo>
                    <a:pt x="4165" y="10864"/>
                  </a:lnTo>
                  <a:cubicBezTo>
                    <a:pt x="4165" y="11085"/>
                    <a:pt x="4344" y="11264"/>
                    <a:pt x="4565" y="11264"/>
                  </a:cubicBezTo>
                  <a:lnTo>
                    <a:pt x="6699" y="11264"/>
                  </a:lnTo>
                  <a:cubicBezTo>
                    <a:pt x="6920" y="11264"/>
                    <a:pt x="7099" y="11085"/>
                    <a:pt x="7099" y="10864"/>
                  </a:cubicBezTo>
                  <a:lnTo>
                    <a:pt x="7099" y="7099"/>
                  </a:lnTo>
                  <a:lnTo>
                    <a:pt x="10864" y="7099"/>
                  </a:lnTo>
                  <a:cubicBezTo>
                    <a:pt x="11085" y="7099"/>
                    <a:pt x="11264" y="6920"/>
                    <a:pt x="11264" y="6699"/>
                  </a:cubicBezTo>
                  <a:lnTo>
                    <a:pt x="11264" y="4565"/>
                  </a:lnTo>
                  <a:cubicBezTo>
                    <a:pt x="11264" y="4344"/>
                    <a:pt x="11085" y="4165"/>
                    <a:pt x="10864" y="4165"/>
                  </a:cubicBezTo>
                  <a:lnTo>
                    <a:pt x="7099" y="4165"/>
                  </a:lnTo>
                  <a:lnTo>
                    <a:pt x="7099" y="400"/>
                  </a:lnTo>
                  <a:cubicBezTo>
                    <a:pt x="7099" y="179"/>
                    <a:pt x="6920" y="0"/>
                    <a:pt x="6699" y="0"/>
                  </a:cubicBezTo>
                  <a:lnTo>
                    <a:pt x="4565" y="0"/>
                  </a:lnTo>
                  <a:cubicBezTo>
                    <a:pt x="4344" y="0"/>
                    <a:pt x="4165" y="179"/>
                    <a:pt x="4165" y="400"/>
                  </a:cubicBezTo>
                  <a:lnTo>
                    <a:pt x="4165" y="4165"/>
                  </a:lnTo>
                  <a:lnTo>
                    <a:pt x="400" y="4165"/>
                  </a:lnTo>
                  <a:cubicBezTo>
                    <a:pt x="179" y="4165"/>
                    <a:pt x="0" y="4344"/>
                    <a:pt x="0" y="4565"/>
                  </a:cubicBezTo>
                  <a:lnTo>
                    <a:pt x="0" y="6699"/>
                  </a:lnTo>
                  <a:cubicBezTo>
                    <a:pt x="0" y="6920"/>
                    <a:pt x="179" y="7099"/>
                    <a:pt x="400" y="709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0" name="îsḷïde">
              <a:extLst>
                <a:ext uri="{FF2B5EF4-FFF2-40B4-BE49-F238E27FC236}">
                  <a16:creationId xmlns:a16="http://schemas.microsoft.com/office/drawing/2014/main" id="{F7027C89-1BCC-4A00-9535-016DE4C49FD7}"/>
                </a:ext>
              </a:extLst>
            </p:cNvPr>
            <p:cNvSpPr/>
            <p:nvPr/>
          </p:nvSpPr>
          <p:spPr bwMode="auto">
            <a:xfrm>
              <a:off x="4069565" y="3014578"/>
              <a:ext cx="369969" cy="377806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  <a:gd name="connsiteX107" fmla="*/ 373273 h 605239"/>
                <a:gd name="connsiteY107" fmla="*/ 373273 h 605239"/>
                <a:gd name="connsiteX108" fmla="*/ 373273 h 605239"/>
                <a:gd name="connsiteY108" fmla="*/ 373273 h 605239"/>
                <a:gd name="connsiteX109" fmla="*/ 373273 h 605239"/>
                <a:gd name="connsiteY109" fmla="*/ 373273 h 605239"/>
                <a:gd name="connsiteX110" fmla="*/ 373273 h 605239"/>
                <a:gd name="connsiteY110" fmla="*/ 373273 h 605239"/>
                <a:gd name="connsiteX111" fmla="*/ 373273 h 605239"/>
                <a:gd name="connsiteY111" fmla="*/ 373273 h 605239"/>
                <a:gd name="connsiteX112" fmla="*/ 373273 h 605239"/>
                <a:gd name="connsiteY112" fmla="*/ 373273 h 605239"/>
                <a:gd name="connsiteX113" fmla="*/ 373273 h 605239"/>
                <a:gd name="connsiteY113" fmla="*/ 373273 h 605239"/>
                <a:gd name="connsiteX114" fmla="*/ 373273 h 605239"/>
                <a:gd name="connsiteY114" fmla="*/ 373273 h 605239"/>
                <a:gd name="connsiteX115" fmla="*/ 373273 h 605239"/>
                <a:gd name="connsiteY115" fmla="*/ 373273 h 605239"/>
                <a:gd name="connsiteX116" fmla="*/ 373273 h 605239"/>
                <a:gd name="connsiteY116" fmla="*/ 373273 h 605239"/>
                <a:gd name="connsiteX117" fmla="*/ 373273 h 605239"/>
                <a:gd name="connsiteY117" fmla="*/ 373273 h 605239"/>
                <a:gd name="connsiteX118" fmla="*/ 373273 h 605239"/>
                <a:gd name="connsiteY118" fmla="*/ 373273 h 605239"/>
                <a:gd name="connsiteX119" fmla="*/ 373273 h 605239"/>
                <a:gd name="connsiteY119" fmla="*/ 373273 h 605239"/>
                <a:gd name="connsiteX120" fmla="*/ 373273 h 605239"/>
                <a:gd name="connsiteY120" fmla="*/ 373273 h 605239"/>
                <a:gd name="connsiteX121" fmla="*/ 373273 h 605239"/>
                <a:gd name="connsiteY121" fmla="*/ 373273 h 605239"/>
                <a:gd name="connsiteX122" fmla="*/ 373273 h 605239"/>
                <a:gd name="connsiteY122" fmla="*/ 373273 h 605239"/>
                <a:gd name="connsiteX123" fmla="*/ 373273 h 605239"/>
                <a:gd name="connsiteY123" fmla="*/ 373273 h 605239"/>
                <a:gd name="connsiteX124" fmla="*/ 373273 h 605239"/>
                <a:gd name="connsiteY124" fmla="*/ 373273 h 605239"/>
                <a:gd name="connsiteX125" fmla="*/ 373273 h 605239"/>
                <a:gd name="connsiteY125" fmla="*/ 373273 h 605239"/>
                <a:gd name="connsiteX126" fmla="*/ 373273 h 605239"/>
                <a:gd name="connsiteY126" fmla="*/ 373273 h 605239"/>
                <a:gd name="connsiteX127" fmla="*/ 373273 h 605239"/>
                <a:gd name="connsiteY127" fmla="*/ 373273 h 605239"/>
                <a:gd name="connsiteX128" fmla="*/ 373273 h 605239"/>
                <a:gd name="connsiteY128" fmla="*/ 373273 h 605239"/>
                <a:gd name="connsiteX129" fmla="*/ 373273 h 605239"/>
                <a:gd name="connsiteY12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593733" h="606309">
                  <a:moveTo>
                    <a:pt x="353250" y="302855"/>
                  </a:moveTo>
                  <a:cubicBezTo>
                    <a:pt x="318468" y="302855"/>
                    <a:pt x="290232" y="331146"/>
                    <a:pt x="290232" y="365879"/>
                  </a:cubicBezTo>
                  <a:cubicBezTo>
                    <a:pt x="290232" y="374189"/>
                    <a:pt x="296964" y="380912"/>
                    <a:pt x="305285" y="380912"/>
                  </a:cubicBezTo>
                  <a:cubicBezTo>
                    <a:pt x="313607" y="380912"/>
                    <a:pt x="320338" y="374189"/>
                    <a:pt x="320338" y="365879"/>
                  </a:cubicBezTo>
                  <a:cubicBezTo>
                    <a:pt x="320338" y="347672"/>
                    <a:pt x="335111" y="333014"/>
                    <a:pt x="353250" y="333014"/>
                  </a:cubicBezTo>
                  <a:cubicBezTo>
                    <a:pt x="361665" y="333014"/>
                    <a:pt x="368397" y="326291"/>
                    <a:pt x="368397" y="317888"/>
                  </a:cubicBezTo>
                  <a:cubicBezTo>
                    <a:pt x="368397" y="309578"/>
                    <a:pt x="361665" y="302855"/>
                    <a:pt x="353250" y="302855"/>
                  </a:cubicBezTo>
                  <a:close/>
                  <a:moveTo>
                    <a:pt x="353250" y="265041"/>
                  </a:moveTo>
                  <a:cubicBezTo>
                    <a:pt x="409163" y="265041"/>
                    <a:pt x="454229" y="310232"/>
                    <a:pt x="454229" y="365879"/>
                  </a:cubicBezTo>
                  <a:cubicBezTo>
                    <a:pt x="454229" y="421527"/>
                    <a:pt x="408976" y="466717"/>
                    <a:pt x="353250" y="466717"/>
                  </a:cubicBezTo>
                  <a:cubicBezTo>
                    <a:pt x="297525" y="466717"/>
                    <a:pt x="252271" y="421527"/>
                    <a:pt x="252271" y="365879"/>
                  </a:cubicBezTo>
                  <a:cubicBezTo>
                    <a:pt x="252271" y="310232"/>
                    <a:pt x="297431" y="265041"/>
                    <a:pt x="353250" y="265041"/>
                  </a:cubicBezTo>
                  <a:close/>
                  <a:moveTo>
                    <a:pt x="427779" y="133781"/>
                  </a:moveTo>
                  <a:cubicBezTo>
                    <a:pt x="432818" y="131960"/>
                    <a:pt x="438547" y="132054"/>
                    <a:pt x="443784" y="134482"/>
                  </a:cubicBezTo>
                  <a:lnTo>
                    <a:pt x="473245" y="148209"/>
                  </a:lnTo>
                  <a:cubicBezTo>
                    <a:pt x="483720" y="153158"/>
                    <a:pt x="488209" y="165671"/>
                    <a:pt x="483346" y="176130"/>
                  </a:cubicBezTo>
                  <a:lnTo>
                    <a:pt x="470252" y="203957"/>
                  </a:lnTo>
                  <a:cubicBezTo>
                    <a:pt x="492231" y="219646"/>
                    <a:pt x="511123" y="240003"/>
                    <a:pt x="525526" y="264095"/>
                  </a:cubicBezTo>
                  <a:lnTo>
                    <a:pt x="554426" y="253636"/>
                  </a:lnTo>
                  <a:cubicBezTo>
                    <a:pt x="565368" y="249714"/>
                    <a:pt x="577340" y="255411"/>
                    <a:pt x="581361" y="266243"/>
                  </a:cubicBezTo>
                  <a:lnTo>
                    <a:pt x="592491" y="296592"/>
                  </a:lnTo>
                  <a:cubicBezTo>
                    <a:pt x="596419" y="307612"/>
                    <a:pt x="590714" y="319564"/>
                    <a:pt x="579865" y="323486"/>
                  </a:cubicBezTo>
                  <a:lnTo>
                    <a:pt x="550965" y="333945"/>
                  </a:lnTo>
                  <a:cubicBezTo>
                    <a:pt x="555455" y="361586"/>
                    <a:pt x="553958" y="389414"/>
                    <a:pt x="547224" y="415561"/>
                  </a:cubicBezTo>
                  <a:lnTo>
                    <a:pt x="575095" y="428634"/>
                  </a:lnTo>
                  <a:cubicBezTo>
                    <a:pt x="585570" y="433490"/>
                    <a:pt x="590059" y="445910"/>
                    <a:pt x="585102" y="456649"/>
                  </a:cubicBezTo>
                  <a:lnTo>
                    <a:pt x="571354" y="485970"/>
                  </a:lnTo>
                  <a:cubicBezTo>
                    <a:pt x="566397" y="496429"/>
                    <a:pt x="553958" y="500911"/>
                    <a:pt x="543483" y="496056"/>
                  </a:cubicBezTo>
                  <a:lnTo>
                    <a:pt x="515238" y="482982"/>
                  </a:lnTo>
                  <a:cubicBezTo>
                    <a:pt x="499526" y="504833"/>
                    <a:pt x="479137" y="523510"/>
                    <a:pt x="455007" y="537704"/>
                  </a:cubicBezTo>
                  <a:lnTo>
                    <a:pt x="465763" y="567026"/>
                  </a:lnTo>
                  <a:cubicBezTo>
                    <a:pt x="469784" y="578045"/>
                    <a:pt x="463986" y="589997"/>
                    <a:pt x="453137" y="593919"/>
                  </a:cubicBezTo>
                  <a:lnTo>
                    <a:pt x="422741" y="605032"/>
                  </a:lnTo>
                  <a:cubicBezTo>
                    <a:pt x="411798" y="609047"/>
                    <a:pt x="399827" y="603258"/>
                    <a:pt x="395805" y="592425"/>
                  </a:cubicBezTo>
                  <a:lnTo>
                    <a:pt x="385050" y="562823"/>
                  </a:lnTo>
                  <a:cubicBezTo>
                    <a:pt x="357646" y="567212"/>
                    <a:pt x="330056" y="565718"/>
                    <a:pt x="304149" y="558995"/>
                  </a:cubicBezTo>
                  <a:lnTo>
                    <a:pt x="290682" y="587756"/>
                  </a:lnTo>
                  <a:cubicBezTo>
                    <a:pt x="285725" y="598215"/>
                    <a:pt x="273192" y="602697"/>
                    <a:pt x="262717" y="597841"/>
                  </a:cubicBezTo>
                  <a:lnTo>
                    <a:pt x="233350" y="584114"/>
                  </a:lnTo>
                  <a:cubicBezTo>
                    <a:pt x="222875" y="579165"/>
                    <a:pt x="218385" y="566652"/>
                    <a:pt x="223249" y="556193"/>
                  </a:cubicBezTo>
                  <a:lnTo>
                    <a:pt x="236810" y="527338"/>
                  </a:lnTo>
                  <a:cubicBezTo>
                    <a:pt x="215112" y="511650"/>
                    <a:pt x="196407" y="491480"/>
                    <a:pt x="182284" y="467668"/>
                  </a:cubicBezTo>
                  <a:lnTo>
                    <a:pt x="152169" y="478687"/>
                  </a:lnTo>
                  <a:cubicBezTo>
                    <a:pt x="141133" y="482609"/>
                    <a:pt x="129161" y="476912"/>
                    <a:pt x="125233" y="466080"/>
                  </a:cubicBezTo>
                  <a:lnTo>
                    <a:pt x="114104" y="435731"/>
                  </a:lnTo>
                  <a:cubicBezTo>
                    <a:pt x="110082" y="424712"/>
                    <a:pt x="115881" y="412759"/>
                    <a:pt x="126730" y="408837"/>
                  </a:cubicBezTo>
                  <a:lnTo>
                    <a:pt x="156845" y="397818"/>
                  </a:lnTo>
                  <a:cubicBezTo>
                    <a:pt x="153852" y="379422"/>
                    <a:pt x="153478" y="361026"/>
                    <a:pt x="155629" y="342910"/>
                  </a:cubicBezTo>
                  <a:lnTo>
                    <a:pt x="158622" y="343097"/>
                  </a:lnTo>
                  <a:cubicBezTo>
                    <a:pt x="181162" y="344030"/>
                    <a:pt x="200522" y="327408"/>
                    <a:pt x="203141" y="305370"/>
                  </a:cubicBezTo>
                  <a:cubicBezTo>
                    <a:pt x="207723" y="303876"/>
                    <a:pt x="212119" y="302195"/>
                    <a:pt x="216515" y="300515"/>
                  </a:cubicBezTo>
                  <a:cubicBezTo>
                    <a:pt x="220349" y="304063"/>
                    <a:pt x="224745" y="306958"/>
                    <a:pt x="229609" y="308919"/>
                  </a:cubicBezTo>
                  <a:cubicBezTo>
                    <a:pt x="219227" y="330957"/>
                    <a:pt x="214831" y="355983"/>
                    <a:pt x="217824" y="381943"/>
                  </a:cubicBezTo>
                  <a:cubicBezTo>
                    <a:pt x="226709" y="456462"/>
                    <a:pt x="294329" y="509876"/>
                    <a:pt x="368963" y="501192"/>
                  </a:cubicBezTo>
                  <a:cubicBezTo>
                    <a:pt x="443691" y="492320"/>
                    <a:pt x="497188" y="424899"/>
                    <a:pt x="488490" y="350287"/>
                  </a:cubicBezTo>
                  <a:cubicBezTo>
                    <a:pt x="479605" y="275675"/>
                    <a:pt x="411985" y="222260"/>
                    <a:pt x="337351" y="231038"/>
                  </a:cubicBezTo>
                  <a:cubicBezTo>
                    <a:pt x="324632" y="232532"/>
                    <a:pt x="312473" y="235707"/>
                    <a:pt x="301156" y="240376"/>
                  </a:cubicBezTo>
                  <a:cubicBezTo>
                    <a:pt x="299660" y="236268"/>
                    <a:pt x="297509" y="232345"/>
                    <a:pt x="294797" y="228890"/>
                  </a:cubicBezTo>
                  <a:cubicBezTo>
                    <a:pt x="297041" y="224688"/>
                    <a:pt x="299005" y="220393"/>
                    <a:pt x="300782" y="216097"/>
                  </a:cubicBezTo>
                  <a:cubicBezTo>
                    <a:pt x="311164" y="215817"/>
                    <a:pt x="320891" y="211802"/>
                    <a:pt x="328466" y="204891"/>
                  </a:cubicBezTo>
                  <a:cubicBezTo>
                    <a:pt x="336977" y="197141"/>
                    <a:pt x="341934" y="186589"/>
                    <a:pt x="342402" y="175103"/>
                  </a:cubicBezTo>
                  <a:lnTo>
                    <a:pt x="342776" y="166978"/>
                  </a:lnTo>
                  <a:cubicBezTo>
                    <a:pt x="363164" y="165764"/>
                    <a:pt x="383460" y="167912"/>
                    <a:pt x="402820" y="172768"/>
                  </a:cubicBezTo>
                  <a:lnTo>
                    <a:pt x="415913" y="144567"/>
                  </a:lnTo>
                  <a:cubicBezTo>
                    <a:pt x="418392" y="139338"/>
                    <a:pt x="422741" y="135602"/>
                    <a:pt x="427779" y="133781"/>
                  </a:cubicBezTo>
                  <a:close/>
                  <a:moveTo>
                    <a:pt x="159906" y="88589"/>
                  </a:moveTo>
                  <a:cubicBezTo>
                    <a:pt x="142487" y="87818"/>
                    <a:pt x="124764" y="93678"/>
                    <a:pt x="110828" y="106378"/>
                  </a:cubicBezTo>
                  <a:cubicBezTo>
                    <a:pt x="96145" y="119731"/>
                    <a:pt x="88663" y="138127"/>
                    <a:pt x="88663" y="156523"/>
                  </a:cubicBezTo>
                  <a:cubicBezTo>
                    <a:pt x="88663" y="172958"/>
                    <a:pt x="94555" y="189393"/>
                    <a:pt x="106526" y="202467"/>
                  </a:cubicBezTo>
                  <a:cubicBezTo>
                    <a:pt x="131965" y="230294"/>
                    <a:pt x="175081" y="232162"/>
                    <a:pt x="202764" y="206762"/>
                  </a:cubicBezTo>
                  <a:cubicBezTo>
                    <a:pt x="217448" y="193409"/>
                    <a:pt x="224930" y="175013"/>
                    <a:pt x="224930" y="156523"/>
                  </a:cubicBezTo>
                  <a:cubicBezTo>
                    <a:pt x="224930" y="140088"/>
                    <a:pt x="219132" y="123653"/>
                    <a:pt x="207160" y="110580"/>
                  </a:cubicBezTo>
                  <a:cubicBezTo>
                    <a:pt x="194441" y="96760"/>
                    <a:pt x="177325" y="89359"/>
                    <a:pt x="159906" y="88589"/>
                  </a:cubicBezTo>
                  <a:close/>
                  <a:moveTo>
                    <a:pt x="153289" y="17"/>
                  </a:moveTo>
                  <a:lnTo>
                    <a:pt x="173678" y="951"/>
                  </a:lnTo>
                  <a:cubicBezTo>
                    <a:pt x="180786" y="1325"/>
                    <a:pt x="186304" y="7114"/>
                    <a:pt x="186304" y="14118"/>
                  </a:cubicBezTo>
                  <a:lnTo>
                    <a:pt x="186304" y="14771"/>
                  </a:lnTo>
                  <a:lnTo>
                    <a:pt x="185462" y="34755"/>
                  </a:lnTo>
                  <a:cubicBezTo>
                    <a:pt x="201923" y="38677"/>
                    <a:pt x="217729" y="45774"/>
                    <a:pt x="231851" y="56232"/>
                  </a:cubicBezTo>
                  <a:lnTo>
                    <a:pt x="246535" y="42786"/>
                  </a:lnTo>
                  <a:cubicBezTo>
                    <a:pt x="251866" y="37930"/>
                    <a:pt x="260283" y="38303"/>
                    <a:pt x="265240" y="43626"/>
                  </a:cubicBezTo>
                  <a:lnTo>
                    <a:pt x="279082" y="58660"/>
                  </a:lnTo>
                  <a:cubicBezTo>
                    <a:pt x="281420" y="61275"/>
                    <a:pt x="282542" y="64450"/>
                    <a:pt x="282542" y="67625"/>
                  </a:cubicBezTo>
                  <a:cubicBezTo>
                    <a:pt x="282542" y="71173"/>
                    <a:pt x="281233" y="74722"/>
                    <a:pt x="278334" y="77337"/>
                  </a:cubicBezTo>
                  <a:lnTo>
                    <a:pt x="263744" y="90690"/>
                  </a:lnTo>
                  <a:cubicBezTo>
                    <a:pt x="273096" y="105537"/>
                    <a:pt x="278988" y="121973"/>
                    <a:pt x="281420" y="138781"/>
                  </a:cubicBezTo>
                  <a:lnTo>
                    <a:pt x="301061" y="139621"/>
                  </a:lnTo>
                  <a:cubicBezTo>
                    <a:pt x="308169" y="139995"/>
                    <a:pt x="313593" y="145878"/>
                    <a:pt x="313593" y="152788"/>
                  </a:cubicBezTo>
                  <a:lnTo>
                    <a:pt x="313593" y="153442"/>
                  </a:lnTo>
                  <a:lnTo>
                    <a:pt x="312751" y="173892"/>
                  </a:lnTo>
                  <a:cubicBezTo>
                    <a:pt x="312377" y="181083"/>
                    <a:pt x="306298" y="186779"/>
                    <a:pt x="298910" y="186405"/>
                  </a:cubicBezTo>
                  <a:lnTo>
                    <a:pt x="279456" y="185565"/>
                  </a:lnTo>
                  <a:cubicBezTo>
                    <a:pt x="275622" y="202093"/>
                    <a:pt x="268327" y="218061"/>
                    <a:pt x="257758" y="232162"/>
                  </a:cubicBezTo>
                  <a:lnTo>
                    <a:pt x="270852" y="246449"/>
                  </a:lnTo>
                  <a:cubicBezTo>
                    <a:pt x="273190" y="249064"/>
                    <a:pt x="274312" y="252145"/>
                    <a:pt x="274312" y="255414"/>
                  </a:cubicBezTo>
                  <a:cubicBezTo>
                    <a:pt x="274312" y="258869"/>
                    <a:pt x="273003" y="262511"/>
                    <a:pt x="270104" y="265126"/>
                  </a:cubicBezTo>
                  <a:lnTo>
                    <a:pt x="255046" y="278946"/>
                  </a:lnTo>
                  <a:cubicBezTo>
                    <a:pt x="249621" y="283802"/>
                    <a:pt x="241297" y="283428"/>
                    <a:pt x="236340" y="278106"/>
                  </a:cubicBezTo>
                  <a:lnTo>
                    <a:pt x="223247" y="263724"/>
                  </a:lnTo>
                  <a:cubicBezTo>
                    <a:pt x="208282" y="272970"/>
                    <a:pt x="191635" y="278853"/>
                    <a:pt x="174800" y="281187"/>
                  </a:cubicBezTo>
                  <a:lnTo>
                    <a:pt x="173958" y="300610"/>
                  </a:lnTo>
                  <a:cubicBezTo>
                    <a:pt x="173584" y="307801"/>
                    <a:pt x="167505" y="313590"/>
                    <a:pt x="160117" y="313217"/>
                  </a:cubicBezTo>
                  <a:lnTo>
                    <a:pt x="139634" y="312283"/>
                  </a:lnTo>
                  <a:cubicBezTo>
                    <a:pt x="132526" y="311909"/>
                    <a:pt x="127102" y="306120"/>
                    <a:pt x="127102" y="299116"/>
                  </a:cubicBezTo>
                  <a:lnTo>
                    <a:pt x="127102" y="298463"/>
                  </a:lnTo>
                  <a:lnTo>
                    <a:pt x="128037" y="279039"/>
                  </a:lnTo>
                  <a:cubicBezTo>
                    <a:pt x="111577" y="275211"/>
                    <a:pt x="95771" y="267834"/>
                    <a:pt x="81648" y="257281"/>
                  </a:cubicBezTo>
                  <a:lnTo>
                    <a:pt x="67058" y="270635"/>
                  </a:lnTo>
                  <a:cubicBezTo>
                    <a:pt x="61727" y="275491"/>
                    <a:pt x="53403" y="275117"/>
                    <a:pt x="48353" y="269701"/>
                  </a:cubicBezTo>
                  <a:lnTo>
                    <a:pt x="34511" y="254667"/>
                  </a:lnTo>
                  <a:cubicBezTo>
                    <a:pt x="32173" y="252052"/>
                    <a:pt x="31051" y="248970"/>
                    <a:pt x="31051" y="245702"/>
                  </a:cubicBezTo>
                  <a:cubicBezTo>
                    <a:pt x="31051" y="242247"/>
                    <a:pt x="32453" y="238605"/>
                    <a:pt x="35259" y="235990"/>
                  </a:cubicBezTo>
                  <a:lnTo>
                    <a:pt x="50036" y="222544"/>
                  </a:lnTo>
                  <a:cubicBezTo>
                    <a:pt x="40777" y="207696"/>
                    <a:pt x="35072" y="191261"/>
                    <a:pt x="32640" y="174639"/>
                  </a:cubicBezTo>
                  <a:lnTo>
                    <a:pt x="12626" y="173705"/>
                  </a:lnTo>
                  <a:cubicBezTo>
                    <a:pt x="5518" y="173332"/>
                    <a:pt x="0" y="167542"/>
                    <a:pt x="0" y="160539"/>
                  </a:cubicBezTo>
                  <a:lnTo>
                    <a:pt x="0" y="159885"/>
                  </a:lnTo>
                  <a:lnTo>
                    <a:pt x="842" y="139621"/>
                  </a:lnTo>
                  <a:cubicBezTo>
                    <a:pt x="1216" y="132431"/>
                    <a:pt x="7388" y="126642"/>
                    <a:pt x="14683" y="127015"/>
                  </a:cubicBezTo>
                  <a:lnTo>
                    <a:pt x="34885" y="127949"/>
                  </a:lnTo>
                  <a:cubicBezTo>
                    <a:pt x="38813" y="111514"/>
                    <a:pt x="46015" y="95826"/>
                    <a:pt x="56490" y="81819"/>
                  </a:cubicBezTo>
                  <a:lnTo>
                    <a:pt x="42741" y="66878"/>
                  </a:lnTo>
                  <a:cubicBezTo>
                    <a:pt x="40403" y="64263"/>
                    <a:pt x="39281" y="61182"/>
                    <a:pt x="39281" y="57913"/>
                  </a:cubicBezTo>
                  <a:cubicBezTo>
                    <a:pt x="39281" y="54458"/>
                    <a:pt x="40684" y="50816"/>
                    <a:pt x="43490" y="48202"/>
                  </a:cubicBezTo>
                  <a:lnTo>
                    <a:pt x="58641" y="34381"/>
                  </a:lnTo>
                  <a:cubicBezTo>
                    <a:pt x="63972" y="29526"/>
                    <a:pt x="72296" y="29899"/>
                    <a:pt x="77346" y="35315"/>
                  </a:cubicBezTo>
                  <a:lnTo>
                    <a:pt x="90627" y="50256"/>
                  </a:lnTo>
                  <a:cubicBezTo>
                    <a:pt x="105591" y="41011"/>
                    <a:pt x="121864" y="35128"/>
                    <a:pt x="138512" y="32794"/>
                  </a:cubicBezTo>
                  <a:lnTo>
                    <a:pt x="139447" y="12624"/>
                  </a:lnTo>
                  <a:cubicBezTo>
                    <a:pt x="139821" y="5433"/>
                    <a:pt x="145901" y="-356"/>
                    <a:pt x="153289" y="17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1" name="îṣḻïḓè">
              <a:extLst>
                <a:ext uri="{FF2B5EF4-FFF2-40B4-BE49-F238E27FC236}">
                  <a16:creationId xmlns:a16="http://schemas.microsoft.com/office/drawing/2014/main" id="{30C8A656-A69C-4844-9B4C-38593487F7D6}"/>
                </a:ext>
              </a:extLst>
            </p:cNvPr>
            <p:cNvSpPr/>
            <p:nvPr/>
          </p:nvSpPr>
          <p:spPr bwMode="auto">
            <a:xfrm>
              <a:off x="3563916" y="3658051"/>
              <a:ext cx="377806" cy="377072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81741" h="580612">
                  <a:moveTo>
                    <a:pt x="291612" y="187916"/>
                  </a:moveTo>
                  <a:cubicBezTo>
                    <a:pt x="304876" y="187916"/>
                    <a:pt x="315648" y="198758"/>
                    <a:pt x="315648" y="212088"/>
                  </a:cubicBezTo>
                  <a:lnTo>
                    <a:pt x="315648" y="491836"/>
                  </a:lnTo>
                  <a:lnTo>
                    <a:pt x="331227" y="473974"/>
                  </a:lnTo>
                  <a:cubicBezTo>
                    <a:pt x="339863" y="463932"/>
                    <a:pt x="355086" y="462866"/>
                    <a:pt x="365145" y="471574"/>
                  </a:cubicBezTo>
                  <a:cubicBezTo>
                    <a:pt x="375116" y="480372"/>
                    <a:pt x="376184" y="495657"/>
                    <a:pt x="367460" y="505699"/>
                  </a:cubicBezTo>
                  <a:lnTo>
                    <a:pt x="309773" y="572348"/>
                  </a:lnTo>
                  <a:cubicBezTo>
                    <a:pt x="305143" y="577502"/>
                    <a:pt x="298556" y="580612"/>
                    <a:pt x="291612" y="580612"/>
                  </a:cubicBezTo>
                  <a:cubicBezTo>
                    <a:pt x="284579" y="580612"/>
                    <a:pt x="278080" y="577680"/>
                    <a:pt x="273451" y="572348"/>
                  </a:cubicBezTo>
                  <a:lnTo>
                    <a:pt x="215764" y="505699"/>
                  </a:lnTo>
                  <a:cubicBezTo>
                    <a:pt x="207039" y="495657"/>
                    <a:pt x="208108" y="480372"/>
                    <a:pt x="218078" y="471574"/>
                  </a:cubicBezTo>
                  <a:cubicBezTo>
                    <a:pt x="228049" y="462866"/>
                    <a:pt x="243272" y="463932"/>
                    <a:pt x="252085" y="473974"/>
                  </a:cubicBezTo>
                  <a:lnTo>
                    <a:pt x="267486" y="491747"/>
                  </a:lnTo>
                  <a:lnTo>
                    <a:pt x="267486" y="212088"/>
                  </a:lnTo>
                  <a:cubicBezTo>
                    <a:pt x="267486" y="198758"/>
                    <a:pt x="278258" y="187916"/>
                    <a:pt x="291612" y="187916"/>
                  </a:cubicBezTo>
                  <a:close/>
                  <a:moveTo>
                    <a:pt x="329499" y="0"/>
                  </a:moveTo>
                  <a:cubicBezTo>
                    <a:pt x="426248" y="0"/>
                    <a:pt x="465322" y="80426"/>
                    <a:pt x="473332" y="108153"/>
                  </a:cubicBezTo>
                  <a:cubicBezTo>
                    <a:pt x="535280" y="120684"/>
                    <a:pt x="581474" y="175693"/>
                    <a:pt x="581741" y="241190"/>
                  </a:cubicBezTo>
                  <a:cubicBezTo>
                    <a:pt x="581741" y="315840"/>
                    <a:pt x="521306" y="376537"/>
                    <a:pt x="446987" y="376537"/>
                  </a:cubicBezTo>
                  <a:lnTo>
                    <a:pt x="372756" y="376537"/>
                  </a:lnTo>
                  <a:cubicBezTo>
                    <a:pt x="359316" y="376537"/>
                    <a:pt x="348546" y="365606"/>
                    <a:pt x="348546" y="352276"/>
                  </a:cubicBezTo>
                  <a:cubicBezTo>
                    <a:pt x="348546" y="338857"/>
                    <a:pt x="359316" y="327926"/>
                    <a:pt x="372756" y="327926"/>
                  </a:cubicBezTo>
                  <a:lnTo>
                    <a:pt x="446987" y="327926"/>
                  </a:lnTo>
                  <a:cubicBezTo>
                    <a:pt x="494605" y="327926"/>
                    <a:pt x="533322" y="289090"/>
                    <a:pt x="533322" y="241190"/>
                  </a:cubicBezTo>
                  <a:cubicBezTo>
                    <a:pt x="533322" y="195334"/>
                    <a:pt x="497720" y="157298"/>
                    <a:pt x="452238" y="154632"/>
                  </a:cubicBezTo>
                  <a:cubicBezTo>
                    <a:pt x="440934" y="153921"/>
                    <a:pt x="431589" y="145478"/>
                    <a:pt x="429809" y="134192"/>
                  </a:cubicBezTo>
                  <a:cubicBezTo>
                    <a:pt x="421709" y="84692"/>
                    <a:pt x="379609" y="48789"/>
                    <a:pt x="329677" y="48789"/>
                  </a:cubicBezTo>
                  <a:cubicBezTo>
                    <a:pt x="279567" y="48789"/>
                    <a:pt x="238001" y="84781"/>
                    <a:pt x="229457" y="134192"/>
                  </a:cubicBezTo>
                  <a:cubicBezTo>
                    <a:pt x="226520" y="151521"/>
                    <a:pt x="212190" y="162807"/>
                    <a:pt x="192964" y="151077"/>
                  </a:cubicBezTo>
                  <a:cubicBezTo>
                    <a:pt x="178011" y="141834"/>
                    <a:pt x="160922" y="136947"/>
                    <a:pt x="143299" y="136947"/>
                  </a:cubicBezTo>
                  <a:cubicBezTo>
                    <a:pt x="90964" y="136947"/>
                    <a:pt x="48419" y="179693"/>
                    <a:pt x="48419" y="232303"/>
                  </a:cubicBezTo>
                  <a:cubicBezTo>
                    <a:pt x="48419" y="284913"/>
                    <a:pt x="90964" y="327748"/>
                    <a:pt x="143299" y="327748"/>
                  </a:cubicBezTo>
                  <a:lnTo>
                    <a:pt x="218776" y="327748"/>
                  </a:lnTo>
                  <a:cubicBezTo>
                    <a:pt x="232216" y="327748"/>
                    <a:pt x="242986" y="338590"/>
                    <a:pt x="242986" y="352009"/>
                  </a:cubicBezTo>
                  <a:cubicBezTo>
                    <a:pt x="242986" y="365429"/>
                    <a:pt x="232216" y="376271"/>
                    <a:pt x="218776" y="376271"/>
                  </a:cubicBezTo>
                  <a:lnTo>
                    <a:pt x="143299" y="376271"/>
                  </a:lnTo>
                  <a:cubicBezTo>
                    <a:pt x="64262" y="376271"/>
                    <a:pt x="0" y="311574"/>
                    <a:pt x="0" y="232214"/>
                  </a:cubicBezTo>
                  <a:cubicBezTo>
                    <a:pt x="0" y="152854"/>
                    <a:pt x="64262" y="88158"/>
                    <a:pt x="143210" y="88158"/>
                  </a:cubicBezTo>
                  <a:cubicBezTo>
                    <a:pt x="159231" y="88158"/>
                    <a:pt x="174896" y="90735"/>
                    <a:pt x="189849" y="95978"/>
                  </a:cubicBezTo>
                  <a:cubicBezTo>
                    <a:pt x="198749" y="73050"/>
                    <a:pt x="238891" y="0"/>
                    <a:pt x="32949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2" name="iş1iḑe">
              <a:extLst>
                <a:ext uri="{FF2B5EF4-FFF2-40B4-BE49-F238E27FC236}">
                  <a16:creationId xmlns:a16="http://schemas.microsoft.com/office/drawing/2014/main" id="{79D5FAF9-096B-4C61-A299-6A26A276E128}"/>
                </a:ext>
              </a:extLst>
            </p:cNvPr>
            <p:cNvSpPr/>
            <p:nvPr/>
          </p:nvSpPr>
          <p:spPr bwMode="auto">
            <a:xfrm>
              <a:off x="3025037" y="4301073"/>
              <a:ext cx="377806" cy="377236"/>
            </a:xfrm>
            <a:custGeom>
              <a:avLst/>
              <a:gdLst>
                <a:gd name="connsiteX0" fmla="*/ 303820 w 607639"/>
                <a:gd name="connsiteY0" fmla="*/ 278099 h 606722"/>
                <a:gd name="connsiteX1" fmla="*/ 329118 w 607639"/>
                <a:gd name="connsiteY1" fmla="*/ 303362 h 606722"/>
                <a:gd name="connsiteX2" fmla="*/ 303820 w 607639"/>
                <a:gd name="connsiteY2" fmla="*/ 328625 h 606722"/>
                <a:gd name="connsiteX3" fmla="*/ 278522 w 607639"/>
                <a:gd name="connsiteY3" fmla="*/ 303362 h 606722"/>
                <a:gd name="connsiteX4" fmla="*/ 303820 w 607639"/>
                <a:gd name="connsiteY4" fmla="*/ 278099 h 606722"/>
                <a:gd name="connsiteX5" fmla="*/ 303775 w 607639"/>
                <a:gd name="connsiteY5" fmla="*/ 252735 h 606722"/>
                <a:gd name="connsiteX6" fmla="*/ 253140 w 607639"/>
                <a:gd name="connsiteY6" fmla="*/ 303317 h 606722"/>
                <a:gd name="connsiteX7" fmla="*/ 303775 w 607639"/>
                <a:gd name="connsiteY7" fmla="*/ 353900 h 606722"/>
                <a:gd name="connsiteX8" fmla="*/ 354410 w 607639"/>
                <a:gd name="connsiteY8" fmla="*/ 303317 h 606722"/>
                <a:gd name="connsiteX9" fmla="*/ 303775 w 607639"/>
                <a:gd name="connsiteY9" fmla="*/ 252735 h 606722"/>
                <a:gd name="connsiteX10" fmla="*/ 303775 w 607639"/>
                <a:gd name="connsiteY10" fmla="*/ 202241 h 606722"/>
                <a:gd name="connsiteX11" fmla="*/ 405045 w 607639"/>
                <a:gd name="connsiteY11" fmla="*/ 303317 h 606722"/>
                <a:gd name="connsiteX12" fmla="*/ 303775 w 607639"/>
                <a:gd name="connsiteY12" fmla="*/ 404482 h 606722"/>
                <a:gd name="connsiteX13" fmla="*/ 202593 w 607639"/>
                <a:gd name="connsiteY13" fmla="*/ 303317 h 606722"/>
                <a:gd name="connsiteX14" fmla="*/ 303775 w 607639"/>
                <a:gd name="connsiteY14" fmla="*/ 202241 h 606722"/>
                <a:gd name="connsiteX15" fmla="*/ 303775 w 607639"/>
                <a:gd name="connsiteY15" fmla="*/ 151703 h 606722"/>
                <a:gd name="connsiteX16" fmla="*/ 151932 w 607639"/>
                <a:gd name="connsiteY16" fmla="*/ 303317 h 606722"/>
                <a:gd name="connsiteX17" fmla="*/ 303775 w 607639"/>
                <a:gd name="connsiteY17" fmla="*/ 455019 h 606722"/>
                <a:gd name="connsiteX18" fmla="*/ 455707 w 607639"/>
                <a:gd name="connsiteY18" fmla="*/ 303317 h 606722"/>
                <a:gd name="connsiteX19" fmla="*/ 303775 w 607639"/>
                <a:gd name="connsiteY19" fmla="*/ 151703 h 606722"/>
                <a:gd name="connsiteX20" fmla="*/ 253131 w 607639"/>
                <a:gd name="connsiteY20" fmla="*/ 0 h 606722"/>
                <a:gd name="connsiteX21" fmla="*/ 354419 w 607639"/>
                <a:gd name="connsiteY21" fmla="*/ 0 h 606722"/>
                <a:gd name="connsiteX22" fmla="*/ 379786 w 607639"/>
                <a:gd name="connsiteY22" fmla="*/ 25239 h 606722"/>
                <a:gd name="connsiteX23" fmla="*/ 379786 w 607639"/>
                <a:gd name="connsiteY23" fmla="*/ 62387 h 606722"/>
                <a:gd name="connsiteX24" fmla="*/ 420639 w 607639"/>
                <a:gd name="connsiteY24" fmla="*/ 79451 h 606722"/>
                <a:gd name="connsiteX25" fmla="*/ 446985 w 607639"/>
                <a:gd name="connsiteY25" fmla="*/ 53145 h 606722"/>
                <a:gd name="connsiteX26" fmla="*/ 482854 w 607639"/>
                <a:gd name="connsiteY26" fmla="*/ 53145 h 606722"/>
                <a:gd name="connsiteX27" fmla="*/ 554414 w 607639"/>
                <a:gd name="connsiteY27" fmla="*/ 124597 h 606722"/>
                <a:gd name="connsiteX28" fmla="*/ 554414 w 607639"/>
                <a:gd name="connsiteY28" fmla="*/ 160323 h 606722"/>
                <a:gd name="connsiteX29" fmla="*/ 528069 w 607639"/>
                <a:gd name="connsiteY29" fmla="*/ 186629 h 606722"/>
                <a:gd name="connsiteX30" fmla="*/ 545158 w 607639"/>
                <a:gd name="connsiteY30" fmla="*/ 227510 h 606722"/>
                <a:gd name="connsiteX31" fmla="*/ 582273 w 607639"/>
                <a:gd name="connsiteY31" fmla="*/ 227510 h 606722"/>
                <a:gd name="connsiteX32" fmla="*/ 607639 w 607639"/>
                <a:gd name="connsiteY32" fmla="*/ 252749 h 606722"/>
                <a:gd name="connsiteX33" fmla="*/ 607639 w 607639"/>
                <a:gd name="connsiteY33" fmla="*/ 353884 h 606722"/>
                <a:gd name="connsiteX34" fmla="*/ 582273 w 607639"/>
                <a:gd name="connsiteY34" fmla="*/ 379212 h 606722"/>
                <a:gd name="connsiteX35" fmla="*/ 545158 w 607639"/>
                <a:gd name="connsiteY35" fmla="*/ 379212 h 606722"/>
                <a:gd name="connsiteX36" fmla="*/ 528069 w 607639"/>
                <a:gd name="connsiteY36" fmla="*/ 420004 h 606722"/>
                <a:gd name="connsiteX37" fmla="*/ 554414 w 607639"/>
                <a:gd name="connsiteY37" fmla="*/ 446310 h 606722"/>
                <a:gd name="connsiteX38" fmla="*/ 554414 w 607639"/>
                <a:gd name="connsiteY38" fmla="*/ 482125 h 606722"/>
                <a:gd name="connsiteX39" fmla="*/ 482854 w 607639"/>
                <a:gd name="connsiteY39" fmla="*/ 553577 h 606722"/>
                <a:gd name="connsiteX40" fmla="*/ 446985 w 607639"/>
                <a:gd name="connsiteY40" fmla="*/ 553577 h 606722"/>
                <a:gd name="connsiteX41" fmla="*/ 420639 w 607639"/>
                <a:gd name="connsiteY41" fmla="*/ 527271 h 606722"/>
                <a:gd name="connsiteX42" fmla="*/ 379786 w 607639"/>
                <a:gd name="connsiteY42" fmla="*/ 544246 h 606722"/>
                <a:gd name="connsiteX43" fmla="*/ 379786 w 607639"/>
                <a:gd name="connsiteY43" fmla="*/ 581394 h 606722"/>
                <a:gd name="connsiteX44" fmla="*/ 354419 w 607639"/>
                <a:gd name="connsiteY44" fmla="*/ 606722 h 606722"/>
                <a:gd name="connsiteX45" fmla="*/ 253131 w 607639"/>
                <a:gd name="connsiteY45" fmla="*/ 606722 h 606722"/>
                <a:gd name="connsiteX46" fmla="*/ 227854 w 607639"/>
                <a:gd name="connsiteY46" fmla="*/ 581394 h 606722"/>
                <a:gd name="connsiteX47" fmla="*/ 227854 w 607639"/>
                <a:gd name="connsiteY47" fmla="*/ 544246 h 606722"/>
                <a:gd name="connsiteX48" fmla="*/ 186911 w 607639"/>
                <a:gd name="connsiteY48" fmla="*/ 527271 h 606722"/>
                <a:gd name="connsiteX49" fmla="*/ 160566 w 607639"/>
                <a:gd name="connsiteY49" fmla="*/ 553577 h 606722"/>
                <a:gd name="connsiteX50" fmla="*/ 124786 w 607639"/>
                <a:gd name="connsiteY50" fmla="*/ 553577 h 606722"/>
                <a:gd name="connsiteX51" fmla="*/ 53225 w 607639"/>
                <a:gd name="connsiteY51" fmla="*/ 482125 h 606722"/>
                <a:gd name="connsiteX52" fmla="*/ 53225 w 607639"/>
                <a:gd name="connsiteY52" fmla="*/ 446310 h 606722"/>
                <a:gd name="connsiteX53" fmla="*/ 79482 w 607639"/>
                <a:gd name="connsiteY53" fmla="*/ 420004 h 606722"/>
                <a:gd name="connsiteX54" fmla="*/ 62482 w 607639"/>
                <a:gd name="connsiteY54" fmla="*/ 379212 h 606722"/>
                <a:gd name="connsiteX55" fmla="*/ 25278 w 607639"/>
                <a:gd name="connsiteY55" fmla="*/ 379212 h 606722"/>
                <a:gd name="connsiteX56" fmla="*/ 0 w 607639"/>
                <a:gd name="connsiteY56" fmla="*/ 353884 h 606722"/>
                <a:gd name="connsiteX57" fmla="*/ 0 w 607639"/>
                <a:gd name="connsiteY57" fmla="*/ 252749 h 606722"/>
                <a:gd name="connsiteX58" fmla="*/ 25278 w 607639"/>
                <a:gd name="connsiteY58" fmla="*/ 227510 h 606722"/>
                <a:gd name="connsiteX59" fmla="*/ 62482 w 607639"/>
                <a:gd name="connsiteY59" fmla="*/ 227510 h 606722"/>
                <a:gd name="connsiteX60" fmla="*/ 79482 w 607639"/>
                <a:gd name="connsiteY60" fmla="*/ 186629 h 606722"/>
                <a:gd name="connsiteX61" fmla="*/ 53225 w 607639"/>
                <a:gd name="connsiteY61" fmla="*/ 160323 h 606722"/>
                <a:gd name="connsiteX62" fmla="*/ 53225 w 607639"/>
                <a:gd name="connsiteY62" fmla="*/ 124597 h 606722"/>
                <a:gd name="connsiteX63" fmla="*/ 124786 w 607639"/>
                <a:gd name="connsiteY63" fmla="*/ 53145 h 606722"/>
                <a:gd name="connsiteX64" fmla="*/ 160566 w 607639"/>
                <a:gd name="connsiteY64" fmla="*/ 53145 h 606722"/>
                <a:gd name="connsiteX65" fmla="*/ 186911 w 607639"/>
                <a:gd name="connsiteY65" fmla="*/ 79451 h 606722"/>
                <a:gd name="connsiteX66" fmla="*/ 227854 w 607639"/>
                <a:gd name="connsiteY66" fmla="*/ 62387 h 606722"/>
                <a:gd name="connsiteX67" fmla="*/ 227854 w 607639"/>
                <a:gd name="connsiteY67" fmla="*/ 25239 h 606722"/>
                <a:gd name="connsiteX68" fmla="*/ 253131 w 607639"/>
                <a:gd name="connsiteY68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607639" h="606722">
                  <a:moveTo>
                    <a:pt x="303820" y="278099"/>
                  </a:moveTo>
                  <a:cubicBezTo>
                    <a:pt x="317792" y="278099"/>
                    <a:pt x="329118" y="289410"/>
                    <a:pt x="329118" y="303362"/>
                  </a:cubicBezTo>
                  <a:cubicBezTo>
                    <a:pt x="329118" y="317314"/>
                    <a:pt x="317792" y="328625"/>
                    <a:pt x="303820" y="328625"/>
                  </a:cubicBezTo>
                  <a:cubicBezTo>
                    <a:pt x="289848" y="328625"/>
                    <a:pt x="278522" y="317314"/>
                    <a:pt x="278522" y="303362"/>
                  </a:cubicBezTo>
                  <a:cubicBezTo>
                    <a:pt x="278522" y="289410"/>
                    <a:pt x="289848" y="278099"/>
                    <a:pt x="303820" y="278099"/>
                  </a:cubicBezTo>
                  <a:close/>
                  <a:moveTo>
                    <a:pt x="303775" y="252735"/>
                  </a:moveTo>
                  <a:cubicBezTo>
                    <a:pt x="275921" y="252735"/>
                    <a:pt x="253140" y="275492"/>
                    <a:pt x="253140" y="303317"/>
                  </a:cubicBezTo>
                  <a:cubicBezTo>
                    <a:pt x="253140" y="331231"/>
                    <a:pt x="275921" y="353900"/>
                    <a:pt x="303775" y="353900"/>
                  </a:cubicBezTo>
                  <a:cubicBezTo>
                    <a:pt x="331718" y="353900"/>
                    <a:pt x="354410" y="331231"/>
                    <a:pt x="354410" y="303317"/>
                  </a:cubicBezTo>
                  <a:cubicBezTo>
                    <a:pt x="354410" y="275492"/>
                    <a:pt x="331718" y="252735"/>
                    <a:pt x="303775" y="252735"/>
                  </a:cubicBezTo>
                  <a:close/>
                  <a:moveTo>
                    <a:pt x="303775" y="202241"/>
                  </a:moveTo>
                  <a:cubicBezTo>
                    <a:pt x="359660" y="202241"/>
                    <a:pt x="405045" y="247579"/>
                    <a:pt x="405045" y="303317"/>
                  </a:cubicBezTo>
                  <a:cubicBezTo>
                    <a:pt x="405045" y="359144"/>
                    <a:pt x="359660" y="404482"/>
                    <a:pt x="303775" y="404482"/>
                  </a:cubicBezTo>
                  <a:cubicBezTo>
                    <a:pt x="247978" y="404482"/>
                    <a:pt x="202593" y="359144"/>
                    <a:pt x="202593" y="303317"/>
                  </a:cubicBezTo>
                  <a:cubicBezTo>
                    <a:pt x="202593" y="247579"/>
                    <a:pt x="247978" y="202241"/>
                    <a:pt x="303775" y="202241"/>
                  </a:cubicBezTo>
                  <a:close/>
                  <a:moveTo>
                    <a:pt x="303775" y="151703"/>
                  </a:moveTo>
                  <a:cubicBezTo>
                    <a:pt x="220021" y="151703"/>
                    <a:pt x="151932" y="219689"/>
                    <a:pt x="151932" y="303317"/>
                  </a:cubicBezTo>
                  <a:cubicBezTo>
                    <a:pt x="151932" y="387033"/>
                    <a:pt x="220021" y="455019"/>
                    <a:pt x="303775" y="455019"/>
                  </a:cubicBezTo>
                  <a:cubicBezTo>
                    <a:pt x="387618" y="455019"/>
                    <a:pt x="455707" y="387033"/>
                    <a:pt x="455707" y="303317"/>
                  </a:cubicBezTo>
                  <a:cubicBezTo>
                    <a:pt x="455707" y="219689"/>
                    <a:pt x="387618" y="151703"/>
                    <a:pt x="303775" y="151703"/>
                  </a:cubicBezTo>
                  <a:close/>
                  <a:moveTo>
                    <a:pt x="253131" y="0"/>
                  </a:moveTo>
                  <a:lnTo>
                    <a:pt x="354419" y="0"/>
                  </a:lnTo>
                  <a:cubicBezTo>
                    <a:pt x="368482" y="0"/>
                    <a:pt x="379786" y="11287"/>
                    <a:pt x="379786" y="25239"/>
                  </a:cubicBezTo>
                  <a:lnTo>
                    <a:pt x="379786" y="62387"/>
                  </a:lnTo>
                  <a:cubicBezTo>
                    <a:pt x="393849" y="66831"/>
                    <a:pt x="407555" y="72519"/>
                    <a:pt x="420639" y="79451"/>
                  </a:cubicBezTo>
                  <a:lnTo>
                    <a:pt x="446985" y="53145"/>
                  </a:lnTo>
                  <a:cubicBezTo>
                    <a:pt x="456953" y="43191"/>
                    <a:pt x="472974" y="43191"/>
                    <a:pt x="482854" y="53145"/>
                  </a:cubicBezTo>
                  <a:lnTo>
                    <a:pt x="554414" y="124597"/>
                  </a:lnTo>
                  <a:cubicBezTo>
                    <a:pt x="564294" y="134462"/>
                    <a:pt x="564294" y="150459"/>
                    <a:pt x="554414" y="160323"/>
                  </a:cubicBezTo>
                  <a:lnTo>
                    <a:pt x="528069" y="186629"/>
                  </a:lnTo>
                  <a:cubicBezTo>
                    <a:pt x="535011" y="199782"/>
                    <a:pt x="540707" y="213468"/>
                    <a:pt x="545158" y="227510"/>
                  </a:cubicBezTo>
                  <a:lnTo>
                    <a:pt x="582273" y="227510"/>
                  </a:lnTo>
                  <a:cubicBezTo>
                    <a:pt x="596336" y="227510"/>
                    <a:pt x="607639" y="238796"/>
                    <a:pt x="607639" y="252749"/>
                  </a:cubicBezTo>
                  <a:lnTo>
                    <a:pt x="607639" y="353884"/>
                  </a:lnTo>
                  <a:cubicBezTo>
                    <a:pt x="607639" y="367926"/>
                    <a:pt x="596247" y="379212"/>
                    <a:pt x="582273" y="379212"/>
                  </a:cubicBezTo>
                  <a:lnTo>
                    <a:pt x="545158" y="379212"/>
                  </a:lnTo>
                  <a:cubicBezTo>
                    <a:pt x="540707" y="393254"/>
                    <a:pt x="535011" y="406940"/>
                    <a:pt x="528069" y="420004"/>
                  </a:cubicBezTo>
                  <a:lnTo>
                    <a:pt x="554414" y="446310"/>
                  </a:lnTo>
                  <a:cubicBezTo>
                    <a:pt x="564294" y="456263"/>
                    <a:pt x="564294" y="472260"/>
                    <a:pt x="554414" y="482125"/>
                  </a:cubicBezTo>
                  <a:lnTo>
                    <a:pt x="482854" y="553577"/>
                  </a:lnTo>
                  <a:cubicBezTo>
                    <a:pt x="472974" y="563442"/>
                    <a:pt x="456953" y="563442"/>
                    <a:pt x="446985" y="553577"/>
                  </a:cubicBezTo>
                  <a:lnTo>
                    <a:pt x="420639" y="527271"/>
                  </a:lnTo>
                  <a:cubicBezTo>
                    <a:pt x="407555" y="534203"/>
                    <a:pt x="393849" y="539802"/>
                    <a:pt x="379786" y="544246"/>
                  </a:cubicBezTo>
                  <a:lnTo>
                    <a:pt x="379786" y="581394"/>
                  </a:lnTo>
                  <a:cubicBezTo>
                    <a:pt x="379786" y="595435"/>
                    <a:pt x="368393" y="606722"/>
                    <a:pt x="354419" y="606722"/>
                  </a:cubicBezTo>
                  <a:lnTo>
                    <a:pt x="253131" y="606722"/>
                  </a:lnTo>
                  <a:cubicBezTo>
                    <a:pt x="239157" y="606722"/>
                    <a:pt x="227854" y="595435"/>
                    <a:pt x="227854" y="581394"/>
                  </a:cubicBezTo>
                  <a:lnTo>
                    <a:pt x="227854" y="544246"/>
                  </a:lnTo>
                  <a:cubicBezTo>
                    <a:pt x="213791" y="539802"/>
                    <a:pt x="200084" y="534203"/>
                    <a:pt x="186911" y="527271"/>
                  </a:cubicBezTo>
                  <a:lnTo>
                    <a:pt x="160566" y="553577"/>
                  </a:lnTo>
                  <a:cubicBezTo>
                    <a:pt x="150686" y="563442"/>
                    <a:pt x="134665" y="563442"/>
                    <a:pt x="124786" y="553577"/>
                  </a:cubicBezTo>
                  <a:lnTo>
                    <a:pt x="53225" y="482125"/>
                  </a:lnTo>
                  <a:cubicBezTo>
                    <a:pt x="43257" y="472260"/>
                    <a:pt x="43257" y="456263"/>
                    <a:pt x="53225" y="446310"/>
                  </a:cubicBezTo>
                  <a:lnTo>
                    <a:pt x="79482" y="420004"/>
                  </a:lnTo>
                  <a:cubicBezTo>
                    <a:pt x="72629" y="406940"/>
                    <a:pt x="66932" y="393254"/>
                    <a:pt x="62482" y="379212"/>
                  </a:cubicBezTo>
                  <a:lnTo>
                    <a:pt x="25278" y="379212"/>
                  </a:lnTo>
                  <a:cubicBezTo>
                    <a:pt x="11304" y="379212"/>
                    <a:pt x="0" y="367926"/>
                    <a:pt x="0" y="353884"/>
                  </a:cubicBezTo>
                  <a:lnTo>
                    <a:pt x="0" y="252749"/>
                  </a:lnTo>
                  <a:cubicBezTo>
                    <a:pt x="0" y="238796"/>
                    <a:pt x="11304" y="227510"/>
                    <a:pt x="25278" y="227510"/>
                  </a:cubicBezTo>
                  <a:lnTo>
                    <a:pt x="62482" y="227510"/>
                  </a:lnTo>
                  <a:cubicBezTo>
                    <a:pt x="66932" y="213468"/>
                    <a:pt x="72629" y="199782"/>
                    <a:pt x="79482" y="186629"/>
                  </a:cubicBezTo>
                  <a:lnTo>
                    <a:pt x="53225" y="160323"/>
                  </a:lnTo>
                  <a:cubicBezTo>
                    <a:pt x="43257" y="150459"/>
                    <a:pt x="43257" y="134462"/>
                    <a:pt x="53225" y="124597"/>
                  </a:cubicBezTo>
                  <a:lnTo>
                    <a:pt x="124786" y="53145"/>
                  </a:lnTo>
                  <a:cubicBezTo>
                    <a:pt x="134665" y="43191"/>
                    <a:pt x="150686" y="43191"/>
                    <a:pt x="160566" y="53145"/>
                  </a:cubicBezTo>
                  <a:lnTo>
                    <a:pt x="186911" y="79451"/>
                  </a:lnTo>
                  <a:cubicBezTo>
                    <a:pt x="200084" y="72519"/>
                    <a:pt x="213791" y="66831"/>
                    <a:pt x="227854" y="62387"/>
                  </a:cubicBezTo>
                  <a:lnTo>
                    <a:pt x="227854" y="25239"/>
                  </a:lnTo>
                  <a:cubicBezTo>
                    <a:pt x="227854" y="11287"/>
                    <a:pt x="239157" y="0"/>
                    <a:pt x="253131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3" name="ïṧľíďê">
              <a:extLst>
                <a:ext uri="{FF2B5EF4-FFF2-40B4-BE49-F238E27FC236}">
                  <a16:creationId xmlns:a16="http://schemas.microsoft.com/office/drawing/2014/main" id="{83AC56C8-BB22-4DB6-8372-AA84DFFA3A81}"/>
                </a:ext>
              </a:extLst>
            </p:cNvPr>
            <p:cNvSpPr/>
            <p:nvPr/>
          </p:nvSpPr>
          <p:spPr bwMode="auto">
            <a:xfrm>
              <a:off x="2498293" y="4944202"/>
              <a:ext cx="377806" cy="377188"/>
            </a:xfrm>
            <a:custGeom>
              <a:avLst/>
              <a:gdLst>
                <a:gd name="connsiteX0" fmla="*/ 380418 w 604181"/>
                <a:gd name="connsiteY0" fmla="*/ 268007 h 603193"/>
                <a:gd name="connsiteX1" fmla="*/ 519220 w 604181"/>
                <a:gd name="connsiteY1" fmla="*/ 339187 h 603193"/>
                <a:gd name="connsiteX2" fmla="*/ 519220 w 604181"/>
                <a:gd name="connsiteY2" fmla="*/ 355820 h 603193"/>
                <a:gd name="connsiteX3" fmla="*/ 380418 w 604181"/>
                <a:gd name="connsiteY3" fmla="*/ 426850 h 603193"/>
                <a:gd name="connsiteX4" fmla="*/ 380418 w 604181"/>
                <a:gd name="connsiteY4" fmla="*/ 406320 h 603193"/>
                <a:gd name="connsiteX5" fmla="*/ 498212 w 604181"/>
                <a:gd name="connsiteY5" fmla="*/ 347728 h 603193"/>
                <a:gd name="connsiteX6" fmla="*/ 498212 w 604181"/>
                <a:gd name="connsiteY6" fmla="*/ 347129 h 603193"/>
                <a:gd name="connsiteX7" fmla="*/ 380418 w 604181"/>
                <a:gd name="connsiteY7" fmla="*/ 288687 h 603193"/>
                <a:gd name="connsiteX8" fmla="*/ 216565 w 604181"/>
                <a:gd name="connsiteY8" fmla="*/ 268007 h 603193"/>
                <a:gd name="connsiteX9" fmla="*/ 216565 w 604181"/>
                <a:gd name="connsiteY9" fmla="*/ 288687 h 603193"/>
                <a:gd name="connsiteX10" fmla="*/ 99664 w 604181"/>
                <a:gd name="connsiteY10" fmla="*/ 347129 h 603193"/>
                <a:gd name="connsiteX11" fmla="*/ 99664 w 604181"/>
                <a:gd name="connsiteY11" fmla="*/ 347728 h 603193"/>
                <a:gd name="connsiteX12" fmla="*/ 216565 w 604181"/>
                <a:gd name="connsiteY12" fmla="*/ 406320 h 603193"/>
                <a:gd name="connsiteX13" fmla="*/ 216565 w 604181"/>
                <a:gd name="connsiteY13" fmla="*/ 426850 h 603193"/>
                <a:gd name="connsiteX14" fmla="*/ 77904 w 604181"/>
                <a:gd name="connsiteY14" fmla="*/ 355521 h 603193"/>
                <a:gd name="connsiteX15" fmla="*/ 77904 w 604181"/>
                <a:gd name="connsiteY15" fmla="*/ 339486 h 603193"/>
                <a:gd name="connsiteX16" fmla="*/ 338273 w 604181"/>
                <a:gd name="connsiteY16" fmla="*/ 222493 h 603193"/>
                <a:gd name="connsiteX17" fmla="*/ 358684 w 604181"/>
                <a:gd name="connsiteY17" fmla="*/ 222493 h 603193"/>
                <a:gd name="connsiteX18" fmla="*/ 253179 w 604181"/>
                <a:gd name="connsiteY18" fmla="*/ 482103 h 603193"/>
                <a:gd name="connsiteX19" fmla="*/ 233219 w 604181"/>
                <a:gd name="connsiteY19" fmla="*/ 482103 h 603193"/>
                <a:gd name="connsiteX20" fmla="*/ 28813 w 604181"/>
                <a:gd name="connsiteY20" fmla="*/ 128849 h 603193"/>
                <a:gd name="connsiteX21" fmla="*/ 28813 w 604181"/>
                <a:gd name="connsiteY21" fmla="*/ 557497 h 603193"/>
                <a:gd name="connsiteX22" fmla="*/ 45921 w 604181"/>
                <a:gd name="connsiteY22" fmla="*/ 574427 h 603193"/>
                <a:gd name="connsiteX23" fmla="*/ 558410 w 604181"/>
                <a:gd name="connsiteY23" fmla="*/ 574427 h 603193"/>
                <a:gd name="connsiteX24" fmla="*/ 575368 w 604181"/>
                <a:gd name="connsiteY24" fmla="*/ 557497 h 603193"/>
                <a:gd name="connsiteX25" fmla="*/ 575368 w 604181"/>
                <a:gd name="connsiteY25" fmla="*/ 128849 h 603193"/>
                <a:gd name="connsiteX26" fmla="*/ 502734 w 604181"/>
                <a:gd name="connsiteY26" fmla="*/ 43149 h 603193"/>
                <a:gd name="connsiteX27" fmla="*/ 502734 w 604181"/>
                <a:gd name="connsiteY27" fmla="*/ 77309 h 603193"/>
                <a:gd name="connsiteX28" fmla="*/ 537100 w 604181"/>
                <a:gd name="connsiteY28" fmla="*/ 77309 h 603193"/>
                <a:gd name="connsiteX29" fmla="*/ 537100 w 604181"/>
                <a:gd name="connsiteY29" fmla="*/ 43149 h 603193"/>
                <a:gd name="connsiteX30" fmla="*/ 423197 w 604181"/>
                <a:gd name="connsiteY30" fmla="*/ 43149 h 603193"/>
                <a:gd name="connsiteX31" fmla="*/ 423197 w 604181"/>
                <a:gd name="connsiteY31" fmla="*/ 77309 h 603193"/>
                <a:gd name="connsiteX32" fmla="*/ 457563 w 604181"/>
                <a:gd name="connsiteY32" fmla="*/ 77309 h 603193"/>
                <a:gd name="connsiteX33" fmla="*/ 457563 w 604181"/>
                <a:gd name="connsiteY33" fmla="*/ 43149 h 603193"/>
                <a:gd name="connsiteX34" fmla="*/ 45921 w 604181"/>
                <a:gd name="connsiteY34" fmla="*/ 0 h 603193"/>
                <a:gd name="connsiteX35" fmla="*/ 558410 w 604181"/>
                <a:gd name="connsiteY35" fmla="*/ 0 h 603193"/>
                <a:gd name="connsiteX36" fmla="*/ 604181 w 604181"/>
                <a:gd name="connsiteY36" fmla="*/ 45846 h 603193"/>
                <a:gd name="connsiteX37" fmla="*/ 604181 w 604181"/>
                <a:gd name="connsiteY37" fmla="*/ 557497 h 603193"/>
                <a:gd name="connsiteX38" fmla="*/ 558410 w 604181"/>
                <a:gd name="connsiteY38" fmla="*/ 603193 h 603193"/>
                <a:gd name="connsiteX39" fmla="*/ 45921 w 604181"/>
                <a:gd name="connsiteY39" fmla="*/ 603193 h 603193"/>
                <a:gd name="connsiteX40" fmla="*/ 0 w 604181"/>
                <a:gd name="connsiteY40" fmla="*/ 557497 h 603193"/>
                <a:gd name="connsiteX41" fmla="*/ 0 w 604181"/>
                <a:gd name="connsiteY41" fmla="*/ 45846 h 603193"/>
                <a:gd name="connsiteX42" fmla="*/ 45921 w 604181"/>
                <a:gd name="connsiteY42" fmla="*/ 0 h 603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04181" h="603193">
                  <a:moveTo>
                    <a:pt x="380418" y="268007"/>
                  </a:moveTo>
                  <a:lnTo>
                    <a:pt x="519220" y="339187"/>
                  </a:lnTo>
                  <a:lnTo>
                    <a:pt x="519220" y="355820"/>
                  </a:lnTo>
                  <a:lnTo>
                    <a:pt x="380418" y="426850"/>
                  </a:lnTo>
                  <a:lnTo>
                    <a:pt x="380418" y="406320"/>
                  </a:lnTo>
                  <a:lnTo>
                    <a:pt x="498212" y="347728"/>
                  </a:lnTo>
                  <a:lnTo>
                    <a:pt x="498212" y="347129"/>
                  </a:lnTo>
                  <a:lnTo>
                    <a:pt x="380418" y="288687"/>
                  </a:lnTo>
                  <a:close/>
                  <a:moveTo>
                    <a:pt x="216565" y="268007"/>
                  </a:moveTo>
                  <a:lnTo>
                    <a:pt x="216565" y="288687"/>
                  </a:lnTo>
                  <a:lnTo>
                    <a:pt x="99664" y="347129"/>
                  </a:lnTo>
                  <a:lnTo>
                    <a:pt x="99664" y="347728"/>
                  </a:lnTo>
                  <a:lnTo>
                    <a:pt x="216565" y="406320"/>
                  </a:lnTo>
                  <a:lnTo>
                    <a:pt x="216565" y="426850"/>
                  </a:lnTo>
                  <a:lnTo>
                    <a:pt x="77904" y="355521"/>
                  </a:lnTo>
                  <a:lnTo>
                    <a:pt x="77904" y="339486"/>
                  </a:lnTo>
                  <a:close/>
                  <a:moveTo>
                    <a:pt x="338273" y="222493"/>
                  </a:moveTo>
                  <a:lnTo>
                    <a:pt x="358684" y="222493"/>
                  </a:lnTo>
                  <a:lnTo>
                    <a:pt x="253179" y="482103"/>
                  </a:lnTo>
                  <a:lnTo>
                    <a:pt x="233219" y="482103"/>
                  </a:lnTo>
                  <a:close/>
                  <a:moveTo>
                    <a:pt x="28813" y="128849"/>
                  </a:moveTo>
                  <a:lnTo>
                    <a:pt x="28813" y="557497"/>
                  </a:lnTo>
                  <a:cubicBezTo>
                    <a:pt x="28813" y="566786"/>
                    <a:pt x="36467" y="574427"/>
                    <a:pt x="45921" y="574427"/>
                  </a:cubicBezTo>
                  <a:lnTo>
                    <a:pt x="558410" y="574427"/>
                  </a:lnTo>
                  <a:cubicBezTo>
                    <a:pt x="567714" y="574427"/>
                    <a:pt x="575368" y="566786"/>
                    <a:pt x="575368" y="557497"/>
                  </a:cubicBezTo>
                  <a:lnTo>
                    <a:pt x="575368" y="128849"/>
                  </a:lnTo>
                  <a:close/>
                  <a:moveTo>
                    <a:pt x="502734" y="43149"/>
                  </a:moveTo>
                  <a:lnTo>
                    <a:pt x="502734" y="77309"/>
                  </a:lnTo>
                  <a:lnTo>
                    <a:pt x="537100" y="77309"/>
                  </a:lnTo>
                  <a:lnTo>
                    <a:pt x="537100" y="43149"/>
                  </a:lnTo>
                  <a:close/>
                  <a:moveTo>
                    <a:pt x="423197" y="43149"/>
                  </a:moveTo>
                  <a:lnTo>
                    <a:pt x="423197" y="77309"/>
                  </a:lnTo>
                  <a:lnTo>
                    <a:pt x="457563" y="77309"/>
                  </a:lnTo>
                  <a:lnTo>
                    <a:pt x="457563" y="43149"/>
                  </a:lnTo>
                  <a:close/>
                  <a:moveTo>
                    <a:pt x="45921" y="0"/>
                  </a:moveTo>
                  <a:lnTo>
                    <a:pt x="558410" y="0"/>
                  </a:lnTo>
                  <a:cubicBezTo>
                    <a:pt x="583621" y="0"/>
                    <a:pt x="604181" y="20526"/>
                    <a:pt x="604181" y="45846"/>
                  </a:cubicBezTo>
                  <a:lnTo>
                    <a:pt x="604181" y="557497"/>
                  </a:lnTo>
                  <a:cubicBezTo>
                    <a:pt x="604181" y="582667"/>
                    <a:pt x="583621" y="603193"/>
                    <a:pt x="558410" y="603193"/>
                  </a:cubicBezTo>
                  <a:lnTo>
                    <a:pt x="45921" y="603193"/>
                  </a:lnTo>
                  <a:cubicBezTo>
                    <a:pt x="20560" y="603193"/>
                    <a:pt x="0" y="582667"/>
                    <a:pt x="0" y="557497"/>
                  </a:cubicBezTo>
                  <a:lnTo>
                    <a:pt x="0" y="45846"/>
                  </a:lnTo>
                  <a:cubicBezTo>
                    <a:pt x="0" y="20526"/>
                    <a:pt x="20560" y="0"/>
                    <a:pt x="45921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4" name="îṣḻîḍé">
              <a:extLst>
                <a:ext uri="{FF2B5EF4-FFF2-40B4-BE49-F238E27FC236}">
                  <a16:creationId xmlns:a16="http://schemas.microsoft.com/office/drawing/2014/main" id="{716A4AAF-66FE-4462-901E-658C29D84AD8}"/>
                </a:ext>
              </a:extLst>
            </p:cNvPr>
            <p:cNvSpPr/>
            <p:nvPr/>
          </p:nvSpPr>
          <p:spPr bwMode="auto">
            <a:xfrm>
              <a:off x="1959174" y="5587283"/>
              <a:ext cx="377806" cy="377235"/>
            </a:xfrm>
            <a:custGeom>
              <a:avLst/>
              <a:gdLst>
                <a:gd name="T0" fmla="*/ 6624 w 7154"/>
                <a:gd name="T1" fmla="*/ 2037 h 7154"/>
                <a:gd name="T2" fmla="*/ 6106 w 7154"/>
                <a:gd name="T3" fmla="*/ 1048 h 7154"/>
                <a:gd name="T4" fmla="*/ 5117 w 7154"/>
                <a:gd name="T5" fmla="*/ 530 h 7154"/>
                <a:gd name="T6" fmla="*/ 4643 w 7154"/>
                <a:gd name="T7" fmla="*/ 334 h 7154"/>
                <a:gd name="T8" fmla="*/ 3577 w 7154"/>
                <a:gd name="T9" fmla="*/ 0 h 7154"/>
                <a:gd name="T10" fmla="*/ 2511 w 7154"/>
                <a:gd name="T11" fmla="*/ 334 h 7154"/>
                <a:gd name="T12" fmla="*/ 2037 w 7154"/>
                <a:gd name="T13" fmla="*/ 530 h 7154"/>
                <a:gd name="T14" fmla="*/ 1048 w 7154"/>
                <a:gd name="T15" fmla="*/ 1048 h 7154"/>
                <a:gd name="T16" fmla="*/ 530 w 7154"/>
                <a:gd name="T17" fmla="*/ 2037 h 7154"/>
                <a:gd name="T18" fmla="*/ 334 w 7154"/>
                <a:gd name="T19" fmla="*/ 2511 h 7154"/>
                <a:gd name="T20" fmla="*/ 0 w 7154"/>
                <a:gd name="T21" fmla="*/ 3577 h 7154"/>
                <a:gd name="T22" fmla="*/ 334 w 7154"/>
                <a:gd name="T23" fmla="*/ 4643 h 7154"/>
                <a:gd name="T24" fmla="*/ 530 w 7154"/>
                <a:gd name="T25" fmla="*/ 5117 h 7154"/>
                <a:gd name="T26" fmla="*/ 1048 w 7154"/>
                <a:gd name="T27" fmla="*/ 6106 h 7154"/>
                <a:gd name="T28" fmla="*/ 2037 w 7154"/>
                <a:gd name="T29" fmla="*/ 6624 h 7154"/>
                <a:gd name="T30" fmla="*/ 2511 w 7154"/>
                <a:gd name="T31" fmla="*/ 6820 h 7154"/>
                <a:gd name="T32" fmla="*/ 3577 w 7154"/>
                <a:gd name="T33" fmla="*/ 7154 h 7154"/>
                <a:gd name="T34" fmla="*/ 4643 w 7154"/>
                <a:gd name="T35" fmla="*/ 6820 h 7154"/>
                <a:gd name="T36" fmla="*/ 5117 w 7154"/>
                <a:gd name="T37" fmla="*/ 6624 h 7154"/>
                <a:gd name="T38" fmla="*/ 6106 w 7154"/>
                <a:gd name="T39" fmla="*/ 6106 h 7154"/>
                <a:gd name="T40" fmla="*/ 6624 w 7154"/>
                <a:gd name="T41" fmla="*/ 5117 h 7154"/>
                <a:gd name="T42" fmla="*/ 6820 w 7154"/>
                <a:gd name="T43" fmla="*/ 4643 h 7154"/>
                <a:gd name="T44" fmla="*/ 7154 w 7154"/>
                <a:gd name="T45" fmla="*/ 3577 h 7154"/>
                <a:gd name="T46" fmla="*/ 6820 w 7154"/>
                <a:gd name="T47" fmla="*/ 2511 h 7154"/>
                <a:gd name="T48" fmla="*/ 6624 w 7154"/>
                <a:gd name="T49" fmla="*/ 2037 h 7154"/>
                <a:gd name="T50" fmla="*/ 5857 w 7154"/>
                <a:gd name="T51" fmla="*/ 2406 h 7154"/>
                <a:gd name="T52" fmla="*/ 3286 w 7154"/>
                <a:gd name="T53" fmla="*/ 4976 h 7154"/>
                <a:gd name="T54" fmla="*/ 2875 w 7154"/>
                <a:gd name="T55" fmla="*/ 5387 h 7154"/>
                <a:gd name="T56" fmla="*/ 2464 w 7154"/>
                <a:gd name="T57" fmla="*/ 5387 h 7154"/>
                <a:gd name="T58" fmla="*/ 2053 w 7154"/>
                <a:gd name="T59" fmla="*/ 4976 h 7154"/>
                <a:gd name="T60" fmla="*/ 1297 w 7154"/>
                <a:gd name="T61" fmla="*/ 4221 h 7154"/>
                <a:gd name="T62" fmla="*/ 1297 w 7154"/>
                <a:gd name="T63" fmla="*/ 3809 h 7154"/>
                <a:gd name="T64" fmla="*/ 1708 w 7154"/>
                <a:gd name="T65" fmla="*/ 3398 h 7154"/>
                <a:gd name="T66" fmla="*/ 2120 w 7154"/>
                <a:gd name="T67" fmla="*/ 3398 h 7154"/>
                <a:gd name="T68" fmla="*/ 2669 w 7154"/>
                <a:gd name="T69" fmla="*/ 3948 h 7154"/>
                <a:gd name="T70" fmla="*/ 5034 w 7154"/>
                <a:gd name="T71" fmla="*/ 1583 h 7154"/>
                <a:gd name="T72" fmla="*/ 5445 w 7154"/>
                <a:gd name="T73" fmla="*/ 1583 h 7154"/>
                <a:gd name="T74" fmla="*/ 5857 w 7154"/>
                <a:gd name="T75" fmla="*/ 1994 h 7154"/>
                <a:gd name="T76" fmla="*/ 5857 w 7154"/>
                <a:gd name="T77" fmla="*/ 2406 h 7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154" h="7154">
                  <a:moveTo>
                    <a:pt x="6624" y="2037"/>
                  </a:moveTo>
                  <a:cubicBezTo>
                    <a:pt x="6580" y="1703"/>
                    <a:pt x="6403" y="1345"/>
                    <a:pt x="6106" y="1048"/>
                  </a:cubicBezTo>
                  <a:cubicBezTo>
                    <a:pt x="5809" y="751"/>
                    <a:pt x="5451" y="574"/>
                    <a:pt x="5117" y="530"/>
                  </a:cubicBezTo>
                  <a:cubicBezTo>
                    <a:pt x="4966" y="510"/>
                    <a:pt x="4764" y="427"/>
                    <a:pt x="4643" y="334"/>
                  </a:cubicBezTo>
                  <a:cubicBezTo>
                    <a:pt x="4375" y="128"/>
                    <a:pt x="3997" y="0"/>
                    <a:pt x="3577" y="0"/>
                  </a:cubicBezTo>
                  <a:cubicBezTo>
                    <a:pt x="3157" y="0"/>
                    <a:pt x="2779" y="128"/>
                    <a:pt x="2511" y="334"/>
                  </a:cubicBezTo>
                  <a:cubicBezTo>
                    <a:pt x="2390" y="427"/>
                    <a:pt x="2188" y="510"/>
                    <a:pt x="2037" y="530"/>
                  </a:cubicBezTo>
                  <a:cubicBezTo>
                    <a:pt x="1702" y="574"/>
                    <a:pt x="1345" y="751"/>
                    <a:pt x="1048" y="1048"/>
                  </a:cubicBezTo>
                  <a:cubicBezTo>
                    <a:pt x="751" y="1345"/>
                    <a:pt x="574" y="1703"/>
                    <a:pt x="530" y="2037"/>
                  </a:cubicBezTo>
                  <a:cubicBezTo>
                    <a:pt x="510" y="2188"/>
                    <a:pt x="427" y="2390"/>
                    <a:pt x="334" y="2511"/>
                  </a:cubicBezTo>
                  <a:cubicBezTo>
                    <a:pt x="128" y="2779"/>
                    <a:pt x="0" y="3157"/>
                    <a:pt x="0" y="3577"/>
                  </a:cubicBezTo>
                  <a:cubicBezTo>
                    <a:pt x="0" y="3997"/>
                    <a:pt x="128" y="4375"/>
                    <a:pt x="334" y="4643"/>
                  </a:cubicBezTo>
                  <a:cubicBezTo>
                    <a:pt x="427" y="4764"/>
                    <a:pt x="510" y="4966"/>
                    <a:pt x="530" y="5117"/>
                  </a:cubicBezTo>
                  <a:cubicBezTo>
                    <a:pt x="574" y="5451"/>
                    <a:pt x="751" y="5809"/>
                    <a:pt x="1048" y="6106"/>
                  </a:cubicBezTo>
                  <a:cubicBezTo>
                    <a:pt x="1345" y="6403"/>
                    <a:pt x="1702" y="6580"/>
                    <a:pt x="2037" y="6624"/>
                  </a:cubicBezTo>
                  <a:cubicBezTo>
                    <a:pt x="2188" y="6644"/>
                    <a:pt x="2390" y="6727"/>
                    <a:pt x="2511" y="6820"/>
                  </a:cubicBezTo>
                  <a:cubicBezTo>
                    <a:pt x="2779" y="7025"/>
                    <a:pt x="3157" y="7154"/>
                    <a:pt x="3577" y="7154"/>
                  </a:cubicBezTo>
                  <a:cubicBezTo>
                    <a:pt x="3997" y="7154"/>
                    <a:pt x="4375" y="7025"/>
                    <a:pt x="4643" y="6820"/>
                  </a:cubicBezTo>
                  <a:cubicBezTo>
                    <a:pt x="4764" y="6727"/>
                    <a:pt x="4966" y="6644"/>
                    <a:pt x="5117" y="6624"/>
                  </a:cubicBezTo>
                  <a:cubicBezTo>
                    <a:pt x="5451" y="6580"/>
                    <a:pt x="5809" y="6403"/>
                    <a:pt x="6106" y="6106"/>
                  </a:cubicBezTo>
                  <a:cubicBezTo>
                    <a:pt x="6403" y="5809"/>
                    <a:pt x="6580" y="5451"/>
                    <a:pt x="6624" y="5117"/>
                  </a:cubicBezTo>
                  <a:cubicBezTo>
                    <a:pt x="6644" y="4966"/>
                    <a:pt x="6727" y="4764"/>
                    <a:pt x="6820" y="4643"/>
                  </a:cubicBezTo>
                  <a:cubicBezTo>
                    <a:pt x="7026" y="4375"/>
                    <a:pt x="7154" y="3997"/>
                    <a:pt x="7154" y="3577"/>
                  </a:cubicBezTo>
                  <a:cubicBezTo>
                    <a:pt x="7154" y="3157"/>
                    <a:pt x="7026" y="2779"/>
                    <a:pt x="6820" y="2511"/>
                  </a:cubicBezTo>
                  <a:cubicBezTo>
                    <a:pt x="6727" y="2390"/>
                    <a:pt x="6644" y="2188"/>
                    <a:pt x="6624" y="2037"/>
                  </a:cubicBezTo>
                  <a:close/>
                  <a:moveTo>
                    <a:pt x="5857" y="2406"/>
                  </a:moveTo>
                  <a:lnTo>
                    <a:pt x="3286" y="4976"/>
                  </a:lnTo>
                  <a:lnTo>
                    <a:pt x="2875" y="5387"/>
                  </a:lnTo>
                  <a:cubicBezTo>
                    <a:pt x="2762" y="5501"/>
                    <a:pt x="2577" y="5501"/>
                    <a:pt x="2464" y="5387"/>
                  </a:cubicBezTo>
                  <a:lnTo>
                    <a:pt x="2053" y="4976"/>
                  </a:lnTo>
                  <a:lnTo>
                    <a:pt x="1297" y="4221"/>
                  </a:lnTo>
                  <a:cubicBezTo>
                    <a:pt x="1183" y="4107"/>
                    <a:pt x="1183" y="3923"/>
                    <a:pt x="1297" y="3809"/>
                  </a:cubicBezTo>
                  <a:lnTo>
                    <a:pt x="1708" y="3398"/>
                  </a:lnTo>
                  <a:cubicBezTo>
                    <a:pt x="1822" y="3285"/>
                    <a:pt x="2006" y="3285"/>
                    <a:pt x="2120" y="3398"/>
                  </a:cubicBezTo>
                  <a:lnTo>
                    <a:pt x="2669" y="3948"/>
                  </a:lnTo>
                  <a:lnTo>
                    <a:pt x="5034" y="1583"/>
                  </a:lnTo>
                  <a:cubicBezTo>
                    <a:pt x="5148" y="1470"/>
                    <a:pt x="5332" y="1470"/>
                    <a:pt x="5445" y="1583"/>
                  </a:cubicBezTo>
                  <a:lnTo>
                    <a:pt x="5857" y="1994"/>
                  </a:lnTo>
                  <a:cubicBezTo>
                    <a:pt x="5970" y="2108"/>
                    <a:pt x="5970" y="2292"/>
                    <a:pt x="5857" y="2406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5" name="iṧḷiḑé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743264" y="4276135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按分布模式进行配置</a:t>
              </a:r>
              <a:endParaRPr lang="en-US" altLang="zh-CN" sz="1100" dirty="0"/>
            </a:p>
          </p:txBody>
        </p:sp>
        <p:sp>
          <p:nvSpPr>
            <p:cNvPr id="216" name="îṧḻiḑe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197100" y="4926511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>
                  <a:solidFill>
                    <a:schemeClr val="bg1"/>
                  </a:solidFill>
                </a:rPr>
                <a:t>运行第一个实例</a:t>
              </a: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17" name="îṣľïd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2651098" y="5576887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开心</a:t>
              </a:r>
              <a:r>
                <a:rPr lang="en-US" altLang="zh-CN" sz="1100" dirty="0" err="1"/>
                <a:t>ing</a:t>
              </a:r>
              <a:r>
                <a:rPr lang="en-US" altLang="zh-CN" sz="1100" dirty="0"/>
                <a:t>~</a:t>
              </a:r>
            </a:p>
          </p:txBody>
        </p:sp>
        <p:sp>
          <p:nvSpPr>
            <p:cNvPr id="218" name="íṧ1îd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289201" y="3625759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 解压</a:t>
              </a:r>
              <a:endParaRPr lang="en-US" altLang="zh-CN" sz="1100" dirty="0"/>
            </a:p>
          </p:txBody>
        </p:sp>
        <p:sp>
          <p:nvSpPr>
            <p:cNvPr id="219" name="îs1ïḋ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842020" y="2975382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配置环境变量 使之生效</a:t>
              </a:r>
              <a:endParaRPr lang="en-US" altLang="zh-CN" sz="1100" dirty="0"/>
            </a:p>
          </p:txBody>
        </p:sp>
        <p:sp>
          <p:nvSpPr>
            <p:cNvPr id="220" name="íšliḓ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5387990" y="2325006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</a:t>
              </a:r>
              <a:r>
                <a:rPr lang="en-US" altLang="zh-CN" sz="1100" dirty="0"/>
                <a:t> </a:t>
              </a:r>
              <a:r>
                <a:rPr lang="zh-CN" altLang="en-US" sz="1100" dirty="0"/>
                <a:t>解压</a:t>
              </a:r>
              <a:endParaRPr lang="en-US" altLang="zh-CN" sz="1100" dirty="0"/>
            </a:p>
          </p:txBody>
        </p:sp>
      </p:grpSp>
      <p:sp>
        <p:nvSpPr>
          <p:cNvPr id="7" name="Rectangle 2">
            <a:extLst>
              <a:ext uri="{FF2B5EF4-FFF2-40B4-BE49-F238E27FC236}">
                <a16:creationId xmlns:a16="http://schemas.microsoft.com/office/drawing/2014/main" id="{3AE81623-7CD6-49D9-AB93-2743959343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7C9400A1-127B-443B-9890-1A43D9C469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5E96695E-50F1-42F2-BC25-869F2B0EF49D}"/>
              </a:ext>
            </a:extLst>
          </p:cNvPr>
          <p:cNvSpPr txBox="1"/>
          <p:nvPr/>
        </p:nvSpPr>
        <p:spPr>
          <a:xfrm>
            <a:off x="503436" y="1130300"/>
            <a:ext cx="81371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使用 </a:t>
            </a:r>
            <a:r>
              <a:rPr lang="en-US" altLang="zh-CN" dirty="0"/>
              <a:t>rm –r output </a:t>
            </a:r>
            <a:r>
              <a:rPr lang="zh-CN" altLang="en-US" dirty="0"/>
              <a:t>删除</a:t>
            </a:r>
            <a:r>
              <a:rPr lang="en-US" altLang="zh-CN" dirty="0"/>
              <a:t>output</a:t>
            </a:r>
            <a:r>
              <a:rPr lang="zh-CN" altLang="en-US" dirty="0"/>
              <a:t>文件夹再执行其他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BB82027F-4FB8-4B48-940C-0BF5A4EAFF07}"/>
              </a:ext>
            </a:extLst>
          </p:cNvPr>
          <p:cNvSpPr txBox="1"/>
          <p:nvPr/>
        </p:nvSpPr>
        <p:spPr>
          <a:xfrm>
            <a:off x="503436" y="1511227"/>
            <a:ext cx="81371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/>
              <a:t>hadoop</a:t>
            </a:r>
            <a:r>
              <a:rPr lang="en-US" altLang="zh-CN" dirty="0"/>
              <a:t> jar share/</a:t>
            </a:r>
            <a:r>
              <a:rPr lang="en-US" altLang="zh-CN" dirty="0" err="1"/>
              <a:t>hadoop</a:t>
            </a:r>
            <a:r>
              <a:rPr lang="en-US" altLang="zh-CN" dirty="0"/>
              <a:t>/</a:t>
            </a:r>
            <a:r>
              <a:rPr lang="en-US" altLang="zh-CN" dirty="0" err="1"/>
              <a:t>mapreduce</a:t>
            </a:r>
            <a:r>
              <a:rPr lang="en-US" altLang="zh-CN" dirty="0"/>
              <a:t>/hadoop-mapreduce-examples-3.1.2.jar grep input output '[</a:t>
            </a:r>
            <a:r>
              <a:rPr lang="en-US" altLang="zh-CN" dirty="0" err="1"/>
              <a:t>hH</a:t>
            </a:r>
            <a:r>
              <a:rPr lang="en-US" altLang="zh-CN" dirty="0"/>
              <a:t>][a-z.]+'</a:t>
            </a:r>
            <a:endParaRPr lang="zh-CN" altLang="en-US" dirty="0"/>
          </a:p>
        </p:txBody>
      </p:sp>
      <p:pic>
        <p:nvPicPr>
          <p:cNvPr id="19457" name="Picture 1" descr="L:\Water\Documents\Tencent Files\1106367305\Image\C2C\9FA7S({PD5ZSW5%KC_S4$4F.jpg">
            <a:extLst>
              <a:ext uri="{FF2B5EF4-FFF2-40B4-BE49-F238E27FC236}">
                <a16:creationId xmlns:a16="http://schemas.microsoft.com/office/drawing/2014/main" id="{4CF91837-EEA7-4955-A20B-3805A57D18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1" t="515"/>
          <a:stretch>
            <a:fillRect/>
          </a:stretch>
        </p:blipFill>
        <p:spPr bwMode="auto">
          <a:xfrm>
            <a:off x="1082629" y="1372201"/>
            <a:ext cx="0" cy="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34572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27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3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>
            <a:extLst>
              <a:ext uri="{FF2B5EF4-FFF2-40B4-BE49-F238E27FC236}">
                <a16:creationId xmlns:a16="http://schemas.microsoft.com/office/drawing/2014/main" id="{966613C7-E84C-43AA-A4DB-C7D5501BFF46}"/>
              </a:ext>
            </a:extLst>
          </p:cNvPr>
          <p:cNvGrpSpPr/>
          <p:nvPr/>
        </p:nvGrpSpPr>
        <p:grpSpPr>
          <a:xfrm>
            <a:off x="2366827" y="1453475"/>
            <a:ext cx="2028825" cy="897308"/>
            <a:chOff x="1112462" y="1546057"/>
            <a:chExt cx="2028825" cy="897308"/>
          </a:xfrm>
        </p:grpSpPr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6EDFB08A-F515-442A-A04F-49CC15354E6B}"/>
                </a:ext>
              </a:extLst>
            </p:cNvPr>
            <p:cNvGrpSpPr/>
            <p:nvPr/>
          </p:nvGrpSpPr>
          <p:grpSpPr>
            <a:xfrm>
              <a:off x="1112462" y="1546057"/>
              <a:ext cx="2028825" cy="897308"/>
              <a:chOff x="1206466" y="2225304"/>
              <a:chExt cx="2028825" cy="897308"/>
            </a:xfrm>
          </p:grpSpPr>
          <p:sp>
            <p:nvSpPr>
              <p:cNvPr id="5" name="矩形: 圆角 4">
                <a:extLst>
                  <a:ext uri="{FF2B5EF4-FFF2-40B4-BE49-F238E27FC236}">
                    <a16:creationId xmlns:a16="http://schemas.microsoft.com/office/drawing/2014/main" id="{9BFFD150-1DFB-4EC0-B868-C84FBB6CAD81}"/>
                  </a:ext>
                </a:extLst>
              </p:cNvPr>
              <p:cNvSpPr/>
              <p:nvPr/>
            </p:nvSpPr>
            <p:spPr>
              <a:xfrm>
                <a:off x="1206466" y="2225304"/>
                <a:ext cx="2028825" cy="897308"/>
              </a:xfrm>
              <a:prstGeom prst="round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74064CE7-7844-4E24-9F35-1B66F369FDE1}"/>
                  </a:ext>
                </a:extLst>
              </p:cNvPr>
              <p:cNvSpPr txBox="1"/>
              <p:nvPr/>
            </p:nvSpPr>
            <p:spPr>
              <a:xfrm>
                <a:off x="1989160" y="2468928"/>
                <a:ext cx="1225521" cy="3693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2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en-US" altLang="zh-CN" dirty="0">
                    <a:solidFill>
                      <a:schemeClr val="accent1"/>
                    </a:solidFill>
                  </a:rPr>
                  <a:t>1.txt</a:t>
                </a:r>
                <a:endParaRPr lang="zh-CN" altLang="en-US" dirty="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8" name="txt_180898">
              <a:extLst>
                <a:ext uri="{FF2B5EF4-FFF2-40B4-BE49-F238E27FC236}">
                  <a16:creationId xmlns:a16="http://schemas.microsoft.com/office/drawing/2014/main" id="{5F11913E-C3DB-4598-A626-109DC1219D8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389945" y="1689869"/>
              <a:ext cx="484602" cy="609685"/>
            </a:xfrm>
            <a:custGeom>
              <a:avLst/>
              <a:gdLst>
                <a:gd name="connsiteX0" fmla="*/ 289671 w 482808"/>
                <a:gd name="connsiteY0" fmla="*/ 445479 h 607427"/>
                <a:gd name="connsiteX1" fmla="*/ 359107 w 482808"/>
                <a:gd name="connsiteY1" fmla="*/ 445479 h 607427"/>
                <a:gd name="connsiteX2" fmla="*/ 359107 w 482808"/>
                <a:gd name="connsiteY2" fmla="*/ 465674 h 607427"/>
                <a:gd name="connsiteX3" fmla="*/ 336870 w 482808"/>
                <a:gd name="connsiteY3" fmla="*/ 465674 h 607427"/>
                <a:gd name="connsiteX4" fmla="*/ 336870 w 482808"/>
                <a:gd name="connsiteY4" fmla="*/ 537143 h 607427"/>
                <a:gd name="connsiteX5" fmla="*/ 312051 w 482808"/>
                <a:gd name="connsiteY5" fmla="*/ 537143 h 607427"/>
                <a:gd name="connsiteX6" fmla="*/ 312051 w 482808"/>
                <a:gd name="connsiteY6" fmla="*/ 465674 h 607427"/>
                <a:gd name="connsiteX7" fmla="*/ 289671 w 482808"/>
                <a:gd name="connsiteY7" fmla="*/ 465674 h 607427"/>
                <a:gd name="connsiteX8" fmla="*/ 195635 w 482808"/>
                <a:gd name="connsiteY8" fmla="*/ 445479 h 607427"/>
                <a:gd name="connsiteX9" fmla="*/ 223010 w 482808"/>
                <a:gd name="connsiteY9" fmla="*/ 445479 h 607427"/>
                <a:gd name="connsiteX10" fmla="*/ 239635 w 482808"/>
                <a:gd name="connsiteY10" fmla="*/ 473838 h 607427"/>
                <a:gd name="connsiteX11" fmla="*/ 255544 w 482808"/>
                <a:gd name="connsiteY11" fmla="*/ 445479 h 607427"/>
                <a:gd name="connsiteX12" fmla="*/ 283778 w 482808"/>
                <a:gd name="connsiteY12" fmla="*/ 445479 h 607427"/>
                <a:gd name="connsiteX13" fmla="*/ 254827 w 482808"/>
                <a:gd name="connsiteY13" fmla="*/ 492170 h 607427"/>
                <a:gd name="connsiteX14" fmla="*/ 286071 w 482808"/>
                <a:gd name="connsiteY14" fmla="*/ 537143 h 607427"/>
                <a:gd name="connsiteX15" fmla="*/ 257407 w 482808"/>
                <a:gd name="connsiteY15" fmla="*/ 537143 h 607427"/>
                <a:gd name="connsiteX16" fmla="*/ 239492 w 482808"/>
                <a:gd name="connsiteY16" fmla="*/ 508498 h 607427"/>
                <a:gd name="connsiteX17" fmla="*/ 221863 w 482808"/>
                <a:gd name="connsiteY17" fmla="*/ 537143 h 607427"/>
                <a:gd name="connsiteX18" fmla="*/ 193772 w 482808"/>
                <a:gd name="connsiteY18" fmla="*/ 537143 h 607427"/>
                <a:gd name="connsiteX19" fmla="*/ 224156 w 482808"/>
                <a:gd name="connsiteY19" fmla="*/ 490165 h 607427"/>
                <a:gd name="connsiteX20" fmla="*/ 120737 w 482808"/>
                <a:gd name="connsiteY20" fmla="*/ 445479 h 607427"/>
                <a:gd name="connsiteX21" fmla="*/ 190314 w 482808"/>
                <a:gd name="connsiteY21" fmla="*/ 445479 h 607427"/>
                <a:gd name="connsiteX22" fmla="*/ 190314 w 482808"/>
                <a:gd name="connsiteY22" fmla="*/ 465674 h 607427"/>
                <a:gd name="connsiteX23" fmla="*/ 167935 w 482808"/>
                <a:gd name="connsiteY23" fmla="*/ 465674 h 607427"/>
                <a:gd name="connsiteX24" fmla="*/ 167935 w 482808"/>
                <a:gd name="connsiteY24" fmla="*/ 537143 h 607427"/>
                <a:gd name="connsiteX25" fmla="*/ 143116 w 482808"/>
                <a:gd name="connsiteY25" fmla="*/ 537143 h 607427"/>
                <a:gd name="connsiteX26" fmla="*/ 143116 w 482808"/>
                <a:gd name="connsiteY26" fmla="*/ 465674 h 607427"/>
                <a:gd name="connsiteX27" fmla="*/ 120737 w 482808"/>
                <a:gd name="connsiteY27" fmla="*/ 465674 h 607427"/>
                <a:gd name="connsiteX28" fmla="*/ 129064 w 482808"/>
                <a:gd name="connsiteY28" fmla="*/ 329823 h 607427"/>
                <a:gd name="connsiteX29" fmla="*/ 223692 w 482808"/>
                <a:gd name="connsiteY29" fmla="*/ 329823 h 607427"/>
                <a:gd name="connsiteX30" fmla="*/ 223692 w 482808"/>
                <a:gd name="connsiteY30" fmla="*/ 358473 h 607427"/>
                <a:gd name="connsiteX31" fmla="*/ 129064 w 482808"/>
                <a:gd name="connsiteY31" fmla="*/ 358473 h 607427"/>
                <a:gd name="connsiteX32" fmla="*/ 129064 w 482808"/>
                <a:gd name="connsiteY32" fmla="*/ 282756 h 607427"/>
                <a:gd name="connsiteX33" fmla="*/ 334550 w 482808"/>
                <a:gd name="connsiteY33" fmla="*/ 282756 h 607427"/>
                <a:gd name="connsiteX34" fmla="*/ 334550 w 482808"/>
                <a:gd name="connsiteY34" fmla="*/ 311335 h 607427"/>
                <a:gd name="connsiteX35" fmla="*/ 129064 w 482808"/>
                <a:gd name="connsiteY35" fmla="*/ 311335 h 607427"/>
                <a:gd name="connsiteX36" fmla="*/ 129064 w 482808"/>
                <a:gd name="connsiteY36" fmla="*/ 235759 h 607427"/>
                <a:gd name="connsiteX37" fmla="*/ 353744 w 482808"/>
                <a:gd name="connsiteY37" fmla="*/ 235759 h 607427"/>
                <a:gd name="connsiteX38" fmla="*/ 353744 w 482808"/>
                <a:gd name="connsiteY38" fmla="*/ 264409 h 607427"/>
                <a:gd name="connsiteX39" fmla="*/ 129064 w 482808"/>
                <a:gd name="connsiteY39" fmla="*/ 264409 h 607427"/>
                <a:gd name="connsiteX40" fmla="*/ 129064 w 482808"/>
                <a:gd name="connsiteY40" fmla="*/ 188692 h 607427"/>
                <a:gd name="connsiteX41" fmla="*/ 286213 w 482808"/>
                <a:gd name="connsiteY41" fmla="*/ 188692 h 607427"/>
                <a:gd name="connsiteX42" fmla="*/ 286213 w 482808"/>
                <a:gd name="connsiteY42" fmla="*/ 217342 h 607427"/>
                <a:gd name="connsiteX43" fmla="*/ 129064 w 482808"/>
                <a:gd name="connsiteY43" fmla="*/ 217342 h 607427"/>
                <a:gd name="connsiteX44" fmla="*/ 129064 w 482808"/>
                <a:gd name="connsiteY44" fmla="*/ 141695 h 607427"/>
                <a:gd name="connsiteX45" fmla="*/ 353744 w 482808"/>
                <a:gd name="connsiteY45" fmla="*/ 141695 h 607427"/>
                <a:gd name="connsiteX46" fmla="*/ 353744 w 482808"/>
                <a:gd name="connsiteY46" fmla="*/ 170345 h 607427"/>
                <a:gd name="connsiteX47" fmla="*/ 129064 w 482808"/>
                <a:gd name="connsiteY47" fmla="*/ 170345 h 607427"/>
                <a:gd name="connsiteX48" fmla="*/ 28679 w 482808"/>
                <a:gd name="connsiteY48" fmla="*/ 76877 h 607427"/>
                <a:gd name="connsiteX49" fmla="*/ 28679 w 482808"/>
                <a:gd name="connsiteY49" fmla="*/ 578795 h 607427"/>
                <a:gd name="connsiteX50" fmla="*/ 454129 w 482808"/>
                <a:gd name="connsiteY50" fmla="*/ 578795 h 607427"/>
                <a:gd name="connsiteX51" fmla="*/ 454129 w 482808"/>
                <a:gd name="connsiteY51" fmla="*/ 125122 h 607427"/>
                <a:gd name="connsiteX52" fmla="*/ 371821 w 482808"/>
                <a:gd name="connsiteY52" fmla="*/ 125122 h 607427"/>
                <a:gd name="connsiteX53" fmla="*/ 357482 w 482808"/>
                <a:gd name="connsiteY53" fmla="*/ 110806 h 607427"/>
                <a:gd name="connsiteX54" fmla="*/ 357482 w 482808"/>
                <a:gd name="connsiteY54" fmla="*/ 76877 h 607427"/>
                <a:gd name="connsiteX55" fmla="*/ 386160 w 482808"/>
                <a:gd name="connsiteY55" fmla="*/ 48817 h 607427"/>
                <a:gd name="connsiteX56" fmla="*/ 386160 w 482808"/>
                <a:gd name="connsiteY56" fmla="*/ 96490 h 607427"/>
                <a:gd name="connsiteX57" fmla="*/ 433767 w 482808"/>
                <a:gd name="connsiteY57" fmla="*/ 96490 h 607427"/>
                <a:gd name="connsiteX58" fmla="*/ 28679 w 482808"/>
                <a:gd name="connsiteY58" fmla="*/ 28632 h 607427"/>
                <a:gd name="connsiteX59" fmla="*/ 28679 w 482808"/>
                <a:gd name="connsiteY59" fmla="*/ 48245 h 607427"/>
                <a:gd name="connsiteX60" fmla="*/ 357482 w 482808"/>
                <a:gd name="connsiteY60" fmla="*/ 48245 h 607427"/>
                <a:gd name="connsiteX61" fmla="*/ 357482 w 482808"/>
                <a:gd name="connsiteY61" fmla="*/ 28632 h 607427"/>
                <a:gd name="connsiteX62" fmla="*/ 14339 w 482808"/>
                <a:gd name="connsiteY62" fmla="*/ 0 h 607427"/>
                <a:gd name="connsiteX63" fmla="*/ 371821 w 482808"/>
                <a:gd name="connsiteY63" fmla="*/ 0 h 607427"/>
                <a:gd name="connsiteX64" fmla="*/ 382002 w 482808"/>
                <a:gd name="connsiteY64" fmla="*/ 4152 h 607427"/>
                <a:gd name="connsiteX65" fmla="*/ 478506 w 482808"/>
                <a:gd name="connsiteY65" fmla="*/ 100641 h 607427"/>
                <a:gd name="connsiteX66" fmla="*/ 482808 w 482808"/>
                <a:gd name="connsiteY66" fmla="*/ 110806 h 607427"/>
                <a:gd name="connsiteX67" fmla="*/ 482808 w 482808"/>
                <a:gd name="connsiteY67" fmla="*/ 593111 h 607427"/>
                <a:gd name="connsiteX68" fmla="*/ 468469 w 482808"/>
                <a:gd name="connsiteY68" fmla="*/ 607427 h 607427"/>
                <a:gd name="connsiteX69" fmla="*/ 14339 w 482808"/>
                <a:gd name="connsiteY69" fmla="*/ 607427 h 607427"/>
                <a:gd name="connsiteX70" fmla="*/ 0 w 482808"/>
                <a:gd name="connsiteY70" fmla="*/ 593111 h 607427"/>
                <a:gd name="connsiteX71" fmla="*/ 0 w 482808"/>
                <a:gd name="connsiteY71" fmla="*/ 14316 h 607427"/>
                <a:gd name="connsiteX72" fmla="*/ 14339 w 482808"/>
                <a:gd name="connsiteY72" fmla="*/ 0 h 607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482808" h="607427">
                  <a:moveTo>
                    <a:pt x="289671" y="445479"/>
                  </a:moveTo>
                  <a:lnTo>
                    <a:pt x="359107" y="445479"/>
                  </a:lnTo>
                  <a:lnTo>
                    <a:pt x="359107" y="465674"/>
                  </a:lnTo>
                  <a:lnTo>
                    <a:pt x="336870" y="465674"/>
                  </a:lnTo>
                  <a:lnTo>
                    <a:pt x="336870" y="537143"/>
                  </a:lnTo>
                  <a:lnTo>
                    <a:pt x="312051" y="537143"/>
                  </a:lnTo>
                  <a:lnTo>
                    <a:pt x="312051" y="465674"/>
                  </a:lnTo>
                  <a:lnTo>
                    <a:pt x="289671" y="465674"/>
                  </a:lnTo>
                  <a:close/>
                  <a:moveTo>
                    <a:pt x="195635" y="445479"/>
                  </a:moveTo>
                  <a:lnTo>
                    <a:pt x="223010" y="445479"/>
                  </a:lnTo>
                  <a:lnTo>
                    <a:pt x="239635" y="473838"/>
                  </a:lnTo>
                  <a:lnTo>
                    <a:pt x="255544" y="445479"/>
                  </a:lnTo>
                  <a:lnTo>
                    <a:pt x="283778" y="445479"/>
                  </a:lnTo>
                  <a:lnTo>
                    <a:pt x="254827" y="492170"/>
                  </a:lnTo>
                  <a:lnTo>
                    <a:pt x="286071" y="537143"/>
                  </a:lnTo>
                  <a:lnTo>
                    <a:pt x="257407" y="537143"/>
                  </a:lnTo>
                  <a:lnTo>
                    <a:pt x="239492" y="508498"/>
                  </a:lnTo>
                  <a:lnTo>
                    <a:pt x="221863" y="537143"/>
                  </a:lnTo>
                  <a:lnTo>
                    <a:pt x="193772" y="537143"/>
                  </a:lnTo>
                  <a:lnTo>
                    <a:pt x="224156" y="490165"/>
                  </a:lnTo>
                  <a:close/>
                  <a:moveTo>
                    <a:pt x="120737" y="445479"/>
                  </a:moveTo>
                  <a:lnTo>
                    <a:pt x="190314" y="445479"/>
                  </a:lnTo>
                  <a:lnTo>
                    <a:pt x="190314" y="465674"/>
                  </a:lnTo>
                  <a:lnTo>
                    <a:pt x="167935" y="465674"/>
                  </a:lnTo>
                  <a:lnTo>
                    <a:pt x="167935" y="537143"/>
                  </a:lnTo>
                  <a:lnTo>
                    <a:pt x="143116" y="537143"/>
                  </a:lnTo>
                  <a:lnTo>
                    <a:pt x="143116" y="465674"/>
                  </a:lnTo>
                  <a:lnTo>
                    <a:pt x="120737" y="465674"/>
                  </a:lnTo>
                  <a:close/>
                  <a:moveTo>
                    <a:pt x="129064" y="329823"/>
                  </a:moveTo>
                  <a:lnTo>
                    <a:pt x="223692" y="329823"/>
                  </a:lnTo>
                  <a:lnTo>
                    <a:pt x="223692" y="358473"/>
                  </a:lnTo>
                  <a:lnTo>
                    <a:pt x="129064" y="358473"/>
                  </a:lnTo>
                  <a:close/>
                  <a:moveTo>
                    <a:pt x="129064" y="282756"/>
                  </a:moveTo>
                  <a:lnTo>
                    <a:pt x="334550" y="282756"/>
                  </a:lnTo>
                  <a:lnTo>
                    <a:pt x="334550" y="311335"/>
                  </a:lnTo>
                  <a:lnTo>
                    <a:pt x="129064" y="311335"/>
                  </a:lnTo>
                  <a:close/>
                  <a:moveTo>
                    <a:pt x="129064" y="235759"/>
                  </a:moveTo>
                  <a:lnTo>
                    <a:pt x="353744" y="235759"/>
                  </a:lnTo>
                  <a:lnTo>
                    <a:pt x="353744" y="264409"/>
                  </a:lnTo>
                  <a:lnTo>
                    <a:pt x="129064" y="264409"/>
                  </a:lnTo>
                  <a:close/>
                  <a:moveTo>
                    <a:pt x="129064" y="188692"/>
                  </a:moveTo>
                  <a:lnTo>
                    <a:pt x="286213" y="188692"/>
                  </a:lnTo>
                  <a:lnTo>
                    <a:pt x="286213" y="217342"/>
                  </a:lnTo>
                  <a:lnTo>
                    <a:pt x="129064" y="217342"/>
                  </a:lnTo>
                  <a:close/>
                  <a:moveTo>
                    <a:pt x="129064" y="141695"/>
                  </a:moveTo>
                  <a:lnTo>
                    <a:pt x="353744" y="141695"/>
                  </a:lnTo>
                  <a:lnTo>
                    <a:pt x="353744" y="170345"/>
                  </a:lnTo>
                  <a:lnTo>
                    <a:pt x="129064" y="170345"/>
                  </a:lnTo>
                  <a:close/>
                  <a:moveTo>
                    <a:pt x="28679" y="76877"/>
                  </a:moveTo>
                  <a:lnTo>
                    <a:pt x="28679" y="578795"/>
                  </a:lnTo>
                  <a:lnTo>
                    <a:pt x="454129" y="578795"/>
                  </a:lnTo>
                  <a:lnTo>
                    <a:pt x="454129" y="125122"/>
                  </a:lnTo>
                  <a:lnTo>
                    <a:pt x="371821" y="125122"/>
                  </a:lnTo>
                  <a:cubicBezTo>
                    <a:pt x="363934" y="125122"/>
                    <a:pt x="357482" y="118679"/>
                    <a:pt x="357482" y="110806"/>
                  </a:cubicBezTo>
                  <a:lnTo>
                    <a:pt x="357482" y="76877"/>
                  </a:lnTo>
                  <a:close/>
                  <a:moveTo>
                    <a:pt x="386160" y="48817"/>
                  </a:moveTo>
                  <a:lnTo>
                    <a:pt x="386160" y="96490"/>
                  </a:lnTo>
                  <a:lnTo>
                    <a:pt x="433767" y="96490"/>
                  </a:lnTo>
                  <a:close/>
                  <a:moveTo>
                    <a:pt x="28679" y="28632"/>
                  </a:moveTo>
                  <a:lnTo>
                    <a:pt x="28679" y="48245"/>
                  </a:lnTo>
                  <a:lnTo>
                    <a:pt x="357482" y="48245"/>
                  </a:lnTo>
                  <a:lnTo>
                    <a:pt x="357482" y="28632"/>
                  </a:lnTo>
                  <a:close/>
                  <a:moveTo>
                    <a:pt x="14339" y="0"/>
                  </a:moveTo>
                  <a:lnTo>
                    <a:pt x="371821" y="0"/>
                  </a:lnTo>
                  <a:cubicBezTo>
                    <a:pt x="375549" y="0"/>
                    <a:pt x="379278" y="1575"/>
                    <a:pt x="382002" y="4152"/>
                  </a:cubicBezTo>
                  <a:lnTo>
                    <a:pt x="478506" y="100641"/>
                  </a:lnTo>
                  <a:cubicBezTo>
                    <a:pt x="481231" y="103361"/>
                    <a:pt x="482808" y="106940"/>
                    <a:pt x="482808" y="110806"/>
                  </a:cubicBezTo>
                  <a:lnTo>
                    <a:pt x="482808" y="593111"/>
                  </a:lnTo>
                  <a:cubicBezTo>
                    <a:pt x="482808" y="600985"/>
                    <a:pt x="476355" y="607427"/>
                    <a:pt x="468469" y="607427"/>
                  </a:cubicBezTo>
                  <a:lnTo>
                    <a:pt x="14339" y="607427"/>
                  </a:lnTo>
                  <a:cubicBezTo>
                    <a:pt x="6453" y="607427"/>
                    <a:pt x="0" y="600985"/>
                    <a:pt x="0" y="593111"/>
                  </a:cubicBezTo>
                  <a:lnTo>
                    <a:pt x="0" y="14316"/>
                  </a:lnTo>
                  <a:cubicBezTo>
                    <a:pt x="0" y="6442"/>
                    <a:pt x="6453" y="0"/>
                    <a:pt x="1433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727979A8-1BA4-463A-9A84-4A70CC52EF6B}"/>
              </a:ext>
            </a:extLst>
          </p:cNvPr>
          <p:cNvGrpSpPr/>
          <p:nvPr/>
        </p:nvGrpSpPr>
        <p:grpSpPr>
          <a:xfrm>
            <a:off x="2366827" y="3183546"/>
            <a:ext cx="2028825" cy="897308"/>
            <a:chOff x="1112462" y="1546057"/>
            <a:chExt cx="2028825" cy="897308"/>
          </a:xfrm>
        </p:grpSpPr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55C61EF9-6EEC-4865-BFDE-04C257CB7FDB}"/>
                </a:ext>
              </a:extLst>
            </p:cNvPr>
            <p:cNvGrpSpPr/>
            <p:nvPr/>
          </p:nvGrpSpPr>
          <p:grpSpPr>
            <a:xfrm>
              <a:off x="1112462" y="1546057"/>
              <a:ext cx="2028825" cy="897308"/>
              <a:chOff x="1206466" y="2225304"/>
              <a:chExt cx="2028825" cy="897308"/>
            </a:xfrm>
          </p:grpSpPr>
          <p:sp>
            <p:nvSpPr>
              <p:cNvPr id="25" name="矩形: 圆角 24">
                <a:extLst>
                  <a:ext uri="{FF2B5EF4-FFF2-40B4-BE49-F238E27FC236}">
                    <a16:creationId xmlns:a16="http://schemas.microsoft.com/office/drawing/2014/main" id="{9EB1461F-3059-48FF-AC43-5E6AA71994EC}"/>
                  </a:ext>
                </a:extLst>
              </p:cNvPr>
              <p:cNvSpPr/>
              <p:nvPr/>
            </p:nvSpPr>
            <p:spPr>
              <a:xfrm>
                <a:off x="1206466" y="2225304"/>
                <a:ext cx="2028825" cy="897308"/>
              </a:xfrm>
              <a:prstGeom prst="round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26" name="文本框 25">
                <a:extLst>
                  <a:ext uri="{FF2B5EF4-FFF2-40B4-BE49-F238E27FC236}">
                    <a16:creationId xmlns:a16="http://schemas.microsoft.com/office/drawing/2014/main" id="{866799B6-4D4B-4945-851B-8A3B725DBA1C}"/>
                  </a:ext>
                </a:extLst>
              </p:cNvPr>
              <p:cNvSpPr txBox="1"/>
              <p:nvPr/>
            </p:nvSpPr>
            <p:spPr>
              <a:xfrm>
                <a:off x="1989160" y="2468928"/>
                <a:ext cx="1225521" cy="3693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2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en-US" altLang="zh-CN" dirty="0">
                    <a:solidFill>
                      <a:schemeClr val="accent1"/>
                    </a:solidFill>
                  </a:rPr>
                  <a:t>2.txt</a:t>
                </a:r>
                <a:endParaRPr lang="zh-CN" altLang="en-US" dirty="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24" name="txt_180898">
              <a:extLst>
                <a:ext uri="{FF2B5EF4-FFF2-40B4-BE49-F238E27FC236}">
                  <a16:creationId xmlns:a16="http://schemas.microsoft.com/office/drawing/2014/main" id="{7F22C685-B0C5-4281-B44E-1453F5B6336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389945" y="1689869"/>
              <a:ext cx="484602" cy="609685"/>
            </a:xfrm>
            <a:custGeom>
              <a:avLst/>
              <a:gdLst>
                <a:gd name="connsiteX0" fmla="*/ 289671 w 482808"/>
                <a:gd name="connsiteY0" fmla="*/ 445479 h 607427"/>
                <a:gd name="connsiteX1" fmla="*/ 359107 w 482808"/>
                <a:gd name="connsiteY1" fmla="*/ 445479 h 607427"/>
                <a:gd name="connsiteX2" fmla="*/ 359107 w 482808"/>
                <a:gd name="connsiteY2" fmla="*/ 465674 h 607427"/>
                <a:gd name="connsiteX3" fmla="*/ 336870 w 482808"/>
                <a:gd name="connsiteY3" fmla="*/ 465674 h 607427"/>
                <a:gd name="connsiteX4" fmla="*/ 336870 w 482808"/>
                <a:gd name="connsiteY4" fmla="*/ 537143 h 607427"/>
                <a:gd name="connsiteX5" fmla="*/ 312051 w 482808"/>
                <a:gd name="connsiteY5" fmla="*/ 537143 h 607427"/>
                <a:gd name="connsiteX6" fmla="*/ 312051 w 482808"/>
                <a:gd name="connsiteY6" fmla="*/ 465674 h 607427"/>
                <a:gd name="connsiteX7" fmla="*/ 289671 w 482808"/>
                <a:gd name="connsiteY7" fmla="*/ 465674 h 607427"/>
                <a:gd name="connsiteX8" fmla="*/ 195635 w 482808"/>
                <a:gd name="connsiteY8" fmla="*/ 445479 h 607427"/>
                <a:gd name="connsiteX9" fmla="*/ 223010 w 482808"/>
                <a:gd name="connsiteY9" fmla="*/ 445479 h 607427"/>
                <a:gd name="connsiteX10" fmla="*/ 239635 w 482808"/>
                <a:gd name="connsiteY10" fmla="*/ 473838 h 607427"/>
                <a:gd name="connsiteX11" fmla="*/ 255544 w 482808"/>
                <a:gd name="connsiteY11" fmla="*/ 445479 h 607427"/>
                <a:gd name="connsiteX12" fmla="*/ 283778 w 482808"/>
                <a:gd name="connsiteY12" fmla="*/ 445479 h 607427"/>
                <a:gd name="connsiteX13" fmla="*/ 254827 w 482808"/>
                <a:gd name="connsiteY13" fmla="*/ 492170 h 607427"/>
                <a:gd name="connsiteX14" fmla="*/ 286071 w 482808"/>
                <a:gd name="connsiteY14" fmla="*/ 537143 h 607427"/>
                <a:gd name="connsiteX15" fmla="*/ 257407 w 482808"/>
                <a:gd name="connsiteY15" fmla="*/ 537143 h 607427"/>
                <a:gd name="connsiteX16" fmla="*/ 239492 w 482808"/>
                <a:gd name="connsiteY16" fmla="*/ 508498 h 607427"/>
                <a:gd name="connsiteX17" fmla="*/ 221863 w 482808"/>
                <a:gd name="connsiteY17" fmla="*/ 537143 h 607427"/>
                <a:gd name="connsiteX18" fmla="*/ 193772 w 482808"/>
                <a:gd name="connsiteY18" fmla="*/ 537143 h 607427"/>
                <a:gd name="connsiteX19" fmla="*/ 224156 w 482808"/>
                <a:gd name="connsiteY19" fmla="*/ 490165 h 607427"/>
                <a:gd name="connsiteX20" fmla="*/ 120737 w 482808"/>
                <a:gd name="connsiteY20" fmla="*/ 445479 h 607427"/>
                <a:gd name="connsiteX21" fmla="*/ 190314 w 482808"/>
                <a:gd name="connsiteY21" fmla="*/ 445479 h 607427"/>
                <a:gd name="connsiteX22" fmla="*/ 190314 w 482808"/>
                <a:gd name="connsiteY22" fmla="*/ 465674 h 607427"/>
                <a:gd name="connsiteX23" fmla="*/ 167935 w 482808"/>
                <a:gd name="connsiteY23" fmla="*/ 465674 h 607427"/>
                <a:gd name="connsiteX24" fmla="*/ 167935 w 482808"/>
                <a:gd name="connsiteY24" fmla="*/ 537143 h 607427"/>
                <a:gd name="connsiteX25" fmla="*/ 143116 w 482808"/>
                <a:gd name="connsiteY25" fmla="*/ 537143 h 607427"/>
                <a:gd name="connsiteX26" fmla="*/ 143116 w 482808"/>
                <a:gd name="connsiteY26" fmla="*/ 465674 h 607427"/>
                <a:gd name="connsiteX27" fmla="*/ 120737 w 482808"/>
                <a:gd name="connsiteY27" fmla="*/ 465674 h 607427"/>
                <a:gd name="connsiteX28" fmla="*/ 129064 w 482808"/>
                <a:gd name="connsiteY28" fmla="*/ 329823 h 607427"/>
                <a:gd name="connsiteX29" fmla="*/ 223692 w 482808"/>
                <a:gd name="connsiteY29" fmla="*/ 329823 h 607427"/>
                <a:gd name="connsiteX30" fmla="*/ 223692 w 482808"/>
                <a:gd name="connsiteY30" fmla="*/ 358473 h 607427"/>
                <a:gd name="connsiteX31" fmla="*/ 129064 w 482808"/>
                <a:gd name="connsiteY31" fmla="*/ 358473 h 607427"/>
                <a:gd name="connsiteX32" fmla="*/ 129064 w 482808"/>
                <a:gd name="connsiteY32" fmla="*/ 282756 h 607427"/>
                <a:gd name="connsiteX33" fmla="*/ 334550 w 482808"/>
                <a:gd name="connsiteY33" fmla="*/ 282756 h 607427"/>
                <a:gd name="connsiteX34" fmla="*/ 334550 w 482808"/>
                <a:gd name="connsiteY34" fmla="*/ 311335 h 607427"/>
                <a:gd name="connsiteX35" fmla="*/ 129064 w 482808"/>
                <a:gd name="connsiteY35" fmla="*/ 311335 h 607427"/>
                <a:gd name="connsiteX36" fmla="*/ 129064 w 482808"/>
                <a:gd name="connsiteY36" fmla="*/ 235759 h 607427"/>
                <a:gd name="connsiteX37" fmla="*/ 353744 w 482808"/>
                <a:gd name="connsiteY37" fmla="*/ 235759 h 607427"/>
                <a:gd name="connsiteX38" fmla="*/ 353744 w 482808"/>
                <a:gd name="connsiteY38" fmla="*/ 264409 h 607427"/>
                <a:gd name="connsiteX39" fmla="*/ 129064 w 482808"/>
                <a:gd name="connsiteY39" fmla="*/ 264409 h 607427"/>
                <a:gd name="connsiteX40" fmla="*/ 129064 w 482808"/>
                <a:gd name="connsiteY40" fmla="*/ 188692 h 607427"/>
                <a:gd name="connsiteX41" fmla="*/ 286213 w 482808"/>
                <a:gd name="connsiteY41" fmla="*/ 188692 h 607427"/>
                <a:gd name="connsiteX42" fmla="*/ 286213 w 482808"/>
                <a:gd name="connsiteY42" fmla="*/ 217342 h 607427"/>
                <a:gd name="connsiteX43" fmla="*/ 129064 w 482808"/>
                <a:gd name="connsiteY43" fmla="*/ 217342 h 607427"/>
                <a:gd name="connsiteX44" fmla="*/ 129064 w 482808"/>
                <a:gd name="connsiteY44" fmla="*/ 141695 h 607427"/>
                <a:gd name="connsiteX45" fmla="*/ 353744 w 482808"/>
                <a:gd name="connsiteY45" fmla="*/ 141695 h 607427"/>
                <a:gd name="connsiteX46" fmla="*/ 353744 w 482808"/>
                <a:gd name="connsiteY46" fmla="*/ 170345 h 607427"/>
                <a:gd name="connsiteX47" fmla="*/ 129064 w 482808"/>
                <a:gd name="connsiteY47" fmla="*/ 170345 h 607427"/>
                <a:gd name="connsiteX48" fmla="*/ 28679 w 482808"/>
                <a:gd name="connsiteY48" fmla="*/ 76877 h 607427"/>
                <a:gd name="connsiteX49" fmla="*/ 28679 w 482808"/>
                <a:gd name="connsiteY49" fmla="*/ 578795 h 607427"/>
                <a:gd name="connsiteX50" fmla="*/ 454129 w 482808"/>
                <a:gd name="connsiteY50" fmla="*/ 578795 h 607427"/>
                <a:gd name="connsiteX51" fmla="*/ 454129 w 482808"/>
                <a:gd name="connsiteY51" fmla="*/ 125122 h 607427"/>
                <a:gd name="connsiteX52" fmla="*/ 371821 w 482808"/>
                <a:gd name="connsiteY52" fmla="*/ 125122 h 607427"/>
                <a:gd name="connsiteX53" fmla="*/ 357482 w 482808"/>
                <a:gd name="connsiteY53" fmla="*/ 110806 h 607427"/>
                <a:gd name="connsiteX54" fmla="*/ 357482 w 482808"/>
                <a:gd name="connsiteY54" fmla="*/ 76877 h 607427"/>
                <a:gd name="connsiteX55" fmla="*/ 386160 w 482808"/>
                <a:gd name="connsiteY55" fmla="*/ 48817 h 607427"/>
                <a:gd name="connsiteX56" fmla="*/ 386160 w 482808"/>
                <a:gd name="connsiteY56" fmla="*/ 96490 h 607427"/>
                <a:gd name="connsiteX57" fmla="*/ 433767 w 482808"/>
                <a:gd name="connsiteY57" fmla="*/ 96490 h 607427"/>
                <a:gd name="connsiteX58" fmla="*/ 28679 w 482808"/>
                <a:gd name="connsiteY58" fmla="*/ 28632 h 607427"/>
                <a:gd name="connsiteX59" fmla="*/ 28679 w 482808"/>
                <a:gd name="connsiteY59" fmla="*/ 48245 h 607427"/>
                <a:gd name="connsiteX60" fmla="*/ 357482 w 482808"/>
                <a:gd name="connsiteY60" fmla="*/ 48245 h 607427"/>
                <a:gd name="connsiteX61" fmla="*/ 357482 w 482808"/>
                <a:gd name="connsiteY61" fmla="*/ 28632 h 607427"/>
                <a:gd name="connsiteX62" fmla="*/ 14339 w 482808"/>
                <a:gd name="connsiteY62" fmla="*/ 0 h 607427"/>
                <a:gd name="connsiteX63" fmla="*/ 371821 w 482808"/>
                <a:gd name="connsiteY63" fmla="*/ 0 h 607427"/>
                <a:gd name="connsiteX64" fmla="*/ 382002 w 482808"/>
                <a:gd name="connsiteY64" fmla="*/ 4152 h 607427"/>
                <a:gd name="connsiteX65" fmla="*/ 478506 w 482808"/>
                <a:gd name="connsiteY65" fmla="*/ 100641 h 607427"/>
                <a:gd name="connsiteX66" fmla="*/ 482808 w 482808"/>
                <a:gd name="connsiteY66" fmla="*/ 110806 h 607427"/>
                <a:gd name="connsiteX67" fmla="*/ 482808 w 482808"/>
                <a:gd name="connsiteY67" fmla="*/ 593111 h 607427"/>
                <a:gd name="connsiteX68" fmla="*/ 468469 w 482808"/>
                <a:gd name="connsiteY68" fmla="*/ 607427 h 607427"/>
                <a:gd name="connsiteX69" fmla="*/ 14339 w 482808"/>
                <a:gd name="connsiteY69" fmla="*/ 607427 h 607427"/>
                <a:gd name="connsiteX70" fmla="*/ 0 w 482808"/>
                <a:gd name="connsiteY70" fmla="*/ 593111 h 607427"/>
                <a:gd name="connsiteX71" fmla="*/ 0 w 482808"/>
                <a:gd name="connsiteY71" fmla="*/ 14316 h 607427"/>
                <a:gd name="connsiteX72" fmla="*/ 14339 w 482808"/>
                <a:gd name="connsiteY72" fmla="*/ 0 h 607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482808" h="607427">
                  <a:moveTo>
                    <a:pt x="289671" y="445479"/>
                  </a:moveTo>
                  <a:lnTo>
                    <a:pt x="359107" y="445479"/>
                  </a:lnTo>
                  <a:lnTo>
                    <a:pt x="359107" y="465674"/>
                  </a:lnTo>
                  <a:lnTo>
                    <a:pt x="336870" y="465674"/>
                  </a:lnTo>
                  <a:lnTo>
                    <a:pt x="336870" y="537143"/>
                  </a:lnTo>
                  <a:lnTo>
                    <a:pt x="312051" y="537143"/>
                  </a:lnTo>
                  <a:lnTo>
                    <a:pt x="312051" y="465674"/>
                  </a:lnTo>
                  <a:lnTo>
                    <a:pt x="289671" y="465674"/>
                  </a:lnTo>
                  <a:close/>
                  <a:moveTo>
                    <a:pt x="195635" y="445479"/>
                  </a:moveTo>
                  <a:lnTo>
                    <a:pt x="223010" y="445479"/>
                  </a:lnTo>
                  <a:lnTo>
                    <a:pt x="239635" y="473838"/>
                  </a:lnTo>
                  <a:lnTo>
                    <a:pt x="255544" y="445479"/>
                  </a:lnTo>
                  <a:lnTo>
                    <a:pt x="283778" y="445479"/>
                  </a:lnTo>
                  <a:lnTo>
                    <a:pt x="254827" y="492170"/>
                  </a:lnTo>
                  <a:lnTo>
                    <a:pt x="286071" y="537143"/>
                  </a:lnTo>
                  <a:lnTo>
                    <a:pt x="257407" y="537143"/>
                  </a:lnTo>
                  <a:lnTo>
                    <a:pt x="239492" y="508498"/>
                  </a:lnTo>
                  <a:lnTo>
                    <a:pt x="221863" y="537143"/>
                  </a:lnTo>
                  <a:lnTo>
                    <a:pt x="193772" y="537143"/>
                  </a:lnTo>
                  <a:lnTo>
                    <a:pt x="224156" y="490165"/>
                  </a:lnTo>
                  <a:close/>
                  <a:moveTo>
                    <a:pt x="120737" y="445479"/>
                  </a:moveTo>
                  <a:lnTo>
                    <a:pt x="190314" y="445479"/>
                  </a:lnTo>
                  <a:lnTo>
                    <a:pt x="190314" y="465674"/>
                  </a:lnTo>
                  <a:lnTo>
                    <a:pt x="167935" y="465674"/>
                  </a:lnTo>
                  <a:lnTo>
                    <a:pt x="167935" y="537143"/>
                  </a:lnTo>
                  <a:lnTo>
                    <a:pt x="143116" y="537143"/>
                  </a:lnTo>
                  <a:lnTo>
                    <a:pt x="143116" y="465674"/>
                  </a:lnTo>
                  <a:lnTo>
                    <a:pt x="120737" y="465674"/>
                  </a:lnTo>
                  <a:close/>
                  <a:moveTo>
                    <a:pt x="129064" y="329823"/>
                  </a:moveTo>
                  <a:lnTo>
                    <a:pt x="223692" y="329823"/>
                  </a:lnTo>
                  <a:lnTo>
                    <a:pt x="223692" y="358473"/>
                  </a:lnTo>
                  <a:lnTo>
                    <a:pt x="129064" y="358473"/>
                  </a:lnTo>
                  <a:close/>
                  <a:moveTo>
                    <a:pt x="129064" y="282756"/>
                  </a:moveTo>
                  <a:lnTo>
                    <a:pt x="334550" y="282756"/>
                  </a:lnTo>
                  <a:lnTo>
                    <a:pt x="334550" y="311335"/>
                  </a:lnTo>
                  <a:lnTo>
                    <a:pt x="129064" y="311335"/>
                  </a:lnTo>
                  <a:close/>
                  <a:moveTo>
                    <a:pt x="129064" y="235759"/>
                  </a:moveTo>
                  <a:lnTo>
                    <a:pt x="353744" y="235759"/>
                  </a:lnTo>
                  <a:lnTo>
                    <a:pt x="353744" y="264409"/>
                  </a:lnTo>
                  <a:lnTo>
                    <a:pt x="129064" y="264409"/>
                  </a:lnTo>
                  <a:close/>
                  <a:moveTo>
                    <a:pt x="129064" y="188692"/>
                  </a:moveTo>
                  <a:lnTo>
                    <a:pt x="286213" y="188692"/>
                  </a:lnTo>
                  <a:lnTo>
                    <a:pt x="286213" y="217342"/>
                  </a:lnTo>
                  <a:lnTo>
                    <a:pt x="129064" y="217342"/>
                  </a:lnTo>
                  <a:close/>
                  <a:moveTo>
                    <a:pt x="129064" y="141695"/>
                  </a:moveTo>
                  <a:lnTo>
                    <a:pt x="353744" y="141695"/>
                  </a:lnTo>
                  <a:lnTo>
                    <a:pt x="353744" y="170345"/>
                  </a:lnTo>
                  <a:lnTo>
                    <a:pt x="129064" y="170345"/>
                  </a:lnTo>
                  <a:close/>
                  <a:moveTo>
                    <a:pt x="28679" y="76877"/>
                  </a:moveTo>
                  <a:lnTo>
                    <a:pt x="28679" y="578795"/>
                  </a:lnTo>
                  <a:lnTo>
                    <a:pt x="454129" y="578795"/>
                  </a:lnTo>
                  <a:lnTo>
                    <a:pt x="454129" y="125122"/>
                  </a:lnTo>
                  <a:lnTo>
                    <a:pt x="371821" y="125122"/>
                  </a:lnTo>
                  <a:cubicBezTo>
                    <a:pt x="363934" y="125122"/>
                    <a:pt x="357482" y="118679"/>
                    <a:pt x="357482" y="110806"/>
                  </a:cubicBezTo>
                  <a:lnTo>
                    <a:pt x="357482" y="76877"/>
                  </a:lnTo>
                  <a:close/>
                  <a:moveTo>
                    <a:pt x="386160" y="48817"/>
                  </a:moveTo>
                  <a:lnTo>
                    <a:pt x="386160" y="96490"/>
                  </a:lnTo>
                  <a:lnTo>
                    <a:pt x="433767" y="96490"/>
                  </a:lnTo>
                  <a:close/>
                  <a:moveTo>
                    <a:pt x="28679" y="28632"/>
                  </a:moveTo>
                  <a:lnTo>
                    <a:pt x="28679" y="48245"/>
                  </a:lnTo>
                  <a:lnTo>
                    <a:pt x="357482" y="48245"/>
                  </a:lnTo>
                  <a:lnTo>
                    <a:pt x="357482" y="28632"/>
                  </a:lnTo>
                  <a:close/>
                  <a:moveTo>
                    <a:pt x="14339" y="0"/>
                  </a:moveTo>
                  <a:lnTo>
                    <a:pt x="371821" y="0"/>
                  </a:lnTo>
                  <a:cubicBezTo>
                    <a:pt x="375549" y="0"/>
                    <a:pt x="379278" y="1575"/>
                    <a:pt x="382002" y="4152"/>
                  </a:cubicBezTo>
                  <a:lnTo>
                    <a:pt x="478506" y="100641"/>
                  </a:lnTo>
                  <a:cubicBezTo>
                    <a:pt x="481231" y="103361"/>
                    <a:pt x="482808" y="106940"/>
                    <a:pt x="482808" y="110806"/>
                  </a:cubicBezTo>
                  <a:lnTo>
                    <a:pt x="482808" y="593111"/>
                  </a:lnTo>
                  <a:cubicBezTo>
                    <a:pt x="482808" y="600985"/>
                    <a:pt x="476355" y="607427"/>
                    <a:pt x="468469" y="607427"/>
                  </a:cubicBezTo>
                  <a:lnTo>
                    <a:pt x="14339" y="607427"/>
                  </a:lnTo>
                  <a:cubicBezTo>
                    <a:pt x="6453" y="607427"/>
                    <a:pt x="0" y="600985"/>
                    <a:pt x="0" y="593111"/>
                  </a:cubicBezTo>
                  <a:lnTo>
                    <a:pt x="0" y="14316"/>
                  </a:lnTo>
                  <a:cubicBezTo>
                    <a:pt x="0" y="6442"/>
                    <a:pt x="6453" y="0"/>
                    <a:pt x="1433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C89E5299-5D42-4A97-A5A7-52432DFC8602}"/>
              </a:ext>
            </a:extLst>
          </p:cNvPr>
          <p:cNvGrpSpPr/>
          <p:nvPr/>
        </p:nvGrpSpPr>
        <p:grpSpPr>
          <a:xfrm>
            <a:off x="2366827" y="4913617"/>
            <a:ext cx="2028825" cy="897308"/>
            <a:chOff x="1112462" y="1546057"/>
            <a:chExt cx="2028825" cy="897308"/>
          </a:xfrm>
        </p:grpSpPr>
        <p:grpSp>
          <p:nvGrpSpPr>
            <p:cNvPr id="28" name="组合 27">
              <a:extLst>
                <a:ext uri="{FF2B5EF4-FFF2-40B4-BE49-F238E27FC236}">
                  <a16:creationId xmlns:a16="http://schemas.microsoft.com/office/drawing/2014/main" id="{80407D01-EAA1-415C-92A4-31875662F7A1}"/>
                </a:ext>
              </a:extLst>
            </p:cNvPr>
            <p:cNvGrpSpPr/>
            <p:nvPr/>
          </p:nvGrpSpPr>
          <p:grpSpPr>
            <a:xfrm>
              <a:off x="1112462" y="1546057"/>
              <a:ext cx="2028825" cy="897308"/>
              <a:chOff x="1206466" y="2225304"/>
              <a:chExt cx="2028825" cy="897308"/>
            </a:xfrm>
          </p:grpSpPr>
          <p:sp>
            <p:nvSpPr>
              <p:cNvPr id="30" name="矩形: 圆角 29">
                <a:extLst>
                  <a:ext uri="{FF2B5EF4-FFF2-40B4-BE49-F238E27FC236}">
                    <a16:creationId xmlns:a16="http://schemas.microsoft.com/office/drawing/2014/main" id="{2A6789C7-B1C4-4034-A6A6-842CDD885DA2}"/>
                  </a:ext>
                </a:extLst>
              </p:cNvPr>
              <p:cNvSpPr/>
              <p:nvPr/>
            </p:nvSpPr>
            <p:spPr>
              <a:xfrm>
                <a:off x="1206466" y="2225304"/>
                <a:ext cx="2028825" cy="897308"/>
              </a:xfrm>
              <a:prstGeom prst="round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31" name="文本框 30">
                <a:extLst>
                  <a:ext uri="{FF2B5EF4-FFF2-40B4-BE49-F238E27FC236}">
                    <a16:creationId xmlns:a16="http://schemas.microsoft.com/office/drawing/2014/main" id="{D1288082-5FA7-4C46-B87B-1994916D4976}"/>
                  </a:ext>
                </a:extLst>
              </p:cNvPr>
              <p:cNvSpPr txBox="1"/>
              <p:nvPr/>
            </p:nvSpPr>
            <p:spPr>
              <a:xfrm>
                <a:off x="1989160" y="2468928"/>
                <a:ext cx="1225521" cy="3693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2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en-US" altLang="zh-CN" dirty="0">
                    <a:solidFill>
                      <a:schemeClr val="accent1"/>
                    </a:solidFill>
                  </a:rPr>
                  <a:t>3.txt</a:t>
                </a:r>
                <a:endParaRPr lang="zh-CN" altLang="en-US" dirty="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29" name="txt_180898">
              <a:extLst>
                <a:ext uri="{FF2B5EF4-FFF2-40B4-BE49-F238E27FC236}">
                  <a16:creationId xmlns:a16="http://schemas.microsoft.com/office/drawing/2014/main" id="{98848DB1-8924-453C-AE97-567DD5933F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389945" y="1689869"/>
              <a:ext cx="484602" cy="609685"/>
            </a:xfrm>
            <a:custGeom>
              <a:avLst/>
              <a:gdLst>
                <a:gd name="connsiteX0" fmla="*/ 289671 w 482808"/>
                <a:gd name="connsiteY0" fmla="*/ 445479 h 607427"/>
                <a:gd name="connsiteX1" fmla="*/ 359107 w 482808"/>
                <a:gd name="connsiteY1" fmla="*/ 445479 h 607427"/>
                <a:gd name="connsiteX2" fmla="*/ 359107 w 482808"/>
                <a:gd name="connsiteY2" fmla="*/ 465674 h 607427"/>
                <a:gd name="connsiteX3" fmla="*/ 336870 w 482808"/>
                <a:gd name="connsiteY3" fmla="*/ 465674 h 607427"/>
                <a:gd name="connsiteX4" fmla="*/ 336870 w 482808"/>
                <a:gd name="connsiteY4" fmla="*/ 537143 h 607427"/>
                <a:gd name="connsiteX5" fmla="*/ 312051 w 482808"/>
                <a:gd name="connsiteY5" fmla="*/ 537143 h 607427"/>
                <a:gd name="connsiteX6" fmla="*/ 312051 w 482808"/>
                <a:gd name="connsiteY6" fmla="*/ 465674 h 607427"/>
                <a:gd name="connsiteX7" fmla="*/ 289671 w 482808"/>
                <a:gd name="connsiteY7" fmla="*/ 465674 h 607427"/>
                <a:gd name="connsiteX8" fmla="*/ 195635 w 482808"/>
                <a:gd name="connsiteY8" fmla="*/ 445479 h 607427"/>
                <a:gd name="connsiteX9" fmla="*/ 223010 w 482808"/>
                <a:gd name="connsiteY9" fmla="*/ 445479 h 607427"/>
                <a:gd name="connsiteX10" fmla="*/ 239635 w 482808"/>
                <a:gd name="connsiteY10" fmla="*/ 473838 h 607427"/>
                <a:gd name="connsiteX11" fmla="*/ 255544 w 482808"/>
                <a:gd name="connsiteY11" fmla="*/ 445479 h 607427"/>
                <a:gd name="connsiteX12" fmla="*/ 283778 w 482808"/>
                <a:gd name="connsiteY12" fmla="*/ 445479 h 607427"/>
                <a:gd name="connsiteX13" fmla="*/ 254827 w 482808"/>
                <a:gd name="connsiteY13" fmla="*/ 492170 h 607427"/>
                <a:gd name="connsiteX14" fmla="*/ 286071 w 482808"/>
                <a:gd name="connsiteY14" fmla="*/ 537143 h 607427"/>
                <a:gd name="connsiteX15" fmla="*/ 257407 w 482808"/>
                <a:gd name="connsiteY15" fmla="*/ 537143 h 607427"/>
                <a:gd name="connsiteX16" fmla="*/ 239492 w 482808"/>
                <a:gd name="connsiteY16" fmla="*/ 508498 h 607427"/>
                <a:gd name="connsiteX17" fmla="*/ 221863 w 482808"/>
                <a:gd name="connsiteY17" fmla="*/ 537143 h 607427"/>
                <a:gd name="connsiteX18" fmla="*/ 193772 w 482808"/>
                <a:gd name="connsiteY18" fmla="*/ 537143 h 607427"/>
                <a:gd name="connsiteX19" fmla="*/ 224156 w 482808"/>
                <a:gd name="connsiteY19" fmla="*/ 490165 h 607427"/>
                <a:gd name="connsiteX20" fmla="*/ 120737 w 482808"/>
                <a:gd name="connsiteY20" fmla="*/ 445479 h 607427"/>
                <a:gd name="connsiteX21" fmla="*/ 190314 w 482808"/>
                <a:gd name="connsiteY21" fmla="*/ 445479 h 607427"/>
                <a:gd name="connsiteX22" fmla="*/ 190314 w 482808"/>
                <a:gd name="connsiteY22" fmla="*/ 465674 h 607427"/>
                <a:gd name="connsiteX23" fmla="*/ 167935 w 482808"/>
                <a:gd name="connsiteY23" fmla="*/ 465674 h 607427"/>
                <a:gd name="connsiteX24" fmla="*/ 167935 w 482808"/>
                <a:gd name="connsiteY24" fmla="*/ 537143 h 607427"/>
                <a:gd name="connsiteX25" fmla="*/ 143116 w 482808"/>
                <a:gd name="connsiteY25" fmla="*/ 537143 h 607427"/>
                <a:gd name="connsiteX26" fmla="*/ 143116 w 482808"/>
                <a:gd name="connsiteY26" fmla="*/ 465674 h 607427"/>
                <a:gd name="connsiteX27" fmla="*/ 120737 w 482808"/>
                <a:gd name="connsiteY27" fmla="*/ 465674 h 607427"/>
                <a:gd name="connsiteX28" fmla="*/ 129064 w 482808"/>
                <a:gd name="connsiteY28" fmla="*/ 329823 h 607427"/>
                <a:gd name="connsiteX29" fmla="*/ 223692 w 482808"/>
                <a:gd name="connsiteY29" fmla="*/ 329823 h 607427"/>
                <a:gd name="connsiteX30" fmla="*/ 223692 w 482808"/>
                <a:gd name="connsiteY30" fmla="*/ 358473 h 607427"/>
                <a:gd name="connsiteX31" fmla="*/ 129064 w 482808"/>
                <a:gd name="connsiteY31" fmla="*/ 358473 h 607427"/>
                <a:gd name="connsiteX32" fmla="*/ 129064 w 482808"/>
                <a:gd name="connsiteY32" fmla="*/ 282756 h 607427"/>
                <a:gd name="connsiteX33" fmla="*/ 334550 w 482808"/>
                <a:gd name="connsiteY33" fmla="*/ 282756 h 607427"/>
                <a:gd name="connsiteX34" fmla="*/ 334550 w 482808"/>
                <a:gd name="connsiteY34" fmla="*/ 311335 h 607427"/>
                <a:gd name="connsiteX35" fmla="*/ 129064 w 482808"/>
                <a:gd name="connsiteY35" fmla="*/ 311335 h 607427"/>
                <a:gd name="connsiteX36" fmla="*/ 129064 w 482808"/>
                <a:gd name="connsiteY36" fmla="*/ 235759 h 607427"/>
                <a:gd name="connsiteX37" fmla="*/ 353744 w 482808"/>
                <a:gd name="connsiteY37" fmla="*/ 235759 h 607427"/>
                <a:gd name="connsiteX38" fmla="*/ 353744 w 482808"/>
                <a:gd name="connsiteY38" fmla="*/ 264409 h 607427"/>
                <a:gd name="connsiteX39" fmla="*/ 129064 w 482808"/>
                <a:gd name="connsiteY39" fmla="*/ 264409 h 607427"/>
                <a:gd name="connsiteX40" fmla="*/ 129064 w 482808"/>
                <a:gd name="connsiteY40" fmla="*/ 188692 h 607427"/>
                <a:gd name="connsiteX41" fmla="*/ 286213 w 482808"/>
                <a:gd name="connsiteY41" fmla="*/ 188692 h 607427"/>
                <a:gd name="connsiteX42" fmla="*/ 286213 w 482808"/>
                <a:gd name="connsiteY42" fmla="*/ 217342 h 607427"/>
                <a:gd name="connsiteX43" fmla="*/ 129064 w 482808"/>
                <a:gd name="connsiteY43" fmla="*/ 217342 h 607427"/>
                <a:gd name="connsiteX44" fmla="*/ 129064 w 482808"/>
                <a:gd name="connsiteY44" fmla="*/ 141695 h 607427"/>
                <a:gd name="connsiteX45" fmla="*/ 353744 w 482808"/>
                <a:gd name="connsiteY45" fmla="*/ 141695 h 607427"/>
                <a:gd name="connsiteX46" fmla="*/ 353744 w 482808"/>
                <a:gd name="connsiteY46" fmla="*/ 170345 h 607427"/>
                <a:gd name="connsiteX47" fmla="*/ 129064 w 482808"/>
                <a:gd name="connsiteY47" fmla="*/ 170345 h 607427"/>
                <a:gd name="connsiteX48" fmla="*/ 28679 w 482808"/>
                <a:gd name="connsiteY48" fmla="*/ 76877 h 607427"/>
                <a:gd name="connsiteX49" fmla="*/ 28679 w 482808"/>
                <a:gd name="connsiteY49" fmla="*/ 578795 h 607427"/>
                <a:gd name="connsiteX50" fmla="*/ 454129 w 482808"/>
                <a:gd name="connsiteY50" fmla="*/ 578795 h 607427"/>
                <a:gd name="connsiteX51" fmla="*/ 454129 w 482808"/>
                <a:gd name="connsiteY51" fmla="*/ 125122 h 607427"/>
                <a:gd name="connsiteX52" fmla="*/ 371821 w 482808"/>
                <a:gd name="connsiteY52" fmla="*/ 125122 h 607427"/>
                <a:gd name="connsiteX53" fmla="*/ 357482 w 482808"/>
                <a:gd name="connsiteY53" fmla="*/ 110806 h 607427"/>
                <a:gd name="connsiteX54" fmla="*/ 357482 w 482808"/>
                <a:gd name="connsiteY54" fmla="*/ 76877 h 607427"/>
                <a:gd name="connsiteX55" fmla="*/ 386160 w 482808"/>
                <a:gd name="connsiteY55" fmla="*/ 48817 h 607427"/>
                <a:gd name="connsiteX56" fmla="*/ 386160 w 482808"/>
                <a:gd name="connsiteY56" fmla="*/ 96490 h 607427"/>
                <a:gd name="connsiteX57" fmla="*/ 433767 w 482808"/>
                <a:gd name="connsiteY57" fmla="*/ 96490 h 607427"/>
                <a:gd name="connsiteX58" fmla="*/ 28679 w 482808"/>
                <a:gd name="connsiteY58" fmla="*/ 28632 h 607427"/>
                <a:gd name="connsiteX59" fmla="*/ 28679 w 482808"/>
                <a:gd name="connsiteY59" fmla="*/ 48245 h 607427"/>
                <a:gd name="connsiteX60" fmla="*/ 357482 w 482808"/>
                <a:gd name="connsiteY60" fmla="*/ 48245 h 607427"/>
                <a:gd name="connsiteX61" fmla="*/ 357482 w 482808"/>
                <a:gd name="connsiteY61" fmla="*/ 28632 h 607427"/>
                <a:gd name="connsiteX62" fmla="*/ 14339 w 482808"/>
                <a:gd name="connsiteY62" fmla="*/ 0 h 607427"/>
                <a:gd name="connsiteX63" fmla="*/ 371821 w 482808"/>
                <a:gd name="connsiteY63" fmla="*/ 0 h 607427"/>
                <a:gd name="connsiteX64" fmla="*/ 382002 w 482808"/>
                <a:gd name="connsiteY64" fmla="*/ 4152 h 607427"/>
                <a:gd name="connsiteX65" fmla="*/ 478506 w 482808"/>
                <a:gd name="connsiteY65" fmla="*/ 100641 h 607427"/>
                <a:gd name="connsiteX66" fmla="*/ 482808 w 482808"/>
                <a:gd name="connsiteY66" fmla="*/ 110806 h 607427"/>
                <a:gd name="connsiteX67" fmla="*/ 482808 w 482808"/>
                <a:gd name="connsiteY67" fmla="*/ 593111 h 607427"/>
                <a:gd name="connsiteX68" fmla="*/ 468469 w 482808"/>
                <a:gd name="connsiteY68" fmla="*/ 607427 h 607427"/>
                <a:gd name="connsiteX69" fmla="*/ 14339 w 482808"/>
                <a:gd name="connsiteY69" fmla="*/ 607427 h 607427"/>
                <a:gd name="connsiteX70" fmla="*/ 0 w 482808"/>
                <a:gd name="connsiteY70" fmla="*/ 593111 h 607427"/>
                <a:gd name="connsiteX71" fmla="*/ 0 w 482808"/>
                <a:gd name="connsiteY71" fmla="*/ 14316 h 607427"/>
                <a:gd name="connsiteX72" fmla="*/ 14339 w 482808"/>
                <a:gd name="connsiteY72" fmla="*/ 0 h 607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482808" h="607427">
                  <a:moveTo>
                    <a:pt x="289671" y="445479"/>
                  </a:moveTo>
                  <a:lnTo>
                    <a:pt x="359107" y="445479"/>
                  </a:lnTo>
                  <a:lnTo>
                    <a:pt x="359107" y="465674"/>
                  </a:lnTo>
                  <a:lnTo>
                    <a:pt x="336870" y="465674"/>
                  </a:lnTo>
                  <a:lnTo>
                    <a:pt x="336870" y="537143"/>
                  </a:lnTo>
                  <a:lnTo>
                    <a:pt x="312051" y="537143"/>
                  </a:lnTo>
                  <a:lnTo>
                    <a:pt x="312051" y="465674"/>
                  </a:lnTo>
                  <a:lnTo>
                    <a:pt x="289671" y="465674"/>
                  </a:lnTo>
                  <a:close/>
                  <a:moveTo>
                    <a:pt x="195635" y="445479"/>
                  </a:moveTo>
                  <a:lnTo>
                    <a:pt x="223010" y="445479"/>
                  </a:lnTo>
                  <a:lnTo>
                    <a:pt x="239635" y="473838"/>
                  </a:lnTo>
                  <a:lnTo>
                    <a:pt x="255544" y="445479"/>
                  </a:lnTo>
                  <a:lnTo>
                    <a:pt x="283778" y="445479"/>
                  </a:lnTo>
                  <a:lnTo>
                    <a:pt x="254827" y="492170"/>
                  </a:lnTo>
                  <a:lnTo>
                    <a:pt x="286071" y="537143"/>
                  </a:lnTo>
                  <a:lnTo>
                    <a:pt x="257407" y="537143"/>
                  </a:lnTo>
                  <a:lnTo>
                    <a:pt x="239492" y="508498"/>
                  </a:lnTo>
                  <a:lnTo>
                    <a:pt x="221863" y="537143"/>
                  </a:lnTo>
                  <a:lnTo>
                    <a:pt x="193772" y="537143"/>
                  </a:lnTo>
                  <a:lnTo>
                    <a:pt x="224156" y="490165"/>
                  </a:lnTo>
                  <a:close/>
                  <a:moveTo>
                    <a:pt x="120737" y="445479"/>
                  </a:moveTo>
                  <a:lnTo>
                    <a:pt x="190314" y="445479"/>
                  </a:lnTo>
                  <a:lnTo>
                    <a:pt x="190314" y="465674"/>
                  </a:lnTo>
                  <a:lnTo>
                    <a:pt x="167935" y="465674"/>
                  </a:lnTo>
                  <a:lnTo>
                    <a:pt x="167935" y="537143"/>
                  </a:lnTo>
                  <a:lnTo>
                    <a:pt x="143116" y="537143"/>
                  </a:lnTo>
                  <a:lnTo>
                    <a:pt x="143116" y="465674"/>
                  </a:lnTo>
                  <a:lnTo>
                    <a:pt x="120737" y="465674"/>
                  </a:lnTo>
                  <a:close/>
                  <a:moveTo>
                    <a:pt x="129064" y="329823"/>
                  </a:moveTo>
                  <a:lnTo>
                    <a:pt x="223692" y="329823"/>
                  </a:lnTo>
                  <a:lnTo>
                    <a:pt x="223692" y="358473"/>
                  </a:lnTo>
                  <a:lnTo>
                    <a:pt x="129064" y="358473"/>
                  </a:lnTo>
                  <a:close/>
                  <a:moveTo>
                    <a:pt x="129064" y="282756"/>
                  </a:moveTo>
                  <a:lnTo>
                    <a:pt x="334550" y="282756"/>
                  </a:lnTo>
                  <a:lnTo>
                    <a:pt x="334550" y="311335"/>
                  </a:lnTo>
                  <a:lnTo>
                    <a:pt x="129064" y="311335"/>
                  </a:lnTo>
                  <a:close/>
                  <a:moveTo>
                    <a:pt x="129064" y="235759"/>
                  </a:moveTo>
                  <a:lnTo>
                    <a:pt x="353744" y="235759"/>
                  </a:lnTo>
                  <a:lnTo>
                    <a:pt x="353744" y="264409"/>
                  </a:lnTo>
                  <a:lnTo>
                    <a:pt x="129064" y="264409"/>
                  </a:lnTo>
                  <a:close/>
                  <a:moveTo>
                    <a:pt x="129064" y="188692"/>
                  </a:moveTo>
                  <a:lnTo>
                    <a:pt x="286213" y="188692"/>
                  </a:lnTo>
                  <a:lnTo>
                    <a:pt x="286213" y="217342"/>
                  </a:lnTo>
                  <a:lnTo>
                    <a:pt x="129064" y="217342"/>
                  </a:lnTo>
                  <a:close/>
                  <a:moveTo>
                    <a:pt x="129064" y="141695"/>
                  </a:moveTo>
                  <a:lnTo>
                    <a:pt x="353744" y="141695"/>
                  </a:lnTo>
                  <a:lnTo>
                    <a:pt x="353744" y="170345"/>
                  </a:lnTo>
                  <a:lnTo>
                    <a:pt x="129064" y="170345"/>
                  </a:lnTo>
                  <a:close/>
                  <a:moveTo>
                    <a:pt x="28679" y="76877"/>
                  </a:moveTo>
                  <a:lnTo>
                    <a:pt x="28679" y="578795"/>
                  </a:lnTo>
                  <a:lnTo>
                    <a:pt x="454129" y="578795"/>
                  </a:lnTo>
                  <a:lnTo>
                    <a:pt x="454129" y="125122"/>
                  </a:lnTo>
                  <a:lnTo>
                    <a:pt x="371821" y="125122"/>
                  </a:lnTo>
                  <a:cubicBezTo>
                    <a:pt x="363934" y="125122"/>
                    <a:pt x="357482" y="118679"/>
                    <a:pt x="357482" y="110806"/>
                  </a:cubicBezTo>
                  <a:lnTo>
                    <a:pt x="357482" y="76877"/>
                  </a:lnTo>
                  <a:close/>
                  <a:moveTo>
                    <a:pt x="386160" y="48817"/>
                  </a:moveTo>
                  <a:lnTo>
                    <a:pt x="386160" y="96490"/>
                  </a:lnTo>
                  <a:lnTo>
                    <a:pt x="433767" y="96490"/>
                  </a:lnTo>
                  <a:close/>
                  <a:moveTo>
                    <a:pt x="28679" y="28632"/>
                  </a:moveTo>
                  <a:lnTo>
                    <a:pt x="28679" y="48245"/>
                  </a:lnTo>
                  <a:lnTo>
                    <a:pt x="357482" y="48245"/>
                  </a:lnTo>
                  <a:lnTo>
                    <a:pt x="357482" y="28632"/>
                  </a:lnTo>
                  <a:close/>
                  <a:moveTo>
                    <a:pt x="14339" y="0"/>
                  </a:moveTo>
                  <a:lnTo>
                    <a:pt x="371821" y="0"/>
                  </a:lnTo>
                  <a:cubicBezTo>
                    <a:pt x="375549" y="0"/>
                    <a:pt x="379278" y="1575"/>
                    <a:pt x="382002" y="4152"/>
                  </a:cubicBezTo>
                  <a:lnTo>
                    <a:pt x="478506" y="100641"/>
                  </a:lnTo>
                  <a:cubicBezTo>
                    <a:pt x="481231" y="103361"/>
                    <a:pt x="482808" y="106940"/>
                    <a:pt x="482808" y="110806"/>
                  </a:cubicBezTo>
                  <a:lnTo>
                    <a:pt x="482808" y="593111"/>
                  </a:lnTo>
                  <a:cubicBezTo>
                    <a:pt x="482808" y="600985"/>
                    <a:pt x="476355" y="607427"/>
                    <a:pt x="468469" y="607427"/>
                  </a:cubicBezTo>
                  <a:lnTo>
                    <a:pt x="14339" y="607427"/>
                  </a:lnTo>
                  <a:cubicBezTo>
                    <a:pt x="6453" y="607427"/>
                    <a:pt x="0" y="600985"/>
                    <a:pt x="0" y="593111"/>
                  </a:cubicBezTo>
                  <a:lnTo>
                    <a:pt x="0" y="14316"/>
                  </a:lnTo>
                  <a:cubicBezTo>
                    <a:pt x="0" y="6442"/>
                    <a:pt x="6453" y="0"/>
                    <a:pt x="1433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2900AFE4-C899-455C-AECA-CE83C79CE577}"/>
              </a:ext>
            </a:extLst>
          </p:cNvPr>
          <p:cNvSpPr/>
          <p:nvPr/>
        </p:nvSpPr>
        <p:spPr>
          <a:xfrm>
            <a:off x="4748348" y="1130300"/>
            <a:ext cx="2028825" cy="1543658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Hello world</a:t>
            </a:r>
          </a:p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I like Hadoop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91A342C0-220F-4EE6-8E94-FDE79F5160AA}"/>
              </a:ext>
            </a:extLst>
          </p:cNvPr>
          <p:cNvSpPr/>
          <p:nvPr/>
        </p:nvSpPr>
        <p:spPr>
          <a:xfrm>
            <a:off x="4738823" y="2860371"/>
            <a:ext cx="2028825" cy="1543658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Hello Hadoop</a:t>
            </a:r>
          </a:p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I like MapReduce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12AB1DF8-9F59-459D-861B-0997412FBF92}"/>
              </a:ext>
            </a:extLst>
          </p:cNvPr>
          <p:cNvSpPr/>
          <p:nvPr/>
        </p:nvSpPr>
        <p:spPr>
          <a:xfrm>
            <a:off x="4738823" y="4590442"/>
            <a:ext cx="2028825" cy="1543658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Hello MapReduce</a:t>
            </a:r>
          </a:p>
          <a:p>
            <a:pPr algn="ctr"/>
            <a:r>
              <a:rPr lang="en-US" altLang="zh-CN" b="1" dirty="0">
                <a:solidFill>
                  <a:schemeClr val="bg1"/>
                </a:solidFill>
              </a:rPr>
              <a:t>I like Java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3372978F-E17A-40CA-89B5-F22260ABED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apReduce</a:t>
            </a:r>
            <a:r>
              <a:rPr lang="zh-CN" altLang="en-US" dirty="0"/>
              <a:t>工作流程</a:t>
            </a:r>
          </a:p>
        </p:txBody>
      </p:sp>
    </p:spTree>
    <p:extLst>
      <p:ext uri="{BB962C8B-B14F-4D97-AF65-F5344CB8AC3E}">
        <p14:creationId xmlns:p14="http://schemas.microsoft.com/office/powerpoint/2010/main" val="19300831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看看其他实例？</a:t>
            </a:r>
            <a:r>
              <a:rPr lang="en-US" altLang="zh-CN" dirty="0"/>
              <a:t>grep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0</a:t>
            </a:fld>
            <a:endParaRPr lang="zh-CN" altLang="en-US"/>
          </a:p>
        </p:txBody>
      </p:sp>
      <p:grpSp>
        <p:nvGrpSpPr>
          <p:cNvPr id="194" name="180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4D56F3B-0686-4E9E-A675-DA7BF2C9F6C2}"/>
              </a:ext>
            </a:extLst>
          </p:cNvPr>
          <p:cNvGrpSpPr>
            <a:grpSpLocks noChangeAspect="1"/>
          </p:cNvGrpSpPr>
          <p:nvPr/>
        </p:nvGrpSpPr>
        <p:grpSpPr>
          <a:xfrm>
            <a:off x="1875381" y="-2460624"/>
            <a:ext cx="5393238" cy="2212975"/>
            <a:chOff x="938530" y="1805421"/>
            <a:chExt cx="10580370" cy="4341379"/>
          </a:xfrm>
        </p:grpSpPr>
        <p:sp>
          <p:nvSpPr>
            <p:cNvPr id="195" name="iṧḻîďè">
              <a:extLst>
                <a:ext uri="{FF2B5EF4-FFF2-40B4-BE49-F238E27FC236}">
                  <a16:creationId xmlns:a16="http://schemas.microsoft.com/office/drawing/2014/main" id="{6FC8272D-4563-47EB-B741-E738A21C2623}"/>
                </a:ext>
              </a:extLst>
            </p:cNvPr>
            <p:cNvSpPr/>
            <p:nvPr/>
          </p:nvSpPr>
          <p:spPr bwMode="auto">
            <a:xfrm>
              <a:off x="5637082" y="5226400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搞定！</a:t>
              </a:r>
              <a:endParaRPr lang="en-US" altLang="zh-CN" b="1" dirty="0"/>
            </a:p>
          </p:txBody>
        </p:sp>
        <p:sp>
          <p:nvSpPr>
            <p:cNvPr id="196" name="îŝḻiḋé">
              <a:extLst>
                <a:ext uri="{FF2B5EF4-FFF2-40B4-BE49-F238E27FC236}">
                  <a16:creationId xmlns:a16="http://schemas.microsoft.com/office/drawing/2014/main" id="{C05C75D7-4258-49B9-958F-F2EEF0B840E0}"/>
                </a:ext>
              </a:extLst>
            </p:cNvPr>
            <p:cNvSpPr/>
            <p:nvPr/>
          </p:nvSpPr>
          <p:spPr bwMode="auto">
            <a:xfrm>
              <a:off x="6176201" y="4576024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>
                  <a:solidFill>
                    <a:schemeClr val="bg1"/>
                  </a:solidFill>
                </a:rPr>
                <a:t>测试</a:t>
              </a:r>
              <a:endParaRPr lang="en-US" altLang="zh-CN" sz="1750" b="1" dirty="0">
                <a:solidFill>
                  <a:schemeClr val="bg1"/>
                </a:solidFill>
              </a:endParaRPr>
            </a:p>
          </p:txBody>
        </p:sp>
        <p:sp>
          <p:nvSpPr>
            <p:cNvPr id="197" name="íṥḷíďê">
              <a:extLst>
                <a:ext uri="{FF2B5EF4-FFF2-40B4-BE49-F238E27FC236}">
                  <a16:creationId xmlns:a16="http://schemas.microsoft.com/office/drawing/2014/main" id="{D4FCC7AE-5767-4EC4-BB68-B94457D3AE6D}"/>
                </a:ext>
              </a:extLst>
            </p:cNvPr>
            <p:cNvSpPr/>
            <p:nvPr/>
          </p:nvSpPr>
          <p:spPr bwMode="auto">
            <a:xfrm>
              <a:off x="6703850" y="3925648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/>
                <a:t>配置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8" name="ïś1ïḓè">
              <a:extLst>
                <a:ext uri="{FF2B5EF4-FFF2-40B4-BE49-F238E27FC236}">
                  <a16:creationId xmlns:a16="http://schemas.microsoft.com/office/drawing/2014/main" id="{F32E844B-E27C-4A92-9B60-95E4AD88D81F}"/>
                </a:ext>
              </a:extLst>
            </p:cNvPr>
            <p:cNvSpPr/>
            <p:nvPr/>
          </p:nvSpPr>
          <p:spPr bwMode="auto">
            <a:xfrm>
              <a:off x="7241823" y="3275272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 dirty="0"/>
                <a:t>安装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9" name="îśļïḍè">
              <a:extLst>
                <a:ext uri="{FF2B5EF4-FFF2-40B4-BE49-F238E27FC236}">
                  <a16:creationId xmlns:a16="http://schemas.microsoft.com/office/drawing/2014/main" id="{F812BB55-77DE-4E23-95E6-156A22FAD363}"/>
                </a:ext>
              </a:extLst>
            </p:cNvPr>
            <p:cNvSpPr/>
            <p:nvPr/>
          </p:nvSpPr>
          <p:spPr bwMode="auto">
            <a:xfrm>
              <a:off x="7743555" y="2624895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配置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0" name="ï$1íḍé">
              <a:extLst>
                <a:ext uri="{FF2B5EF4-FFF2-40B4-BE49-F238E27FC236}">
                  <a16:creationId xmlns:a16="http://schemas.microsoft.com/office/drawing/2014/main" id="{48245F16-84E7-4201-9485-85B5E5B15ECD}"/>
                </a:ext>
              </a:extLst>
            </p:cNvPr>
            <p:cNvSpPr/>
            <p:nvPr/>
          </p:nvSpPr>
          <p:spPr bwMode="auto">
            <a:xfrm>
              <a:off x="8263856" y="1974519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安装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1" name="îṥľïďê">
              <a:extLst>
                <a:ext uri="{FF2B5EF4-FFF2-40B4-BE49-F238E27FC236}">
                  <a16:creationId xmlns:a16="http://schemas.microsoft.com/office/drawing/2014/main" id="{920DFBAA-02E5-4206-86B0-FE10F93A7509}"/>
                </a:ext>
              </a:extLst>
            </p:cNvPr>
            <p:cNvSpPr/>
            <p:nvPr/>
          </p:nvSpPr>
          <p:spPr bwMode="auto">
            <a:xfrm>
              <a:off x="5220497" y="3438015"/>
              <a:ext cx="3741918" cy="1239562"/>
            </a:xfrm>
            <a:custGeom>
              <a:avLst/>
              <a:gdLst>
                <a:gd name="T0" fmla="*/ 179 w 203"/>
                <a:gd name="T1" fmla="*/ 82 h 82"/>
                <a:gd name="T2" fmla="*/ 203 w 203"/>
                <a:gd name="T3" fmla="*/ 29 h 82"/>
                <a:gd name="T4" fmla="*/ 65 w 203"/>
                <a:gd name="T5" fmla="*/ 27 h 82"/>
                <a:gd name="T6" fmla="*/ 59 w 203"/>
                <a:gd name="T7" fmla="*/ 0 h 82"/>
                <a:gd name="T8" fmla="*/ 59 w 203"/>
                <a:gd name="T9" fmla="*/ 0 h 82"/>
                <a:gd name="T10" fmla="*/ 0 w 203"/>
                <a:gd name="T11" fmla="*/ 80 h 82"/>
                <a:gd name="T12" fmla="*/ 61 w 203"/>
                <a:gd name="T13" fmla="*/ 82 h 82"/>
                <a:gd name="T14" fmla="*/ 179 w 203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82">
                  <a:moveTo>
                    <a:pt x="179" y="82"/>
                  </a:moveTo>
                  <a:lnTo>
                    <a:pt x="203" y="29"/>
                  </a:lnTo>
                  <a:lnTo>
                    <a:pt x="65" y="27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0" y="80"/>
                  </a:lnTo>
                  <a:lnTo>
                    <a:pt x="61" y="82"/>
                  </a:lnTo>
                  <a:lnTo>
                    <a:pt x="179" y="8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2" name="i$ḻíḋè">
              <a:extLst>
                <a:ext uri="{FF2B5EF4-FFF2-40B4-BE49-F238E27FC236}">
                  <a16:creationId xmlns:a16="http://schemas.microsoft.com/office/drawing/2014/main" id="{430BE7EB-B6F0-4F05-80EA-1F517165029F}"/>
                </a:ext>
              </a:extLst>
            </p:cNvPr>
            <p:cNvSpPr/>
            <p:nvPr/>
          </p:nvSpPr>
          <p:spPr bwMode="auto">
            <a:xfrm>
              <a:off x="8032938" y="1974519"/>
              <a:ext cx="1398307" cy="247664"/>
            </a:xfrm>
            <a:prstGeom prst="triangle">
              <a:avLst>
                <a:gd name="adj" fmla="val 14726"/>
              </a:avLst>
            </a:pr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3" name="işľiḋe">
              <a:extLst>
                <a:ext uri="{FF2B5EF4-FFF2-40B4-BE49-F238E27FC236}">
                  <a16:creationId xmlns:a16="http://schemas.microsoft.com/office/drawing/2014/main" id="{E4DECB97-43D1-4D26-8C48-41447675AE79}"/>
                </a:ext>
              </a:extLst>
            </p:cNvPr>
            <p:cNvSpPr/>
            <p:nvPr/>
          </p:nvSpPr>
          <p:spPr bwMode="auto">
            <a:xfrm>
              <a:off x="3675422" y="1805421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4" name="iś1íďé">
              <a:extLst>
                <a:ext uri="{FF2B5EF4-FFF2-40B4-BE49-F238E27FC236}">
                  <a16:creationId xmlns:a16="http://schemas.microsoft.com/office/drawing/2014/main" id="{6E7EA96A-F20A-4912-AC31-63A0F19E66DE}"/>
                </a:ext>
              </a:extLst>
            </p:cNvPr>
            <p:cNvSpPr/>
            <p:nvPr/>
          </p:nvSpPr>
          <p:spPr bwMode="auto">
            <a:xfrm>
              <a:off x="3129452" y="2455797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5" name="ïŝlíḋe">
              <a:extLst>
                <a:ext uri="{FF2B5EF4-FFF2-40B4-BE49-F238E27FC236}">
                  <a16:creationId xmlns:a16="http://schemas.microsoft.com/office/drawing/2014/main" id="{66D30D6F-26C9-4C2C-BC01-900AC07DC57E}"/>
                </a:ext>
              </a:extLst>
            </p:cNvPr>
            <p:cNvSpPr/>
            <p:nvPr/>
          </p:nvSpPr>
          <p:spPr bwMode="auto">
            <a:xfrm>
              <a:off x="2576633" y="3106174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6" name="îSliďè">
              <a:extLst>
                <a:ext uri="{FF2B5EF4-FFF2-40B4-BE49-F238E27FC236}">
                  <a16:creationId xmlns:a16="http://schemas.microsoft.com/office/drawing/2014/main" id="{2F6D5554-EACD-4DDD-892F-2E5F97A9C421}"/>
                </a:ext>
              </a:extLst>
            </p:cNvPr>
            <p:cNvSpPr/>
            <p:nvPr/>
          </p:nvSpPr>
          <p:spPr bwMode="auto">
            <a:xfrm>
              <a:off x="2030696" y="3756550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7" name="îSliďé">
              <a:extLst>
                <a:ext uri="{FF2B5EF4-FFF2-40B4-BE49-F238E27FC236}">
                  <a16:creationId xmlns:a16="http://schemas.microsoft.com/office/drawing/2014/main" id="{2E278F3F-C8D8-4E2A-A3EA-29ADCF1A02AA}"/>
                </a:ext>
              </a:extLst>
            </p:cNvPr>
            <p:cNvSpPr/>
            <p:nvPr/>
          </p:nvSpPr>
          <p:spPr bwMode="auto">
            <a:xfrm>
              <a:off x="1484532" y="4406926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8" name="îs1iďé">
              <a:extLst>
                <a:ext uri="{FF2B5EF4-FFF2-40B4-BE49-F238E27FC236}">
                  <a16:creationId xmlns:a16="http://schemas.microsoft.com/office/drawing/2014/main" id="{EB74D0C2-5677-4F3F-A043-44D01A3F3D48}"/>
                </a:ext>
              </a:extLst>
            </p:cNvPr>
            <p:cNvSpPr/>
            <p:nvPr/>
          </p:nvSpPr>
          <p:spPr bwMode="auto">
            <a:xfrm>
              <a:off x="938530" y="5057302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9" name="ïṣḻïḋe">
              <a:extLst>
                <a:ext uri="{FF2B5EF4-FFF2-40B4-BE49-F238E27FC236}">
                  <a16:creationId xmlns:a16="http://schemas.microsoft.com/office/drawing/2014/main" id="{7709F84E-C33F-462F-B538-51CB71C9284E}"/>
                </a:ext>
              </a:extLst>
            </p:cNvPr>
            <p:cNvSpPr/>
            <p:nvPr/>
          </p:nvSpPr>
          <p:spPr bwMode="auto">
            <a:xfrm>
              <a:off x="4585947" y="2371737"/>
              <a:ext cx="377807" cy="377281"/>
            </a:xfrm>
            <a:custGeom>
              <a:avLst/>
              <a:gdLst>
                <a:gd name="T0" fmla="*/ 400 w 11264"/>
                <a:gd name="T1" fmla="*/ 7099 h 11264"/>
                <a:gd name="T2" fmla="*/ 4165 w 11264"/>
                <a:gd name="T3" fmla="*/ 7099 h 11264"/>
                <a:gd name="T4" fmla="*/ 4165 w 11264"/>
                <a:gd name="T5" fmla="*/ 10864 h 11264"/>
                <a:gd name="T6" fmla="*/ 4565 w 11264"/>
                <a:gd name="T7" fmla="*/ 11264 h 11264"/>
                <a:gd name="T8" fmla="*/ 6699 w 11264"/>
                <a:gd name="T9" fmla="*/ 11264 h 11264"/>
                <a:gd name="T10" fmla="*/ 7099 w 11264"/>
                <a:gd name="T11" fmla="*/ 10864 h 11264"/>
                <a:gd name="T12" fmla="*/ 7099 w 11264"/>
                <a:gd name="T13" fmla="*/ 7099 h 11264"/>
                <a:gd name="T14" fmla="*/ 10864 w 11264"/>
                <a:gd name="T15" fmla="*/ 7099 h 11264"/>
                <a:gd name="T16" fmla="*/ 11264 w 11264"/>
                <a:gd name="T17" fmla="*/ 6699 h 11264"/>
                <a:gd name="T18" fmla="*/ 11264 w 11264"/>
                <a:gd name="T19" fmla="*/ 4565 h 11264"/>
                <a:gd name="T20" fmla="*/ 10864 w 11264"/>
                <a:gd name="T21" fmla="*/ 4165 h 11264"/>
                <a:gd name="T22" fmla="*/ 7099 w 11264"/>
                <a:gd name="T23" fmla="*/ 4165 h 11264"/>
                <a:gd name="T24" fmla="*/ 7099 w 11264"/>
                <a:gd name="T25" fmla="*/ 400 h 11264"/>
                <a:gd name="T26" fmla="*/ 6699 w 11264"/>
                <a:gd name="T27" fmla="*/ 0 h 11264"/>
                <a:gd name="T28" fmla="*/ 4565 w 11264"/>
                <a:gd name="T29" fmla="*/ 0 h 11264"/>
                <a:gd name="T30" fmla="*/ 4165 w 11264"/>
                <a:gd name="T31" fmla="*/ 400 h 11264"/>
                <a:gd name="T32" fmla="*/ 4165 w 11264"/>
                <a:gd name="T33" fmla="*/ 4165 h 11264"/>
                <a:gd name="T34" fmla="*/ 400 w 11264"/>
                <a:gd name="T35" fmla="*/ 4165 h 11264"/>
                <a:gd name="T36" fmla="*/ 0 w 11264"/>
                <a:gd name="T37" fmla="*/ 4565 h 11264"/>
                <a:gd name="T38" fmla="*/ 0 w 11264"/>
                <a:gd name="T39" fmla="*/ 6699 h 11264"/>
                <a:gd name="T40" fmla="*/ 400 w 11264"/>
                <a:gd name="T41" fmla="*/ 7099 h 1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64" h="11264">
                  <a:moveTo>
                    <a:pt x="400" y="7099"/>
                  </a:moveTo>
                  <a:lnTo>
                    <a:pt x="4165" y="7099"/>
                  </a:lnTo>
                  <a:lnTo>
                    <a:pt x="4165" y="10864"/>
                  </a:lnTo>
                  <a:cubicBezTo>
                    <a:pt x="4165" y="11085"/>
                    <a:pt x="4344" y="11264"/>
                    <a:pt x="4565" y="11264"/>
                  </a:cubicBezTo>
                  <a:lnTo>
                    <a:pt x="6699" y="11264"/>
                  </a:lnTo>
                  <a:cubicBezTo>
                    <a:pt x="6920" y="11264"/>
                    <a:pt x="7099" y="11085"/>
                    <a:pt x="7099" y="10864"/>
                  </a:cubicBezTo>
                  <a:lnTo>
                    <a:pt x="7099" y="7099"/>
                  </a:lnTo>
                  <a:lnTo>
                    <a:pt x="10864" y="7099"/>
                  </a:lnTo>
                  <a:cubicBezTo>
                    <a:pt x="11085" y="7099"/>
                    <a:pt x="11264" y="6920"/>
                    <a:pt x="11264" y="6699"/>
                  </a:cubicBezTo>
                  <a:lnTo>
                    <a:pt x="11264" y="4565"/>
                  </a:lnTo>
                  <a:cubicBezTo>
                    <a:pt x="11264" y="4344"/>
                    <a:pt x="11085" y="4165"/>
                    <a:pt x="10864" y="4165"/>
                  </a:cubicBezTo>
                  <a:lnTo>
                    <a:pt x="7099" y="4165"/>
                  </a:lnTo>
                  <a:lnTo>
                    <a:pt x="7099" y="400"/>
                  </a:lnTo>
                  <a:cubicBezTo>
                    <a:pt x="7099" y="179"/>
                    <a:pt x="6920" y="0"/>
                    <a:pt x="6699" y="0"/>
                  </a:cubicBezTo>
                  <a:lnTo>
                    <a:pt x="4565" y="0"/>
                  </a:lnTo>
                  <a:cubicBezTo>
                    <a:pt x="4344" y="0"/>
                    <a:pt x="4165" y="179"/>
                    <a:pt x="4165" y="400"/>
                  </a:cubicBezTo>
                  <a:lnTo>
                    <a:pt x="4165" y="4165"/>
                  </a:lnTo>
                  <a:lnTo>
                    <a:pt x="400" y="4165"/>
                  </a:lnTo>
                  <a:cubicBezTo>
                    <a:pt x="179" y="4165"/>
                    <a:pt x="0" y="4344"/>
                    <a:pt x="0" y="4565"/>
                  </a:cubicBezTo>
                  <a:lnTo>
                    <a:pt x="0" y="6699"/>
                  </a:lnTo>
                  <a:cubicBezTo>
                    <a:pt x="0" y="6920"/>
                    <a:pt x="179" y="7099"/>
                    <a:pt x="400" y="709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0" name="îsḷïde">
              <a:extLst>
                <a:ext uri="{FF2B5EF4-FFF2-40B4-BE49-F238E27FC236}">
                  <a16:creationId xmlns:a16="http://schemas.microsoft.com/office/drawing/2014/main" id="{F7027C89-1BCC-4A00-9535-016DE4C49FD7}"/>
                </a:ext>
              </a:extLst>
            </p:cNvPr>
            <p:cNvSpPr/>
            <p:nvPr/>
          </p:nvSpPr>
          <p:spPr bwMode="auto">
            <a:xfrm>
              <a:off x="4069565" y="3014578"/>
              <a:ext cx="369969" cy="377806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  <a:gd name="connsiteX107" fmla="*/ 373273 h 605239"/>
                <a:gd name="connsiteY107" fmla="*/ 373273 h 605239"/>
                <a:gd name="connsiteX108" fmla="*/ 373273 h 605239"/>
                <a:gd name="connsiteY108" fmla="*/ 373273 h 605239"/>
                <a:gd name="connsiteX109" fmla="*/ 373273 h 605239"/>
                <a:gd name="connsiteY109" fmla="*/ 373273 h 605239"/>
                <a:gd name="connsiteX110" fmla="*/ 373273 h 605239"/>
                <a:gd name="connsiteY110" fmla="*/ 373273 h 605239"/>
                <a:gd name="connsiteX111" fmla="*/ 373273 h 605239"/>
                <a:gd name="connsiteY111" fmla="*/ 373273 h 605239"/>
                <a:gd name="connsiteX112" fmla="*/ 373273 h 605239"/>
                <a:gd name="connsiteY112" fmla="*/ 373273 h 605239"/>
                <a:gd name="connsiteX113" fmla="*/ 373273 h 605239"/>
                <a:gd name="connsiteY113" fmla="*/ 373273 h 605239"/>
                <a:gd name="connsiteX114" fmla="*/ 373273 h 605239"/>
                <a:gd name="connsiteY114" fmla="*/ 373273 h 605239"/>
                <a:gd name="connsiteX115" fmla="*/ 373273 h 605239"/>
                <a:gd name="connsiteY115" fmla="*/ 373273 h 605239"/>
                <a:gd name="connsiteX116" fmla="*/ 373273 h 605239"/>
                <a:gd name="connsiteY116" fmla="*/ 373273 h 605239"/>
                <a:gd name="connsiteX117" fmla="*/ 373273 h 605239"/>
                <a:gd name="connsiteY117" fmla="*/ 373273 h 605239"/>
                <a:gd name="connsiteX118" fmla="*/ 373273 h 605239"/>
                <a:gd name="connsiteY118" fmla="*/ 373273 h 605239"/>
                <a:gd name="connsiteX119" fmla="*/ 373273 h 605239"/>
                <a:gd name="connsiteY119" fmla="*/ 373273 h 605239"/>
                <a:gd name="connsiteX120" fmla="*/ 373273 h 605239"/>
                <a:gd name="connsiteY120" fmla="*/ 373273 h 605239"/>
                <a:gd name="connsiteX121" fmla="*/ 373273 h 605239"/>
                <a:gd name="connsiteY121" fmla="*/ 373273 h 605239"/>
                <a:gd name="connsiteX122" fmla="*/ 373273 h 605239"/>
                <a:gd name="connsiteY122" fmla="*/ 373273 h 605239"/>
                <a:gd name="connsiteX123" fmla="*/ 373273 h 605239"/>
                <a:gd name="connsiteY123" fmla="*/ 373273 h 605239"/>
                <a:gd name="connsiteX124" fmla="*/ 373273 h 605239"/>
                <a:gd name="connsiteY124" fmla="*/ 373273 h 605239"/>
                <a:gd name="connsiteX125" fmla="*/ 373273 h 605239"/>
                <a:gd name="connsiteY125" fmla="*/ 373273 h 605239"/>
                <a:gd name="connsiteX126" fmla="*/ 373273 h 605239"/>
                <a:gd name="connsiteY126" fmla="*/ 373273 h 605239"/>
                <a:gd name="connsiteX127" fmla="*/ 373273 h 605239"/>
                <a:gd name="connsiteY127" fmla="*/ 373273 h 605239"/>
                <a:gd name="connsiteX128" fmla="*/ 373273 h 605239"/>
                <a:gd name="connsiteY128" fmla="*/ 373273 h 605239"/>
                <a:gd name="connsiteX129" fmla="*/ 373273 h 605239"/>
                <a:gd name="connsiteY12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593733" h="606309">
                  <a:moveTo>
                    <a:pt x="353250" y="302855"/>
                  </a:moveTo>
                  <a:cubicBezTo>
                    <a:pt x="318468" y="302855"/>
                    <a:pt x="290232" y="331146"/>
                    <a:pt x="290232" y="365879"/>
                  </a:cubicBezTo>
                  <a:cubicBezTo>
                    <a:pt x="290232" y="374189"/>
                    <a:pt x="296964" y="380912"/>
                    <a:pt x="305285" y="380912"/>
                  </a:cubicBezTo>
                  <a:cubicBezTo>
                    <a:pt x="313607" y="380912"/>
                    <a:pt x="320338" y="374189"/>
                    <a:pt x="320338" y="365879"/>
                  </a:cubicBezTo>
                  <a:cubicBezTo>
                    <a:pt x="320338" y="347672"/>
                    <a:pt x="335111" y="333014"/>
                    <a:pt x="353250" y="333014"/>
                  </a:cubicBezTo>
                  <a:cubicBezTo>
                    <a:pt x="361665" y="333014"/>
                    <a:pt x="368397" y="326291"/>
                    <a:pt x="368397" y="317888"/>
                  </a:cubicBezTo>
                  <a:cubicBezTo>
                    <a:pt x="368397" y="309578"/>
                    <a:pt x="361665" y="302855"/>
                    <a:pt x="353250" y="302855"/>
                  </a:cubicBezTo>
                  <a:close/>
                  <a:moveTo>
                    <a:pt x="353250" y="265041"/>
                  </a:moveTo>
                  <a:cubicBezTo>
                    <a:pt x="409163" y="265041"/>
                    <a:pt x="454229" y="310232"/>
                    <a:pt x="454229" y="365879"/>
                  </a:cubicBezTo>
                  <a:cubicBezTo>
                    <a:pt x="454229" y="421527"/>
                    <a:pt x="408976" y="466717"/>
                    <a:pt x="353250" y="466717"/>
                  </a:cubicBezTo>
                  <a:cubicBezTo>
                    <a:pt x="297525" y="466717"/>
                    <a:pt x="252271" y="421527"/>
                    <a:pt x="252271" y="365879"/>
                  </a:cubicBezTo>
                  <a:cubicBezTo>
                    <a:pt x="252271" y="310232"/>
                    <a:pt x="297431" y="265041"/>
                    <a:pt x="353250" y="265041"/>
                  </a:cubicBezTo>
                  <a:close/>
                  <a:moveTo>
                    <a:pt x="427779" y="133781"/>
                  </a:moveTo>
                  <a:cubicBezTo>
                    <a:pt x="432818" y="131960"/>
                    <a:pt x="438547" y="132054"/>
                    <a:pt x="443784" y="134482"/>
                  </a:cubicBezTo>
                  <a:lnTo>
                    <a:pt x="473245" y="148209"/>
                  </a:lnTo>
                  <a:cubicBezTo>
                    <a:pt x="483720" y="153158"/>
                    <a:pt x="488209" y="165671"/>
                    <a:pt x="483346" y="176130"/>
                  </a:cubicBezTo>
                  <a:lnTo>
                    <a:pt x="470252" y="203957"/>
                  </a:lnTo>
                  <a:cubicBezTo>
                    <a:pt x="492231" y="219646"/>
                    <a:pt x="511123" y="240003"/>
                    <a:pt x="525526" y="264095"/>
                  </a:cubicBezTo>
                  <a:lnTo>
                    <a:pt x="554426" y="253636"/>
                  </a:lnTo>
                  <a:cubicBezTo>
                    <a:pt x="565368" y="249714"/>
                    <a:pt x="577340" y="255411"/>
                    <a:pt x="581361" y="266243"/>
                  </a:cubicBezTo>
                  <a:lnTo>
                    <a:pt x="592491" y="296592"/>
                  </a:lnTo>
                  <a:cubicBezTo>
                    <a:pt x="596419" y="307612"/>
                    <a:pt x="590714" y="319564"/>
                    <a:pt x="579865" y="323486"/>
                  </a:cubicBezTo>
                  <a:lnTo>
                    <a:pt x="550965" y="333945"/>
                  </a:lnTo>
                  <a:cubicBezTo>
                    <a:pt x="555455" y="361586"/>
                    <a:pt x="553958" y="389414"/>
                    <a:pt x="547224" y="415561"/>
                  </a:cubicBezTo>
                  <a:lnTo>
                    <a:pt x="575095" y="428634"/>
                  </a:lnTo>
                  <a:cubicBezTo>
                    <a:pt x="585570" y="433490"/>
                    <a:pt x="590059" y="445910"/>
                    <a:pt x="585102" y="456649"/>
                  </a:cubicBezTo>
                  <a:lnTo>
                    <a:pt x="571354" y="485970"/>
                  </a:lnTo>
                  <a:cubicBezTo>
                    <a:pt x="566397" y="496429"/>
                    <a:pt x="553958" y="500911"/>
                    <a:pt x="543483" y="496056"/>
                  </a:cubicBezTo>
                  <a:lnTo>
                    <a:pt x="515238" y="482982"/>
                  </a:lnTo>
                  <a:cubicBezTo>
                    <a:pt x="499526" y="504833"/>
                    <a:pt x="479137" y="523510"/>
                    <a:pt x="455007" y="537704"/>
                  </a:cubicBezTo>
                  <a:lnTo>
                    <a:pt x="465763" y="567026"/>
                  </a:lnTo>
                  <a:cubicBezTo>
                    <a:pt x="469784" y="578045"/>
                    <a:pt x="463986" y="589997"/>
                    <a:pt x="453137" y="593919"/>
                  </a:cubicBezTo>
                  <a:lnTo>
                    <a:pt x="422741" y="605032"/>
                  </a:lnTo>
                  <a:cubicBezTo>
                    <a:pt x="411798" y="609047"/>
                    <a:pt x="399827" y="603258"/>
                    <a:pt x="395805" y="592425"/>
                  </a:cubicBezTo>
                  <a:lnTo>
                    <a:pt x="385050" y="562823"/>
                  </a:lnTo>
                  <a:cubicBezTo>
                    <a:pt x="357646" y="567212"/>
                    <a:pt x="330056" y="565718"/>
                    <a:pt x="304149" y="558995"/>
                  </a:cubicBezTo>
                  <a:lnTo>
                    <a:pt x="290682" y="587756"/>
                  </a:lnTo>
                  <a:cubicBezTo>
                    <a:pt x="285725" y="598215"/>
                    <a:pt x="273192" y="602697"/>
                    <a:pt x="262717" y="597841"/>
                  </a:cubicBezTo>
                  <a:lnTo>
                    <a:pt x="233350" y="584114"/>
                  </a:lnTo>
                  <a:cubicBezTo>
                    <a:pt x="222875" y="579165"/>
                    <a:pt x="218385" y="566652"/>
                    <a:pt x="223249" y="556193"/>
                  </a:cubicBezTo>
                  <a:lnTo>
                    <a:pt x="236810" y="527338"/>
                  </a:lnTo>
                  <a:cubicBezTo>
                    <a:pt x="215112" y="511650"/>
                    <a:pt x="196407" y="491480"/>
                    <a:pt x="182284" y="467668"/>
                  </a:cubicBezTo>
                  <a:lnTo>
                    <a:pt x="152169" y="478687"/>
                  </a:lnTo>
                  <a:cubicBezTo>
                    <a:pt x="141133" y="482609"/>
                    <a:pt x="129161" y="476912"/>
                    <a:pt x="125233" y="466080"/>
                  </a:cubicBezTo>
                  <a:lnTo>
                    <a:pt x="114104" y="435731"/>
                  </a:lnTo>
                  <a:cubicBezTo>
                    <a:pt x="110082" y="424712"/>
                    <a:pt x="115881" y="412759"/>
                    <a:pt x="126730" y="408837"/>
                  </a:cubicBezTo>
                  <a:lnTo>
                    <a:pt x="156845" y="397818"/>
                  </a:lnTo>
                  <a:cubicBezTo>
                    <a:pt x="153852" y="379422"/>
                    <a:pt x="153478" y="361026"/>
                    <a:pt x="155629" y="342910"/>
                  </a:cubicBezTo>
                  <a:lnTo>
                    <a:pt x="158622" y="343097"/>
                  </a:lnTo>
                  <a:cubicBezTo>
                    <a:pt x="181162" y="344030"/>
                    <a:pt x="200522" y="327408"/>
                    <a:pt x="203141" y="305370"/>
                  </a:cubicBezTo>
                  <a:cubicBezTo>
                    <a:pt x="207723" y="303876"/>
                    <a:pt x="212119" y="302195"/>
                    <a:pt x="216515" y="300515"/>
                  </a:cubicBezTo>
                  <a:cubicBezTo>
                    <a:pt x="220349" y="304063"/>
                    <a:pt x="224745" y="306958"/>
                    <a:pt x="229609" y="308919"/>
                  </a:cubicBezTo>
                  <a:cubicBezTo>
                    <a:pt x="219227" y="330957"/>
                    <a:pt x="214831" y="355983"/>
                    <a:pt x="217824" y="381943"/>
                  </a:cubicBezTo>
                  <a:cubicBezTo>
                    <a:pt x="226709" y="456462"/>
                    <a:pt x="294329" y="509876"/>
                    <a:pt x="368963" y="501192"/>
                  </a:cubicBezTo>
                  <a:cubicBezTo>
                    <a:pt x="443691" y="492320"/>
                    <a:pt x="497188" y="424899"/>
                    <a:pt x="488490" y="350287"/>
                  </a:cubicBezTo>
                  <a:cubicBezTo>
                    <a:pt x="479605" y="275675"/>
                    <a:pt x="411985" y="222260"/>
                    <a:pt x="337351" y="231038"/>
                  </a:cubicBezTo>
                  <a:cubicBezTo>
                    <a:pt x="324632" y="232532"/>
                    <a:pt x="312473" y="235707"/>
                    <a:pt x="301156" y="240376"/>
                  </a:cubicBezTo>
                  <a:cubicBezTo>
                    <a:pt x="299660" y="236268"/>
                    <a:pt x="297509" y="232345"/>
                    <a:pt x="294797" y="228890"/>
                  </a:cubicBezTo>
                  <a:cubicBezTo>
                    <a:pt x="297041" y="224688"/>
                    <a:pt x="299005" y="220393"/>
                    <a:pt x="300782" y="216097"/>
                  </a:cubicBezTo>
                  <a:cubicBezTo>
                    <a:pt x="311164" y="215817"/>
                    <a:pt x="320891" y="211802"/>
                    <a:pt x="328466" y="204891"/>
                  </a:cubicBezTo>
                  <a:cubicBezTo>
                    <a:pt x="336977" y="197141"/>
                    <a:pt x="341934" y="186589"/>
                    <a:pt x="342402" y="175103"/>
                  </a:cubicBezTo>
                  <a:lnTo>
                    <a:pt x="342776" y="166978"/>
                  </a:lnTo>
                  <a:cubicBezTo>
                    <a:pt x="363164" y="165764"/>
                    <a:pt x="383460" y="167912"/>
                    <a:pt x="402820" y="172768"/>
                  </a:cubicBezTo>
                  <a:lnTo>
                    <a:pt x="415913" y="144567"/>
                  </a:lnTo>
                  <a:cubicBezTo>
                    <a:pt x="418392" y="139338"/>
                    <a:pt x="422741" y="135602"/>
                    <a:pt x="427779" y="133781"/>
                  </a:cubicBezTo>
                  <a:close/>
                  <a:moveTo>
                    <a:pt x="159906" y="88589"/>
                  </a:moveTo>
                  <a:cubicBezTo>
                    <a:pt x="142487" y="87818"/>
                    <a:pt x="124764" y="93678"/>
                    <a:pt x="110828" y="106378"/>
                  </a:cubicBezTo>
                  <a:cubicBezTo>
                    <a:pt x="96145" y="119731"/>
                    <a:pt x="88663" y="138127"/>
                    <a:pt x="88663" y="156523"/>
                  </a:cubicBezTo>
                  <a:cubicBezTo>
                    <a:pt x="88663" y="172958"/>
                    <a:pt x="94555" y="189393"/>
                    <a:pt x="106526" y="202467"/>
                  </a:cubicBezTo>
                  <a:cubicBezTo>
                    <a:pt x="131965" y="230294"/>
                    <a:pt x="175081" y="232162"/>
                    <a:pt x="202764" y="206762"/>
                  </a:cubicBezTo>
                  <a:cubicBezTo>
                    <a:pt x="217448" y="193409"/>
                    <a:pt x="224930" y="175013"/>
                    <a:pt x="224930" y="156523"/>
                  </a:cubicBezTo>
                  <a:cubicBezTo>
                    <a:pt x="224930" y="140088"/>
                    <a:pt x="219132" y="123653"/>
                    <a:pt x="207160" y="110580"/>
                  </a:cubicBezTo>
                  <a:cubicBezTo>
                    <a:pt x="194441" y="96760"/>
                    <a:pt x="177325" y="89359"/>
                    <a:pt x="159906" y="88589"/>
                  </a:cubicBezTo>
                  <a:close/>
                  <a:moveTo>
                    <a:pt x="153289" y="17"/>
                  </a:moveTo>
                  <a:lnTo>
                    <a:pt x="173678" y="951"/>
                  </a:lnTo>
                  <a:cubicBezTo>
                    <a:pt x="180786" y="1325"/>
                    <a:pt x="186304" y="7114"/>
                    <a:pt x="186304" y="14118"/>
                  </a:cubicBezTo>
                  <a:lnTo>
                    <a:pt x="186304" y="14771"/>
                  </a:lnTo>
                  <a:lnTo>
                    <a:pt x="185462" y="34755"/>
                  </a:lnTo>
                  <a:cubicBezTo>
                    <a:pt x="201923" y="38677"/>
                    <a:pt x="217729" y="45774"/>
                    <a:pt x="231851" y="56232"/>
                  </a:cubicBezTo>
                  <a:lnTo>
                    <a:pt x="246535" y="42786"/>
                  </a:lnTo>
                  <a:cubicBezTo>
                    <a:pt x="251866" y="37930"/>
                    <a:pt x="260283" y="38303"/>
                    <a:pt x="265240" y="43626"/>
                  </a:cubicBezTo>
                  <a:lnTo>
                    <a:pt x="279082" y="58660"/>
                  </a:lnTo>
                  <a:cubicBezTo>
                    <a:pt x="281420" y="61275"/>
                    <a:pt x="282542" y="64450"/>
                    <a:pt x="282542" y="67625"/>
                  </a:cubicBezTo>
                  <a:cubicBezTo>
                    <a:pt x="282542" y="71173"/>
                    <a:pt x="281233" y="74722"/>
                    <a:pt x="278334" y="77337"/>
                  </a:cubicBezTo>
                  <a:lnTo>
                    <a:pt x="263744" y="90690"/>
                  </a:lnTo>
                  <a:cubicBezTo>
                    <a:pt x="273096" y="105537"/>
                    <a:pt x="278988" y="121973"/>
                    <a:pt x="281420" y="138781"/>
                  </a:cubicBezTo>
                  <a:lnTo>
                    <a:pt x="301061" y="139621"/>
                  </a:lnTo>
                  <a:cubicBezTo>
                    <a:pt x="308169" y="139995"/>
                    <a:pt x="313593" y="145878"/>
                    <a:pt x="313593" y="152788"/>
                  </a:cubicBezTo>
                  <a:lnTo>
                    <a:pt x="313593" y="153442"/>
                  </a:lnTo>
                  <a:lnTo>
                    <a:pt x="312751" y="173892"/>
                  </a:lnTo>
                  <a:cubicBezTo>
                    <a:pt x="312377" y="181083"/>
                    <a:pt x="306298" y="186779"/>
                    <a:pt x="298910" y="186405"/>
                  </a:cubicBezTo>
                  <a:lnTo>
                    <a:pt x="279456" y="185565"/>
                  </a:lnTo>
                  <a:cubicBezTo>
                    <a:pt x="275622" y="202093"/>
                    <a:pt x="268327" y="218061"/>
                    <a:pt x="257758" y="232162"/>
                  </a:cubicBezTo>
                  <a:lnTo>
                    <a:pt x="270852" y="246449"/>
                  </a:lnTo>
                  <a:cubicBezTo>
                    <a:pt x="273190" y="249064"/>
                    <a:pt x="274312" y="252145"/>
                    <a:pt x="274312" y="255414"/>
                  </a:cubicBezTo>
                  <a:cubicBezTo>
                    <a:pt x="274312" y="258869"/>
                    <a:pt x="273003" y="262511"/>
                    <a:pt x="270104" y="265126"/>
                  </a:cubicBezTo>
                  <a:lnTo>
                    <a:pt x="255046" y="278946"/>
                  </a:lnTo>
                  <a:cubicBezTo>
                    <a:pt x="249621" y="283802"/>
                    <a:pt x="241297" y="283428"/>
                    <a:pt x="236340" y="278106"/>
                  </a:cubicBezTo>
                  <a:lnTo>
                    <a:pt x="223247" y="263724"/>
                  </a:lnTo>
                  <a:cubicBezTo>
                    <a:pt x="208282" y="272970"/>
                    <a:pt x="191635" y="278853"/>
                    <a:pt x="174800" y="281187"/>
                  </a:cubicBezTo>
                  <a:lnTo>
                    <a:pt x="173958" y="300610"/>
                  </a:lnTo>
                  <a:cubicBezTo>
                    <a:pt x="173584" y="307801"/>
                    <a:pt x="167505" y="313590"/>
                    <a:pt x="160117" y="313217"/>
                  </a:cubicBezTo>
                  <a:lnTo>
                    <a:pt x="139634" y="312283"/>
                  </a:lnTo>
                  <a:cubicBezTo>
                    <a:pt x="132526" y="311909"/>
                    <a:pt x="127102" y="306120"/>
                    <a:pt x="127102" y="299116"/>
                  </a:cubicBezTo>
                  <a:lnTo>
                    <a:pt x="127102" y="298463"/>
                  </a:lnTo>
                  <a:lnTo>
                    <a:pt x="128037" y="279039"/>
                  </a:lnTo>
                  <a:cubicBezTo>
                    <a:pt x="111577" y="275211"/>
                    <a:pt x="95771" y="267834"/>
                    <a:pt x="81648" y="257281"/>
                  </a:cubicBezTo>
                  <a:lnTo>
                    <a:pt x="67058" y="270635"/>
                  </a:lnTo>
                  <a:cubicBezTo>
                    <a:pt x="61727" y="275491"/>
                    <a:pt x="53403" y="275117"/>
                    <a:pt x="48353" y="269701"/>
                  </a:cubicBezTo>
                  <a:lnTo>
                    <a:pt x="34511" y="254667"/>
                  </a:lnTo>
                  <a:cubicBezTo>
                    <a:pt x="32173" y="252052"/>
                    <a:pt x="31051" y="248970"/>
                    <a:pt x="31051" y="245702"/>
                  </a:cubicBezTo>
                  <a:cubicBezTo>
                    <a:pt x="31051" y="242247"/>
                    <a:pt x="32453" y="238605"/>
                    <a:pt x="35259" y="235990"/>
                  </a:cubicBezTo>
                  <a:lnTo>
                    <a:pt x="50036" y="222544"/>
                  </a:lnTo>
                  <a:cubicBezTo>
                    <a:pt x="40777" y="207696"/>
                    <a:pt x="35072" y="191261"/>
                    <a:pt x="32640" y="174639"/>
                  </a:cubicBezTo>
                  <a:lnTo>
                    <a:pt x="12626" y="173705"/>
                  </a:lnTo>
                  <a:cubicBezTo>
                    <a:pt x="5518" y="173332"/>
                    <a:pt x="0" y="167542"/>
                    <a:pt x="0" y="160539"/>
                  </a:cubicBezTo>
                  <a:lnTo>
                    <a:pt x="0" y="159885"/>
                  </a:lnTo>
                  <a:lnTo>
                    <a:pt x="842" y="139621"/>
                  </a:lnTo>
                  <a:cubicBezTo>
                    <a:pt x="1216" y="132431"/>
                    <a:pt x="7388" y="126642"/>
                    <a:pt x="14683" y="127015"/>
                  </a:cubicBezTo>
                  <a:lnTo>
                    <a:pt x="34885" y="127949"/>
                  </a:lnTo>
                  <a:cubicBezTo>
                    <a:pt x="38813" y="111514"/>
                    <a:pt x="46015" y="95826"/>
                    <a:pt x="56490" y="81819"/>
                  </a:cubicBezTo>
                  <a:lnTo>
                    <a:pt x="42741" y="66878"/>
                  </a:lnTo>
                  <a:cubicBezTo>
                    <a:pt x="40403" y="64263"/>
                    <a:pt x="39281" y="61182"/>
                    <a:pt x="39281" y="57913"/>
                  </a:cubicBezTo>
                  <a:cubicBezTo>
                    <a:pt x="39281" y="54458"/>
                    <a:pt x="40684" y="50816"/>
                    <a:pt x="43490" y="48202"/>
                  </a:cubicBezTo>
                  <a:lnTo>
                    <a:pt x="58641" y="34381"/>
                  </a:lnTo>
                  <a:cubicBezTo>
                    <a:pt x="63972" y="29526"/>
                    <a:pt x="72296" y="29899"/>
                    <a:pt x="77346" y="35315"/>
                  </a:cubicBezTo>
                  <a:lnTo>
                    <a:pt x="90627" y="50256"/>
                  </a:lnTo>
                  <a:cubicBezTo>
                    <a:pt x="105591" y="41011"/>
                    <a:pt x="121864" y="35128"/>
                    <a:pt x="138512" y="32794"/>
                  </a:cubicBezTo>
                  <a:lnTo>
                    <a:pt x="139447" y="12624"/>
                  </a:lnTo>
                  <a:cubicBezTo>
                    <a:pt x="139821" y="5433"/>
                    <a:pt x="145901" y="-356"/>
                    <a:pt x="153289" y="17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1" name="îṣḻïḓè">
              <a:extLst>
                <a:ext uri="{FF2B5EF4-FFF2-40B4-BE49-F238E27FC236}">
                  <a16:creationId xmlns:a16="http://schemas.microsoft.com/office/drawing/2014/main" id="{30C8A656-A69C-4844-9B4C-38593487F7D6}"/>
                </a:ext>
              </a:extLst>
            </p:cNvPr>
            <p:cNvSpPr/>
            <p:nvPr/>
          </p:nvSpPr>
          <p:spPr bwMode="auto">
            <a:xfrm>
              <a:off x="3563916" y="3658051"/>
              <a:ext cx="377806" cy="377072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81741" h="580612">
                  <a:moveTo>
                    <a:pt x="291612" y="187916"/>
                  </a:moveTo>
                  <a:cubicBezTo>
                    <a:pt x="304876" y="187916"/>
                    <a:pt x="315648" y="198758"/>
                    <a:pt x="315648" y="212088"/>
                  </a:cubicBezTo>
                  <a:lnTo>
                    <a:pt x="315648" y="491836"/>
                  </a:lnTo>
                  <a:lnTo>
                    <a:pt x="331227" y="473974"/>
                  </a:lnTo>
                  <a:cubicBezTo>
                    <a:pt x="339863" y="463932"/>
                    <a:pt x="355086" y="462866"/>
                    <a:pt x="365145" y="471574"/>
                  </a:cubicBezTo>
                  <a:cubicBezTo>
                    <a:pt x="375116" y="480372"/>
                    <a:pt x="376184" y="495657"/>
                    <a:pt x="367460" y="505699"/>
                  </a:cubicBezTo>
                  <a:lnTo>
                    <a:pt x="309773" y="572348"/>
                  </a:lnTo>
                  <a:cubicBezTo>
                    <a:pt x="305143" y="577502"/>
                    <a:pt x="298556" y="580612"/>
                    <a:pt x="291612" y="580612"/>
                  </a:cubicBezTo>
                  <a:cubicBezTo>
                    <a:pt x="284579" y="580612"/>
                    <a:pt x="278080" y="577680"/>
                    <a:pt x="273451" y="572348"/>
                  </a:cubicBezTo>
                  <a:lnTo>
                    <a:pt x="215764" y="505699"/>
                  </a:lnTo>
                  <a:cubicBezTo>
                    <a:pt x="207039" y="495657"/>
                    <a:pt x="208108" y="480372"/>
                    <a:pt x="218078" y="471574"/>
                  </a:cubicBezTo>
                  <a:cubicBezTo>
                    <a:pt x="228049" y="462866"/>
                    <a:pt x="243272" y="463932"/>
                    <a:pt x="252085" y="473974"/>
                  </a:cubicBezTo>
                  <a:lnTo>
                    <a:pt x="267486" y="491747"/>
                  </a:lnTo>
                  <a:lnTo>
                    <a:pt x="267486" y="212088"/>
                  </a:lnTo>
                  <a:cubicBezTo>
                    <a:pt x="267486" y="198758"/>
                    <a:pt x="278258" y="187916"/>
                    <a:pt x="291612" y="187916"/>
                  </a:cubicBezTo>
                  <a:close/>
                  <a:moveTo>
                    <a:pt x="329499" y="0"/>
                  </a:moveTo>
                  <a:cubicBezTo>
                    <a:pt x="426248" y="0"/>
                    <a:pt x="465322" y="80426"/>
                    <a:pt x="473332" y="108153"/>
                  </a:cubicBezTo>
                  <a:cubicBezTo>
                    <a:pt x="535280" y="120684"/>
                    <a:pt x="581474" y="175693"/>
                    <a:pt x="581741" y="241190"/>
                  </a:cubicBezTo>
                  <a:cubicBezTo>
                    <a:pt x="581741" y="315840"/>
                    <a:pt x="521306" y="376537"/>
                    <a:pt x="446987" y="376537"/>
                  </a:cubicBezTo>
                  <a:lnTo>
                    <a:pt x="372756" y="376537"/>
                  </a:lnTo>
                  <a:cubicBezTo>
                    <a:pt x="359316" y="376537"/>
                    <a:pt x="348546" y="365606"/>
                    <a:pt x="348546" y="352276"/>
                  </a:cubicBezTo>
                  <a:cubicBezTo>
                    <a:pt x="348546" y="338857"/>
                    <a:pt x="359316" y="327926"/>
                    <a:pt x="372756" y="327926"/>
                  </a:cubicBezTo>
                  <a:lnTo>
                    <a:pt x="446987" y="327926"/>
                  </a:lnTo>
                  <a:cubicBezTo>
                    <a:pt x="494605" y="327926"/>
                    <a:pt x="533322" y="289090"/>
                    <a:pt x="533322" y="241190"/>
                  </a:cubicBezTo>
                  <a:cubicBezTo>
                    <a:pt x="533322" y="195334"/>
                    <a:pt x="497720" y="157298"/>
                    <a:pt x="452238" y="154632"/>
                  </a:cubicBezTo>
                  <a:cubicBezTo>
                    <a:pt x="440934" y="153921"/>
                    <a:pt x="431589" y="145478"/>
                    <a:pt x="429809" y="134192"/>
                  </a:cubicBezTo>
                  <a:cubicBezTo>
                    <a:pt x="421709" y="84692"/>
                    <a:pt x="379609" y="48789"/>
                    <a:pt x="329677" y="48789"/>
                  </a:cubicBezTo>
                  <a:cubicBezTo>
                    <a:pt x="279567" y="48789"/>
                    <a:pt x="238001" y="84781"/>
                    <a:pt x="229457" y="134192"/>
                  </a:cubicBezTo>
                  <a:cubicBezTo>
                    <a:pt x="226520" y="151521"/>
                    <a:pt x="212190" y="162807"/>
                    <a:pt x="192964" y="151077"/>
                  </a:cubicBezTo>
                  <a:cubicBezTo>
                    <a:pt x="178011" y="141834"/>
                    <a:pt x="160922" y="136947"/>
                    <a:pt x="143299" y="136947"/>
                  </a:cubicBezTo>
                  <a:cubicBezTo>
                    <a:pt x="90964" y="136947"/>
                    <a:pt x="48419" y="179693"/>
                    <a:pt x="48419" y="232303"/>
                  </a:cubicBezTo>
                  <a:cubicBezTo>
                    <a:pt x="48419" y="284913"/>
                    <a:pt x="90964" y="327748"/>
                    <a:pt x="143299" y="327748"/>
                  </a:cubicBezTo>
                  <a:lnTo>
                    <a:pt x="218776" y="327748"/>
                  </a:lnTo>
                  <a:cubicBezTo>
                    <a:pt x="232216" y="327748"/>
                    <a:pt x="242986" y="338590"/>
                    <a:pt x="242986" y="352009"/>
                  </a:cubicBezTo>
                  <a:cubicBezTo>
                    <a:pt x="242986" y="365429"/>
                    <a:pt x="232216" y="376271"/>
                    <a:pt x="218776" y="376271"/>
                  </a:cubicBezTo>
                  <a:lnTo>
                    <a:pt x="143299" y="376271"/>
                  </a:lnTo>
                  <a:cubicBezTo>
                    <a:pt x="64262" y="376271"/>
                    <a:pt x="0" y="311574"/>
                    <a:pt x="0" y="232214"/>
                  </a:cubicBezTo>
                  <a:cubicBezTo>
                    <a:pt x="0" y="152854"/>
                    <a:pt x="64262" y="88158"/>
                    <a:pt x="143210" y="88158"/>
                  </a:cubicBezTo>
                  <a:cubicBezTo>
                    <a:pt x="159231" y="88158"/>
                    <a:pt x="174896" y="90735"/>
                    <a:pt x="189849" y="95978"/>
                  </a:cubicBezTo>
                  <a:cubicBezTo>
                    <a:pt x="198749" y="73050"/>
                    <a:pt x="238891" y="0"/>
                    <a:pt x="32949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2" name="iş1iḑe">
              <a:extLst>
                <a:ext uri="{FF2B5EF4-FFF2-40B4-BE49-F238E27FC236}">
                  <a16:creationId xmlns:a16="http://schemas.microsoft.com/office/drawing/2014/main" id="{79D5FAF9-096B-4C61-A299-6A26A276E128}"/>
                </a:ext>
              </a:extLst>
            </p:cNvPr>
            <p:cNvSpPr/>
            <p:nvPr/>
          </p:nvSpPr>
          <p:spPr bwMode="auto">
            <a:xfrm>
              <a:off x="3025037" y="4301073"/>
              <a:ext cx="377806" cy="377236"/>
            </a:xfrm>
            <a:custGeom>
              <a:avLst/>
              <a:gdLst>
                <a:gd name="connsiteX0" fmla="*/ 303820 w 607639"/>
                <a:gd name="connsiteY0" fmla="*/ 278099 h 606722"/>
                <a:gd name="connsiteX1" fmla="*/ 329118 w 607639"/>
                <a:gd name="connsiteY1" fmla="*/ 303362 h 606722"/>
                <a:gd name="connsiteX2" fmla="*/ 303820 w 607639"/>
                <a:gd name="connsiteY2" fmla="*/ 328625 h 606722"/>
                <a:gd name="connsiteX3" fmla="*/ 278522 w 607639"/>
                <a:gd name="connsiteY3" fmla="*/ 303362 h 606722"/>
                <a:gd name="connsiteX4" fmla="*/ 303820 w 607639"/>
                <a:gd name="connsiteY4" fmla="*/ 278099 h 606722"/>
                <a:gd name="connsiteX5" fmla="*/ 303775 w 607639"/>
                <a:gd name="connsiteY5" fmla="*/ 252735 h 606722"/>
                <a:gd name="connsiteX6" fmla="*/ 253140 w 607639"/>
                <a:gd name="connsiteY6" fmla="*/ 303317 h 606722"/>
                <a:gd name="connsiteX7" fmla="*/ 303775 w 607639"/>
                <a:gd name="connsiteY7" fmla="*/ 353900 h 606722"/>
                <a:gd name="connsiteX8" fmla="*/ 354410 w 607639"/>
                <a:gd name="connsiteY8" fmla="*/ 303317 h 606722"/>
                <a:gd name="connsiteX9" fmla="*/ 303775 w 607639"/>
                <a:gd name="connsiteY9" fmla="*/ 252735 h 606722"/>
                <a:gd name="connsiteX10" fmla="*/ 303775 w 607639"/>
                <a:gd name="connsiteY10" fmla="*/ 202241 h 606722"/>
                <a:gd name="connsiteX11" fmla="*/ 405045 w 607639"/>
                <a:gd name="connsiteY11" fmla="*/ 303317 h 606722"/>
                <a:gd name="connsiteX12" fmla="*/ 303775 w 607639"/>
                <a:gd name="connsiteY12" fmla="*/ 404482 h 606722"/>
                <a:gd name="connsiteX13" fmla="*/ 202593 w 607639"/>
                <a:gd name="connsiteY13" fmla="*/ 303317 h 606722"/>
                <a:gd name="connsiteX14" fmla="*/ 303775 w 607639"/>
                <a:gd name="connsiteY14" fmla="*/ 202241 h 606722"/>
                <a:gd name="connsiteX15" fmla="*/ 303775 w 607639"/>
                <a:gd name="connsiteY15" fmla="*/ 151703 h 606722"/>
                <a:gd name="connsiteX16" fmla="*/ 151932 w 607639"/>
                <a:gd name="connsiteY16" fmla="*/ 303317 h 606722"/>
                <a:gd name="connsiteX17" fmla="*/ 303775 w 607639"/>
                <a:gd name="connsiteY17" fmla="*/ 455019 h 606722"/>
                <a:gd name="connsiteX18" fmla="*/ 455707 w 607639"/>
                <a:gd name="connsiteY18" fmla="*/ 303317 h 606722"/>
                <a:gd name="connsiteX19" fmla="*/ 303775 w 607639"/>
                <a:gd name="connsiteY19" fmla="*/ 151703 h 606722"/>
                <a:gd name="connsiteX20" fmla="*/ 253131 w 607639"/>
                <a:gd name="connsiteY20" fmla="*/ 0 h 606722"/>
                <a:gd name="connsiteX21" fmla="*/ 354419 w 607639"/>
                <a:gd name="connsiteY21" fmla="*/ 0 h 606722"/>
                <a:gd name="connsiteX22" fmla="*/ 379786 w 607639"/>
                <a:gd name="connsiteY22" fmla="*/ 25239 h 606722"/>
                <a:gd name="connsiteX23" fmla="*/ 379786 w 607639"/>
                <a:gd name="connsiteY23" fmla="*/ 62387 h 606722"/>
                <a:gd name="connsiteX24" fmla="*/ 420639 w 607639"/>
                <a:gd name="connsiteY24" fmla="*/ 79451 h 606722"/>
                <a:gd name="connsiteX25" fmla="*/ 446985 w 607639"/>
                <a:gd name="connsiteY25" fmla="*/ 53145 h 606722"/>
                <a:gd name="connsiteX26" fmla="*/ 482854 w 607639"/>
                <a:gd name="connsiteY26" fmla="*/ 53145 h 606722"/>
                <a:gd name="connsiteX27" fmla="*/ 554414 w 607639"/>
                <a:gd name="connsiteY27" fmla="*/ 124597 h 606722"/>
                <a:gd name="connsiteX28" fmla="*/ 554414 w 607639"/>
                <a:gd name="connsiteY28" fmla="*/ 160323 h 606722"/>
                <a:gd name="connsiteX29" fmla="*/ 528069 w 607639"/>
                <a:gd name="connsiteY29" fmla="*/ 186629 h 606722"/>
                <a:gd name="connsiteX30" fmla="*/ 545158 w 607639"/>
                <a:gd name="connsiteY30" fmla="*/ 227510 h 606722"/>
                <a:gd name="connsiteX31" fmla="*/ 582273 w 607639"/>
                <a:gd name="connsiteY31" fmla="*/ 227510 h 606722"/>
                <a:gd name="connsiteX32" fmla="*/ 607639 w 607639"/>
                <a:gd name="connsiteY32" fmla="*/ 252749 h 606722"/>
                <a:gd name="connsiteX33" fmla="*/ 607639 w 607639"/>
                <a:gd name="connsiteY33" fmla="*/ 353884 h 606722"/>
                <a:gd name="connsiteX34" fmla="*/ 582273 w 607639"/>
                <a:gd name="connsiteY34" fmla="*/ 379212 h 606722"/>
                <a:gd name="connsiteX35" fmla="*/ 545158 w 607639"/>
                <a:gd name="connsiteY35" fmla="*/ 379212 h 606722"/>
                <a:gd name="connsiteX36" fmla="*/ 528069 w 607639"/>
                <a:gd name="connsiteY36" fmla="*/ 420004 h 606722"/>
                <a:gd name="connsiteX37" fmla="*/ 554414 w 607639"/>
                <a:gd name="connsiteY37" fmla="*/ 446310 h 606722"/>
                <a:gd name="connsiteX38" fmla="*/ 554414 w 607639"/>
                <a:gd name="connsiteY38" fmla="*/ 482125 h 606722"/>
                <a:gd name="connsiteX39" fmla="*/ 482854 w 607639"/>
                <a:gd name="connsiteY39" fmla="*/ 553577 h 606722"/>
                <a:gd name="connsiteX40" fmla="*/ 446985 w 607639"/>
                <a:gd name="connsiteY40" fmla="*/ 553577 h 606722"/>
                <a:gd name="connsiteX41" fmla="*/ 420639 w 607639"/>
                <a:gd name="connsiteY41" fmla="*/ 527271 h 606722"/>
                <a:gd name="connsiteX42" fmla="*/ 379786 w 607639"/>
                <a:gd name="connsiteY42" fmla="*/ 544246 h 606722"/>
                <a:gd name="connsiteX43" fmla="*/ 379786 w 607639"/>
                <a:gd name="connsiteY43" fmla="*/ 581394 h 606722"/>
                <a:gd name="connsiteX44" fmla="*/ 354419 w 607639"/>
                <a:gd name="connsiteY44" fmla="*/ 606722 h 606722"/>
                <a:gd name="connsiteX45" fmla="*/ 253131 w 607639"/>
                <a:gd name="connsiteY45" fmla="*/ 606722 h 606722"/>
                <a:gd name="connsiteX46" fmla="*/ 227854 w 607639"/>
                <a:gd name="connsiteY46" fmla="*/ 581394 h 606722"/>
                <a:gd name="connsiteX47" fmla="*/ 227854 w 607639"/>
                <a:gd name="connsiteY47" fmla="*/ 544246 h 606722"/>
                <a:gd name="connsiteX48" fmla="*/ 186911 w 607639"/>
                <a:gd name="connsiteY48" fmla="*/ 527271 h 606722"/>
                <a:gd name="connsiteX49" fmla="*/ 160566 w 607639"/>
                <a:gd name="connsiteY49" fmla="*/ 553577 h 606722"/>
                <a:gd name="connsiteX50" fmla="*/ 124786 w 607639"/>
                <a:gd name="connsiteY50" fmla="*/ 553577 h 606722"/>
                <a:gd name="connsiteX51" fmla="*/ 53225 w 607639"/>
                <a:gd name="connsiteY51" fmla="*/ 482125 h 606722"/>
                <a:gd name="connsiteX52" fmla="*/ 53225 w 607639"/>
                <a:gd name="connsiteY52" fmla="*/ 446310 h 606722"/>
                <a:gd name="connsiteX53" fmla="*/ 79482 w 607639"/>
                <a:gd name="connsiteY53" fmla="*/ 420004 h 606722"/>
                <a:gd name="connsiteX54" fmla="*/ 62482 w 607639"/>
                <a:gd name="connsiteY54" fmla="*/ 379212 h 606722"/>
                <a:gd name="connsiteX55" fmla="*/ 25278 w 607639"/>
                <a:gd name="connsiteY55" fmla="*/ 379212 h 606722"/>
                <a:gd name="connsiteX56" fmla="*/ 0 w 607639"/>
                <a:gd name="connsiteY56" fmla="*/ 353884 h 606722"/>
                <a:gd name="connsiteX57" fmla="*/ 0 w 607639"/>
                <a:gd name="connsiteY57" fmla="*/ 252749 h 606722"/>
                <a:gd name="connsiteX58" fmla="*/ 25278 w 607639"/>
                <a:gd name="connsiteY58" fmla="*/ 227510 h 606722"/>
                <a:gd name="connsiteX59" fmla="*/ 62482 w 607639"/>
                <a:gd name="connsiteY59" fmla="*/ 227510 h 606722"/>
                <a:gd name="connsiteX60" fmla="*/ 79482 w 607639"/>
                <a:gd name="connsiteY60" fmla="*/ 186629 h 606722"/>
                <a:gd name="connsiteX61" fmla="*/ 53225 w 607639"/>
                <a:gd name="connsiteY61" fmla="*/ 160323 h 606722"/>
                <a:gd name="connsiteX62" fmla="*/ 53225 w 607639"/>
                <a:gd name="connsiteY62" fmla="*/ 124597 h 606722"/>
                <a:gd name="connsiteX63" fmla="*/ 124786 w 607639"/>
                <a:gd name="connsiteY63" fmla="*/ 53145 h 606722"/>
                <a:gd name="connsiteX64" fmla="*/ 160566 w 607639"/>
                <a:gd name="connsiteY64" fmla="*/ 53145 h 606722"/>
                <a:gd name="connsiteX65" fmla="*/ 186911 w 607639"/>
                <a:gd name="connsiteY65" fmla="*/ 79451 h 606722"/>
                <a:gd name="connsiteX66" fmla="*/ 227854 w 607639"/>
                <a:gd name="connsiteY66" fmla="*/ 62387 h 606722"/>
                <a:gd name="connsiteX67" fmla="*/ 227854 w 607639"/>
                <a:gd name="connsiteY67" fmla="*/ 25239 h 606722"/>
                <a:gd name="connsiteX68" fmla="*/ 253131 w 607639"/>
                <a:gd name="connsiteY68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607639" h="606722">
                  <a:moveTo>
                    <a:pt x="303820" y="278099"/>
                  </a:moveTo>
                  <a:cubicBezTo>
                    <a:pt x="317792" y="278099"/>
                    <a:pt x="329118" y="289410"/>
                    <a:pt x="329118" y="303362"/>
                  </a:cubicBezTo>
                  <a:cubicBezTo>
                    <a:pt x="329118" y="317314"/>
                    <a:pt x="317792" y="328625"/>
                    <a:pt x="303820" y="328625"/>
                  </a:cubicBezTo>
                  <a:cubicBezTo>
                    <a:pt x="289848" y="328625"/>
                    <a:pt x="278522" y="317314"/>
                    <a:pt x="278522" y="303362"/>
                  </a:cubicBezTo>
                  <a:cubicBezTo>
                    <a:pt x="278522" y="289410"/>
                    <a:pt x="289848" y="278099"/>
                    <a:pt x="303820" y="278099"/>
                  </a:cubicBezTo>
                  <a:close/>
                  <a:moveTo>
                    <a:pt x="303775" y="252735"/>
                  </a:moveTo>
                  <a:cubicBezTo>
                    <a:pt x="275921" y="252735"/>
                    <a:pt x="253140" y="275492"/>
                    <a:pt x="253140" y="303317"/>
                  </a:cubicBezTo>
                  <a:cubicBezTo>
                    <a:pt x="253140" y="331231"/>
                    <a:pt x="275921" y="353900"/>
                    <a:pt x="303775" y="353900"/>
                  </a:cubicBezTo>
                  <a:cubicBezTo>
                    <a:pt x="331718" y="353900"/>
                    <a:pt x="354410" y="331231"/>
                    <a:pt x="354410" y="303317"/>
                  </a:cubicBezTo>
                  <a:cubicBezTo>
                    <a:pt x="354410" y="275492"/>
                    <a:pt x="331718" y="252735"/>
                    <a:pt x="303775" y="252735"/>
                  </a:cubicBezTo>
                  <a:close/>
                  <a:moveTo>
                    <a:pt x="303775" y="202241"/>
                  </a:moveTo>
                  <a:cubicBezTo>
                    <a:pt x="359660" y="202241"/>
                    <a:pt x="405045" y="247579"/>
                    <a:pt x="405045" y="303317"/>
                  </a:cubicBezTo>
                  <a:cubicBezTo>
                    <a:pt x="405045" y="359144"/>
                    <a:pt x="359660" y="404482"/>
                    <a:pt x="303775" y="404482"/>
                  </a:cubicBezTo>
                  <a:cubicBezTo>
                    <a:pt x="247978" y="404482"/>
                    <a:pt x="202593" y="359144"/>
                    <a:pt x="202593" y="303317"/>
                  </a:cubicBezTo>
                  <a:cubicBezTo>
                    <a:pt x="202593" y="247579"/>
                    <a:pt x="247978" y="202241"/>
                    <a:pt x="303775" y="202241"/>
                  </a:cubicBezTo>
                  <a:close/>
                  <a:moveTo>
                    <a:pt x="303775" y="151703"/>
                  </a:moveTo>
                  <a:cubicBezTo>
                    <a:pt x="220021" y="151703"/>
                    <a:pt x="151932" y="219689"/>
                    <a:pt x="151932" y="303317"/>
                  </a:cubicBezTo>
                  <a:cubicBezTo>
                    <a:pt x="151932" y="387033"/>
                    <a:pt x="220021" y="455019"/>
                    <a:pt x="303775" y="455019"/>
                  </a:cubicBezTo>
                  <a:cubicBezTo>
                    <a:pt x="387618" y="455019"/>
                    <a:pt x="455707" y="387033"/>
                    <a:pt x="455707" y="303317"/>
                  </a:cubicBezTo>
                  <a:cubicBezTo>
                    <a:pt x="455707" y="219689"/>
                    <a:pt x="387618" y="151703"/>
                    <a:pt x="303775" y="151703"/>
                  </a:cubicBezTo>
                  <a:close/>
                  <a:moveTo>
                    <a:pt x="253131" y="0"/>
                  </a:moveTo>
                  <a:lnTo>
                    <a:pt x="354419" y="0"/>
                  </a:lnTo>
                  <a:cubicBezTo>
                    <a:pt x="368482" y="0"/>
                    <a:pt x="379786" y="11287"/>
                    <a:pt x="379786" y="25239"/>
                  </a:cubicBezTo>
                  <a:lnTo>
                    <a:pt x="379786" y="62387"/>
                  </a:lnTo>
                  <a:cubicBezTo>
                    <a:pt x="393849" y="66831"/>
                    <a:pt x="407555" y="72519"/>
                    <a:pt x="420639" y="79451"/>
                  </a:cubicBezTo>
                  <a:lnTo>
                    <a:pt x="446985" y="53145"/>
                  </a:lnTo>
                  <a:cubicBezTo>
                    <a:pt x="456953" y="43191"/>
                    <a:pt x="472974" y="43191"/>
                    <a:pt x="482854" y="53145"/>
                  </a:cubicBezTo>
                  <a:lnTo>
                    <a:pt x="554414" y="124597"/>
                  </a:lnTo>
                  <a:cubicBezTo>
                    <a:pt x="564294" y="134462"/>
                    <a:pt x="564294" y="150459"/>
                    <a:pt x="554414" y="160323"/>
                  </a:cubicBezTo>
                  <a:lnTo>
                    <a:pt x="528069" y="186629"/>
                  </a:lnTo>
                  <a:cubicBezTo>
                    <a:pt x="535011" y="199782"/>
                    <a:pt x="540707" y="213468"/>
                    <a:pt x="545158" y="227510"/>
                  </a:cubicBezTo>
                  <a:lnTo>
                    <a:pt x="582273" y="227510"/>
                  </a:lnTo>
                  <a:cubicBezTo>
                    <a:pt x="596336" y="227510"/>
                    <a:pt x="607639" y="238796"/>
                    <a:pt x="607639" y="252749"/>
                  </a:cubicBezTo>
                  <a:lnTo>
                    <a:pt x="607639" y="353884"/>
                  </a:lnTo>
                  <a:cubicBezTo>
                    <a:pt x="607639" y="367926"/>
                    <a:pt x="596247" y="379212"/>
                    <a:pt x="582273" y="379212"/>
                  </a:cubicBezTo>
                  <a:lnTo>
                    <a:pt x="545158" y="379212"/>
                  </a:lnTo>
                  <a:cubicBezTo>
                    <a:pt x="540707" y="393254"/>
                    <a:pt x="535011" y="406940"/>
                    <a:pt x="528069" y="420004"/>
                  </a:cubicBezTo>
                  <a:lnTo>
                    <a:pt x="554414" y="446310"/>
                  </a:lnTo>
                  <a:cubicBezTo>
                    <a:pt x="564294" y="456263"/>
                    <a:pt x="564294" y="472260"/>
                    <a:pt x="554414" y="482125"/>
                  </a:cubicBezTo>
                  <a:lnTo>
                    <a:pt x="482854" y="553577"/>
                  </a:lnTo>
                  <a:cubicBezTo>
                    <a:pt x="472974" y="563442"/>
                    <a:pt x="456953" y="563442"/>
                    <a:pt x="446985" y="553577"/>
                  </a:cubicBezTo>
                  <a:lnTo>
                    <a:pt x="420639" y="527271"/>
                  </a:lnTo>
                  <a:cubicBezTo>
                    <a:pt x="407555" y="534203"/>
                    <a:pt x="393849" y="539802"/>
                    <a:pt x="379786" y="544246"/>
                  </a:cubicBezTo>
                  <a:lnTo>
                    <a:pt x="379786" y="581394"/>
                  </a:lnTo>
                  <a:cubicBezTo>
                    <a:pt x="379786" y="595435"/>
                    <a:pt x="368393" y="606722"/>
                    <a:pt x="354419" y="606722"/>
                  </a:cubicBezTo>
                  <a:lnTo>
                    <a:pt x="253131" y="606722"/>
                  </a:lnTo>
                  <a:cubicBezTo>
                    <a:pt x="239157" y="606722"/>
                    <a:pt x="227854" y="595435"/>
                    <a:pt x="227854" y="581394"/>
                  </a:cubicBezTo>
                  <a:lnTo>
                    <a:pt x="227854" y="544246"/>
                  </a:lnTo>
                  <a:cubicBezTo>
                    <a:pt x="213791" y="539802"/>
                    <a:pt x="200084" y="534203"/>
                    <a:pt x="186911" y="527271"/>
                  </a:cubicBezTo>
                  <a:lnTo>
                    <a:pt x="160566" y="553577"/>
                  </a:lnTo>
                  <a:cubicBezTo>
                    <a:pt x="150686" y="563442"/>
                    <a:pt x="134665" y="563442"/>
                    <a:pt x="124786" y="553577"/>
                  </a:cubicBezTo>
                  <a:lnTo>
                    <a:pt x="53225" y="482125"/>
                  </a:lnTo>
                  <a:cubicBezTo>
                    <a:pt x="43257" y="472260"/>
                    <a:pt x="43257" y="456263"/>
                    <a:pt x="53225" y="446310"/>
                  </a:cubicBezTo>
                  <a:lnTo>
                    <a:pt x="79482" y="420004"/>
                  </a:lnTo>
                  <a:cubicBezTo>
                    <a:pt x="72629" y="406940"/>
                    <a:pt x="66932" y="393254"/>
                    <a:pt x="62482" y="379212"/>
                  </a:cubicBezTo>
                  <a:lnTo>
                    <a:pt x="25278" y="379212"/>
                  </a:lnTo>
                  <a:cubicBezTo>
                    <a:pt x="11304" y="379212"/>
                    <a:pt x="0" y="367926"/>
                    <a:pt x="0" y="353884"/>
                  </a:cubicBezTo>
                  <a:lnTo>
                    <a:pt x="0" y="252749"/>
                  </a:lnTo>
                  <a:cubicBezTo>
                    <a:pt x="0" y="238796"/>
                    <a:pt x="11304" y="227510"/>
                    <a:pt x="25278" y="227510"/>
                  </a:cubicBezTo>
                  <a:lnTo>
                    <a:pt x="62482" y="227510"/>
                  </a:lnTo>
                  <a:cubicBezTo>
                    <a:pt x="66932" y="213468"/>
                    <a:pt x="72629" y="199782"/>
                    <a:pt x="79482" y="186629"/>
                  </a:cubicBezTo>
                  <a:lnTo>
                    <a:pt x="53225" y="160323"/>
                  </a:lnTo>
                  <a:cubicBezTo>
                    <a:pt x="43257" y="150459"/>
                    <a:pt x="43257" y="134462"/>
                    <a:pt x="53225" y="124597"/>
                  </a:cubicBezTo>
                  <a:lnTo>
                    <a:pt x="124786" y="53145"/>
                  </a:lnTo>
                  <a:cubicBezTo>
                    <a:pt x="134665" y="43191"/>
                    <a:pt x="150686" y="43191"/>
                    <a:pt x="160566" y="53145"/>
                  </a:cubicBezTo>
                  <a:lnTo>
                    <a:pt x="186911" y="79451"/>
                  </a:lnTo>
                  <a:cubicBezTo>
                    <a:pt x="200084" y="72519"/>
                    <a:pt x="213791" y="66831"/>
                    <a:pt x="227854" y="62387"/>
                  </a:cubicBezTo>
                  <a:lnTo>
                    <a:pt x="227854" y="25239"/>
                  </a:lnTo>
                  <a:cubicBezTo>
                    <a:pt x="227854" y="11287"/>
                    <a:pt x="239157" y="0"/>
                    <a:pt x="253131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3" name="ïṧľíďê">
              <a:extLst>
                <a:ext uri="{FF2B5EF4-FFF2-40B4-BE49-F238E27FC236}">
                  <a16:creationId xmlns:a16="http://schemas.microsoft.com/office/drawing/2014/main" id="{83AC56C8-BB22-4DB6-8372-AA84DFFA3A81}"/>
                </a:ext>
              </a:extLst>
            </p:cNvPr>
            <p:cNvSpPr/>
            <p:nvPr/>
          </p:nvSpPr>
          <p:spPr bwMode="auto">
            <a:xfrm>
              <a:off x="2498293" y="4944202"/>
              <a:ext cx="377806" cy="377188"/>
            </a:xfrm>
            <a:custGeom>
              <a:avLst/>
              <a:gdLst>
                <a:gd name="connsiteX0" fmla="*/ 380418 w 604181"/>
                <a:gd name="connsiteY0" fmla="*/ 268007 h 603193"/>
                <a:gd name="connsiteX1" fmla="*/ 519220 w 604181"/>
                <a:gd name="connsiteY1" fmla="*/ 339187 h 603193"/>
                <a:gd name="connsiteX2" fmla="*/ 519220 w 604181"/>
                <a:gd name="connsiteY2" fmla="*/ 355820 h 603193"/>
                <a:gd name="connsiteX3" fmla="*/ 380418 w 604181"/>
                <a:gd name="connsiteY3" fmla="*/ 426850 h 603193"/>
                <a:gd name="connsiteX4" fmla="*/ 380418 w 604181"/>
                <a:gd name="connsiteY4" fmla="*/ 406320 h 603193"/>
                <a:gd name="connsiteX5" fmla="*/ 498212 w 604181"/>
                <a:gd name="connsiteY5" fmla="*/ 347728 h 603193"/>
                <a:gd name="connsiteX6" fmla="*/ 498212 w 604181"/>
                <a:gd name="connsiteY6" fmla="*/ 347129 h 603193"/>
                <a:gd name="connsiteX7" fmla="*/ 380418 w 604181"/>
                <a:gd name="connsiteY7" fmla="*/ 288687 h 603193"/>
                <a:gd name="connsiteX8" fmla="*/ 216565 w 604181"/>
                <a:gd name="connsiteY8" fmla="*/ 268007 h 603193"/>
                <a:gd name="connsiteX9" fmla="*/ 216565 w 604181"/>
                <a:gd name="connsiteY9" fmla="*/ 288687 h 603193"/>
                <a:gd name="connsiteX10" fmla="*/ 99664 w 604181"/>
                <a:gd name="connsiteY10" fmla="*/ 347129 h 603193"/>
                <a:gd name="connsiteX11" fmla="*/ 99664 w 604181"/>
                <a:gd name="connsiteY11" fmla="*/ 347728 h 603193"/>
                <a:gd name="connsiteX12" fmla="*/ 216565 w 604181"/>
                <a:gd name="connsiteY12" fmla="*/ 406320 h 603193"/>
                <a:gd name="connsiteX13" fmla="*/ 216565 w 604181"/>
                <a:gd name="connsiteY13" fmla="*/ 426850 h 603193"/>
                <a:gd name="connsiteX14" fmla="*/ 77904 w 604181"/>
                <a:gd name="connsiteY14" fmla="*/ 355521 h 603193"/>
                <a:gd name="connsiteX15" fmla="*/ 77904 w 604181"/>
                <a:gd name="connsiteY15" fmla="*/ 339486 h 603193"/>
                <a:gd name="connsiteX16" fmla="*/ 338273 w 604181"/>
                <a:gd name="connsiteY16" fmla="*/ 222493 h 603193"/>
                <a:gd name="connsiteX17" fmla="*/ 358684 w 604181"/>
                <a:gd name="connsiteY17" fmla="*/ 222493 h 603193"/>
                <a:gd name="connsiteX18" fmla="*/ 253179 w 604181"/>
                <a:gd name="connsiteY18" fmla="*/ 482103 h 603193"/>
                <a:gd name="connsiteX19" fmla="*/ 233219 w 604181"/>
                <a:gd name="connsiteY19" fmla="*/ 482103 h 603193"/>
                <a:gd name="connsiteX20" fmla="*/ 28813 w 604181"/>
                <a:gd name="connsiteY20" fmla="*/ 128849 h 603193"/>
                <a:gd name="connsiteX21" fmla="*/ 28813 w 604181"/>
                <a:gd name="connsiteY21" fmla="*/ 557497 h 603193"/>
                <a:gd name="connsiteX22" fmla="*/ 45921 w 604181"/>
                <a:gd name="connsiteY22" fmla="*/ 574427 h 603193"/>
                <a:gd name="connsiteX23" fmla="*/ 558410 w 604181"/>
                <a:gd name="connsiteY23" fmla="*/ 574427 h 603193"/>
                <a:gd name="connsiteX24" fmla="*/ 575368 w 604181"/>
                <a:gd name="connsiteY24" fmla="*/ 557497 h 603193"/>
                <a:gd name="connsiteX25" fmla="*/ 575368 w 604181"/>
                <a:gd name="connsiteY25" fmla="*/ 128849 h 603193"/>
                <a:gd name="connsiteX26" fmla="*/ 502734 w 604181"/>
                <a:gd name="connsiteY26" fmla="*/ 43149 h 603193"/>
                <a:gd name="connsiteX27" fmla="*/ 502734 w 604181"/>
                <a:gd name="connsiteY27" fmla="*/ 77309 h 603193"/>
                <a:gd name="connsiteX28" fmla="*/ 537100 w 604181"/>
                <a:gd name="connsiteY28" fmla="*/ 77309 h 603193"/>
                <a:gd name="connsiteX29" fmla="*/ 537100 w 604181"/>
                <a:gd name="connsiteY29" fmla="*/ 43149 h 603193"/>
                <a:gd name="connsiteX30" fmla="*/ 423197 w 604181"/>
                <a:gd name="connsiteY30" fmla="*/ 43149 h 603193"/>
                <a:gd name="connsiteX31" fmla="*/ 423197 w 604181"/>
                <a:gd name="connsiteY31" fmla="*/ 77309 h 603193"/>
                <a:gd name="connsiteX32" fmla="*/ 457563 w 604181"/>
                <a:gd name="connsiteY32" fmla="*/ 77309 h 603193"/>
                <a:gd name="connsiteX33" fmla="*/ 457563 w 604181"/>
                <a:gd name="connsiteY33" fmla="*/ 43149 h 603193"/>
                <a:gd name="connsiteX34" fmla="*/ 45921 w 604181"/>
                <a:gd name="connsiteY34" fmla="*/ 0 h 603193"/>
                <a:gd name="connsiteX35" fmla="*/ 558410 w 604181"/>
                <a:gd name="connsiteY35" fmla="*/ 0 h 603193"/>
                <a:gd name="connsiteX36" fmla="*/ 604181 w 604181"/>
                <a:gd name="connsiteY36" fmla="*/ 45846 h 603193"/>
                <a:gd name="connsiteX37" fmla="*/ 604181 w 604181"/>
                <a:gd name="connsiteY37" fmla="*/ 557497 h 603193"/>
                <a:gd name="connsiteX38" fmla="*/ 558410 w 604181"/>
                <a:gd name="connsiteY38" fmla="*/ 603193 h 603193"/>
                <a:gd name="connsiteX39" fmla="*/ 45921 w 604181"/>
                <a:gd name="connsiteY39" fmla="*/ 603193 h 603193"/>
                <a:gd name="connsiteX40" fmla="*/ 0 w 604181"/>
                <a:gd name="connsiteY40" fmla="*/ 557497 h 603193"/>
                <a:gd name="connsiteX41" fmla="*/ 0 w 604181"/>
                <a:gd name="connsiteY41" fmla="*/ 45846 h 603193"/>
                <a:gd name="connsiteX42" fmla="*/ 45921 w 604181"/>
                <a:gd name="connsiteY42" fmla="*/ 0 h 603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04181" h="603193">
                  <a:moveTo>
                    <a:pt x="380418" y="268007"/>
                  </a:moveTo>
                  <a:lnTo>
                    <a:pt x="519220" y="339187"/>
                  </a:lnTo>
                  <a:lnTo>
                    <a:pt x="519220" y="355820"/>
                  </a:lnTo>
                  <a:lnTo>
                    <a:pt x="380418" y="426850"/>
                  </a:lnTo>
                  <a:lnTo>
                    <a:pt x="380418" y="406320"/>
                  </a:lnTo>
                  <a:lnTo>
                    <a:pt x="498212" y="347728"/>
                  </a:lnTo>
                  <a:lnTo>
                    <a:pt x="498212" y="347129"/>
                  </a:lnTo>
                  <a:lnTo>
                    <a:pt x="380418" y="288687"/>
                  </a:lnTo>
                  <a:close/>
                  <a:moveTo>
                    <a:pt x="216565" y="268007"/>
                  </a:moveTo>
                  <a:lnTo>
                    <a:pt x="216565" y="288687"/>
                  </a:lnTo>
                  <a:lnTo>
                    <a:pt x="99664" y="347129"/>
                  </a:lnTo>
                  <a:lnTo>
                    <a:pt x="99664" y="347728"/>
                  </a:lnTo>
                  <a:lnTo>
                    <a:pt x="216565" y="406320"/>
                  </a:lnTo>
                  <a:lnTo>
                    <a:pt x="216565" y="426850"/>
                  </a:lnTo>
                  <a:lnTo>
                    <a:pt x="77904" y="355521"/>
                  </a:lnTo>
                  <a:lnTo>
                    <a:pt x="77904" y="339486"/>
                  </a:lnTo>
                  <a:close/>
                  <a:moveTo>
                    <a:pt x="338273" y="222493"/>
                  </a:moveTo>
                  <a:lnTo>
                    <a:pt x="358684" y="222493"/>
                  </a:lnTo>
                  <a:lnTo>
                    <a:pt x="253179" y="482103"/>
                  </a:lnTo>
                  <a:lnTo>
                    <a:pt x="233219" y="482103"/>
                  </a:lnTo>
                  <a:close/>
                  <a:moveTo>
                    <a:pt x="28813" y="128849"/>
                  </a:moveTo>
                  <a:lnTo>
                    <a:pt x="28813" y="557497"/>
                  </a:lnTo>
                  <a:cubicBezTo>
                    <a:pt x="28813" y="566786"/>
                    <a:pt x="36467" y="574427"/>
                    <a:pt x="45921" y="574427"/>
                  </a:cubicBezTo>
                  <a:lnTo>
                    <a:pt x="558410" y="574427"/>
                  </a:lnTo>
                  <a:cubicBezTo>
                    <a:pt x="567714" y="574427"/>
                    <a:pt x="575368" y="566786"/>
                    <a:pt x="575368" y="557497"/>
                  </a:cubicBezTo>
                  <a:lnTo>
                    <a:pt x="575368" y="128849"/>
                  </a:lnTo>
                  <a:close/>
                  <a:moveTo>
                    <a:pt x="502734" y="43149"/>
                  </a:moveTo>
                  <a:lnTo>
                    <a:pt x="502734" y="77309"/>
                  </a:lnTo>
                  <a:lnTo>
                    <a:pt x="537100" y="77309"/>
                  </a:lnTo>
                  <a:lnTo>
                    <a:pt x="537100" y="43149"/>
                  </a:lnTo>
                  <a:close/>
                  <a:moveTo>
                    <a:pt x="423197" y="43149"/>
                  </a:moveTo>
                  <a:lnTo>
                    <a:pt x="423197" y="77309"/>
                  </a:lnTo>
                  <a:lnTo>
                    <a:pt x="457563" y="77309"/>
                  </a:lnTo>
                  <a:lnTo>
                    <a:pt x="457563" y="43149"/>
                  </a:lnTo>
                  <a:close/>
                  <a:moveTo>
                    <a:pt x="45921" y="0"/>
                  </a:moveTo>
                  <a:lnTo>
                    <a:pt x="558410" y="0"/>
                  </a:lnTo>
                  <a:cubicBezTo>
                    <a:pt x="583621" y="0"/>
                    <a:pt x="604181" y="20526"/>
                    <a:pt x="604181" y="45846"/>
                  </a:cubicBezTo>
                  <a:lnTo>
                    <a:pt x="604181" y="557497"/>
                  </a:lnTo>
                  <a:cubicBezTo>
                    <a:pt x="604181" y="582667"/>
                    <a:pt x="583621" y="603193"/>
                    <a:pt x="558410" y="603193"/>
                  </a:cubicBezTo>
                  <a:lnTo>
                    <a:pt x="45921" y="603193"/>
                  </a:lnTo>
                  <a:cubicBezTo>
                    <a:pt x="20560" y="603193"/>
                    <a:pt x="0" y="582667"/>
                    <a:pt x="0" y="557497"/>
                  </a:cubicBezTo>
                  <a:lnTo>
                    <a:pt x="0" y="45846"/>
                  </a:lnTo>
                  <a:cubicBezTo>
                    <a:pt x="0" y="20526"/>
                    <a:pt x="20560" y="0"/>
                    <a:pt x="45921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4" name="îṣḻîḍé">
              <a:extLst>
                <a:ext uri="{FF2B5EF4-FFF2-40B4-BE49-F238E27FC236}">
                  <a16:creationId xmlns:a16="http://schemas.microsoft.com/office/drawing/2014/main" id="{716A4AAF-66FE-4462-901E-658C29D84AD8}"/>
                </a:ext>
              </a:extLst>
            </p:cNvPr>
            <p:cNvSpPr/>
            <p:nvPr/>
          </p:nvSpPr>
          <p:spPr bwMode="auto">
            <a:xfrm>
              <a:off x="1959174" y="5587283"/>
              <a:ext cx="377806" cy="377235"/>
            </a:xfrm>
            <a:custGeom>
              <a:avLst/>
              <a:gdLst>
                <a:gd name="T0" fmla="*/ 6624 w 7154"/>
                <a:gd name="T1" fmla="*/ 2037 h 7154"/>
                <a:gd name="T2" fmla="*/ 6106 w 7154"/>
                <a:gd name="T3" fmla="*/ 1048 h 7154"/>
                <a:gd name="T4" fmla="*/ 5117 w 7154"/>
                <a:gd name="T5" fmla="*/ 530 h 7154"/>
                <a:gd name="T6" fmla="*/ 4643 w 7154"/>
                <a:gd name="T7" fmla="*/ 334 h 7154"/>
                <a:gd name="T8" fmla="*/ 3577 w 7154"/>
                <a:gd name="T9" fmla="*/ 0 h 7154"/>
                <a:gd name="T10" fmla="*/ 2511 w 7154"/>
                <a:gd name="T11" fmla="*/ 334 h 7154"/>
                <a:gd name="T12" fmla="*/ 2037 w 7154"/>
                <a:gd name="T13" fmla="*/ 530 h 7154"/>
                <a:gd name="T14" fmla="*/ 1048 w 7154"/>
                <a:gd name="T15" fmla="*/ 1048 h 7154"/>
                <a:gd name="T16" fmla="*/ 530 w 7154"/>
                <a:gd name="T17" fmla="*/ 2037 h 7154"/>
                <a:gd name="T18" fmla="*/ 334 w 7154"/>
                <a:gd name="T19" fmla="*/ 2511 h 7154"/>
                <a:gd name="T20" fmla="*/ 0 w 7154"/>
                <a:gd name="T21" fmla="*/ 3577 h 7154"/>
                <a:gd name="T22" fmla="*/ 334 w 7154"/>
                <a:gd name="T23" fmla="*/ 4643 h 7154"/>
                <a:gd name="T24" fmla="*/ 530 w 7154"/>
                <a:gd name="T25" fmla="*/ 5117 h 7154"/>
                <a:gd name="T26" fmla="*/ 1048 w 7154"/>
                <a:gd name="T27" fmla="*/ 6106 h 7154"/>
                <a:gd name="T28" fmla="*/ 2037 w 7154"/>
                <a:gd name="T29" fmla="*/ 6624 h 7154"/>
                <a:gd name="T30" fmla="*/ 2511 w 7154"/>
                <a:gd name="T31" fmla="*/ 6820 h 7154"/>
                <a:gd name="T32" fmla="*/ 3577 w 7154"/>
                <a:gd name="T33" fmla="*/ 7154 h 7154"/>
                <a:gd name="T34" fmla="*/ 4643 w 7154"/>
                <a:gd name="T35" fmla="*/ 6820 h 7154"/>
                <a:gd name="T36" fmla="*/ 5117 w 7154"/>
                <a:gd name="T37" fmla="*/ 6624 h 7154"/>
                <a:gd name="T38" fmla="*/ 6106 w 7154"/>
                <a:gd name="T39" fmla="*/ 6106 h 7154"/>
                <a:gd name="T40" fmla="*/ 6624 w 7154"/>
                <a:gd name="T41" fmla="*/ 5117 h 7154"/>
                <a:gd name="T42" fmla="*/ 6820 w 7154"/>
                <a:gd name="T43" fmla="*/ 4643 h 7154"/>
                <a:gd name="T44" fmla="*/ 7154 w 7154"/>
                <a:gd name="T45" fmla="*/ 3577 h 7154"/>
                <a:gd name="T46" fmla="*/ 6820 w 7154"/>
                <a:gd name="T47" fmla="*/ 2511 h 7154"/>
                <a:gd name="T48" fmla="*/ 6624 w 7154"/>
                <a:gd name="T49" fmla="*/ 2037 h 7154"/>
                <a:gd name="T50" fmla="*/ 5857 w 7154"/>
                <a:gd name="T51" fmla="*/ 2406 h 7154"/>
                <a:gd name="T52" fmla="*/ 3286 w 7154"/>
                <a:gd name="T53" fmla="*/ 4976 h 7154"/>
                <a:gd name="T54" fmla="*/ 2875 w 7154"/>
                <a:gd name="T55" fmla="*/ 5387 h 7154"/>
                <a:gd name="T56" fmla="*/ 2464 w 7154"/>
                <a:gd name="T57" fmla="*/ 5387 h 7154"/>
                <a:gd name="T58" fmla="*/ 2053 w 7154"/>
                <a:gd name="T59" fmla="*/ 4976 h 7154"/>
                <a:gd name="T60" fmla="*/ 1297 w 7154"/>
                <a:gd name="T61" fmla="*/ 4221 h 7154"/>
                <a:gd name="T62" fmla="*/ 1297 w 7154"/>
                <a:gd name="T63" fmla="*/ 3809 h 7154"/>
                <a:gd name="T64" fmla="*/ 1708 w 7154"/>
                <a:gd name="T65" fmla="*/ 3398 h 7154"/>
                <a:gd name="T66" fmla="*/ 2120 w 7154"/>
                <a:gd name="T67" fmla="*/ 3398 h 7154"/>
                <a:gd name="T68" fmla="*/ 2669 w 7154"/>
                <a:gd name="T69" fmla="*/ 3948 h 7154"/>
                <a:gd name="T70" fmla="*/ 5034 w 7154"/>
                <a:gd name="T71" fmla="*/ 1583 h 7154"/>
                <a:gd name="T72" fmla="*/ 5445 w 7154"/>
                <a:gd name="T73" fmla="*/ 1583 h 7154"/>
                <a:gd name="T74" fmla="*/ 5857 w 7154"/>
                <a:gd name="T75" fmla="*/ 1994 h 7154"/>
                <a:gd name="T76" fmla="*/ 5857 w 7154"/>
                <a:gd name="T77" fmla="*/ 2406 h 7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154" h="7154">
                  <a:moveTo>
                    <a:pt x="6624" y="2037"/>
                  </a:moveTo>
                  <a:cubicBezTo>
                    <a:pt x="6580" y="1703"/>
                    <a:pt x="6403" y="1345"/>
                    <a:pt x="6106" y="1048"/>
                  </a:cubicBezTo>
                  <a:cubicBezTo>
                    <a:pt x="5809" y="751"/>
                    <a:pt x="5451" y="574"/>
                    <a:pt x="5117" y="530"/>
                  </a:cubicBezTo>
                  <a:cubicBezTo>
                    <a:pt x="4966" y="510"/>
                    <a:pt x="4764" y="427"/>
                    <a:pt x="4643" y="334"/>
                  </a:cubicBezTo>
                  <a:cubicBezTo>
                    <a:pt x="4375" y="128"/>
                    <a:pt x="3997" y="0"/>
                    <a:pt x="3577" y="0"/>
                  </a:cubicBezTo>
                  <a:cubicBezTo>
                    <a:pt x="3157" y="0"/>
                    <a:pt x="2779" y="128"/>
                    <a:pt x="2511" y="334"/>
                  </a:cubicBezTo>
                  <a:cubicBezTo>
                    <a:pt x="2390" y="427"/>
                    <a:pt x="2188" y="510"/>
                    <a:pt x="2037" y="530"/>
                  </a:cubicBezTo>
                  <a:cubicBezTo>
                    <a:pt x="1702" y="574"/>
                    <a:pt x="1345" y="751"/>
                    <a:pt x="1048" y="1048"/>
                  </a:cubicBezTo>
                  <a:cubicBezTo>
                    <a:pt x="751" y="1345"/>
                    <a:pt x="574" y="1703"/>
                    <a:pt x="530" y="2037"/>
                  </a:cubicBezTo>
                  <a:cubicBezTo>
                    <a:pt x="510" y="2188"/>
                    <a:pt x="427" y="2390"/>
                    <a:pt x="334" y="2511"/>
                  </a:cubicBezTo>
                  <a:cubicBezTo>
                    <a:pt x="128" y="2779"/>
                    <a:pt x="0" y="3157"/>
                    <a:pt x="0" y="3577"/>
                  </a:cubicBezTo>
                  <a:cubicBezTo>
                    <a:pt x="0" y="3997"/>
                    <a:pt x="128" y="4375"/>
                    <a:pt x="334" y="4643"/>
                  </a:cubicBezTo>
                  <a:cubicBezTo>
                    <a:pt x="427" y="4764"/>
                    <a:pt x="510" y="4966"/>
                    <a:pt x="530" y="5117"/>
                  </a:cubicBezTo>
                  <a:cubicBezTo>
                    <a:pt x="574" y="5451"/>
                    <a:pt x="751" y="5809"/>
                    <a:pt x="1048" y="6106"/>
                  </a:cubicBezTo>
                  <a:cubicBezTo>
                    <a:pt x="1345" y="6403"/>
                    <a:pt x="1702" y="6580"/>
                    <a:pt x="2037" y="6624"/>
                  </a:cubicBezTo>
                  <a:cubicBezTo>
                    <a:pt x="2188" y="6644"/>
                    <a:pt x="2390" y="6727"/>
                    <a:pt x="2511" y="6820"/>
                  </a:cubicBezTo>
                  <a:cubicBezTo>
                    <a:pt x="2779" y="7025"/>
                    <a:pt x="3157" y="7154"/>
                    <a:pt x="3577" y="7154"/>
                  </a:cubicBezTo>
                  <a:cubicBezTo>
                    <a:pt x="3997" y="7154"/>
                    <a:pt x="4375" y="7025"/>
                    <a:pt x="4643" y="6820"/>
                  </a:cubicBezTo>
                  <a:cubicBezTo>
                    <a:pt x="4764" y="6727"/>
                    <a:pt x="4966" y="6644"/>
                    <a:pt x="5117" y="6624"/>
                  </a:cubicBezTo>
                  <a:cubicBezTo>
                    <a:pt x="5451" y="6580"/>
                    <a:pt x="5809" y="6403"/>
                    <a:pt x="6106" y="6106"/>
                  </a:cubicBezTo>
                  <a:cubicBezTo>
                    <a:pt x="6403" y="5809"/>
                    <a:pt x="6580" y="5451"/>
                    <a:pt x="6624" y="5117"/>
                  </a:cubicBezTo>
                  <a:cubicBezTo>
                    <a:pt x="6644" y="4966"/>
                    <a:pt x="6727" y="4764"/>
                    <a:pt x="6820" y="4643"/>
                  </a:cubicBezTo>
                  <a:cubicBezTo>
                    <a:pt x="7026" y="4375"/>
                    <a:pt x="7154" y="3997"/>
                    <a:pt x="7154" y="3577"/>
                  </a:cubicBezTo>
                  <a:cubicBezTo>
                    <a:pt x="7154" y="3157"/>
                    <a:pt x="7026" y="2779"/>
                    <a:pt x="6820" y="2511"/>
                  </a:cubicBezTo>
                  <a:cubicBezTo>
                    <a:pt x="6727" y="2390"/>
                    <a:pt x="6644" y="2188"/>
                    <a:pt x="6624" y="2037"/>
                  </a:cubicBezTo>
                  <a:close/>
                  <a:moveTo>
                    <a:pt x="5857" y="2406"/>
                  </a:moveTo>
                  <a:lnTo>
                    <a:pt x="3286" y="4976"/>
                  </a:lnTo>
                  <a:lnTo>
                    <a:pt x="2875" y="5387"/>
                  </a:lnTo>
                  <a:cubicBezTo>
                    <a:pt x="2762" y="5501"/>
                    <a:pt x="2577" y="5501"/>
                    <a:pt x="2464" y="5387"/>
                  </a:cubicBezTo>
                  <a:lnTo>
                    <a:pt x="2053" y="4976"/>
                  </a:lnTo>
                  <a:lnTo>
                    <a:pt x="1297" y="4221"/>
                  </a:lnTo>
                  <a:cubicBezTo>
                    <a:pt x="1183" y="4107"/>
                    <a:pt x="1183" y="3923"/>
                    <a:pt x="1297" y="3809"/>
                  </a:cubicBezTo>
                  <a:lnTo>
                    <a:pt x="1708" y="3398"/>
                  </a:lnTo>
                  <a:cubicBezTo>
                    <a:pt x="1822" y="3285"/>
                    <a:pt x="2006" y="3285"/>
                    <a:pt x="2120" y="3398"/>
                  </a:cubicBezTo>
                  <a:lnTo>
                    <a:pt x="2669" y="3948"/>
                  </a:lnTo>
                  <a:lnTo>
                    <a:pt x="5034" y="1583"/>
                  </a:lnTo>
                  <a:cubicBezTo>
                    <a:pt x="5148" y="1470"/>
                    <a:pt x="5332" y="1470"/>
                    <a:pt x="5445" y="1583"/>
                  </a:cubicBezTo>
                  <a:lnTo>
                    <a:pt x="5857" y="1994"/>
                  </a:lnTo>
                  <a:cubicBezTo>
                    <a:pt x="5970" y="2108"/>
                    <a:pt x="5970" y="2292"/>
                    <a:pt x="5857" y="2406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5" name="iṧḷiḑé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743264" y="4276135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按分布模式进行配置</a:t>
              </a:r>
              <a:endParaRPr lang="en-US" altLang="zh-CN" sz="1100" dirty="0"/>
            </a:p>
          </p:txBody>
        </p:sp>
        <p:sp>
          <p:nvSpPr>
            <p:cNvPr id="216" name="îṧḻiḑe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197100" y="4926511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>
                  <a:solidFill>
                    <a:schemeClr val="bg1"/>
                  </a:solidFill>
                </a:rPr>
                <a:t>运行第一个实例</a:t>
              </a: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17" name="îṣľïd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2651098" y="5576887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开心</a:t>
              </a:r>
              <a:r>
                <a:rPr lang="en-US" altLang="zh-CN" sz="1100" dirty="0" err="1"/>
                <a:t>ing</a:t>
              </a:r>
              <a:r>
                <a:rPr lang="en-US" altLang="zh-CN" sz="1100" dirty="0"/>
                <a:t>~</a:t>
              </a:r>
            </a:p>
          </p:txBody>
        </p:sp>
        <p:sp>
          <p:nvSpPr>
            <p:cNvPr id="218" name="íṧ1îd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289201" y="3625759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 解压</a:t>
              </a:r>
              <a:endParaRPr lang="en-US" altLang="zh-CN" sz="1100" dirty="0"/>
            </a:p>
          </p:txBody>
        </p:sp>
        <p:sp>
          <p:nvSpPr>
            <p:cNvPr id="219" name="îs1ïḋ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842020" y="2975382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配置环境变量 使之生效</a:t>
              </a:r>
              <a:endParaRPr lang="en-US" altLang="zh-CN" sz="1100" dirty="0"/>
            </a:p>
          </p:txBody>
        </p:sp>
        <p:sp>
          <p:nvSpPr>
            <p:cNvPr id="220" name="íšliḓ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5387990" y="2325006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</a:t>
              </a:r>
              <a:r>
                <a:rPr lang="en-US" altLang="zh-CN" sz="1100" dirty="0"/>
                <a:t> </a:t>
              </a:r>
              <a:r>
                <a:rPr lang="zh-CN" altLang="en-US" sz="1100" dirty="0"/>
                <a:t>解压</a:t>
              </a:r>
              <a:endParaRPr lang="en-US" altLang="zh-CN" sz="1100" dirty="0"/>
            </a:p>
          </p:txBody>
        </p:sp>
      </p:grpSp>
      <p:sp>
        <p:nvSpPr>
          <p:cNvPr id="7" name="Rectangle 2">
            <a:extLst>
              <a:ext uri="{FF2B5EF4-FFF2-40B4-BE49-F238E27FC236}">
                <a16:creationId xmlns:a16="http://schemas.microsoft.com/office/drawing/2014/main" id="{3AE81623-7CD6-49D9-AB93-2743959343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7C9400A1-127B-443B-9890-1A43D9C469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5E96695E-50F1-42F2-BC25-869F2B0EF49D}"/>
              </a:ext>
            </a:extLst>
          </p:cNvPr>
          <p:cNvSpPr txBox="1"/>
          <p:nvPr/>
        </p:nvSpPr>
        <p:spPr>
          <a:xfrm>
            <a:off x="503436" y="1130300"/>
            <a:ext cx="8137127" cy="1077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" dirty="0"/>
              <a:t>使用 </a:t>
            </a:r>
            <a:r>
              <a:rPr lang="en-US" altLang="zh-CN" sz="100" dirty="0"/>
              <a:t>rm –r output </a:t>
            </a:r>
            <a:r>
              <a:rPr lang="zh-CN" altLang="en-US" sz="100" dirty="0"/>
              <a:t>删除</a:t>
            </a:r>
            <a:r>
              <a:rPr lang="en-US" altLang="zh-CN" sz="100" dirty="0"/>
              <a:t>output</a:t>
            </a:r>
            <a:r>
              <a:rPr lang="zh-CN" altLang="en-US" sz="100" dirty="0"/>
              <a:t>文件夹再执行其他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BB82027F-4FB8-4B48-940C-0BF5A4EAFF07}"/>
              </a:ext>
            </a:extLst>
          </p:cNvPr>
          <p:cNvSpPr txBox="1"/>
          <p:nvPr/>
        </p:nvSpPr>
        <p:spPr>
          <a:xfrm>
            <a:off x="503437" y="1095202"/>
            <a:ext cx="81371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 err="1"/>
              <a:t>hadoop</a:t>
            </a:r>
            <a:r>
              <a:rPr lang="en-US" altLang="zh-CN" sz="1200" b="1" dirty="0"/>
              <a:t> jar share/</a:t>
            </a:r>
            <a:r>
              <a:rPr lang="en-US" altLang="zh-CN" sz="1200" b="1" dirty="0" err="1"/>
              <a:t>hadoop</a:t>
            </a:r>
            <a:r>
              <a:rPr lang="en-US" altLang="zh-CN" sz="1200" b="1" dirty="0"/>
              <a:t>/</a:t>
            </a:r>
            <a:r>
              <a:rPr lang="en-US" altLang="zh-CN" sz="1200" b="1" dirty="0" err="1"/>
              <a:t>mapreduce</a:t>
            </a:r>
            <a:r>
              <a:rPr lang="en-US" altLang="zh-CN" sz="1200" b="1" dirty="0"/>
              <a:t>/hadoop-mapreduce-examples-3.1.2.jar grep input output '[</a:t>
            </a:r>
            <a:r>
              <a:rPr lang="en-US" altLang="zh-CN" sz="1200" b="1" dirty="0" err="1"/>
              <a:t>hH</a:t>
            </a:r>
            <a:r>
              <a:rPr lang="en-US" altLang="zh-CN" sz="1200" b="1" dirty="0"/>
              <a:t>][a-z.]+'</a:t>
            </a:r>
            <a:endParaRPr lang="zh-CN" altLang="en-US" sz="1200" b="1" dirty="0"/>
          </a:p>
        </p:txBody>
      </p:sp>
      <p:pic>
        <p:nvPicPr>
          <p:cNvPr id="19457" name="Picture 1" descr="L:\Water\Documents\Tencent Files\1106367305\Image\C2C\9FA7S({PD5ZSW5%KC_S4$4F.jpg">
            <a:extLst>
              <a:ext uri="{FF2B5EF4-FFF2-40B4-BE49-F238E27FC236}">
                <a16:creationId xmlns:a16="http://schemas.microsoft.com/office/drawing/2014/main" id="{4CF91837-EEA7-4955-A20B-3805A57D18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1" t="515"/>
          <a:stretch>
            <a:fillRect/>
          </a:stretch>
        </p:blipFill>
        <p:spPr bwMode="auto">
          <a:xfrm>
            <a:off x="1082629" y="1372201"/>
            <a:ext cx="6978742" cy="4519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06003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看看其他实例？</a:t>
            </a:r>
            <a:r>
              <a:rPr lang="en-US" altLang="zh-CN" dirty="0"/>
              <a:t>grep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1</a:t>
            </a:fld>
            <a:endParaRPr lang="zh-CN" altLang="en-US"/>
          </a:p>
        </p:txBody>
      </p:sp>
      <p:grpSp>
        <p:nvGrpSpPr>
          <p:cNvPr id="194" name="180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4D56F3B-0686-4E9E-A675-DA7BF2C9F6C2}"/>
              </a:ext>
            </a:extLst>
          </p:cNvPr>
          <p:cNvGrpSpPr>
            <a:grpSpLocks noChangeAspect="1"/>
          </p:cNvGrpSpPr>
          <p:nvPr/>
        </p:nvGrpSpPr>
        <p:grpSpPr>
          <a:xfrm>
            <a:off x="1875381" y="-2460624"/>
            <a:ext cx="5393238" cy="2212975"/>
            <a:chOff x="938530" y="1805421"/>
            <a:chExt cx="10580370" cy="4341379"/>
          </a:xfrm>
        </p:grpSpPr>
        <p:sp>
          <p:nvSpPr>
            <p:cNvPr id="195" name="iṧḻîďè">
              <a:extLst>
                <a:ext uri="{FF2B5EF4-FFF2-40B4-BE49-F238E27FC236}">
                  <a16:creationId xmlns:a16="http://schemas.microsoft.com/office/drawing/2014/main" id="{6FC8272D-4563-47EB-B741-E738A21C2623}"/>
                </a:ext>
              </a:extLst>
            </p:cNvPr>
            <p:cNvSpPr/>
            <p:nvPr/>
          </p:nvSpPr>
          <p:spPr bwMode="auto">
            <a:xfrm>
              <a:off x="5637082" y="5226400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搞定！</a:t>
              </a:r>
              <a:endParaRPr lang="en-US" altLang="zh-CN" b="1" dirty="0"/>
            </a:p>
          </p:txBody>
        </p:sp>
        <p:sp>
          <p:nvSpPr>
            <p:cNvPr id="196" name="îŝḻiḋé">
              <a:extLst>
                <a:ext uri="{FF2B5EF4-FFF2-40B4-BE49-F238E27FC236}">
                  <a16:creationId xmlns:a16="http://schemas.microsoft.com/office/drawing/2014/main" id="{C05C75D7-4258-49B9-958F-F2EEF0B840E0}"/>
                </a:ext>
              </a:extLst>
            </p:cNvPr>
            <p:cNvSpPr/>
            <p:nvPr/>
          </p:nvSpPr>
          <p:spPr bwMode="auto">
            <a:xfrm>
              <a:off x="6176201" y="4576024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>
                  <a:solidFill>
                    <a:schemeClr val="bg1"/>
                  </a:solidFill>
                </a:rPr>
                <a:t>测试</a:t>
              </a:r>
              <a:endParaRPr lang="en-US" altLang="zh-CN" sz="1750" b="1" dirty="0">
                <a:solidFill>
                  <a:schemeClr val="bg1"/>
                </a:solidFill>
              </a:endParaRPr>
            </a:p>
          </p:txBody>
        </p:sp>
        <p:sp>
          <p:nvSpPr>
            <p:cNvPr id="197" name="íṥḷíďê">
              <a:extLst>
                <a:ext uri="{FF2B5EF4-FFF2-40B4-BE49-F238E27FC236}">
                  <a16:creationId xmlns:a16="http://schemas.microsoft.com/office/drawing/2014/main" id="{D4FCC7AE-5767-4EC4-BB68-B94457D3AE6D}"/>
                </a:ext>
              </a:extLst>
            </p:cNvPr>
            <p:cNvSpPr/>
            <p:nvPr/>
          </p:nvSpPr>
          <p:spPr bwMode="auto">
            <a:xfrm>
              <a:off x="6703850" y="3925648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/>
                <a:t>配置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8" name="ïś1ïḓè">
              <a:extLst>
                <a:ext uri="{FF2B5EF4-FFF2-40B4-BE49-F238E27FC236}">
                  <a16:creationId xmlns:a16="http://schemas.microsoft.com/office/drawing/2014/main" id="{F32E844B-E27C-4A92-9B60-95E4AD88D81F}"/>
                </a:ext>
              </a:extLst>
            </p:cNvPr>
            <p:cNvSpPr/>
            <p:nvPr/>
          </p:nvSpPr>
          <p:spPr bwMode="auto">
            <a:xfrm>
              <a:off x="7241823" y="3275272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 dirty="0"/>
                <a:t>安装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9" name="îśļïḍè">
              <a:extLst>
                <a:ext uri="{FF2B5EF4-FFF2-40B4-BE49-F238E27FC236}">
                  <a16:creationId xmlns:a16="http://schemas.microsoft.com/office/drawing/2014/main" id="{F812BB55-77DE-4E23-95E6-156A22FAD363}"/>
                </a:ext>
              </a:extLst>
            </p:cNvPr>
            <p:cNvSpPr/>
            <p:nvPr/>
          </p:nvSpPr>
          <p:spPr bwMode="auto">
            <a:xfrm>
              <a:off x="7743555" y="2624895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配置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0" name="ï$1íḍé">
              <a:extLst>
                <a:ext uri="{FF2B5EF4-FFF2-40B4-BE49-F238E27FC236}">
                  <a16:creationId xmlns:a16="http://schemas.microsoft.com/office/drawing/2014/main" id="{48245F16-84E7-4201-9485-85B5E5B15ECD}"/>
                </a:ext>
              </a:extLst>
            </p:cNvPr>
            <p:cNvSpPr/>
            <p:nvPr/>
          </p:nvSpPr>
          <p:spPr bwMode="auto">
            <a:xfrm>
              <a:off x="8263856" y="1974519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安装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1" name="îṥľïďê">
              <a:extLst>
                <a:ext uri="{FF2B5EF4-FFF2-40B4-BE49-F238E27FC236}">
                  <a16:creationId xmlns:a16="http://schemas.microsoft.com/office/drawing/2014/main" id="{920DFBAA-02E5-4206-86B0-FE10F93A7509}"/>
                </a:ext>
              </a:extLst>
            </p:cNvPr>
            <p:cNvSpPr/>
            <p:nvPr/>
          </p:nvSpPr>
          <p:spPr bwMode="auto">
            <a:xfrm>
              <a:off x="5220497" y="3438015"/>
              <a:ext cx="3741918" cy="1239562"/>
            </a:xfrm>
            <a:custGeom>
              <a:avLst/>
              <a:gdLst>
                <a:gd name="T0" fmla="*/ 179 w 203"/>
                <a:gd name="T1" fmla="*/ 82 h 82"/>
                <a:gd name="T2" fmla="*/ 203 w 203"/>
                <a:gd name="T3" fmla="*/ 29 h 82"/>
                <a:gd name="T4" fmla="*/ 65 w 203"/>
                <a:gd name="T5" fmla="*/ 27 h 82"/>
                <a:gd name="T6" fmla="*/ 59 w 203"/>
                <a:gd name="T7" fmla="*/ 0 h 82"/>
                <a:gd name="T8" fmla="*/ 59 w 203"/>
                <a:gd name="T9" fmla="*/ 0 h 82"/>
                <a:gd name="T10" fmla="*/ 0 w 203"/>
                <a:gd name="T11" fmla="*/ 80 h 82"/>
                <a:gd name="T12" fmla="*/ 61 w 203"/>
                <a:gd name="T13" fmla="*/ 82 h 82"/>
                <a:gd name="T14" fmla="*/ 179 w 203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82">
                  <a:moveTo>
                    <a:pt x="179" y="82"/>
                  </a:moveTo>
                  <a:lnTo>
                    <a:pt x="203" y="29"/>
                  </a:lnTo>
                  <a:lnTo>
                    <a:pt x="65" y="27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0" y="80"/>
                  </a:lnTo>
                  <a:lnTo>
                    <a:pt x="61" y="82"/>
                  </a:lnTo>
                  <a:lnTo>
                    <a:pt x="179" y="8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2" name="i$ḻíḋè">
              <a:extLst>
                <a:ext uri="{FF2B5EF4-FFF2-40B4-BE49-F238E27FC236}">
                  <a16:creationId xmlns:a16="http://schemas.microsoft.com/office/drawing/2014/main" id="{430BE7EB-B6F0-4F05-80EA-1F517165029F}"/>
                </a:ext>
              </a:extLst>
            </p:cNvPr>
            <p:cNvSpPr/>
            <p:nvPr/>
          </p:nvSpPr>
          <p:spPr bwMode="auto">
            <a:xfrm>
              <a:off x="8032938" y="1974519"/>
              <a:ext cx="1398307" cy="247664"/>
            </a:xfrm>
            <a:prstGeom prst="triangle">
              <a:avLst>
                <a:gd name="adj" fmla="val 14726"/>
              </a:avLst>
            </a:pr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3" name="işľiḋe">
              <a:extLst>
                <a:ext uri="{FF2B5EF4-FFF2-40B4-BE49-F238E27FC236}">
                  <a16:creationId xmlns:a16="http://schemas.microsoft.com/office/drawing/2014/main" id="{E4DECB97-43D1-4D26-8C48-41447675AE79}"/>
                </a:ext>
              </a:extLst>
            </p:cNvPr>
            <p:cNvSpPr/>
            <p:nvPr/>
          </p:nvSpPr>
          <p:spPr bwMode="auto">
            <a:xfrm>
              <a:off x="3675422" y="1805421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4" name="iś1íďé">
              <a:extLst>
                <a:ext uri="{FF2B5EF4-FFF2-40B4-BE49-F238E27FC236}">
                  <a16:creationId xmlns:a16="http://schemas.microsoft.com/office/drawing/2014/main" id="{6E7EA96A-F20A-4912-AC31-63A0F19E66DE}"/>
                </a:ext>
              </a:extLst>
            </p:cNvPr>
            <p:cNvSpPr/>
            <p:nvPr/>
          </p:nvSpPr>
          <p:spPr bwMode="auto">
            <a:xfrm>
              <a:off x="3129452" y="2455797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5" name="ïŝlíḋe">
              <a:extLst>
                <a:ext uri="{FF2B5EF4-FFF2-40B4-BE49-F238E27FC236}">
                  <a16:creationId xmlns:a16="http://schemas.microsoft.com/office/drawing/2014/main" id="{66D30D6F-26C9-4C2C-BC01-900AC07DC57E}"/>
                </a:ext>
              </a:extLst>
            </p:cNvPr>
            <p:cNvSpPr/>
            <p:nvPr/>
          </p:nvSpPr>
          <p:spPr bwMode="auto">
            <a:xfrm>
              <a:off x="2576633" y="3106174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6" name="îSliďè">
              <a:extLst>
                <a:ext uri="{FF2B5EF4-FFF2-40B4-BE49-F238E27FC236}">
                  <a16:creationId xmlns:a16="http://schemas.microsoft.com/office/drawing/2014/main" id="{2F6D5554-EACD-4DDD-892F-2E5F97A9C421}"/>
                </a:ext>
              </a:extLst>
            </p:cNvPr>
            <p:cNvSpPr/>
            <p:nvPr/>
          </p:nvSpPr>
          <p:spPr bwMode="auto">
            <a:xfrm>
              <a:off x="2030696" y="3756550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7" name="îSliďé">
              <a:extLst>
                <a:ext uri="{FF2B5EF4-FFF2-40B4-BE49-F238E27FC236}">
                  <a16:creationId xmlns:a16="http://schemas.microsoft.com/office/drawing/2014/main" id="{2E278F3F-C8D8-4E2A-A3EA-29ADCF1A02AA}"/>
                </a:ext>
              </a:extLst>
            </p:cNvPr>
            <p:cNvSpPr/>
            <p:nvPr/>
          </p:nvSpPr>
          <p:spPr bwMode="auto">
            <a:xfrm>
              <a:off x="1484532" y="4406926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8" name="îs1iďé">
              <a:extLst>
                <a:ext uri="{FF2B5EF4-FFF2-40B4-BE49-F238E27FC236}">
                  <a16:creationId xmlns:a16="http://schemas.microsoft.com/office/drawing/2014/main" id="{EB74D0C2-5677-4F3F-A043-44D01A3F3D48}"/>
                </a:ext>
              </a:extLst>
            </p:cNvPr>
            <p:cNvSpPr/>
            <p:nvPr/>
          </p:nvSpPr>
          <p:spPr bwMode="auto">
            <a:xfrm>
              <a:off x="938530" y="5057302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9" name="ïṣḻïḋe">
              <a:extLst>
                <a:ext uri="{FF2B5EF4-FFF2-40B4-BE49-F238E27FC236}">
                  <a16:creationId xmlns:a16="http://schemas.microsoft.com/office/drawing/2014/main" id="{7709F84E-C33F-462F-B538-51CB71C9284E}"/>
                </a:ext>
              </a:extLst>
            </p:cNvPr>
            <p:cNvSpPr/>
            <p:nvPr/>
          </p:nvSpPr>
          <p:spPr bwMode="auto">
            <a:xfrm>
              <a:off x="4585947" y="2371737"/>
              <a:ext cx="377807" cy="377281"/>
            </a:xfrm>
            <a:custGeom>
              <a:avLst/>
              <a:gdLst>
                <a:gd name="T0" fmla="*/ 400 w 11264"/>
                <a:gd name="T1" fmla="*/ 7099 h 11264"/>
                <a:gd name="T2" fmla="*/ 4165 w 11264"/>
                <a:gd name="T3" fmla="*/ 7099 h 11264"/>
                <a:gd name="T4" fmla="*/ 4165 w 11264"/>
                <a:gd name="T5" fmla="*/ 10864 h 11264"/>
                <a:gd name="T6" fmla="*/ 4565 w 11264"/>
                <a:gd name="T7" fmla="*/ 11264 h 11264"/>
                <a:gd name="T8" fmla="*/ 6699 w 11264"/>
                <a:gd name="T9" fmla="*/ 11264 h 11264"/>
                <a:gd name="T10" fmla="*/ 7099 w 11264"/>
                <a:gd name="T11" fmla="*/ 10864 h 11264"/>
                <a:gd name="T12" fmla="*/ 7099 w 11264"/>
                <a:gd name="T13" fmla="*/ 7099 h 11264"/>
                <a:gd name="T14" fmla="*/ 10864 w 11264"/>
                <a:gd name="T15" fmla="*/ 7099 h 11264"/>
                <a:gd name="T16" fmla="*/ 11264 w 11264"/>
                <a:gd name="T17" fmla="*/ 6699 h 11264"/>
                <a:gd name="T18" fmla="*/ 11264 w 11264"/>
                <a:gd name="T19" fmla="*/ 4565 h 11264"/>
                <a:gd name="T20" fmla="*/ 10864 w 11264"/>
                <a:gd name="T21" fmla="*/ 4165 h 11264"/>
                <a:gd name="T22" fmla="*/ 7099 w 11264"/>
                <a:gd name="T23" fmla="*/ 4165 h 11264"/>
                <a:gd name="T24" fmla="*/ 7099 w 11264"/>
                <a:gd name="T25" fmla="*/ 400 h 11264"/>
                <a:gd name="T26" fmla="*/ 6699 w 11264"/>
                <a:gd name="T27" fmla="*/ 0 h 11264"/>
                <a:gd name="T28" fmla="*/ 4565 w 11264"/>
                <a:gd name="T29" fmla="*/ 0 h 11264"/>
                <a:gd name="T30" fmla="*/ 4165 w 11264"/>
                <a:gd name="T31" fmla="*/ 400 h 11264"/>
                <a:gd name="T32" fmla="*/ 4165 w 11264"/>
                <a:gd name="T33" fmla="*/ 4165 h 11264"/>
                <a:gd name="T34" fmla="*/ 400 w 11264"/>
                <a:gd name="T35" fmla="*/ 4165 h 11264"/>
                <a:gd name="T36" fmla="*/ 0 w 11264"/>
                <a:gd name="T37" fmla="*/ 4565 h 11264"/>
                <a:gd name="T38" fmla="*/ 0 w 11264"/>
                <a:gd name="T39" fmla="*/ 6699 h 11264"/>
                <a:gd name="T40" fmla="*/ 400 w 11264"/>
                <a:gd name="T41" fmla="*/ 7099 h 1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64" h="11264">
                  <a:moveTo>
                    <a:pt x="400" y="7099"/>
                  </a:moveTo>
                  <a:lnTo>
                    <a:pt x="4165" y="7099"/>
                  </a:lnTo>
                  <a:lnTo>
                    <a:pt x="4165" y="10864"/>
                  </a:lnTo>
                  <a:cubicBezTo>
                    <a:pt x="4165" y="11085"/>
                    <a:pt x="4344" y="11264"/>
                    <a:pt x="4565" y="11264"/>
                  </a:cubicBezTo>
                  <a:lnTo>
                    <a:pt x="6699" y="11264"/>
                  </a:lnTo>
                  <a:cubicBezTo>
                    <a:pt x="6920" y="11264"/>
                    <a:pt x="7099" y="11085"/>
                    <a:pt x="7099" y="10864"/>
                  </a:cubicBezTo>
                  <a:lnTo>
                    <a:pt x="7099" y="7099"/>
                  </a:lnTo>
                  <a:lnTo>
                    <a:pt x="10864" y="7099"/>
                  </a:lnTo>
                  <a:cubicBezTo>
                    <a:pt x="11085" y="7099"/>
                    <a:pt x="11264" y="6920"/>
                    <a:pt x="11264" y="6699"/>
                  </a:cubicBezTo>
                  <a:lnTo>
                    <a:pt x="11264" y="4565"/>
                  </a:lnTo>
                  <a:cubicBezTo>
                    <a:pt x="11264" y="4344"/>
                    <a:pt x="11085" y="4165"/>
                    <a:pt x="10864" y="4165"/>
                  </a:cubicBezTo>
                  <a:lnTo>
                    <a:pt x="7099" y="4165"/>
                  </a:lnTo>
                  <a:lnTo>
                    <a:pt x="7099" y="400"/>
                  </a:lnTo>
                  <a:cubicBezTo>
                    <a:pt x="7099" y="179"/>
                    <a:pt x="6920" y="0"/>
                    <a:pt x="6699" y="0"/>
                  </a:cubicBezTo>
                  <a:lnTo>
                    <a:pt x="4565" y="0"/>
                  </a:lnTo>
                  <a:cubicBezTo>
                    <a:pt x="4344" y="0"/>
                    <a:pt x="4165" y="179"/>
                    <a:pt x="4165" y="400"/>
                  </a:cubicBezTo>
                  <a:lnTo>
                    <a:pt x="4165" y="4165"/>
                  </a:lnTo>
                  <a:lnTo>
                    <a:pt x="400" y="4165"/>
                  </a:lnTo>
                  <a:cubicBezTo>
                    <a:pt x="179" y="4165"/>
                    <a:pt x="0" y="4344"/>
                    <a:pt x="0" y="4565"/>
                  </a:cubicBezTo>
                  <a:lnTo>
                    <a:pt x="0" y="6699"/>
                  </a:lnTo>
                  <a:cubicBezTo>
                    <a:pt x="0" y="6920"/>
                    <a:pt x="179" y="7099"/>
                    <a:pt x="400" y="709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0" name="îsḷïde">
              <a:extLst>
                <a:ext uri="{FF2B5EF4-FFF2-40B4-BE49-F238E27FC236}">
                  <a16:creationId xmlns:a16="http://schemas.microsoft.com/office/drawing/2014/main" id="{F7027C89-1BCC-4A00-9535-016DE4C49FD7}"/>
                </a:ext>
              </a:extLst>
            </p:cNvPr>
            <p:cNvSpPr/>
            <p:nvPr/>
          </p:nvSpPr>
          <p:spPr bwMode="auto">
            <a:xfrm>
              <a:off x="4069565" y="3014578"/>
              <a:ext cx="369969" cy="377806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  <a:gd name="connsiteX107" fmla="*/ 373273 h 605239"/>
                <a:gd name="connsiteY107" fmla="*/ 373273 h 605239"/>
                <a:gd name="connsiteX108" fmla="*/ 373273 h 605239"/>
                <a:gd name="connsiteY108" fmla="*/ 373273 h 605239"/>
                <a:gd name="connsiteX109" fmla="*/ 373273 h 605239"/>
                <a:gd name="connsiteY109" fmla="*/ 373273 h 605239"/>
                <a:gd name="connsiteX110" fmla="*/ 373273 h 605239"/>
                <a:gd name="connsiteY110" fmla="*/ 373273 h 605239"/>
                <a:gd name="connsiteX111" fmla="*/ 373273 h 605239"/>
                <a:gd name="connsiteY111" fmla="*/ 373273 h 605239"/>
                <a:gd name="connsiteX112" fmla="*/ 373273 h 605239"/>
                <a:gd name="connsiteY112" fmla="*/ 373273 h 605239"/>
                <a:gd name="connsiteX113" fmla="*/ 373273 h 605239"/>
                <a:gd name="connsiteY113" fmla="*/ 373273 h 605239"/>
                <a:gd name="connsiteX114" fmla="*/ 373273 h 605239"/>
                <a:gd name="connsiteY114" fmla="*/ 373273 h 605239"/>
                <a:gd name="connsiteX115" fmla="*/ 373273 h 605239"/>
                <a:gd name="connsiteY115" fmla="*/ 373273 h 605239"/>
                <a:gd name="connsiteX116" fmla="*/ 373273 h 605239"/>
                <a:gd name="connsiteY116" fmla="*/ 373273 h 605239"/>
                <a:gd name="connsiteX117" fmla="*/ 373273 h 605239"/>
                <a:gd name="connsiteY117" fmla="*/ 373273 h 605239"/>
                <a:gd name="connsiteX118" fmla="*/ 373273 h 605239"/>
                <a:gd name="connsiteY118" fmla="*/ 373273 h 605239"/>
                <a:gd name="connsiteX119" fmla="*/ 373273 h 605239"/>
                <a:gd name="connsiteY119" fmla="*/ 373273 h 605239"/>
                <a:gd name="connsiteX120" fmla="*/ 373273 h 605239"/>
                <a:gd name="connsiteY120" fmla="*/ 373273 h 605239"/>
                <a:gd name="connsiteX121" fmla="*/ 373273 h 605239"/>
                <a:gd name="connsiteY121" fmla="*/ 373273 h 605239"/>
                <a:gd name="connsiteX122" fmla="*/ 373273 h 605239"/>
                <a:gd name="connsiteY122" fmla="*/ 373273 h 605239"/>
                <a:gd name="connsiteX123" fmla="*/ 373273 h 605239"/>
                <a:gd name="connsiteY123" fmla="*/ 373273 h 605239"/>
                <a:gd name="connsiteX124" fmla="*/ 373273 h 605239"/>
                <a:gd name="connsiteY124" fmla="*/ 373273 h 605239"/>
                <a:gd name="connsiteX125" fmla="*/ 373273 h 605239"/>
                <a:gd name="connsiteY125" fmla="*/ 373273 h 605239"/>
                <a:gd name="connsiteX126" fmla="*/ 373273 h 605239"/>
                <a:gd name="connsiteY126" fmla="*/ 373273 h 605239"/>
                <a:gd name="connsiteX127" fmla="*/ 373273 h 605239"/>
                <a:gd name="connsiteY127" fmla="*/ 373273 h 605239"/>
                <a:gd name="connsiteX128" fmla="*/ 373273 h 605239"/>
                <a:gd name="connsiteY128" fmla="*/ 373273 h 605239"/>
                <a:gd name="connsiteX129" fmla="*/ 373273 h 605239"/>
                <a:gd name="connsiteY12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593733" h="606309">
                  <a:moveTo>
                    <a:pt x="353250" y="302855"/>
                  </a:moveTo>
                  <a:cubicBezTo>
                    <a:pt x="318468" y="302855"/>
                    <a:pt x="290232" y="331146"/>
                    <a:pt x="290232" y="365879"/>
                  </a:cubicBezTo>
                  <a:cubicBezTo>
                    <a:pt x="290232" y="374189"/>
                    <a:pt x="296964" y="380912"/>
                    <a:pt x="305285" y="380912"/>
                  </a:cubicBezTo>
                  <a:cubicBezTo>
                    <a:pt x="313607" y="380912"/>
                    <a:pt x="320338" y="374189"/>
                    <a:pt x="320338" y="365879"/>
                  </a:cubicBezTo>
                  <a:cubicBezTo>
                    <a:pt x="320338" y="347672"/>
                    <a:pt x="335111" y="333014"/>
                    <a:pt x="353250" y="333014"/>
                  </a:cubicBezTo>
                  <a:cubicBezTo>
                    <a:pt x="361665" y="333014"/>
                    <a:pt x="368397" y="326291"/>
                    <a:pt x="368397" y="317888"/>
                  </a:cubicBezTo>
                  <a:cubicBezTo>
                    <a:pt x="368397" y="309578"/>
                    <a:pt x="361665" y="302855"/>
                    <a:pt x="353250" y="302855"/>
                  </a:cubicBezTo>
                  <a:close/>
                  <a:moveTo>
                    <a:pt x="353250" y="265041"/>
                  </a:moveTo>
                  <a:cubicBezTo>
                    <a:pt x="409163" y="265041"/>
                    <a:pt x="454229" y="310232"/>
                    <a:pt x="454229" y="365879"/>
                  </a:cubicBezTo>
                  <a:cubicBezTo>
                    <a:pt x="454229" y="421527"/>
                    <a:pt x="408976" y="466717"/>
                    <a:pt x="353250" y="466717"/>
                  </a:cubicBezTo>
                  <a:cubicBezTo>
                    <a:pt x="297525" y="466717"/>
                    <a:pt x="252271" y="421527"/>
                    <a:pt x="252271" y="365879"/>
                  </a:cubicBezTo>
                  <a:cubicBezTo>
                    <a:pt x="252271" y="310232"/>
                    <a:pt x="297431" y="265041"/>
                    <a:pt x="353250" y="265041"/>
                  </a:cubicBezTo>
                  <a:close/>
                  <a:moveTo>
                    <a:pt x="427779" y="133781"/>
                  </a:moveTo>
                  <a:cubicBezTo>
                    <a:pt x="432818" y="131960"/>
                    <a:pt x="438547" y="132054"/>
                    <a:pt x="443784" y="134482"/>
                  </a:cubicBezTo>
                  <a:lnTo>
                    <a:pt x="473245" y="148209"/>
                  </a:lnTo>
                  <a:cubicBezTo>
                    <a:pt x="483720" y="153158"/>
                    <a:pt x="488209" y="165671"/>
                    <a:pt x="483346" y="176130"/>
                  </a:cubicBezTo>
                  <a:lnTo>
                    <a:pt x="470252" y="203957"/>
                  </a:lnTo>
                  <a:cubicBezTo>
                    <a:pt x="492231" y="219646"/>
                    <a:pt x="511123" y="240003"/>
                    <a:pt x="525526" y="264095"/>
                  </a:cubicBezTo>
                  <a:lnTo>
                    <a:pt x="554426" y="253636"/>
                  </a:lnTo>
                  <a:cubicBezTo>
                    <a:pt x="565368" y="249714"/>
                    <a:pt x="577340" y="255411"/>
                    <a:pt x="581361" y="266243"/>
                  </a:cubicBezTo>
                  <a:lnTo>
                    <a:pt x="592491" y="296592"/>
                  </a:lnTo>
                  <a:cubicBezTo>
                    <a:pt x="596419" y="307612"/>
                    <a:pt x="590714" y="319564"/>
                    <a:pt x="579865" y="323486"/>
                  </a:cubicBezTo>
                  <a:lnTo>
                    <a:pt x="550965" y="333945"/>
                  </a:lnTo>
                  <a:cubicBezTo>
                    <a:pt x="555455" y="361586"/>
                    <a:pt x="553958" y="389414"/>
                    <a:pt x="547224" y="415561"/>
                  </a:cubicBezTo>
                  <a:lnTo>
                    <a:pt x="575095" y="428634"/>
                  </a:lnTo>
                  <a:cubicBezTo>
                    <a:pt x="585570" y="433490"/>
                    <a:pt x="590059" y="445910"/>
                    <a:pt x="585102" y="456649"/>
                  </a:cubicBezTo>
                  <a:lnTo>
                    <a:pt x="571354" y="485970"/>
                  </a:lnTo>
                  <a:cubicBezTo>
                    <a:pt x="566397" y="496429"/>
                    <a:pt x="553958" y="500911"/>
                    <a:pt x="543483" y="496056"/>
                  </a:cubicBezTo>
                  <a:lnTo>
                    <a:pt x="515238" y="482982"/>
                  </a:lnTo>
                  <a:cubicBezTo>
                    <a:pt x="499526" y="504833"/>
                    <a:pt x="479137" y="523510"/>
                    <a:pt x="455007" y="537704"/>
                  </a:cubicBezTo>
                  <a:lnTo>
                    <a:pt x="465763" y="567026"/>
                  </a:lnTo>
                  <a:cubicBezTo>
                    <a:pt x="469784" y="578045"/>
                    <a:pt x="463986" y="589997"/>
                    <a:pt x="453137" y="593919"/>
                  </a:cubicBezTo>
                  <a:lnTo>
                    <a:pt x="422741" y="605032"/>
                  </a:lnTo>
                  <a:cubicBezTo>
                    <a:pt x="411798" y="609047"/>
                    <a:pt x="399827" y="603258"/>
                    <a:pt x="395805" y="592425"/>
                  </a:cubicBezTo>
                  <a:lnTo>
                    <a:pt x="385050" y="562823"/>
                  </a:lnTo>
                  <a:cubicBezTo>
                    <a:pt x="357646" y="567212"/>
                    <a:pt x="330056" y="565718"/>
                    <a:pt x="304149" y="558995"/>
                  </a:cubicBezTo>
                  <a:lnTo>
                    <a:pt x="290682" y="587756"/>
                  </a:lnTo>
                  <a:cubicBezTo>
                    <a:pt x="285725" y="598215"/>
                    <a:pt x="273192" y="602697"/>
                    <a:pt x="262717" y="597841"/>
                  </a:cubicBezTo>
                  <a:lnTo>
                    <a:pt x="233350" y="584114"/>
                  </a:lnTo>
                  <a:cubicBezTo>
                    <a:pt x="222875" y="579165"/>
                    <a:pt x="218385" y="566652"/>
                    <a:pt x="223249" y="556193"/>
                  </a:cubicBezTo>
                  <a:lnTo>
                    <a:pt x="236810" y="527338"/>
                  </a:lnTo>
                  <a:cubicBezTo>
                    <a:pt x="215112" y="511650"/>
                    <a:pt x="196407" y="491480"/>
                    <a:pt x="182284" y="467668"/>
                  </a:cubicBezTo>
                  <a:lnTo>
                    <a:pt x="152169" y="478687"/>
                  </a:lnTo>
                  <a:cubicBezTo>
                    <a:pt x="141133" y="482609"/>
                    <a:pt x="129161" y="476912"/>
                    <a:pt x="125233" y="466080"/>
                  </a:cubicBezTo>
                  <a:lnTo>
                    <a:pt x="114104" y="435731"/>
                  </a:lnTo>
                  <a:cubicBezTo>
                    <a:pt x="110082" y="424712"/>
                    <a:pt x="115881" y="412759"/>
                    <a:pt x="126730" y="408837"/>
                  </a:cubicBezTo>
                  <a:lnTo>
                    <a:pt x="156845" y="397818"/>
                  </a:lnTo>
                  <a:cubicBezTo>
                    <a:pt x="153852" y="379422"/>
                    <a:pt x="153478" y="361026"/>
                    <a:pt x="155629" y="342910"/>
                  </a:cubicBezTo>
                  <a:lnTo>
                    <a:pt x="158622" y="343097"/>
                  </a:lnTo>
                  <a:cubicBezTo>
                    <a:pt x="181162" y="344030"/>
                    <a:pt x="200522" y="327408"/>
                    <a:pt x="203141" y="305370"/>
                  </a:cubicBezTo>
                  <a:cubicBezTo>
                    <a:pt x="207723" y="303876"/>
                    <a:pt x="212119" y="302195"/>
                    <a:pt x="216515" y="300515"/>
                  </a:cubicBezTo>
                  <a:cubicBezTo>
                    <a:pt x="220349" y="304063"/>
                    <a:pt x="224745" y="306958"/>
                    <a:pt x="229609" y="308919"/>
                  </a:cubicBezTo>
                  <a:cubicBezTo>
                    <a:pt x="219227" y="330957"/>
                    <a:pt x="214831" y="355983"/>
                    <a:pt x="217824" y="381943"/>
                  </a:cubicBezTo>
                  <a:cubicBezTo>
                    <a:pt x="226709" y="456462"/>
                    <a:pt x="294329" y="509876"/>
                    <a:pt x="368963" y="501192"/>
                  </a:cubicBezTo>
                  <a:cubicBezTo>
                    <a:pt x="443691" y="492320"/>
                    <a:pt x="497188" y="424899"/>
                    <a:pt x="488490" y="350287"/>
                  </a:cubicBezTo>
                  <a:cubicBezTo>
                    <a:pt x="479605" y="275675"/>
                    <a:pt x="411985" y="222260"/>
                    <a:pt x="337351" y="231038"/>
                  </a:cubicBezTo>
                  <a:cubicBezTo>
                    <a:pt x="324632" y="232532"/>
                    <a:pt x="312473" y="235707"/>
                    <a:pt x="301156" y="240376"/>
                  </a:cubicBezTo>
                  <a:cubicBezTo>
                    <a:pt x="299660" y="236268"/>
                    <a:pt x="297509" y="232345"/>
                    <a:pt x="294797" y="228890"/>
                  </a:cubicBezTo>
                  <a:cubicBezTo>
                    <a:pt x="297041" y="224688"/>
                    <a:pt x="299005" y="220393"/>
                    <a:pt x="300782" y="216097"/>
                  </a:cubicBezTo>
                  <a:cubicBezTo>
                    <a:pt x="311164" y="215817"/>
                    <a:pt x="320891" y="211802"/>
                    <a:pt x="328466" y="204891"/>
                  </a:cubicBezTo>
                  <a:cubicBezTo>
                    <a:pt x="336977" y="197141"/>
                    <a:pt x="341934" y="186589"/>
                    <a:pt x="342402" y="175103"/>
                  </a:cubicBezTo>
                  <a:lnTo>
                    <a:pt x="342776" y="166978"/>
                  </a:lnTo>
                  <a:cubicBezTo>
                    <a:pt x="363164" y="165764"/>
                    <a:pt x="383460" y="167912"/>
                    <a:pt x="402820" y="172768"/>
                  </a:cubicBezTo>
                  <a:lnTo>
                    <a:pt x="415913" y="144567"/>
                  </a:lnTo>
                  <a:cubicBezTo>
                    <a:pt x="418392" y="139338"/>
                    <a:pt x="422741" y="135602"/>
                    <a:pt x="427779" y="133781"/>
                  </a:cubicBezTo>
                  <a:close/>
                  <a:moveTo>
                    <a:pt x="159906" y="88589"/>
                  </a:moveTo>
                  <a:cubicBezTo>
                    <a:pt x="142487" y="87818"/>
                    <a:pt x="124764" y="93678"/>
                    <a:pt x="110828" y="106378"/>
                  </a:cubicBezTo>
                  <a:cubicBezTo>
                    <a:pt x="96145" y="119731"/>
                    <a:pt x="88663" y="138127"/>
                    <a:pt x="88663" y="156523"/>
                  </a:cubicBezTo>
                  <a:cubicBezTo>
                    <a:pt x="88663" y="172958"/>
                    <a:pt x="94555" y="189393"/>
                    <a:pt x="106526" y="202467"/>
                  </a:cubicBezTo>
                  <a:cubicBezTo>
                    <a:pt x="131965" y="230294"/>
                    <a:pt x="175081" y="232162"/>
                    <a:pt x="202764" y="206762"/>
                  </a:cubicBezTo>
                  <a:cubicBezTo>
                    <a:pt x="217448" y="193409"/>
                    <a:pt x="224930" y="175013"/>
                    <a:pt x="224930" y="156523"/>
                  </a:cubicBezTo>
                  <a:cubicBezTo>
                    <a:pt x="224930" y="140088"/>
                    <a:pt x="219132" y="123653"/>
                    <a:pt x="207160" y="110580"/>
                  </a:cubicBezTo>
                  <a:cubicBezTo>
                    <a:pt x="194441" y="96760"/>
                    <a:pt x="177325" y="89359"/>
                    <a:pt x="159906" y="88589"/>
                  </a:cubicBezTo>
                  <a:close/>
                  <a:moveTo>
                    <a:pt x="153289" y="17"/>
                  </a:moveTo>
                  <a:lnTo>
                    <a:pt x="173678" y="951"/>
                  </a:lnTo>
                  <a:cubicBezTo>
                    <a:pt x="180786" y="1325"/>
                    <a:pt x="186304" y="7114"/>
                    <a:pt x="186304" y="14118"/>
                  </a:cubicBezTo>
                  <a:lnTo>
                    <a:pt x="186304" y="14771"/>
                  </a:lnTo>
                  <a:lnTo>
                    <a:pt x="185462" y="34755"/>
                  </a:lnTo>
                  <a:cubicBezTo>
                    <a:pt x="201923" y="38677"/>
                    <a:pt x="217729" y="45774"/>
                    <a:pt x="231851" y="56232"/>
                  </a:cubicBezTo>
                  <a:lnTo>
                    <a:pt x="246535" y="42786"/>
                  </a:lnTo>
                  <a:cubicBezTo>
                    <a:pt x="251866" y="37930"/>
                    <a:pt x="260283" y="38303"/>
                    <a:pt x="265240" y="43626"/>
                  </a:cubicBezTo>
                  <a:lnTo>
                    <a:pt x="279082" y="58660"/>
                  </a:lnTo>
                  <a:cubicBezTo>
                    <a:pt x="281420" y="61275"/>
                    <a:pt x="282542" y="64450"/>
                    <a:pt x="282542" y="67625"/>
                  </a:cubicBezTo>
                  <a:cubicBezTo>
                    <a:pt x="282542" y="71173"/>
                    <a:pt x="281233" y="74722"/>
                    <a:pt x="278334" y="77337"/>
                  </a:cubicBezTo>
                  <a:lnTo>
                    <a:pt x="263744" y="90690"/>
                  </a:lnTo>
                  <a:cubicBezTo>
                    <a:pt x="273096" y="105537"/>
                    <a:pt x="278988" y="121973"/>
                    <a:pt x="281420" y="138781"/>
                  </a:cubicBezTo>
                  <a:lnTo>
                    <a:pt x="301061" y="139621"/>
                  </a:lnTo>
                  <a:cubicBezTo>
                    <a:pt x="308169" y="139995"/>
                    <a:pt x="313593" y="145878"/>
                    <a:pt x="313593" y="152788"/>
                  </a:cubicBezTo>
                  <a:lnTo>
                    <a:pt x="313593" y="153442"/>
                  </a:lnTo>
                  <a:lnTo>
                    <a:pt x="312751" y="173892"/>
                  </a:lnTo>
                  <a:cubicBezTo>
                    <a:pt x="312377" y="181083"/>
                    <a:pt x="306298" y="186779"/>
                    <a:pt x="298910" y="186405"/>
                  </a:cubicBezTo>
                  <a:lnTo>
                    <a:pt x="279456" y="185565"/>
                  </a:lnTo>
                  <a:cubicBezTo>
                    <a:pt x="275622" y="202093"/>
                    <a:pt x="268327" y="218061"/>
                    <a:pt x="257758" y="232162"/>
                  </a:cubicBezTo>
                  <a:lnTo>
                    <a:pt x="270852" y="246449"/>
                  </a:lnTo>
                  <a:cubicBezTo>
                    <a:pt x="273190" y="249064"/>
                    <a:pt x="274312" y="252145"/>
                    <a:pt x="274312" y="255414"/>
                  </a:cubicBezTo>
                  <a:cubicBezTo>
                    <a:pt x="274312" y="258869"/>
                    <a:pt x="273003" y="262511"/>
                    <a:pt x="270104" y="265126"/>
                  </a:cubicBezTo>
                  <a:lnTo>
                    <a:pt x="255046" y="278946"/>
                  </a:lnTo>
                  <a:cubicBezTo>
                    <a:pt x="249621" y="283802"/>
                    <a:pt x="241297" y="283428"/>
                    <a:pt x="236340" y="278106"/>
                  </a:cubicBezTo>
                  <a:lnTo>
                    <a:pt x="223247" y="263724"/>
                  </a:lnTo>
                  <a:cubicBezTo>
                    <a:pt x="208282" y="272970"/>
                    <a:pt x="191635" y="278853"/>
                    <a:pt x="174800" y="281187"/>
                  </a:cubicBezTo>
                  <a:lnTo>
                    <a:pt x="173958" y="300610"/>
                  </a:lnTo>
                  <a:cubicBezTo>
                    <a:pt x="173584" y="307801"/>
                    <a:pt x="167505" y="313590"/>
                    <a:pt x="160117" y="313217"/>
                  </a:cubicBezTo>
                  <a:lnTo>
                    <a:pt x="139634" y="312283"/>
                  </a:lnTo>
                  <a:cubicBezTo>
                    <a:pt x="132526" y="311909"/>
                    <a:pt x="127102" y="306120"/>
                    <a:pt x="127102" y="299116"/>
                  </a:cubicBezTo>
                  <a:lnTo>
                    <a:pt x="127102" y="298463"/>
                  </a:lnTo>
                  <a:lnTo>
                    <a:pt x="128037" y="279039"/>
                  </a:lnTo>
                  <a:cubicBezTo>
                    <a:pt x="111577" y="275211"/>
                    <a:pt x="95771" y="267834"/>
                    <a:pt x="81648" y="257281"/>
                  </a:cubicBezTo>
                  <a:lnTo>
                    <a:pt x="67058" y="270635"/>
                  </a:lnTo>
                  <a:cubicBezTo>
                    <a:pt x="61727" y="275491"/>
                    <a:pt x="53403" y="275117"/>
                    <a:pt x="48353" y="269701"/>
                  </a:cubicBezTo>
                  <a:lnTo>
                    <a:pt x="34511" y="254667"/>
                  </a:lnTo>
                  <a:cubicBezTo>
                    <a:pt x="32173" y="252052"/>
                    <a:pt x="31051" y="248970"/>
                    <a:pt x="31051" y="245702"/>
                  </a:cubicBezTo>
                  <a:cubicBezTo>
                    <a:pt x="31051" y="242247"/>
                    <a:pt x="32453" y="238605"/>
                    <a:pt x="35259" y="235990"/>
                  </a:cubicBezTo>
                  <a:lnTo>
                    <a:pt x="50036" y="222544"/>
                  </a:lnTo>
                  <a:cubicBezTo>
                    <a:pt x="40777" y="207696"/>
                    <a:pt x="35072" y="191261"/>
                    <a:pt x="32640" y="174639"/>
                  </a:cubicBezTo>
                  <a:lnTo>
                    <a:pt x="12626" y="173705"/>
                  </a:lnTo>
                  <a:cubicBezTo>
                    <a:pt x="5518" y="173332"/>
                    <a:pt x="0" y="167542"/>
                    <a:pt x="0" y="160539"/>
                  </a:cubicBezTo>
                  <a:lnTo>
                    <a:pt x="0" y="159885"/>
                  </a:lnTo>
                  <a:lnTo>
                    <a:pt x="842" y="139621"/>
                  </a:lnTo>
                  <a:cubicBezTo>
                    <a:pt x="1216" y="132431"/>
                    <a:pt x="7388" y="126642"/>
                    <a:pt x="14683" y="127015"/>
                  </a:cubicBezTo>
                  <a:lnTo>
                    <a:pt x="34885" y="127949"/>
                  </a:lnTo>
                  <a:cubicBezTo>
                    <a:pt x="38813" y="111514"/>
                    <a:pt x="46015" y="95826"/>
                    <a:pt x="56490" y="81819"/>
                  </a:cubicBezTo>
                  <a:lnTo>
                    <a:pt x="42741" y="66878"/>
                  </a:lnTo>
                  <a:cubicBezTo>
                    <a:pt x="40403" y="64263"/>
                    <a:pt x="39281" y="61182"/>
                    <a:pt x="39281" y="57913"/>
                  </a:cubicBezTo>
                  <a:cubicBezTo>
                    <a:pt x="39281" y="54458"/>
                    <a:pt x="40684" y="50816"/>
                    <a:pt x="43490" y="48202"/>
                  </a:cubicBezTo>
                  <a:lnTo>
                    <a:pt x="58641" y="34381"/>
                  </a:lnTo>
                  <a:cubicBezTo>
                    <a:pt x="63972" y="29526"/>
                    <a:pt x="72296" y="29899"/>
                    <a:pt x="77346" y="35315"/>
                  </a:cubicBezTo>
                  <a:lnTo>
                    <a:pt x="90627" y="50256"/>
                  </a:lnTo>
                  <a:cubicBezTo>
                    <a:pt x="105591" y="41011"/>
                    <a:pt x="121864" y="35128"/>
                    <a:pt x="138512" y="32794"/>
                  </a:cubicBezTo>
                  <a:lnTo>
                    <a:pt x="139447" y="12624"/>
                  </a:lnTo>
                  <a:cubicBezTo>
                    <a:pt x="139821" y="5433"/>
                    <a:pt x="145901" y="-356"/>
                    <a:pt x="153289" y="17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1" name="îṣḻïḓè">
              <a:extLst>
                <a:ext uri="{FF2B5EF4-FFF2-40B4-BE49-F238E27FC236}">
                  <a16:creationId xmlns:a16="http://schemas.microsoft.com/office/drawing/2014/main" id="{30C8A656-A69C-4844-9B4C-38593487F7D6}"/>
                </a:ext>
              </a:extLst>
            </p:cNvPr>
            <p:cNvSpPr/>
            <p:nvPr/>
          </p:nvSpPr>
          <p:spPr bwMode="auto">
            <a:xfrm>
              <a:off x="3563916" y="3658051"/>
              <a:ext cx="377806" cy="377072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81741" h="580612">
                  <a:moveTo>
                    <a:pt x="291612" y="187916"/>
                  </a:moveTo>
                  <a:cubicBezTo>
                    <a:pt x="304876" y="187916"/>
                    <a:pt x="315648" y="198758"/>
                    <a:pt x="315648" y="212088"/>
                  </a:cubicBezTo>
                  <a:lnTo>
                    <a:pt x="315648" y="491836"/>
                  </a:lnTo>
                  <a:lnTo>
                    <a:pt x="331227" y="473974"/>
                  </a:lnTo>
                  <a:cubicBezTo>
                    <a:pt x="339863" y="463932"/>
                    <a:pt x="355086" y="462866"/>
                    <a:pt x="365145" y="471574"/>
                  </a:cubicBezTo>
                  <a:cubicBezTo>
                    <a:pt x="375116" y="480372"/>
                    <a:pt x="376184" y="495657"/>
                    <a:pt x="367460" y="505699"/>
                  </a:cubicBezTo>
                  <a:lnTo>
                    <a:pt x="309773" y="572348"/>
                  </a:lnTo>
                  <a:cubicBezTo>
                    <a:pt x="305143" y="577502"/>
                    <a:pt x="298556" y="580612"/>
                    <a:pt x="291612" y="580612"/>
                  </a:cubicBezTo>
                  <a:cubicBezTo>
                    <a:pt x="284579" y="580612"/>
                    <a:pt x="278080" y="577680"/>
                    <a:pt x="273451" y="572348"/>
                  </a:cubicBezTo>
                  <a:lnTo>
                    <a:pt x="215764" y="505699"/>
                  </a:lnTo>
                  <a:cubicBezTo>
                    <a:pt x="207039" y="495657"/>
                    <a:pt x="208108" y="480372"/>
                    <a:pt x="218078" y="471574"/>
                  </a:cubicBezTo>
                  <a:cubicBezTo>
                    <a:pt x="228049" y="462866"/>
                    <a:pt x="243272" y="463932"/>
                    <a:pt x="252085" y="473974"/>
                  </a:cubicBezTo>
                  <a:lnTo>
                    <a:pt x="267486" y="491747"/>
                  </a:lnTo>
                  <a:lnTo>
                    <a:pt x="267486" y="212088"/>
                  </a:lnTo>
                  <a:cubicBezTo>
                    <a:pt x="267486" y="198758"/>
                    <a:pt x="278258" y="187916"/>
                    <a:pt x="291612" y="187916"/>
                  </a:cubicBezTo>
                  <a:close/>
                  <a:moveTo>
                    <a:pt x="329499" y="0"/>
                  </a:moveTo>
                  <a:cubicBezTo>
                    <a:pt x="426248" y="0"/>
                    <a:pt x="465322" y="80426"/>
                    <a:pt x="473332" y="108153"/>
                  </a:cubicBezTo>
                  <a:cubicBezTo>
                    <a:pt x="535280" y="120684"/>
                    <a:pt x="581474" y="175693"/>
                    <a:pt x="581741" y="241190"/>
                  </a:cubicBezTo>
                  <a:cubicBezTo>
                    <a:pt x="581741" y="315840"/>
                    <a:pt x="521306" y="376537"/>
                    <a:pt x="446987" y="376537"/>
                  </a:cubicBezTo>
                  <a:lnTo>
                    <a:pt x="372756" y="376537"/>
                  </a:lnTo>
                  <a:cubicBezTo>
                    <a:pt x="359316" y="376537"/>
                    <a:pt x="348546" y="365606"/>
                    <a:pt x="348546" y="352276"/>
                  </a:cubicBezTo>
                  <a:cubicBezTo>
                    <a:pt x="348546" y="338857"/>
                    <a:pt x="359316" y="327926"/>
                    <a:pt x="372756" y="327926"/>
                  </a:cubicBezTo>
                  <a:lnTo>
                    <a:pt x="446987" y="327926"/>
                  </a:lnTo>
                  <a:cubicBezTo>
                    <a:pt x="494605" y="327926"/>
                    <a:pt x="533322" y="289090"/>
                    <a:pt x="533322" y="241190"/>
                  </a:cubicBezTo>
                  <a:cubicBezTo>
                    <a:pt x="533322" y="195334"/>
                    <a:pt x="497720" y="157298"/>
                    <a:pt x="452238" y="154632"/>
                  </a:cubicBezTo>
                  <a:cubicBezTo>
                    <a:pt x="440934" y="153921"/>
                    <a:pt x="431589" y="145478"/>
                    <a:pt x="429809" y="134192"/>
                  </a:cubicBezTo>
                  <a:cubicBezTo>
                    <a:pt x="421709" y="84692"/>
                    <a:pt x="379609" y="48789"/>
                    <a:pt x="329677" y="48789"/>
                  </a:cubicBezTo>
                  <a:cubicBezTo>
                    <a:pt x="279567" y="48789"/>
                    <a:pt x="238001" y="84781"/>
                    <a:pt x="229457" y="134192"/>
                  </a:cubicBezTo>
                  <a:cubicBezTo>
                    <a:pt x="226520" y="151521"/>
                    <a:pt x="212190" y="162807"/>
                    <a:pt x="192964" y="151077"/>
                  </a:cubicBezTo>
                  <a:cubicBezTo>
                    <a:pt x="178011" y="141834"/>
                    <a:pt x="160922" y="136947"/>
                    <a:pt x="143299" y="136947"/>
                  </a:cubicBezTo>
                  <a:cubicBezTo>
                    <a:pt x="90964" y="136947"/>
                    <a:pt x="48419" y="179693"/>
                    <a:pt x="48419" y="232303"/>
                  </a:cubicBezTo>
                  <a:cubicBezTo>
                    <a:pt x="48419" y="284913"/>
                    <a:pt x="90964" y="327748"/>
                    <a:pt x="143299" y="327748"/>
                  </a:cubicBezTo>
                  <a:lnTo>
                    <a:pt x="218776" y="327748"/>
                  </a:lnTo>
                  <a:cubicBezTo>
                    <a:pt x="232216" y="327748"/>
                    <a:pt x="242986" y="338590"/>
                    <a:pt x="242986" y="352009"/>
                  </a:cubicBezTo>
                  <a:cubicBezTo>
                    <a:pt x="242986" y="365429"/>
                    <a:pt x="232216" y="376271"/>
                    <a:pt x="218776" y="376271"/>
                  </a:cubicBezTo>
                  <a:lnTo>
                    <a:pt x="143299" y="376271"/>
                  </a:lnTo>
                  <a:cubicBezTo>
                    <a:pt x="64262" y="376271"/>
                    <a:pt x="0" y="311574"/>
                    <a:pt x="0" y="232214"/>
                  </a:cubicBezTo>
                  <a:cubicBezTo>
                    <a:pt x="0" y="152854"/>
                    <a:pt x="64262" y="88158"/>
                    <a:pt x="143210" y="88158"/>
                  </a:cubicBezTo>
                  <a:cubicBezTo>
                    <a:pt x="159231" y="88158"/>
                    <a:pt x="174896" y="90735"/>
                    <a:pt x="189849" y="95978"/>
                  </a:cubicBezTo>
                  <a:cubicBezTo>
                    <a:pt x="198749" y="73050"/>
                    <a:pt x="238891" y="0"/>
                    <a:pt x="32949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2" name="iş1iḑe">
              <a:extLst>
                <a:ext uri="{FF2B5EF4-FFF2-40B4-BE49-F238E27FC236}">
                  <a16:creationId xmlns:a16="http://schemas.microsoft.com/office/drawing/2014/main" id="{79D5FAF9-096B-4C61-A299-6A26A276E128}"/>
                </a:ext>
              </a:extLst>
            </p:cNvPr>
            <p:cNvSpPr/>
            <p:nvPr/>
          </p:nvSpPr>
          <p:spPr bwMode="auto">
            <a:xfrm>
              <a:off x="3025037" y="4301073"/>
              <a:ext cx="377806" cy="377236"/>
            </a:xfrm>
            <a:custGeom>
              <a:avLst/>
              <a:gdLst>
                <a:gd name="connsiteX0" fmla="*/ 303820 w 607639"/>
                <a:gd name="connsiteY0" fmla="*/ 278099 h 606722"/>
                <a:gd name="connsiteX1" fmla="*/ 329118 w 607639"/>
                <a:gd name="connsiteY1" fmla="*/ 303362 h 606722"/>
                <a:gd name="connsiteX2" fmla="*/ 303820 w 607639"/>
                <a:gd name="connsiteY2" fmla="*/ 328625 h 606722"/>
                <a:gd name="connsiteX3" fmla="*/ 278522 w 607639"/>
                <a:gd name="connsiteY3" fmla="*/ 303362 h 606722"/>
                <a:gd name="connsiteX4" fmla="*/ 303820 w 607639"/>
                <a:gd name="connsiteY4" fmla="*/ 278099 h 606722"/>
                <a:gd name="connsiteX5" fmla="*/ 303775 w 607639"/>
                <a:gd name="connsiteY5" fmla="*/ 252735 h 606722"/>
                <a:gd name="connsiteX6" fmla="*/ 253140 w 607639"/>
                <a:gd name="connsiteY6" fmla="*/ 303317 h 606722"/>
                <a:gd name="connsiteX7" fmla="*/ 303775 w 607639"/>
                <a:gd name="connsiteY7" fmla="*/ 353900 h 606722"/>
                <a:gd name="connsiteX8" fmla="*/ 354410 w 607639"/>
                <a:gd name="connsiteY8" fmla="*/ 303317 h 606722"/>
                <a:gd name="connsiteX9" fmla="*/ 303775 w 607639"/>
                <a:gd name="connsiteY9" fmla="*/ 252735 h 606722"/>
                <a:gd name="connsiteX10" fmla="*/ 303775 w 607639"/>
                <a:gd name="connsiteY10" fmla="*/ 202241 h 606722"/>
                <a:gd name="connsiteX11" fmla="*/ 405045 w 607639"/>
                <a:gd name="connsiteY11" fmla="*/ 303317 h 606722"/>
                <a:gd name="connsiteX12" fmla="*/ 303775 w 607639"/>
                <a:gd name="connsiteY12" fmla="*/ 404482 h 606722"/>
                <a:gd name="connsiteX13" fmla="*/ 202593 w 607639"/>
                <a:gd name="connsiteY13" fmla="*/ 303317 h 606722"/>
                <a:gd name="connsiteX14" fmla="*/ 303775 w 607639"/>
                <a:gd name="connsiteY14" fmla="*/ 202241 h 606722"/>
                <a:gd name="connsiteX15" fmla="*/ 303775 w 607639"/>
                <a:gd name="connsiteY15" fmla="*/ 151703 h 606722"/>
                <a:gd name="connsiteX16" fmla="*/ 151932 w 607639"/>
                <a:gd name="connsiteY16" fmla="*/ 303317 h 606722"/>
                <a:gd name="connsiteX17" fmla="*/ 303775 w 607639"/>
                <a:gd name="connsiteY17" fmla="*/ 455019 h 606722"/>
                <a:gd name="connsiteX18" fmla="*/ 455707 w 607639"/>
                <a:gd name="connsiteY18" fmla="*/ 303317 h 606722"/>
                <a:gd name="connsiteX19" fmla="*/ 303775 w 607639"/>
                <a:gd name="connsiteY19" fmla="*/ 151703 h 606722"/>
                <a:gd name="connsiteX20" fmla="*/ 253131 w 607639"/>
                <a:gd name="connsiteY20" fmla="*/ 0 h 606722"/>
                <a:gd name="connsiteX21" fmla="*/ 354419 w 607639"/>
                <a:gd name="connsiteY21" fmla="*/ 0 h 606722"/>
                <a:gd name="connsiteX22" fmla="*/ 379786 w 607639"/>
                <a:gd name="connsiteY22" fmla="*/ 25239 h 606722"/>
                <a:gd name="connsiteX23" fmla="*/ 379786 w 607639"/>
                <a:gd name="connsiteY23" fmla="*/ 62387 h 606722"/>
                <a:gd name="connsiteX24" fmla="*/ 420639 w 607639"/>
                <a:gd name="connsiteY24" fmla="*/ 79451 h 606722"/>
                <a:gd name="connsiteX25" fmla="*/ 446985 w 607639"/>
                <a:gd name="connsiteY25" fmla="*/ 53145 h 606722"/>
                <a:gd name="connsiteX26" fmla="*/ 482854 w 607639"/>
                <a:gd name="connsiteY26" fmla="*/ 53145 h 606722"/>
                <a:gd name="connsiteX27" fmla="*/ 554414 w 607639"/>
                <a:gd name="connsiteY27" fmla="*/ 124597 h 606722"/>
                <a:gd name="connsiteX28" fmla="*/ 554414 w 607639"/>
                <a:gd name="connsiteY28" fmla="*/ 160323 h 606722"/>
                <a:gd name="connsiteX29" fmla="*/ 528069 w 607639"/>
                <a:gd name="connsiteY29" fmla="*/ 186629 h 606722"/>
                <a:gd name="connsiteX30" fmla="*/ 545158 w 607639"/>
                <a:gd name="connsiteY30" fmla="*/ 227510 h 606722"/>
                <a:gd name="connsiteX31" fmla="*/ 582273 w 607639"/>
                <a:gd name="connsiteY31" fmla="*/ 227510 h 606722"/>
                <a:gd name="connsiteX32" fmla="*/ 607639 w 607639"/>
                <a:gd name="connsiteY32" fmla="*/ 252749 h 606722"/>
                <a:gd name="connsiteX33" fmla="*/ 607639 w 607639"/>
                <a:gd name="connsiteY33" fmla="*/ 353884 h 606722"/>
                <a:gd name="connsiteX34" fmla="*/ 582273 w 607639"/>
                <a:gd name="connsiteY34" fmla="*/ 379212 h 606722"/>
                <a:gd name="connsiteX35" fmla="*/ 545158 w 607639"/>
                <a:gd name="connsiteY35" fmla="*/ 379212 h 606722"/>
                <a:gd name="connsiteX36" fmla="*/ 528069 w 607639"/>
                <a:gd name="connsiteY36" fmla="*/ 420004 h 606722"/>
                <a:gd name="connsiteX37" fmla="*/ 554414 w 607639"/>
                <a:gd name="connsiteY37" fmla="*/ 446310 h 606722"/>
                <a:gd name="connsiteX38" fmla="*/ 554414 w 607639"/>
                <a:gd name="connsiteY38" fmla="*/ 482125 h 606722"/>
                <a:gd name="connsiteX39" fmla="*/ 482854 w 607639"/>
                <a:gd name="connsiteY39" fmla="*/ 553577 h 606722"/>
                <a:gd name="connsiteX40" fmla="*/ 446985 w 607639"/>
                <a:gd name="connsiteY40" fmla="*/ 553577 h 606722"/>
                <a:gd name="connsiteX41" fmla="*/ 420639 w 607639"/>
                <a:gd name="connsiteY41" fmla="*/ 527271 h 606722"/>
                <a:gd name="connsiteX42" fmla="*/ 379786 w 607639"/>
                <a:gd name="connsiteY42" fmla="*/ 544246 h 606722"/>
                <a:gd name="connsiteX43" fmla="*/ 379786 w 607639"/>
                <a:gd name="connsiteY43" fmla="*/ 581394 h 606722"/>
                <a:gd name="connsiteX44" fmla="*/ 354419 w 607639"/>
                <a:gd name="connsiteY44" fmla="*/ 606722 h 606722"/>
                <a:gd name="connsiteX45" fmla="*/ 253131 w 607639"/>
                <a:gd name="connsiteY45" fmla="*/ 606722 h 606722"/>
                <a:gd name="connsiteX46" fmla="*/ 227854 w 607639"/>
                <a:gd name="connsiteY46" fmla="*/ 581394 h 606722"/>
                <a:gd name="connsiteX47" fmla="*/ 227854 w 607639"/>
                <a:gd name="connsiteY47" fmla="*/ 544246 h 606722"/>
                <a:gd name="connsiteX48" fmla="*/ 186911 w 607639"/>
                <a:gd name="connsiteY48" fmla="*/ 527271 h 606722"/>
                <a:gd name="connsiteX49" fmla="*/ 160566 w 607639"/>
                <a:gd name="connsiteY49" fmla="*/ 553577 h 606722"/>
                <a:gd name="connsiteX50" fmla="*/ 124786 w 607639"/>
                <a:gd name="connsiteY50" fmla="*/ 553577 h 606722"/>
                <a:gd name="connsiteX51" fmla="*/ 53225 w 607639"/>
                <a:gd name="connsiteY51" fmla="*/ 482125 h 606722"/>
                <a:gd name="connsiteX52" fmla="*/ 53225 w 607639"/>
                <a:gd name="connsiteY52" fmla="*/ 446310 h 606722"/>
                <a:gd name="connsiteX53" fmla="*/ 79482 w 607639"/>
                <a:gd name="connsiteY53" fmla="*/ 420004 h 606722"/>
                <a:gd name="connsiteX54" fmla="*/ 62482 w 607639"/>
                <a:gd name="connsiteY54" fmla="*/ 379212 h 606722"/>
                <a:gd name="connsiteX55" fmla="*/ 25278 w 607639"/>
                <a:gd name="connsiteY55" fmla="*/ 379212 h 606722"/>
                <a:gd name="connsiteX56" fmla="*/ 0 w 607639"/>
                <a:gd name="connsiteY56" fmla="*/ 353884 h 606722"/>
                <a:gd name="connsiteX57" fmla="*/ 0 w 607639"/>
                <a:gd name="connsiteY57" fmla="*/ 252749 h 606722"/>
                <a:gd name="connsiteX58" fmla="*/ 25278 w 607639"/>
                <a:gd name="connsiteY58" fmla="*/ 227510 h 606722"/>
                <a:gd name="connsiteX59" fmla="*/ 62482 w 607639"/>
                <a:gd name="connsiteY59" fmla="*/ 227510 h 606722"/>
                <a:gd name="connsiteX60" fmla="*/ 79482 w 607639"/>
                <a:gd name="connsiteY60" fmla="*/ 186629 h 606722"/>
                <a:gd name="connsiteX61" fmla="*/ 53225 w 607639"/>
                <a:gd name="connsiteY61" fmla="*/ 160323 h 606722"/>
                <a:gd name="connsiteX62" fmla="*/ 53225 w 607639"/>
                <a:gd name="connsiteY62" fmla="*/ 124597 h 606722"/>
                <a:gd name="connsiteX63" fmla="*/ 124786 w 607639"/>
                <a:gd name="connsiteY63" fmla="*/ 53145 h 606722"/>
                <a:gd name="connsiteX64" fmla="*/ 160566 w 607639"/>
                <a:gd name="connsiteY64" fmla="*/ 53145 h 606722"/>
                <a:gd name="connsiteX65" fmla="*/ 186911 w 607639"/>
                <a:gd name="connsiteY65" fmla="*/ 79451 h 606722"/>
                <a:gd name="connsiteX66" fmla="*/ 227854 w 607639"/>
                <a:gd name="connsiteY66" fmla="*/ 62387 h 606722"/>
                <a:gd name="connsiteX67" fmla="*/ 227854 w 607639"/>
                <a:gd name="connsiteY67" fmla="*/ 25239 h 606722"/>
                <a:gd name="connsiteX68" fmla="*/ 253131 w 607639"/>
                <a:gd name="connsiteY68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607639" h="606722">
                  <a:moveTo>
                    <a:pt x="303820" y="278099"/>
                  </a:moveTo>
                  <a:cubicBezTo>
                    <a:pt x="317792" y="278099"/>
                    <a:pt x="329118" y="289410"/>
                    <a:pt x="329118" y="303362"/>
                  </a:cubicBezTo>
                  <a:cubicBezTo>
                    <a:pt x="329118" y="317314"/>
                    <a:pt x="317792" y="328625"/>
                    <a:pt x="303820" y="328625"/>
                  </a:cubicBezTo>
                  <a:cubicBezTo>
                    <a:pt x="289848" y="328625"/>
                    <a:pt x="278522" y="317314"/>
                    <a:pt x="278522" y="303362"/>
                  </a:cubicBezTo>
                  <a:cubicBezTo>
                    <a:pt x="278522" y="289410"/>
                    <a:pt x="289848" y="278099"/>
                    <a:pt x="303820" y="278099"/>
                  </a:cubicBezTo>
                  <a:close/>
                  <a:moveTo>
                    <a:pt x="303775" y="252735"/>
                  </a:moveTo>
                  <a:cubicBezTo>
                    <a:pt x="275921" y="252735"/>
                    <a:pt x="253140" y="275492"/>
                    <a:pt x="253140" y="303317"/>
                  </a:cubicBezTo>
                  <a:cubicBezTo>
                    <a:pt x="253140" y="331231"/>
                    <a:pt x="275921" y="353900"/>
                    <a:pt x="303775" y="353900"/>
                  </a:cubicBezTo>
                  <a:cubicBezTo>
                    <a:pt x="331718" y="353900"/>
                    <a:pt x="354410" y="331231"/>
                    <a:pt x="354410" y="303317"/>
                  </a:cubicBezTo>
                  <a:cubicBezTo>
                    <a:pt x="354410" y="275492"/>
                    <a:pt x="331718" y="252735"/>
                    <a:pt x="303775" y="252735"/>
                  </a:cubicBezTo>
                  <a:close/>
                  <a:moveTo>
                    <a:pt x="303775" y="202241"/>
                  </a:moveTo>
                  <a:cubicBezTo>
                    <a:pt x="359660" y="202241"/>
                    <a:pt x="405045" y="247579"/>
                    <a:pt x="405045" y="303317"/>
                  </a:cubicBezTo>
                  <a:cubicBezTo>
                    <a:pt x="405045" y="359144"/>
                    <a:pt x="359660" y="404482"/>
                    <a:pt x="303775" y="404482"/>
                  </a:cubicBezTo>
                  <a:cubicBezTo>
                    <a:pt x="247978" y="404482"/>
                    <a:pt x="202593" y="359144"/>
                    <a:pt x="202593" y="303317"/>
                  </a:cubicBezTo>
                  <a:cubicBezTo>
                    <a:pt x="202593" y="247579"/>
                    <a:pt x="247978" y="202241"/>
                    <a:pt x="303775" y="202241"/>
                  </a:cubicBezTo>
                  <a:close/>
                  <a:moveTo>
                    <a:pt x="303775" y="151703"/>
                  </a:moveTo>
                  <a:cubicBezTo>
                    <a:pt x="220021" y="151703"/>
                    <a:pt x="151932" y="219689"/>
                    <a:pt x="151932" y="303317"/>
                  </a:cubicBezTo>
                  <a:cubicBezTo>
                    <a:pt x="151932" y="387033"/>
                    <a:pt x="220021" y="455019"/>
                    <a:pt x="303775" y="455019"/>
                  </a:cubicBezTo>
                  <a:cubicBezTo>
                    <a:pt x="387618" y="455019"/>
                    <a:pt x="455707" y="387033"/>
                    <a:pt x="455707" y="303317"/>
                  </a:cubicBezTo>
                  <a:cubicBezTo>
                    <a:pt x="455707" y="219689"/>
                    <a:pt x="387618" y="151703"/>
                    <a:pt x="303775" y="151703"/>
                  </a:cubicBezTo>
                  <a:close/>
                  <a:moveTo>
                    <a:pt x="253131" y="0"/>
                  </a:moveTo>
                  <a:lnTo>
                    <a:pt x="354419" y="0"/>
                  </a:lnTo>
                  <a:cubicBezTo>
                    <a:pt x="368482" y="0"/>
                    <a:pt x="379786" y="11287"/>
                    <a:pt x="379786" y="25239"/>
                  </a:cubicBezTo>
                  <a:lnTo>
                    <a:pt x="379786" y="62387"/>
                  </a:lnTo>
                  <a:cubicBezTo>
                    <a:pt x="393849" y="66831"/>
                    <a:pt x="407555" y="72519"/>
                    <a:pt x="420639" y="79451"/>
                  </a:cubicBezTo>
                  <a:lnTo>
                    <a:pt x="446985" y="53145"/>
                  </a:lnTo>
                  <a:cubicBezTo>
                    <a:pt x="456953" y="43191"/>
                    <a:pt x="472974" y="43191"/>
                    <a:pt x="482854" y="53145"/>
                  </a:cubicBezTo>
                  <a:lnTo>
                    <a:pt x="554414" y="124597"/>
                  </a:lnTo>
                  <a:cubicBezTo>
                    <a:pt x="564294" y="134462"/>
                    <a:pt x="564294" y="150459"/>
                    <a:pt x="554414" y="160323"/>
                  </a:cubicBezTo>
                  <a:lnTo>
                    <a:pt x="528069" y="186629"/>
                  </a:lnTo>
                  <a:cubicBezTo>
                    <a:pt x="535011" y="199782"/>
                    <a:pt x="540707" y="213468"/>
                    <a:pt x="545158" y="227510"/>
                  </a:cubicBezTo>
                  <a:lnTo>
                    <a:pt x="582273" y="227510"/>
                  </a:lnTo>
                  <a:cubicBezTo>
                    <a:pt x="596336" y="227510"/>
                    <a:pt x="607639" y="238796"/>
                    <a:pt x="607639" y="252749"/>
                  </a:cubicBezTo>
                  <a:lnTo>
                    <a:pt x="607639" y="353884"/>
                  </a:lnTo>
                  <a:cubicBezTo>
                    <a:pt x="607639" y="367926"/>
                    <a:pt x="596247" y="379212"/>
                    <a:pt x="582273" y="379212"/>
                  </a:cubicBezTo>
                  <a:lnTo>
                    <a:pt x="545158" y="379212"/>
                  </a:lnTo>
                  <a:cubicBezTo>
                    <a:pt x="540707" y="393254"/>
                    <a:pt x="535011" y="406940"/>
                    <a:pt x="528069" y="420004"/>
                  </a:cubicBezTo>
                  <a:lnTo>
                    <a:pt x="554414" y="446310"/>
                  </a:lnTo>
                  <a:cubicBezTo>
                    <a:pt x="564294" y="456263"/>
                    <a:pt x="564294" y="472260"/>
                    <a:pt x="554414" y="482125"/>
                  </a:cubicBezTo>
                  <a:lnTo>
                    <a:pt x="482854" y="553577"/>
                  </a:lnTo>
                  <a:cubicBezTo>
                    <a:pt x="472974" y="563442"/>
                    <a:pt x="456953" y="563442"/>
                    <a:pt x="446985" y="553577"/>
                  </a:cubicBezTo>
                  <a:lnTo>
                    <a:pt x="420639" y="527271"/>
                  </a:lnTo>
                  <a:cubicBezTo>
                    <a:pt x="407555" y="534203"/>
                    <a:pt x="393849" y="539802"/>
                    <a:pt x="379786" y="544246"/>
                  </a:cubicBezTo>
                  <a:lnTo>
                    <a:pt x="379786" y="581394"/>
                  </a:lnTo>
                  <a:cubicBezTo>
                    <a:pt x="379786" y="595435"/>
                    <a:pt x="368393" y="606722"/>
                    <a:pt x="354419" y="606722"/>
                  </a:cubicBezTo>
                  <a:lnTo>
                    <a:pt x="253131" y="606722"/>
                  </a:lnTo>
                  <a:cubicBezTo>
                    <a:pt x="239157" y="606722"/>
                    <a:pt x="227854" y="595435"/>
                    <a:pt x="227854" y="581394"/>
                  </a:cubicBezTo>
                  <a:lnTo>
                    <a:pt x="227854" y="544246"/>
                  </a:lnTo>
                  <a:cubicBezTo>
                    <a:pt x="213791" y="539802"/>
                    <a:pt x="200084" y="534203"/>
                    <a:pt x="186911" y="527271"/>
                  </a:cubicBezTo>
                  <a:lnTo>
                    <a:pt x="160566" y="553577"/>
                  </a:lnTo>
                  <a:cubicBezTo>
                    <a:pt x="150686" y="563442"/>
                    <a:pt x="134665" y="563442"/>
                    <a:pt x="124786" y="553577"/>
                  </a:cubicBezTo>
                  <a:lnTo>
                    <a:pt x="53225" y="482125"/>
                  </a:lnTo>
                  <a:cubicBezTo>
                    <a:pt x="43257" y="472260"/>
                    <a:pt x="43257" y="456263"/>
                    <a:pt x="53225" y="446310"/>
                  </a:cubicBezTo>
                  <a:lnTo>
                    <a:pt x="79482" y="420004"/>
                  </a:lnTo>
                  <a:cubicBezTo>
                    <a:pt x="72629" y="406940"/>
                    <a:pt x="66932" y="393254"/>
                    <a:pt x="62482" y="379212"/>
                  </a:cubicBezTo>
                  <a:lnTo>
                    <a:pt x="25278" y="379212"/>
                  </a:lnTo>
                  <a:cubicBezTo>
                    <a:pt x="11304" y="379212"/>
                    <a:pt x="0" y="367926"/>
                    <a:pt x="0" y="353884"/>
                  </a:cubicBezTo>
                  <a:lnTo>
                    <a:pt x="0" y="252749"/>
                  </a:lnTo>
                  <a:cubicBezTo>
                    <a:pt x="0" y="238796"/>
                    <a:pt x="11304" y="227510"/>
                    <a:pt x="25278" y="227510"/>
                  </a:cubicBezTo>
                  <a:lnTo>
                    <a:pt x="62482" y="227510"/>
                  </a:lnTo>
                  <a:cubicBezTo>
                    <a:pt x="66932" y="213468"/>
                    <a:pt x="72629" y="199782"/>
                    <a:pt x="79482" y="186629"/>
                  </a:cubicBezTo>
                  <a:lnTo>
                    <a:pt x="53225" y="160323"/>
                  </a:lnTo>
                  <a:cubicBezTo>
                    <a:pt x="43257" y="150459"/>
                    <a:pt x="43257" y="134462"/>
                    <a:pt x="53225" y="124597"/>
                  </a:cubicBezTo>
                  <a:lnTo>
                    <a:pt x="124786" y="53145"/>
                  </a:lnTo>
                  <a:cubicBezTo>
                    <a:pt x="134665" y="43191"/>
                    <a:pt x="150686" y="43191"/>
                    <a:pt x="160566" y="53145"/>
                  </a:cubicBezTo>
                  <a:lnTo>
                    <a:pt x="186911" y="79451"/>
                  </a:lnTo>
                  <a:cubicBezTo>
                    <a:pt x="200084" y="72519"/>
                    <a:pt x="213791" y="66831"/>
                    <a:pt x="227854" y="62387"/>
                  </a:cubicBezTo>
                  <a:lnTo>
                    <a:pt x="227854" y="25239"/>
                  </a:lnTo>
                  <a:cubicBezTo>
                    <a:pt x="227854" y="11287"/>
                    <a:pt x="239157" y="0"/>
                    <a:pt x="253131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3" name="ïṧľíďê">
              <a:extLst>
                <a:ext uri="{FF2B5EF4-FFF2-40B4-BE49-F238E27FC236}">
                  <a16:creationId xmlns:a16="http://schemas.microsoft.com/office/drawing/2014/main" id="{83AC56C8-BB22-4DB6-8372-AA84DFFA3A81}"/>
                </a:ext>
              </a:extLst>
            </p:cNvPr>
            <p:cNvSpPr/>
            <p:nvPr/>
          </p:nvSpPr>
          <p:spPr bwMode="auto">
            <a:xfrm>
              <a:off x="2498293" y="4944202"/>
              <a:ext cx="377806" cy="377188"/>
            </a:xfrm>
            <a:custGeom>
              <a:avLst/>
              <a:gdLst>
                <a:gd name="connsiteX0" fmla="*/ 380418 w 604181"/>
                <a:gd name="connsiteY0" fmla="*/ 268007 h 603193"/>
                <a:gd name="connsiteX1" fmla="*/ 519220 w 604181"/>
                <a:gd name="connsiteY1" fmla="*/ 339187 h 603193"/>
                <a:gd name="connsiteX2" fmla="*/ 519220 w 604181"/>
                <a:gd name="connsiteY2" fmla="*/ 355820 h 603193"/>
                <a:gd name="connsiteX3" fmla="*/ 380418 w 604181"/>
                <a:gd name="connsiteY3" fmla="*/ 426850 h 603193"/>
                <a:gd name="connsiteX4" fmla="*/ 380418 w 604181"/>
                <a:gd name="connsiteY4" fmla="*/ 406320 h 603193"/>
                <a:gd name="connsiteX5" fmla="*/ 498212 w 604181"/>
                <a:gd name="connsiteY5" fmla="*/ 347728 h 603193"/>
                <a:gd name="connsiteX6" fmla="*/ 498212 w 604181"/>
                <a:gd name="connsiteY6" fmla="*/ 347129 h 603193"/>
                <a:gd name="connsiteX7" fmla="*/ 380418 w 604181"/>
                <a:gd name="connsiteY7" fmla="*/ 288687 h 603193"/>
                <a:gd name="connsiteX8" fmla="*/ 216565 w 604181"/>
                <a:gd name="connsiteY8" fmla="*/ 268007 h 603193"/>
                <a:gd name="connsiteX9" fmla="*/ 216565 w 604181"/>
                <a:gd name="connsiteY9" fmla="*/ 288687 h 603193"/>
                <a:gd name="connsiteX10" fmla="*/ 99664 w 604181"/>
                <a:gd name="connsiteY10" fmla="*/ 347129 h 603193"/>
                <a:gd name="connsiteX11" fmla="*/ 99664 w 604181"/>
                <a:gd name="connsiteY11" fmla="*/ 347728 h 603193"/>
                <a:gd name="connsiteX12" fmla="*/ 216565 w 604181"/>
                <a:gd name="connsiteY12" fmla="*/ 406320 h 603193"/>
                <a:gd name="connsiteX13" fmla="*/ 216565 w 604181"/>
                <a:gd name="connsiteY13" fmla="*/ 426850 h 603193"/>
                <a:gd name="connsiteX14" fmla="*/ 77904 w 604181"/>
                <a:gd name="connsiteY14" fmla="*/ 355521 h 603193"/>
                <a:gd name="connsiteX15" fmla="*/ 77904 w 604181"/>
                <a:gd name="connsiteY15" fmla="*/ 339486 h 603193"/>
                <a:gd name="connsiteX16" fmla="*/ 338273 w 604181"/>
                <a:gd name="connsiteY16" fmla="*/ 222493 h 603193"/>
                <a:gd name="connsiteX17" fmla="*/ 358684 w 604181"/>
                <a:gd name="connsiteY17" fmla="*/ 222493 h 603193"/>
                <a:gd name="connsiteX18" fmla="*/ 253179 w 604181"/>
                <a:gd name="connsiteY18" fmla="*/ 482103 h 603193"/>
                <a:gd name="connsiteX19" fmla="*/ 233219 w 604181"/>
                <a:gd name="connsiteY19" fmla="*/ 482103 h 603193"/>
                <a:gd name="connsiteX20" fmla="*/ 28813 w 604181"/>
                <a:gd name="connsiteY20" fmla="*/ 128849 h 603193"/>
                <a:gd name="connsiteX21" fmla="*/ 28813 w 604181"/>
                <a:gd name="connsiteY21" fmla="*/ 557497 h 603193"/>
                <a:gd name="connsiteX22" fmla="*/ 45921 w 604181"/>
                <a:gd name="connsiteY22" fmla="*/ 574427 h 603193"/>
                <a:gd name="connsiteX23" fmla="*/ 558410 w 604181"/>
                <a:gd name="connsiteY23" fmla="*/ 574427 h 603193"/>
                <a:gd name="connsiteX24" fmla="*/ 575368 w 604181"/>
                <a:gd name="connsiteY24" fmla="*/ 557497 h 603193"/>
                <a:gd name="connsiteX25" fmla="*/ 575368 w 604181"/>
                <a:gd name="connsiteY25" fmla="*/ 128849 h 603193"/>
                <a:gd name="connsiteX26" fmla="*/ 502734 w 604181"/>
                <a:gd name="connsiteY26" fmla="*/ 43149 h 603193"/>
                <a:gd name="connsiteX27" fmla="*/ 502734 w 604181"/>
                <a:gd name="connsiteY27" fmla="*/ 77309 h 603193"/>
                <a:gd name="connsiteX28" fmla="*/ 537100 w 604181"/>
                <a:gd name="connsiteY28" fmla="*/ 77309 h 603193"/>
                <a:gd name="connsiteX29" fmla="*/ 537100 w 604181"/>
                <a:gd name="connsiteY29" fmla="*/ 43149 h 603193"/>
                <a:gd name="connsiteX30" fmla="*/ 423197 w 604181"/>
                <a:gd name="connsiteY30" fmla="*/ 43149 h 603193"/>
                <a:gd name="connsiteX31" fmla="*/ 423197 w 604181"/>
                <a:gd name="connsiteY31" fmla="*/ 77309 h 603193"/>
                <a:gd name="connsiteX32" fmla="*/ 457563 w 604181"/>
                <a:gd name="connsiteY32" fmla="*/ 77309 h 603193"/>
                <a:gd name="connsiteX33" fmla="*/ 457563 w 604181"/>
                <a:gd name="connsiteY33" fmla="*/ 43149 h 603193"/>
                <a:gd name="connsiteX34" fmla="*/ 45921 w 604181"/>
                <a:gd name="connsiteY34" fmla="*/ 0 h 603193"/>
                <a:gd name="connsiteX35" fmla="*/ 558410 w 604181"/>
                <a:gd name="connsiteY35" fmla="*/ 0 h 603193"/>
                <a:gd name="connsiteX36" fmla="*/ 604181 w 604181"/>
                <a:gd name="connsiteY36" fmla="*/ 45846 h 603193"/>
                <a:gd name="connsiteX37" fmla="*/ 604181 w 604181"/>
                <a:gd name="connsiteY37" fmla="*/ 557497 h 603193"/>
                <a:gd name="connsiteX38" fmla="*/ 558410 w 604181"/>
                <a:gd name="connsiteY38" fmla="*/ 603193 h 603193"/>
                <a:gd name="connsiteX39" fmla="*/ 45921 w 604181"/>
                <a:gd name="connsiteY39" fmla="*/ 603193 h 603193"/>
                <a:gd name="connsiteX40" fmla="*/ 0 w 604181"/>
                <a:gd name="connsiteY40" fmla="*/ 557497 h 603193"/>
                <a:gd name="connsiteX41" fmla="*/ 0 w 604181"/>
                <a:gd name="connsiteY41" fmla="*/ 45846 h 603193"/>
                <a:gd name="connsiteX42" fmla="*/ 45921 w 604181"/>
                <a:gd name="connsiteY42" fmla="*/ 0 h 603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04181" h="603193">
                  <a:moveTo>
                    <a:pt x="380418" y="268007"/>
                  </a:moveTo>
                  <a:lnTo>
                    <a:pt x="519220" y="339187"/>
                  </a:lnTo>
                  <a:lnTo>
                    <a:pt x="519220" y="355820"/>
                  </a:lnTo>
                  <a:lnTo>
                    <a:pt x="380418" y="426850"/>
                  </a:lnTo>
                  <a:lnTo>
                    <a:pt x="380418" y="406320"/>
                  </a:lnTo>
                  <a:lnTo>
                    <a:pt x="498212" y="347728"/>
                  </a:lnTo>
                  <a:lnTo>
                    <a:pt x="498212" y="347129"/>
                  </a:lnTo>
                  <a:lnTo>
                    <a:pt x="380418" y="288687"/>
                  </a:lnTo>
                  <a:close/>
                  <a:moveTo>
                    <a:pt x="216565" y="268007"/>
                  </a:moveTo>
                  <a:lnTo>
                    <a:pt x="216565" y="288687"/>
                  </a:lnTo>
                  <a:lnTo>
                    <a:pt x="99664" y="347129"/>
                  </a:lnTo>
                  <a:lnTo>
                    <a:pt x="99664" y="347728"/>
                  </a:lnTo>
                  <a:lnTo>
                    <a:pt x="216565" y="406320"/>
                  </a:lnTo>
                  <a:lnTo>
                    <a:pt x="216565" y="426850"/>
                  </a:lnTo>
                  <a:lnTo>
                    <a:pt x="77904" y="355521"/>
                  </a:lnTo>
                  <a:lnTo>
                    <a:pt x="77904" y="339486"/>
                  </a:lnTo>
                  <a:close/>
                  <a:moveTo>
                    <a:pt x="338273" y="222493"/>
                  </a:moveTo>
                  <a:lnTo>
                    <a:pt x="358684" y="222493"/>
                  </a:lnTo>
                  <a:lnTo>
                    <a:pt x="253179" y="482103"/>
                  </a:lnTo>
                  <a:lnTo>
                    <a:pt x="233219" y="482103"/>
                  </a:lnTo>
                  <a:close/>
                  <a:moveTo>
                    <a:pt x="28813" y="128849"/>
                  </a:moveTo>
                  <a:lnTo>
                    <a:pt x="28813" y="557497"/>
                  </a:lnTo>
                  <a:cubicBezTo>
                    <a:pt x="28813" y="566786"/>
                    <a:pt x="36467" y="574427"/>
                    <a:pt x="45921" y="574427"/>
                  </a:cubicBezTo>
                  <a:lnTo>
                    <a:pt x="558410" y="574427"/>
                  </a:lnTo>
                  <a:cubicBezTo>
                    <a:pt x="567714" y="574427"/>
                    <a:pt x="575368" y="566786"/>
                    <a:pt x="575368" y="557497"/>
                  </a:cubicBezTo>
                  <a:lnTo>
                    <a:pt x="575368" y="128849"/>
                  </a:lnTo>
                  <a:close/>
                  <a:moveTo>
                    <a:pt x="502734" y="43149"/>
                  </a:moveTo>
                  <a:lnTo>
                    <a:pt x="502734" y="77309"/>
                  </a:lnTo>
                  <a:lnTo>
                    <a:pt x="537100" y="77309"/>
                  </a:lnTo>
                  <a:lnTo>
                    <a:pt x="537100" y="43149"/>
                  </a:lnTo>
                  <a:close/>
                  <a:moveTo>
                    <a:pt x="423197" y="43149"/>
                  </a:moveTo>
                  <a:lnTo>
                    <a:pt x="423197" y="77309"/>
                  </a:lnTo>
                  <a:lnTo>
                    <a:pt x="457563" y="77309"/>
                  </a:lnTo>
                  <a:lnTo>
                    <a:pt x="457563" y="43149"/>
                  </a:lnTo>
                  <a:close/>
                  <a:moveTo>
                    <a:pt x="45921" y="0"/>
                  </a:moveTo>
                  <a:lnTo>
                    <a:pt x="558410" y="0"/>
                  </a:lnTo>
                  <a:cubicBezTo>
                    <a:pt x="583621" y="0"/>
                    <a:pt x="604181" y="20526"/>
                    <a:pt x="604181" y="45846"/>
                  </a:cubicBezTo>
                  <a:lnTo>
                    <a:pt x="604181" y="557497"/>
                  </a:lnTo>
                  <a:cubicBezTo>
                    <a:pt x="604181" y="582667"/>
                    <a:pt x="583621" y="603193"/>
                    <a:pt x="558410" y="603193"/>
                  </a:cubicBezTo>
                  <a:lnTo>
                    <a:pt x="45921" y="603193"/>
                  </a:lnTo>
                  <a:cubicBezTo>
                    <a:pt x="20560" y="603193"/>
                    <a:pt x="0" y="582667"/>
                    <a:pt x="0" y="557497"/>
                  </a:cubicBezTo>
                  <a:lnTo>
                    <a:pt x="0" y="45846"/>
                  </a:lnTo>
                  <a:cubicBezTo>
                    <a:pt x="0" y="20526"/>
                    <a:pt x="20560" y="0"/>
                    <a:pt x="45921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4" name="îṣḻîḍé">
              <a:extLst>
                <a:ext uri="{FF2B5EF4-FFF2-40B4-BE49-F238E27FC236}">
                  <a16:creationId xmlns:a16="http://schemas.microsoft.com/office/drawing/2014/main" id="{716A4AAF-66FE-4462-901E-658C29D84AD8}"/>
                </a:ext>
              </a:extLst>
            </p:cNvPr>
            <p:cNvSpPr/>
            <p:nvPr/>
          </p:nvSpPr>
          <p:spPr bwMode="auto">
            <a:xfrm>
              <a:off x="1959174" y="5587283"/>
              <a:ext cx="377806" cy="377235"/>
            </a:xfrm>
            <a:custGeom>
              <a:avLst/>
              <a:gdLst>
                <a:gd name="T0" fmla="*/ 6624 w 7154"/>
                <a:gd name="T1" fmla="*/ 2037 h 7154"/>
                <a:gd name="T2" fmla="*/ 6106 w 7154"/>
                <a:gd name="T3" fmla="*/ 1048 h 7154"/>
                <a:gd name="T4" fmla="*/ 5117 w 7154"/>
                <a:gd name="T5" fmla="*/ 530 h 7154"/>
                <a:gd name="T6" fmla="*/ 4643 w 7154"/>
                <a:gd name="T7" fmla="*/ 334 h 7154"/>
                <a:gd name="T8" fmla="*/ 3577 w 7154"/>
                <a:gd name="T9" fmla="*/ 0 h 7154"/>
                <a:gd name="T10" fmla="*/ 2511 w 7154"/>
                <a:gd name="T11" fmla="*/ 334 h 7154"/>
                <a:gd name="T12" fmla="*/ 2037 w 7154"/>
                <a:gd name="T13" fmla="*/ 530 h 7154"/>
                <a:gd name="T14" fmla="*/ 1048 w 7154"/>
                <a:gd name="T15" fmla="*/ 1048 h 7154"/>
                <a:gd name="T16" fmla="*/ 530 w 7154"/>
                <a:gd name="T17" fmla="*/ 2037 h 7154"/>
                <a:gd name="T18" fmla="*/ 334 w 7154"/>
                <a:gd name="T19" fmla="*/ 2511 h 7154"/>
                <a:gd name="T20" fmla="*/ 0 w 7154"/>
                <a:gd name="T21" fmla="*/ 3577 h 7154"/>
                <a:gd name="T22" fmla="*/ 334 w 7154"/>
                <a:gd name="T23" fmla="*/ 4643 h 7154"/>
                <a:gd name="T24" fmla="*/ 530 w 7154"/>
                <a:gd name="T25" fmla="*/ 5117 h 7154"/>
                <a:gd name="T26" fmla="*/ 1048 w 7154"/>
                <a:gd name="T27" fmla="*/ 6106 h 7154"/>
                <a:gd name="T28" fmla="*/ 2037 w 7154"/>
                <a:gd name="T29" fmla="*/ 6624 h 7154"/>
                <a:gd name="T30" fmla="*/ 2511 w 7154"/>
                <a:gd name="T31" fmla="*/ 6820 h 7154"/>
                <a:gd name="T32" fmla="*/ 3577 w 7154"/>
                <a:gd name="T33" fmla="*/ 7154 h 7154"/>
                <a:gd name="T34" fmla="*/ 4643 w 7154"/>
                <a:gd name="T35" fmla="*/ 6820 h 7154"/>
                <a:gd name="T36" fmla="*/ 5117 w 7154"/>
                <a:gd name="T37" fmla="*/ 6624 h 7154"/>
                <a:gd name="T38" fmla="*/ 6106 w 7154"/>
                <a:gd name="T39" fmla="*/ 6106 h 7154"/>
                <a:gd name="T40" fmla="*/ 6624 w 7154"/>
                <a:gd name="T41" fmla="*/ 5117 h 7154"/>
                <a:gd name="T42" fmla="*/ 6820 w 7154"/>
                <a:gd name="T43" fmla="*/ 4643 h 7154"/>
                <a:gd name="T44" fmla="*/ 7154 w 7154"/>
                <a:gd name="T45" fmla="*/ 3577 h 7154"/>
                <a:gd name="T46" fmla="*/ 6820 w 7154"/>
                <a:gd name="T47" fmla="*/ 2511 h 7154"/>
                <a:gd name="T48" fmla="*/ 6624 w 7154"/>
                <a:gd name="T49" fmla="*/ 2037 h 7154"/>
                <a:gd name="T50" fmla="*/ 5857 w 7154"/>
                <a:gd name="T51" fmla="*/ 2406 h 7154"/>
                <a:gd name="T52" fmla="*/ 3286 w 7154"/>
                <a:gd name="T53" fmla="*/ 4976 h 7154"/>
                <a:gd name="T54" fmla="*/ 2875 w 7154"/>
                <a:gd name="T55" fmla="*/ 5387 h 7154"/>
                <a:gd name="T56" fmla="*/ 2464 w 7154"/>
                <a:gd name="T57" fmla="*/ 5387 h 7154"/>
                <a:gd name="T58" fmla="*/ 2053 w 7154"/>
                <a:gd name="T59" fmla="*/ 4976 h 7154"/>
                <a:gd name="T60" fmla="*/ 1297 w 7154"/>
                <a:gd name="T61" fmla="*/ 4221 h 7154"/>
                <a:gd name="T62" fmla="*/ 1297 w 7154"/>
                <a:gd name="T63" fmla="*/ 3809 h 7154"/>
                <a:gd name="T64" fmla="*/ 1708 w 7154"/>
                <a:gd name="T65" fmla="*/ 3398 h 7154"/>
                <a:gd name="T66" fmla="*/ 2120 w 7154"/>
                <a:gd name="T67" fmla="*/ 3398 h 7154"/>
                <a:gd name="T68" fmla="*/ 2669 w 7154"/>
                <a:gd name="T69" fmla="*/ 3948 h 7154"/>
                <a:gd name="T70" fmla="*/ 5034 w 7154"/>
                <a:gd name="T71" fmla="*/ 1583 h 7154"/>
                <a:gd name="T72" fmla="*/ 5445 w 7154"/>
                <a:gd name="T73" fmla="*/ 1583 h 7154"/>
                <a:gd name="T74" fmla="*/ 5857 w 7154"/>
                <a:gd name="T75" fmla="*/ 1994 h 7154"/>
                <a:gd name="T76" fmla="*/ 5857 w 7154"/>
                <a:gd name="T77" fmla="*/ 2406 h 7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154" h="7154">
                  <a:moveTo>
                    <a:pt x="6624" y="2037"/>
                  </a:moveTo>
                  <a:cubicBezTo>
                    <a:pt x="6580" y="1703"/>
                    <a:pt x="6403" y="1345"/>
                    <a:pt x="6106" y="1048"/>
                  </a:cubicBezTo>
                  <a:cubicBezTo>
                    <a:pt x="5809" y="751"/>
                    <a:pt x="5451" y="574"/>
                    <a:pt x="5117" y="530"/>
                  </a:cubicBezTo>
                  <a:cubicBezTo>
                    <a:pt x="4966" y="510"/>
                    <a:pt x="4764" y="427"/>
                    <a:pt x="4643" y="334"/>
                  </a:cubicBezTo>
                  <a:cubicBezTo>
                    <a:pt x="4375" y="128"/>
                    <a:pt x="3997" y="0"/>
                    <a:pt x="3577" y="0"/>
                  </a:cubicBezTo>
                  <a:cubicBezTo>
                    <a:pt x="3157" y="0"/>
                    <a:pt x="2779" y="128"/>
                    <a:pt x="2511" y="334"/>
                  </a:cubicBezTo>
                  <a:cubicBezTo>
                    <a:pt x="2390" y="427"/>
                    <a:pt x="2188" y="510"/>
                    <a:pt x="2037" y="530"/>
                  </a:cubicBezTo>
                  <a:cubicBezTo>
                    <a:pt x="1702" y="574"/>
                    <a:pt x="1345" y="751"/>
                    <a:pt x="1048" y="1048"/>
                  </a:cubicBezTo>
                  <a:cubicBezTo>
                    <a:pt x="751" y="1345"/>
                    <a:pt x="574" y="1703"/>
                    <a:pt x="530" y="2037"/>
                  </a:cubicBezTo>
                  <a:cubicBezTo>
                    <a:pt x="510" y="2188"/>
                    <a:pt x="427" y="2390"/>
                    <a:pt x="334" y="2511"/>
                  </a:cubicBezTo>
                  <a:cubicBezTo>
                    <a:pt x="128" y="2779"/>
                    <a:pt x="0" y="3157"/>
                    <a:pt x="0" y="3577"/>
                  </a:cubicBezTo>
                  <a:cubicBezTo>
                    <a:pt x="0" y="3997"/>
                    <a:pt x="128" y="4375"/>
                    <a:pt x="334" y="4643"/>
                  </a:cubicBezTo>
                  <a:cubicBezTo>
                    <a:pt x="427" y="4764"/>
                    <a:pt x="510" y="4966"/>
                    <a:pt x="530" y="5117"/>
                  </a:cubicBezTo>
                  <a:cubicBezTo>
                    <a:pt x="574" y="5451"/>
                    <a:pt x="751" y="5809"/>
                    <a:pt x="1048" y="6106"/>
                  </a:cubicBezTo>
                  <a:cubicBezTo>
                    <a:pt x="1345" y="6403"/>
                    <a:pt x="1702" y="6580"/>
                    <a:pt x="2037" y="6624"/>
                  </a:cubicBezTo>
                  <a:cubicBezTo>
                    <a:pt x="2188" y="6644"/>
                    <a:pt x="2390" y="6727"/>
                    <a:pt x="2511" y="6820"/>
                  </a:cubicBezTo>
                  <a:cubicBezTo>
                    <a:pt x="2779" y="7025"/>
                    <a:pt x="3157" y="7154"/>
                    <a:pt x="3577" y="7154"/>
                  </a:cubicBezTo>
                  <a:cubicBezTo>
                    <a:pt x="3997" y="7154"/>
                    <a:pt x="4375" y="7025"/>
                    <a:pt x="4643" y="6820"/>
                  </a:cubicBezTo>
                  <a:cubicBezTo>
                    <a:pt x="4764" y="6727"/>
                    <a:pt x="4966" y="6644"/>
                    <a:pt x="5117" y="6624"/>
                  </a:cubicBezTo>
                  <a:cubicBezTo>
                    <a:pt x="5451" y="6580"/>
                    <a:pt x="5809" y="6403"/>
                    <a:pt x="6106" y="6106"/>
                  </a:cubicBezTo>
                  <a:cubicBezTo>
                    <a:pt x="6403" y="5809"/>
                    <a:pt x="6580" y="5451"/>
                    <a:pt x="6624" y="5117"/>
                  </a:cubicBezTo>
                  <a:cubicBezTo>
                    <a:pt x="6644" y="4966"/>
                    <a:pt x="6727" y="4764"/>
                    <a:pt x="6820" y="4643"/>
                  </a:cubicBezTo>
                  <a:cubicBezTo>
                    <a:pt x="7026" y="4375"/>
                    <a:pt x="7154" y="3997"/>
                    <a:pt x="7154" y="3577"/>
                  </a:cubicBezTo>
                  <a:cubicBezTo>
                    <a:pt x="7154" y="3157"/>
                    <a:pt x="7026" y="2779"/>
                    <a:pt x="6820" y="2511"/>
                  </a:cubicBezTo>
                  <a:cubicBezTo>
                    <a:pt x="6727" y="2390"/>
                    <a:pt x="6644" y="2188"/>
                    <a:pt x="6624" y="2037"/>
                  </a:cubicBezTo>
                  <a:close/>
                  <a:moveTo>
                    <a:pt x="5857" y="2406"/>
                  </a:moveTo>
                  <a:lnTo>
                    <a:pt x="3286" y="4976"/>
                  </a:lnTo>
                  <a:lnTo>
                    <a:pt x="2875" y="5387"/>
                  </a:lnTo>
                  <a:cubicBezTo>
                    <a:pt x="2762" y="5501"/>
                    <a:pt x="2577" y="5501"/>
                    <a:pt x="2464" y="5387"/>
                  </a:cubicBezTo>
                  <a:lnTo>
                    <a:pt x="2053" y="4976"/>
                  </a:lnTo>
                  <a:lnTo>
                    <a:pt x="1297" y="4221"/>
                  </a:lnTo>
                  <a:cubicBezTo>
                    <a:pt x="1183" y="4107"/>
                    <a:pt x="1183" y="3923"/>
                    <a:pt x="1297" y="3809"/>
                  </a:cubicBezTo>
                  <a:lnTo>
                    <a:pt x="1708" y="3398"/>
                  </a:lnTo>
                  <a:cubicBezTo>
                    <a:pt x="1822" y="3285"/>
                    <a:pt x="2006" y="3285"/>
                    <a:pt x="2120" y="3398"/>
                  </a:cubicBezTo>
                  <a:lnTo>
                    <a:pt x="2669" y="3948"/>
                  </a:lnTo>
                  <a:lnTo>
                    <a:pt x="5034" y="1583"/>
                  </a:lnTo>
                  <a:cubicBezTo>
                    <a:pt x="5148" y="1470"/>
                    <a:pt x="5332" y="1470"/>
                    <a:pt x="5445" y="1583"/>
                  </a:cubicBezTo>
                  <a:lnTo>
                    <a:pt x="5857" y="1994"/>
                  </a:lnTo>
                  <a:cubicBezTo>
                    <a:pt x="5970" y="2108"/>
                    <a:pt x="5970" y="2292"/>
                    <a:pt x="5857" y="2406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5" name="iṧḷiḑé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743264" y="4276135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按分布模式进行配置</a:t>
              </a:r>
              <a:endParaRPr lang="en-US" altLang="zh-CN" sz="1100" dirty="0"/>
            </a:p>
          </p:txBody>
        </p:sp>
        <p:sp>
          <p:nvSpPr>
            <p:cNvPr id="216" name="îṧḻiḑe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197100" y="4926511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>
                  <a:solidFill>
                    <a:schemeClr val="bg1"/>
                  </a:solidFill>
                </a:rPr>
                <a:t>运行第一个实例</a:t>
              </a: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17" name="îṣľïd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2651098" y="5576887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开心</a:t>
              </a:r>
              <a:r>
                <a:rPr lang="en-US" altLang="zh-CN" sz="1100" dirty="0" err="1"/>
                <a:t>ing</a:t>
              </a:r>
              <a:r>
                <a:rPr lang="en-US" altLang="zh-CN" sz="1100" dirty="0"/>
                <a:t>~</a:t>
              </a:r>
            </a:p>
          </p:txBody>
        </p:sp>
        <p:sp>
          <p:nvSpPr>
            <p:cNvPr id="218" name="íṧ1îd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289201" y="3625759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 解压</a:t>
              </a:r>
              <a:endParaRPr lang="en-US" altLang="zh-CN" sz="1100" dirty="0"/>
            </a:p>
          </p:txBody>
        </p:sp>
        <p:sp>
          <p:nvSpPr>
            <p:cNvPr id="219" name="îs1ïḋ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842020" y="2975382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配置环境变量 使之生效</a:t>
              </a:r>
              <a:endParaRPr lang="en-US" altLang="zh-CN" sz="1100" dirty="0"/>
            </a:p>
          </p:txBody>
        </p:sp>
        <p:sp>
          <p:nvSpPr>
            <p:cNvPr id="220" name="íšliḓ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5387990" y="2325006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</a:t>
              </a:r>
              <a:r>
                <a:rPr lang="en-US" altLang="zh-CN" sz="1100" dirty="0"/>
                <a:t> </a:t>
              </a:r>
              <a:r>
                <a:rPr lang="zh-CN" altLang="en-US" sz="1100" dirty="0"/>
                <a:t>解压</a:t>
              </a:r>
              <a:endParaRPr lang="en-US" altLang="zh-CN" sz="1100" dirty="0"/>
            </a:p>
          </p:txBody>
        </p:sp>
      </p:grpSp>
      <p:sp>
        <p:nvSpPr>
          <p:cNvPr id="7" name="Rectangle 2">
            <a:extLst>
              <a:ext uri="{FF2B5EF4-FFF2-40B4-BE49-F238E27FC236}">
                <a16:creationId xmlns:a16="http://schemas.microsoft.com/office/drawing/2014/main" id="{3AE81623-7CD6-49D9-AB93-2743959343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7C9400A1-127B-443B-9890-1A43D9C469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5E96695E-50F1-42F2-BC25-869F2B0EF49D}"/>
              </a:ext>
            </a:extLst>
          </p:cNvPr>
          <p:cNvSpPr txBox="1"/>
          <p:nvPr/>
        </p:nvSpPr>
        <p:spPr>
          <a:xfrm>
            <a:off x="503436" y="1130300"/>
            <a:ext cx="81371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使用 </a:t>
            </a:r>
            <a:r>
              <a:rPr lang="en-US" altLang="zh-CN" dirty="0"/>
              <a:t>rm –r output </a:t>
            </a:r>
            <a:r>
              <a:rPr lang="zh-CN" altLang="en-US" dirty="0"/>
              <a:t>删除</a:t>
            </a:r>
            <a:r>
              <a:rPr lang="en-US" altLang="zh-CN" dirty="0"/>
              <a:t>output</a:t>
            </a:r>
            <a:r>
              <a:rPr lang="zh-CN" altLang="en-US" dirty="0"/>
              <a:t>文件夹再执行其他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BB82027F-4FB8-4B48-940C-0BF5A4EAFF07}"/>
              </a:ext>
            </a:extLst>
          </p:cNvPr>
          <p:cNvSpPr txBox="1"/>
          <p:nvPr/>
        </p:nvSpPr>
        <p:spPr>
          <a:xfrm>
            <a:off x="503437" y="1555828"/>
            <a:ext cx="81371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 err="1"/>
              <a:t>hadoop</a:t>
            </a:r>
            <a:r>
              <a:rPr lang="en-US" altLang="zh-CN" sz="1200" b="1" dirty="0"/>
              <a:t> jar share/</a:t>
            </a:r>
            <a:r>
              <a:rPr lang="en-US" altLang="zh-CN" sz="1200" b="1" dirty="0" err="1"/>
              <a:t>hadoop</a:t>
            </a:r>
            <a:r>
              <a:rPr lang="en-US" altLang="zh-CN" sz="1200" b="1" dirty="0"/>
              <a:t>/</a:t>
            </a:r>
            <a:r>
              <a:rPr lang="en-US" altLang="zh-CN" sz="1200" b="1" dirty="0" err="1"/>
              <a:t>mapreduce</a:t>
            </a:r>
            <a:r>
              <a:rPr lang="en-US" altLang="zh-CN" sz="1200" b="1" dirty="0"/>
              <a:t>/hadoop-mapreduce-examples-3.1.2.jar grep input output '[</a:t>
            </a:r>
            <a:r>
              <a:rPr lang="en-US" altLang="zh-CN" sz="1200" b="1" dirty="0" err="1"/>
              <a:t>hH</a:t>
            </a:r>
            <a:r>
              <a:rPr lang="en-US" altLang="zh-CN" sz="1200" b="1" dirty="0"/>
              <a:t>][a-z.]+'</a:t>
            </a:r>
            <a:endParaRPr lang="zh-CN" altLang="en-US" sz="1200" b="1" dirty="0"/>
          </a:p>
        </p:txBody>
      </p:sp>
      <p:pic>
        <p:nvPicPr>
          <p:cNvPr id="19457" name="Picture 1" descr="L:\Water\Documents\Tencent Files\1106367305\Image\C2C\9FA7S({PD5ZSW5%KC_S4$4F.jpg">
            <a:extLst>
              <a:ext uri="{FF2B5EF4-FFF2-40B4-BE49-F238E27FC236}">
                <a16:creationId xmlns:a16="http://schemas.microsoft.com/office/drawing/2014/main" id="{4CF91837-EEA7-4955-A20B-3805A57D18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1" t="515"/>
          <a:stretch>
            <a:fillRect/>
          </a:stretch>
        </p:blipFill>
        <p:spPr bwMode="auto">
          <a:xfrm>
            <a:off x="1082629" y="1906939"/>
            <a:ext cx="6978742" cy="4519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1" descr="L:\Water\Documents\Tencent Files\1106367305\Image\C2C\}[1J5K2(K)(PU%@[TDI}O}7.jpg">
            <a:extLst>
              <a:ext uri="{FF2B5EF4-FFF2-40B4-BE49-F238E27FC236}">
                <a16:creationId xmlns:a16="http://schemas.microsoft.com/office/drawing/2014/main" id="{7FB0DABC-5551-45F4-9C93-D058815584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" r="750" b="88354"/>
          <a:stretch>
            <a:fillRect/>
          </a:stretch>
        </p:blipFill>
        <p:spPr bwMode="auto">
          <a:xfrm>
            <a:off x="1090612" y="1906939"/>
            <a:ext cx="6962776" cy="544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54925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看看其他实例？</a:t>
            </a:r>
            <a:r>
              <a:rPr lang="en-US" altLang="zh-CN" dirty="0"/>
              <a:t>pi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2</a:t>
            </a:fld>
            <a:endParaRPr lang="zh-CN" altLang="en-US"/>
          </a:p>
        </p:txBody>
      </p:sp>
      <p:grpSp>
        <p:nvGrpSpPr>
          <p:cNvPr id="194" name="180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4D56F3B-0686-4E9E-A675-DA7BF2C9F6C2}"/>
              </a:ext>
            </a:extLst>
          </p:cNvPr>
          <p:cNvGrpSpPr>
            <a:grpSpLocks noChangeAspect="1"/>
          </p:cNvGrpSpPr>
          <p:nvPr/>
        </p:nvGrpSpPr>
        <p:grpSpPr>
          <a:xfrm>
            <a:off x="1875381" y="-2460624"/>
            <a:ext cx="5393238" cy="2212975"/>
            <a:chOff x="938530" y="1805421"/>
            <a:chExt cx="10580370" cy="4341379"/>
          </a:xfrm>
        </p:grpSpPr>
        <p:sp>
          <p:nvSpPr>
            <p:cNvPr id="195" name="iṧḻîďè">
              <a:extLst>
                <a:ext uri="{FF2B5EF4-FFF2-40B4-BE49-F238E27FC236}">
                  <a16:creationId xmlns:a16="http://schemas.microsoft.com/office/drawing/2014/main" id="{6FC8272D-4563-47EB-B741-E738A21C2623}"/>
                </a:ext>
              </a:extLst>
            </p:cNvPr>
            <p:cNvSpPr/>
            <p:nvPr/>
          </p:nvSpPr>
          <p:spPr bwMode="auto">
            <a:xfrm>
              <a:off x="5637082" y="5226400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搞定！</a:t>
              </a:r>
              <a:endParaRPr lang="en-US" altLang="zh-CN" b="1" dirty="0"/>
            </a:p>
          </p:txBody>
        </p:sp>
        <p:sp>
          <p:nvSpPr>
            <p:cNvPr id="196" name="îŝḻiḋé">
              <a:extLst>
                <a:ext uri="{FF2B5EF4-FFF2-40B4-BE49-F238E27FC236}">
                  <a16:creationId xmlns:a16="http://schemas.microsoft.com/office/drawing/2014/main" id="{C05C75D7-4258-49B9-958F-F2EEF0B840E0}"/>
                </a:ext>
              </a:extLst>
            </p:cNvPr>
            <p:cNvSpPr/>
            <p:nvPr/>
          </p:nvSpPr>
          <p:spPr bwMode="auto">
            <a:xfrm>
              <a:off x="6176201" y="4576024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>
                  <a:solidFill>
                    <a:schemeClr val="bg1"/>
                  </a:solidFill>
                </a:rPr>
                <a:t>测试</a:t>
              </a:r>
              <a:endParaRPr lang="en-US" altLang="zh-CN" sz="1750" b="1" dirty="0">
                <a:solidFill>
                  <a:schemeClr val="bg1"/>
                </a:solidFill>
              </a:endParaRPr>
            </a:p>
          </p:txBody>
        </p:sp>
        <p:sp>
          <p:nvSpPr>
            <p:cNvPr id="197" name="íṥḷíďê">
              <a:extLst>
                <a:ext uri="{FF2B5EF4-FFF2-40B4-BE49-F238E27FC236}">
                  <a16:creationId xmlns:a16="http://schemas.microsoft.com/office/drawing/2014/main" id="{D4FCC7AE-5767-4EC4-BB68-B94457D3AE6D}"/>
                </a:ext>
              </a:extLst>
            </p:cNvPr>
            <p:cNvSpPr/>
            <p:nvPr/>
          </p:nvSpPr>
          <p:spPr bwMode="auto">
            <a:xfrm>
              <a:off x="6703850" y="3925648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/>
                <a:t>配置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8" name="ïś1ïḓè">
              <a:extLst>
                <a:ext uri="{FF2B5EF4-FFF2-40B4-BE49-F238E27FC236}">
                  <a16:creationId xmlns:a16="http://schemas.microsoft.com/office/drawing/2014/main" id="{F32E844B-E27C-4A92-9B60-95E4AD88D81F}"/>
                </a:ext>
              </a:extLst>
            </p:cNvPr>
            <p:cNvSpPr/>
            <p:nvPr/>
          </p:nvSpPr>
          <p:spPr bwMode="auto">
            <a:xfrm>
              <a:off x="7241823" y="3275272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1750" b="1" dirty="0"/>
                <a:t>安装</a:t>
              </a:r>
              <a:r>
                <a:rPr lang="en-US" altLang="zh-CN" sz="1750" b="1" dirty="0"/>
                <a:t>Hadoop</a:t>
              </a:r>
            </a:p>
          </p:txBody>
        </p:sp>
        <p:sp>
          <p:nvSpPr>
            <p:cNvPr id="199" name="îśļïḍè">
              <a:extLst>
                <a:ext uri="{FF2B5EF4-FFF2-40B4-BE49-F238E27FC236}">
                  <a16:creationId xmlns:a16="http://schemas.microsoft.com/office/drawing/2014/main" id="{F812BB55-77DE-4E23-95E6-156A22FAD363}"/>
                </a:ext>
              </a:extLst>
            </p:cNvPr>
            <p:cNvSpPr/>
            <p:nvPr/>
          </p:nvSpPr>
          <p:spPr bwMode="auto">
            <a:xfrm>
              <a:off x="7743555" y="2624895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配置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0" name="ï$1íḍé">
              <a:extLst>
                <a:ext uri="{FF2B5EF4-FFF2-40B4-BE49-F238E27FC236}">
                  <a16:creationId xmlns:a16="http://schemas.microsoft.com/office/drawing/2014/main" id="{48245F16-84E7-4201-9485-85B5E5B15ECD}"/>
                </a:ext>
              </a:extLst>
            </p:cNvPr>
            <p:cNvSpPr/>
            <p:nvPr/>
          </p:nvSpPr>
          <p:spPr bwMode="auto">
            <a:xfrm>
              <a:off x="8263856" y="1974519"/>
              <a:ext cx="3255044" cy="680764"/>
            </a:xfrm>
            <a:prstGeom prst="parallelogram">
              <a:avLst>
                <a:gd name="adj" fmla="val 0"/>
              </a:avLst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anchor="ctr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b="1" dirty="0"/>
                <a:t>安装</a:t>
              </a:r>
              <a:r>
                <a:rPr lang="en-US" altLang="zh-CN" b="1" dirty="0"/>
                <a:t>JAVA</a:t>
              </a:r>
            </a:p>
          </p:txBody>
        </p:sp>
        <p:sp>
          <p:nvSpPr>
            <p:cNvPr id="201" name="îṥľïďê">
              <a:extLst>
                <a:ext uri="{FF2B5EF4-FFF2-40B4-BE49-F238E27FC236}">
                  <a16:creationId xmlns:a16="http://schemas.microsoft.com/office/drawing/2014/main" id="{920DFBAA-02E5-4206-86B0-FE10F93A7509}"/>
                </a:ext>
              </a:extLst>
            </p:cNvPr>
            <p:cNvSpPr/>
            <p:nvPr/>
          </p:nvSpPr>
          <p:spPr bwMode="auto">
            <a:xfrm>
              <a:off x="5220497" y="3438015"/>
              <a:ext cx="3741918" cy="1239562"/>
            </a:xfrm>
            <a:custGeom>
              <a:avLst/>
              <a:gdLst>
                <a:gd name="T0" fmla="*/ 179 w 203"/>
                <a:gd name="T1" fmla="*/ 82 h 82"/>
                <a:gd name="T2" fmla="*/ 203 w 203"/>
                <a:gd name="T3" fmla="*/ 29 h 82"/>
                <a:gd name="T4" fmla="*/ 65 w 203"/>
                <a:gd name="T5" fmla="*/ 27 h 82"/>
                <a:gd name="T6" fmla="*/ 59 w 203"/>
                <a:gd name="T7" fmla="*/ 0 h 82"/>
                <a:gd name="T8" fmla="*/ 59 w 203"/>
                <a:gd name="T9" fmla="*/ 0 h 82"/>
                <a:gd name="T10" fmla="*/ 0 w 203"/>
                <a:gd name="T11" fmla="*/ 80 h 82"/>
                <a:gd name="T12" fmla="*/ 61 w 203"/>
                <a:gd name="T13" fmla="*/ 82 h 82"/>
                <a:gd name="T14" fmla="*/ 179 w 203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82">
                  <a:moveTo>
                    <a:pt x="179" y="82"/>
                  </a:moveTo>
                  <a:lnTo>
                    <a:pt x="203" y="29"/>
                  </a:lnTo>
                  <a:lnTo>
                    <a:pt x="65" y="27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0" y="80"/>
                  </a:lnTo>
                  <a:lnTo>
                    <a:pt x="61" y="82"/>
                  </a:lnTo>
                  <a:lnTo>
                    <a:pt x="179" y="8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2" name="i$ḻíḋè">
              <a:extLst>
                <a:ext uri="{FF2B5EF4-FFF2-40B4-BE49-F238E27FC236}">
                  <a16:creationId xmlns:a16="http://schemas.microsoft.com/office/drawing/2014/main" id="{430BE7EB-B6F0-4F05-80EA-1F517165029F}"/>
                </a:ext>
              </a:extLst>
            </p:cNvPr>
            <p:cNvSpPr/>
            <p:nvPr/>
          </p:nvSpPr>
          <p:spPr bwMode="auto">
            <a:xfrm>
              <a:off x="8032938" y="1974519"/>
              <a:ext cx="1398307" cy="247664"/>
            </a:xfrm>
            <a:prstGeom prst="triangle">
              <a:avLst>
                <a:gd name="adj" fmla="val 14726"/>
              </a:avLst>
            </a:pr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03" name="işľiḋe">
              <a:extLst>
                <a:ext uri="{FF2B5EF4-FFF2-40B4-BE49-F238E27FC236}">
                  <a16:creationId xmlns:a16="http://schemas.microsoft.com/office/drawing/2014/main" id="{E4DECB97-43D1-4D26-8C48-41447675AE79}"/>
                </a:ext>
              </a:extLst>
            </p:cNvPr>
            <p:cNvSpPr/>
            <p:nvPr/>
          </p:nvSpPr>
          <p:spPr bwMode="auto">
            <a:xfrm>
              <a:off x="3675422" y="1805421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4" name="iś1íďé">
              <a:extLst>
                <a:ext uri="{FF2B5EF4-FFF2-40B4-BE49-F238E27FC236}">
                  <a16:creationId xmlns:a16="http://schemas.microsoft.com/office/drawing/2014/main" id="{6E7EA96A-F20A-4912-AC31-63A0F19E66DE}"/>
                </a:ext>
              </a:extLst>
            </p:cNvPr>
            <p:cNvSpPr/>
            <p:nvPr/>
          </p:nvSpPr>
          <p:spPr bwMode="auto">
            <a:xfrm>
              <a:off x="3129452" y="2455797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5" name="ïŝlíḋe">
              <a:extLst>
                <a:ext uri="{FF2B5EF4-FFF2-40B4-BE49-F238E27FC236}">
                  <a16:creationId xmlns:a16="http://schemas.microsoft.com/office/drawing/2014/main" id="{66D30D6F-26C9-4C2C-BC01-900AC07DC57E}"/>
                </a:ext>
              </a:extLst>
            </p:cNvPr>
            <p:cNvSpPr/>
            <p:nvPr/>
          </p:nvSpPr>
          <p:spPr bwMode="auto">
            <a:xfrm>
              <a:off x="2576633" y="3106174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6" name="îSliďè">
              <a:extLst>
                <a:ext uri="{FF2B5EF4-FFF2-40B4-BE49-F238E27FC236}">
                  <a16:creationId xmlns:a16="http://schemas.microsoft.com/office/drawing/2014/main" id="{2F6D5554-EACD-4DDD-892F-2E5F97A9C421}"/>
                </a:ext>
              </a:extLst>
            </p:cNvPr>
            <p:cNvSpPr/>
            <p:nvPr/>
          </p:nvSpPr>
          <p:spPr bwMode="auto">
            <a:xfrm>
              <a:off x="2030696" y="3756550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7" name="îSliďé">
              <a:extLst>
                <a:ext uri="{FF2B5EF4-FFF2-40B4-BE49-F238E27FC236}">
                  <a16:creationId xmlns:a16="http://schemas.microsoft.com/office/drawing/2014/main" id="{2E278F3F-C8D8-4E2A-A3EA-29ADCF1A02AA}"/>
                </a:ext>
              </a:extLst>
            </p:cNvPr>
            <p:cNvSpPr/>
            <p:nvPr/>
          </p:nvSpPr>
          <p:spPr bwMode="auto">
            <a:xfrm>
              <a:off x="1484532" y="4406926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8" name="îs1iďé">
              <a:extLst>
                <a:ext uri="{FF2B5EF4-FFF2-40B4-BE49-F238E27FC236}">
                  <a16:creationId xmlns:a16="http://schemas.microsoft.com/office/drawing/2014/main" id="{EB74D0C2-5677-4F3F-A043-44D01A3F3D48}"/>
                </a:ext>
              </a:extLst>
            </p:cNvPr>
            <p:cNvSpPr/>
            <p:nvPr/>
          </p:nvSpPr>
          <p:spPr bwMode="auto">
            <a:xfrm>
              <a:off x="938530" y="5057302"/>
              <a:ext cx="5755824" cy="1089498"/>
            </a:xfrm>
            <a:custGeom>
              <a:avLst/>
              <a:gdLst>
                <a:gd name="connsiteX0" fmla="*/ 994185 w 6372708"/>
                <a:gd name="connsiteY0" fmla="*/ 0 h 1354923"/>
                <a:gd name="connsiteX1" fmla="*/ 1147989 w 6372708"/>
                <a:gd name="connsiteY1" fmla="*/ 508310 h 1354923"/>
                <a:gd name="connsiteX2" fmla="*/ 6372708 w 6372708"/>
                <a:gd name="connsiteY2" fmla="*/ 508310 h 1354923"/>
                <a:gd name="connsiteX3" fmla="*/ 5737342 w 6372708"/>
                <a:gd name="connsiteY3" fmla="*/ 1354923 h 1354923"/>
                <a:gd name="connsiteX4" fmla="*/ 1404156 w 6372708"/>
                <a:gd name="connsiteY4" fmla="*/ 1354923 h 1354923"/>
                <a:gd name="connsiteX5" fmla="*/ 0 w 6372708"/>
                <a:gd name="connsiteY5" fmla="*/ 1354923 h 135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72708" h="1354923">
                  <a:moveTo>
                    <a:pt x="994185" y="0"/>
                  </a:moveTo>
                  <a:lnTo>
                    <a:pt x="1147989" y="508310"/>
                  </a:lnTo>
                  <a:lnTo>
                    <a:pt x="6372708" y="508310"/>
                  </a:lnTo>
                  <a:lnTo>
                    <a:pt x="5737342" y="1354923"/>
                  </a:lnTo>
                  <a:lnTo>
                    <a:pt x="1404156" y="1354923"/>
                  </a:lnTo>
                  <a:lnTo>
                    <a:pt x="0" y="135492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2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09" name="ïṣḻïḋe">
              <a:extLst>
                <a:ext uri="{FF2B5EF4-FFF2-40B4-BE49-F238E27FC236}">
                  <a16:creationId xmlns:a16="http://schemas.microsoft.com/office/drawing/2014/main" id="{7709F84E-C33F-462F-B538-51CB71C9284E}"/>
                </a:ext>
              </a:extLst>
            </p:cNvPr>
            <p:cNvSpPr/>
            <p:nvPr/>
          </p:nvSpPr>
          <p:spPr bwMode="auto">
            <a:xfrm>
              <a:off x="4585947" y="2371737"/>
              <a:ext cx="377807" cy="377281"/>
            </a:xfrm>
            <a:custGeom>
              <a:avLst/>
              <a:gdLst>
                <a:gd name="T0" fmla="*/ 400 w 11264"/>
                <a:gd name="T1" fmla="*/ 7099 h 11264"/>
                <a:gd name="T2" fmla="*/ 4165 w 11264"/>
                <a:gd name="T3" fmla="*/ 7099 h 11264"/>
                <a:gd name="T4" fmla="*/ 4165 w 11264"/>
                <a:gd name="T5" fmla="*/ 10864 h 11264"/>
                <a:gd name="T6" fmla="*/ 4565 w 11264"/>
                <a:gd name="T7" fmla="*/ 11264 h 11264"/>
                <a:gd name="T8" fmla="*/ 6699 w 11264"/>
                <a:gd name="T9" fmla="*/ 11264 h 11264"/>
                <a:gd name="T10" fmla="*/ 7099 w 11264"/>
                <a:gd name="T11" fmla="*/ 10864 h 11264"/>
                <a:gd name="T12" fmla="*/ 7099 w 11264"/>
                <a:gd name="T13" fmla="*/ 7099 h 11264"/>
                <a:gd name="T14" fmla="*/ 10864 w 11264"/>
                <a:gd name="T15" fmla="*/ 7099 h 11264"/>
                <a:gd name="T16" fmla="*/ 11264 w 11264"/>
                <a:gd name="T17" fmla="*/ 6699 h 11264"/>
                <a:gd name="T18" fmla="*/ 11264 w 11264"/>
                <a:gd name="T19" fmla="*/ 4565 h 11264"/>
                <a:gd name="T20" fmla="*/ 10864 w 11264"/>
                <a:gd name="T21" fmla="*/ 4165 h 11264"/>
                <a:gd name="T22" fmla="*/ 7099 w 11264"/>
                <a:gd name="T23" fmla="*/ 4165 h 11264"/>
                <a:gd name="T24" fmla="*/ 7099 w 11264"/>
                <a:gd name="T25" fmla="*/ 400 h 11264"/>
                <a:gd name="T26" fmla="*/ 6699 w 11264"/>
                <a:gd name="T27" fmla="*/ 0 h 11264"/>
                <a:gd name="T28" fmla="*/ 4565 w 11264"/>
                <a:gd name="T29" fmla="*/ 0 h 11264"/>
                <a:gd name="T30" fmla="*/ 4165 w 11264"/>
                <a:gd name="T31" fmla="*/ 400 h 11264"/>
                <a:gd name="T32" fmla="*/ 4165 w 11264"/>
                <a:gd name="T33" fmla="*/ 4165 h 11264"/>
                <a:gd name="T34" fmla="*/ 400 w 11264"/>
                <a:gd name="T35" fmla="*/ 4165 h 11264"/>
                <a:gd name="T36" fmla="*/ 0 w 11264"/>
                <a:gd name="T37" fmla="*/ 4565 h 11264"/>
                <a:gd name="T38" fmla="*/ 0 w 11264"/>
                <a:gd name="T39" fmla="*/ 6699 h 11264"/>
                <a:gd name="T40" fmla="*/ 400 w 11264"/>
                <a:gd name="T41" fmla="*/ 7099 h 1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64" h="11264">
                  <a:moveTo>
                    <a:pt x="400" y="7099"/>
                  </a:moveTo>
                  <a:lnTo>
                    <a:pt x="4165" y="7099"/>
                  </a:lnTo>
                  <a:lnTo>
                    <a:pt x="4165" y="10864"/>
                  </a:lnTo>
                  <a:cubicBezTo>
                    <a:pt x="4165" y="11085"/>
                    <a:pt x="4344" y="11264"/>
                    <a:pt x="4565" y="11264"/>
                  </a:cubicBezTo>
                  <a:lnTo>
                    <a:pt x="6699" y="11264"/>
                  </a:lnTo>
                  <a:cubicBezTo>
                    <a:pt x="6920" y="11264"/>
                    <a:pt x="7099" y="11085"/>
                    <a:pt x="7099" y="10864"/>
                  </a:cubicBezTo>
                  <a:lnTo>
                    <a:pt x="7099" y="7099"/>
                  </a:lnTo>
                  <a:lnTo>
                    <a:pt x="10864" y="7099"/>
                  </a:lnTo>
                  <a:cubicBezTo>
                    <a:pt x="11085" y="7099"/>
                    <a:pt x="11264" y="6920"/>
                    <a:pt x="11264" y="6699"/>
                  </a:cubicBezTo>
                  <a:lnTo>
                    <a:pt x="11264" y="4565"/>
                  </a:lnTo>
                  <a:cubicBezTo>
                    <a:pt x="11264" y="4344"/>
                    <a:pt x="11085" y="4165"/>
                    <a:pt x="10864" y="4165"/>
                  </a:cubicBezTo>
                  <a:lnTo>
                    <a:pt x="7099" y="4165"/>
                  </a:lnTo>
                  <a:lnTo>
                    <a:pt x="7099" y="400"/>
                  </a:lnTo>
                  <a:cubicBezTo>
                    <a:pt x="7099" y="179"/>
                    <a:pt x="6920" y="0"/>
                    <a:pt x="6699" y="0"/>
                  </a:cubicBezTo>
                  <a:lnTo>
                    <a:pt x="4565" y="0"/>
                  </a:lnTo>
                  <a:cubicBezTo>
                    <a:pt x="4344" y="0"/>
                    <a:pt x="4165" y="179"/>
                    <a:pt x="4165" y="400"/>
                  </a:cubicBezTo>
                  <a:lnTo>
                    <a:pt x="4165" y="4165"/>
                  </a:lnTo>
                  <a:lnTo>
                    <a:pt x="400" y="4165"/>
                  </a:lnTo>
                  <a:cubicBezTo>
                    <a:pt x="179" y="4165"/>
                    <a:pt x="0" y="4344"/>
                    <a:pt x="0" y="4565"/>
                  </a:cubicBezTo>
                  <a:lnTo>
                    <a:pt x="0" y="6699"/>
                  </a:lnTo>
                  <a:cubicBezTo>
                    <a:pt x="0" y="6920"/>
                    <a:pt x="179" y="7099"/>
                    <a:pt x="400" y="709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0" name="îsḷïde">
              <a:extLst>
                <a:ext uri="{FF2B5EF4-FFF2-40B4-BE49-F238E27FC236}">
                  <a16:creationId xmlns:a16="http://schemas.microsoft.com/office/drawing/2014/main" id="{F7027C89-1BCC-4A00-9535-016DE4C49FD7}"/>
                </a:ext>
              </a:extLst>
            </p:cNvPr>
            <p:cNvSpPr/>
            <p:nvPr/>
          </p:nvSpPr>
          <p:spPr bwMode="auto">
            <a:xfrm>
              <a:off x="4069565" y="3014578"/>
              <a:ext cx="369969" cy="377806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  <a:gd name="connsiteX107" fmla="*/ 373273 h 605239"/>
                <a:gd name="connsiteY107" fmla="*/ 373273 h 605239"/>
                <a:gd name="connsiteX108" fmla="*/ 373273 h 605239"/>
                <a:gd name="connsiteY108" fmla="*/ 373273 h 605239"/>
                <a:gd name="connsiteX109" fmla="*/ 373273 h 605239"/>
                <a:gd name="connsiteY109" fmla="*/ 373273 h 605239"/>
                <a:gd name="connsiteX110" fmla="*/ 373273 h 605239"/>
                <a:gd name="connsiteY110" fmla="*/ 373273 h 605239"/>
                <a:gd name="connsiteX111" fmla="*/ 373273 h 605239"/>
                <a:gd name="connsiteY111" fmla="*/ 373273 h 605239"/>
                <a:gd name="connsiteX112" fmla="*/ 373273 h 605239"/>
                <a:gd name="connsiteY112" fmla="*/ 373273 h 605239"/>
                <a:gd name="connsiteX113" fmla="*/ 373273 h 605239"/>
                <a:gd name="connsiteY113" fmla="*/ 373273 h 605239"/>
                <a:gd name="connsiteX114" fmla="*/ 373273 h 605239"/>
                <a:gd name="connsiteY114" fmla="*/ 373273 h 605239"/>
                <a:gd name="connsiteX115" fmla="*/ 373273 h 605239"/>
                <a:gd name="connsiteY115" fmla="*/ 373273 h 605239"/>
                <a:gd name="connsiteX116" fmla="*/ 373273 h 605239"/>
                <a:gd name="connsiteY116" fmla="*/ 373273 h 605239"/>
                <a:gd name="connsiteX117" fmla="*/ 373273 h 605239"/>
                <a:gd name="connsiteY117" fmla="*/ 373273 h 605239"/>
                <a:gd name="connsiteX118" fmla="*/ 373273 h 605239"/>
                <a:gd name="connsiteY118" fmla="*/ 373273 h 605239"/>
                <a:gd name="connsiteX119" fmla="*/ 373273 h 605239"/>
                <a:gd name="connsiteY119" fmla="*/ 373273 h 605239"/>
                <a:gd name="connsiteX120" fmla="*/ 373273 h 605239"/>
                <a:gd name="connsiteY120" fmla="*/ 373273 h 605239"/>
                <a:gd name="connsiteX121" fmla="*/ 373273 h 605239"/>
                <a:gd name="connsiteY121" fmla="*/ 373273 h 605239"/>
                <a:gd name="connsiteX122" fmla="*/ 373273 h 605239"/>
                <a:gd name="connsiteY122" fmla="*/ 373273 h 605239"/>
                <a:gd name="connsiteX123" fmla="*/ 373273 h 605239"/>
                <a:gd name="connsiteY123" fmla="*/ 373273 h 605239"/>
                <a:gd name="connsiteX124" fmla="*/ 373273 h 605239"/>
                <a:gd name="connsiteY124" fmla="*/ 373273 h 605239"/>
                <a:gd name="connsiteX125" fmla="*/ 373273 h 605239"/>
                <a:gd name="connsiteY125" fmla="*/ 373273 h 605239"/>
                <a:gd name="connsiteX126" fmla="*/ 373273 h 605239"/>
                <a:gd name="connsiteY126" fmla="*/ 373273 h 605239"/>
                <a:gd name="connsiteX127" fmla="*/ 373273 h 605239"/>
                <a:gd name="connsiteY127" fmla="*/ 373273 h 605239"/>
                <a:gd name="connsiteX128" fmla="*/ 373273 h 605239"/>
                <a:gd name="connsiteY128" fmla="*/ 373273 h 605239"/>
                <a:gd name="connsiteX129" fmla="*/ 373273 h 605239"/>
                <a:gd name="connsiteY12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593733" h="606309">
                  <a:moveTo>
                    <a:pt x="353250" y="302855"/>
                  </a:moveTo>
                  <a:cubicBezTo>
                    <a:pt x="318468" y="302855"/>
                    <a:pt x="290232" y="331146"/>
                    <a:pt x="290232" y="365879"/>
                  </a:cubicBezTo>
                  <a:cubicBezTo>
                    <a:pt x="290232" y="374189"/>
                    <a:pt x="296964" y="380912"/>
                    <a:pt x="305285" y="380912"/>
                  </a:cubicBezTo>
                  <a:cubicBezTo>
                    <a:pt x="313607" y="380912"/>
                    <a:pt x="320338" y="374189"/>
                    <a:pt x="320338" y="365879"/>
                  </a:cubicBezTo>
                  <a:cubicBezTo>
                    <a:pt x="320338" y="347672"/>
                    <a:pt x="335111" y="333014"/>
                    <a:pt x="353250" y="333014"/>
                  </a:cubicBezTo>
                  <a:cubicBezTo>
                    <a:pt x="361665" y="333014"/>
                    <a:pt x="368397" y="326291"/>
                    <a:pt x="368397" y="317888"/>
                  </a:cubicBezTo>
                  <a:cubicBezTo>
                    <a:pt x="368397" y="309578"/>
                    <a:pt x="361665" y="302855"/>
                    <a:pt x="353250" y="302855"/>
                  </a:cubicBezTo>
                  <a:close/>
                  <a:moveTo>
                    <a:pt x="353250" y="265041"/>
                  </a:moveTo>
                  <a:cubicBezTo>
                    <a:pt x="409163" y="265041"/>
                    <a:pt x="454229" y="310232"/>
                    <a:pt x="454229" y="365879"/>
                  </a:cubicBezTo>
                  <a:cubicBezTo>
                    <a:pt x="454229" y="421527"/>
                    <a:pt x="408976" y="466717"/>
                    <a:pt x="353250" y="466717"/>
                  </a:cubicBezTo>
                  <a:cubicBezTo>
                    <a:pt x="297525" y="466717"/>
                    <a:pt x="252271" y="421527"/>
                    <a:pt x="252271" y="365879"/>
                  </a:cubicBezTo>
                  <a:cubicBezTo>
                    <a:pt x="252271" y="310232"/>
                    <a:pt x="297431" y="265041"/>
                    <a:pt x="353250" y="265041"/>
                  </a:cubicBezTo>
                  <a:close/>
                  <a:moveTo>
                    <a:pt x="427779" y="133781"/>
                  </a:moveTo>
                  <a:cubicBezTo>
                    <a:pt x="432818" y="131960"/>
                    <a:pt x="438547" y="132054"/>
                    <a:pt x="443784" y="134482"/>
                  </a:cubicBezTo>
                  <a:lnTo>
                    <a:pt x="473245" y="148209"/>
                  </a:lnTo>
                  <a:cubicBezTo>
                    <a:pt x="483720" y="153158"/>
                    <a:pt x="488209" y="165671"/>
                    <a:pt x="483346" y="176130"/>
                  </a:cubicBezTo>
                  <a:lnTo>
                    <a:pt x="470252" y="203957"/>
                  </a:lnTo>
                  <a:cubicBezTo>
                    <a:pt x="492231" y="219646"/>
                    <a:pt x="511123" y="240003"/>
                    <a:pt x="525526" y="264095"/>
                  </a:cubicBezTo>
                  <a:lnTo>
                    <a:pt x="554426" y="253636"/>
                  </a:lnTo>
                  <a:cubicBezTo>
                    <a:pt x="565368" y="249714"/>
                    <a:pt x="577340" y="255411"/>
                    <a:pt x="581361" y="266243"/>
                  </a:cubicBezTo>
                  <a:lnTo>
                    <a:pt x="592491" y="296592"/>
                  </a:lnTo>
                  <a:cubicBezTo>
                    <a:pt x="596419" y="307612"/>
                    <a:pt x="590714" y="319564"/>
                    <a:pt x="579865" y="323486"/>
                  </a:cubicBezTo>
                  <a:lnTo>
                    <a:pt x="550965" y="333945"/>
                  </a:lnTo>
                  <a:cubicBezTo>
                    <a:pt x="555455" y="361586"/>
                    <a:pt x="553958" y="389414"/>
                    <a:pt x="547224" y="415561"/>
                  </a:cubicBezTo>
                  <a:lnTo>
                    <a:pt x="575095" y="428634"/>
                  </a:lnTo>
                  <a:cubicBezTo>
                    <a:pt x="585570" y="433490"/>
                    <a:pt x="590059" y="445910"/>
                    <a:pt x="585102" y="456649"/>
                  </a:cubicBezTo>
                  <a:lnTo>
                    <a:pt x="571354" y="485970"/>
                  </a:lnTo>
                  <a:cubicBezTo>
                    <a:pt x="566397" y="496429"/>
                    <a:pt x="553958" y="500911"/>
                    <a:pt x="543483" y="496056"/>
                  </a:cubicBezTo>
                  <a:lnTo>
                    <a:pt x="515238" y="482982"/>
                  </a:lnTo>
                  <a:cubicBezTo>
                    <a:pt x="499526" y="504833"/>
                    <a:pt x="479137" y="523510"/>
                    <a:pt x="455007" y="537704"/>
                  </a:cubicBezTo>
                  <a:lnTo>
                    <a:pt x="465763" y="567026"/>
                  </a:lnTo>
                  <a:cubicBezTo>
                    <a:pt x="469784" y="578045"/>
                    <a:pt x="463986" y="589997"/>
                    <a:pt x="453137" y="593919"/>
                  </a:cubicBezTo>
                  <a:lnTo>
                    <a:pt x="422741" y="605032"/>
                  </a:lnTo>
                  <a:cubicBezTo>
                    <a:pt x="411798" y="609047"/>
                    <a:pt x="399827" y="603258"/>
                    <a:pt x="395805" y="592425"/>
                  </a:cubicBezTo>
                  <a:lnTo>
                    <a:pt x="385050" y="562823"/>
                  </a:lnTo>
                  <a:cubicBezTo>
                    <a:pt x="357646" y="567212"/>
                    <a:pt x="330056" y="565718"/>
                    <a:pt x="304149" y="558995"/>
                  </a:cubicBezTo>
                  <a:lnTo>
                    <a:pt x="290682" y="587756"/>
                  </a:lnTo>
                  <a:cubicBezTo>
                    <a:pt x="285725" y="598215"/>
                    <a:pt x="273192" y="602697"/>
                    <a:pt x="262717" y="597841"/>
                  </a:cubicBezTo>
                  <a:lnTo>
                    <a:pt x="233350" y="584114"/>
                  </a:lnTo>
                  <a:cubicBezTo>
                    <a:pt x="222875" y="579165"/>
                    <a:pt x="218385" y="566652"/>
                    <a:pt x="223249" y="556193"/>
                  </a:cubicBezTo>
                  <a:lnTo>
                    <a:pt x="236810" y="527338"/>
                  </a:lnTo>
                  <a:cubicBezTo>
                    <a:pt x="215112" y="511650"/>
                    <a:pt x="196407" y="491480"/>
                    <a:pt x="182284" y="467668"/>
                  </a:cubicBezTo>
                  <a:lnTo>
                    <a:pt x="152169" y="478687"/>
                  </a:lnTo>
                  <a:cubicBezTo>
                    <a:pt x="141133" y="482609"/>
                    <a:pt x="129161" y="476912"/>
                    <a:pt x="125233" y="466080"/>
                  </a:cubicBezTo>
                  <a:lnTo>
                    <a:pt x="114104" y="435731"/>
                  </a:lnTo>
                  <a:cubicBezTo>
                    <a:pt x="110082" y="424712"/>
                    <a:pt x="115881" y="412759"/>
                    <a:pt x="126730" y="408837"/>
                  </a:cubicBezTo>
                  <a:lnTo>
                    <a:pt x="156845" y="397818"/>
                  </a:lnTo>
                  <a:cubicBezTo>
                    <a:pt x="153852" y="379422"/>
                    <a:pt x="153478" y="361026"/>
                    <a:pt x="155629" y="342910"/>
                  </a:cubicBezTo>
                  <a:lnTo>
                    <a:pt x="158622" y="343097"/>
                  </a:lnTo>
                  <a:cubicBezTo>
                    <a:pt x="181162" y="344030"/>
                    <a:pt x="200522" y="327408"/>
                    <a:pt x="203141" y="305370"/>
                  </a:cubicBezTo>
                  <a:cubicBezTo>
                    <a:pt x="207723" y="303876"/>
                    <a:pt x="212119" y="302195"/>
                    <a:pt x="216515" y="300515"/>
                  </a:cubicBezTo>
                  <a:cubicBezTo>
                    <a:pt x="220349" y="304063"/>
                    <a:pt x="224745" y="306958"/>
                    <a:pt x="229609" y="308919"/>
                  </a:cubicBezTo>
                  <a:cubicBezTo>
                    <a:pt x="219227" y="330957"/>
                    <a:pt x="214831" y="355983"/>
                    <a:pt x="217824" y="381943"/>
                  </a:cubicBezTo>
                  <a:cubicBezTo>
                    <a:pt x="226709" y="456462"/>
                    <a:pt x="294329" y="509876"/>
                    <a:pt x="368963" y="501192"/>
                  </a:cubicBezTo>
                  <a:cubicBezTo>
                    <a:pt x="443691" y="492320"/>
                    <a:pt x="497188" y="424899"/>
                    <a:pt x="488490" y="350287"/>
                  </a:cubicBezTo>
                  <a:cubicBezTo>
                    <a:pt x="479605" y="275675"/>
                    <a:pt x="411985" y="222260"/>
                    <a:pt x="337351" y="231038"/>
                  </a:cubicBezTo>
                  <a:cubicBezTo>
                    <a:pt x="324632" y="232532"/>
                    <a:pt x="312473" y="235707"/>
                    <a:pt x="301156" y="240376"/>
                  </a:cubicBezTo>
                  <a:cubicBezTo>
                    <a:pt x="299660" y="236268"/>
                    <a:pt x="297509" y="232345"/>
                    <a:pt x="294797" y="228890"/>
                  </a:cubicBezTo>
                  <a:cubicBezTo>
                    <a:pt x="297041" y="224688"/>
                    <a:pt x="299005" y="220393"/>
                    <a:pt x="300782" y="216097"/>
                  </a:cubicBezTo>
                  <a:cubicBezTo>
                    <a:pt x="311164" y="215817"/>
                    <a:pt x="320891" y="211802"/>
                    <a:pt x="328466" y="204891"/>
                  </a:cubicBezTo>
                  <a:cubicBezTo>
                    <a:pt x="336977" y="197141"/>
                    <a:pt x="341934" y="186589"/>
                    <a:pt x="342402" y="175103"/>
                  </a:cubicBezTo>
                  <a:lnTo>
                    <a:pt x="342776" y="166978"/>
                  </a:lnTo>
                  <a:cubicBezTo>
                    <a:pt x="363164" y="165764"/>
                    <a:pt x="383460" y="167912"/>
                    <a:pt x="402820" y="172768"/>
                  </a:cubicBezTo>
                  <a:lnTo>
                    <a:pt x="415913" y="144567"/>
                  </a:lnTo>
                  <a:cubicBezTo>
                    <a:pt x="418392" y="139338"/>
                    <a:pt x="422741" y="135602"/>
                    <a:pt x="427779" y="133781"/>
                  </a:cubicBezTo>
                  <a:close/>
                  <a:moveTo>
                    <a:pt x="159906" y="88589"/>
                  </a:moveTo>
                  <a:cubicBezTo>
                    <a:pt x="142487" y="87818"/>
                    <a:pt x="124764" y="93678"/>
                    <a:pt x="110828" y="106378"/>
                  </a:cubicBezTo>
                  <a:cubicBezTo>
                    <a:pt x="96145" y="119731"/>
                    <a:pt x="88663" y="138127"/>
                    <a:pt x="88663" y="156523"/>
                  </a:cubicBezTo>
                  <a:cubicBezTo>
                    <a:pt x="88663" y="172958"/>
                    <a:pt x="94555" y="189393"/>
                    <a:pt x="106526" y="202467"/>
                  </a:cubicBezTo>
                  <a:cubicBezTo>
                    <a:pt x="131965" y="230294"/>
                    <a:pt x="175081" y="232162"/>
                    <a:pt x="202764" y="206762"/>
                  </a:cubicBezTo>
                  <a:cubicBezTo>
                    <a:pt x="217448" y="193409"/>
                    <a:pt x="224930" y="175013"/>
                    <a:pt x="224930" y="156523"/>
                  </a:cubicBezTo>
                  <a:cubicBezTo>
                    <a:pt x="224930" y="140088"/>
                    <a:pt x="219132" y="123653"/>
                    <a:pt x="207160" y="110580"/>
                  </a:cubicBezTo>
                  <a:cubicBezTo>
                    <a:pt x="194441" y="96760"/>
                    <a:pt x="177325" y="89359"/>
                    <a:pt x="159906" y="88589"/>
                  </a:cubicBezTo>
                  <a:close/>
                  <a:moveTo>
                    <a:pt x="153289" y="17"/>
                  </a:moveTo>
                  <a:lnTo>
                    <a:pt x="173678" y="951"/>
                  </a:lnTo>
                  <a:cubicBezTo>
                    <a:pt x="180786" y="1325"/>
                    <a:pt x="186304" y="7114"/>
                    <a:pt x="186304" y="14118"/>
                  </a:cubicBezTo>
                  <a:lnTo>
                    <a:pt x="186304" y="14771"/>
                  </a:lnTo>
                  <a:lnTo>
                    <a:pt x="185462" y="34755"/>
                  </a:lnTo>
                  <a:cubicBezTo>
                    <a:pt x="201923" y="38677"/>
                    <a:pt x="217729" y="45774"/>
                    <a:pt x="231851" y="56232"/>
                  </a:cubicBezTo>
                  <a:lnTo>
                    <a:pt x="246535" y="42786"/>
                  </a:lnTo>
                  <a:cubicBezTo>
                    <a:pt x="251866" y="37930"/>
                    <a:pt x="260283" y="38303"/>
                    <a:pt x="265240" y="43626"/>
                  </a:cubicBezTo>
                  <a:lnTo>
                    <a:pt x="279082" y="58660"/>
                  </a:lnTo>
                  <a:cubicBezTo>
                    <a:pt x="281420" y="61275"/>
                    <a:pt x="282542" y="64450"/>
                    <a:pt x="282542" y="67625"/>
                  </a:cubicBezTo>
                  <a:cubicBezTo>
                    <a:pt x="282542" y="71173"/>
                    <a:pt x="281233" y="74722"/>
                    <a:pt x="278334" y="77337"/>
                  </a:cubicBezTo>
                  <a:lnTo>
                    <a:pt x="263744" y="90690"/>
                  </a:lnTo>
                  <a:cubicBezTo>
                    <a:pt x="273096" y="105537"/>
                    <a:pt x="278988" y="121973"/>
                    <a:pt x="281420" y="138781"/>
                  </a:cubicBezTo>
                  <a:lnTo>
                    <a:pt x="301061" y="139621"/>
                  </a:lnTo>
                  <a:cubicBezTo>
                    <a:pt x="308169" y="139995"/>
                    <a:pt x="313593" y="145878"/>
                    <a:pt x="313593" y="152788"/>
                  </a:cubicBezTo>
                  <a:lnTo>
                    <a:pt x="313593" y="153442"/>
                  </a:lnTo>
                  <a:lnTo>
                    <a:pt x="312751" y="173892"/>
                  </a:lnTo>
                  <a:cubicBezTo>
                    <a:pt x="312377" y="181083"/>
                    <a:pt x="306298" y="186779"/>
                    <a:pt x="298910" y="186405"/>
                  </a:cubicBezTo>
                  <a:lnTo>
                    <a:pt x="279456" y="185565"/>
                  </a:lnTo>
                  <a:cubicBezTo>
                    <a:pt x="275622" y="202093"/>
                    <a:pt x="268327" y="218061"/>
                    <a:pt x="257758" y="232162"/>
                  </a:cubicBezTo>
                  <a:lnTo>
                    <a:pt x="270852" y="246449"/>
                  </a:lnTo>
                  <a:cubicBezTo>
                    <a:pt x="273190" y="249064"/>
                    <a:pt x="274312" y="252145"/>
                    <a:pt x="274312" y="255414"/>
                  </a:cubicBezTo>
                  <a:cubicBezTo>
                    <a:pt x="274312" y="258869"/>
                    <a:pt x="273003" y="262511"/>
                    <a:pt x="270104" y="265126"/>
                  </a:cubicBezTo>
                  <a:lnTo>
                    <a:pt x="255046" y="278946"/>
                  </a:lnTo>
                  <a:cubicBezTo>
                    <a:pt x="249621" y="283802"/>
                    <a:pt x="241297" y="283428"/>
                    <a:pt x="236340" y="278106"/>
                  </a:cubicBezTo>
                  <a:lnTo>
                    <a:pt x="223247" y="263724"/>
                  </a:lnTo>
                  <a:cubicBezTo>
                    <a:pt x="208282" y="272970"/>
                    <a:pt x="191635" y="278853"/>
                    <a:pt x="174800" y="281187"/>
                  </a:cubicBezTo>
                  <a:lnTo>
                    <a:pt x="173958" y="300610"/>
                  </a:lnTo>
                  <a:cubicBezTo>
                    <a:pt x="173584" y="307801"/>
                    <a:pt x="167505" y="313590"/>
                    <a:pt x="160117" y="313217"/>
                  </a:cubicBezTo>
                  <a:lnTo>
                    <a:pt x="139634" y="312283"/>
                  </a:lnTo>
                  <a:cubicBezTo>
                    <a:pt x="132526" y="311909"/>
                    <a:pt x="127102" y="306120"/>
                    <a:pt x="127102" y="299116"/>
                  </a:cubicBezTo>
                  <a:lnTo>
                    <a:pt x="127102" y="298463"/>
                  </a:lnTo>
                  <a:lnTo>
                    <a:pt x="128037" y="279039"/>
                  </a:lnTo>
                  <a:cubicBezTo>
                    <a:pt x="111577" y="275211"/>
                    <a:pt x="95771" y="267834"/>
                    <a:pt x="81648" y="257281"/>
                  </a:cubicBezTo>
                  <a:lnTo>
                    <a:pt x="67058" y="270635"/>
                  </a:lnTo>
                  <a:cubicBezTo>
                    <a:pt x="61727" y="275491"/>
                    <a:pt x="53403" y="275117"/>
                    <a:pt x="48353" y="269701"/>
                  </a:cubicBezTo>
                  <a:lnTo>
                    <a:pt x="34511" y="254667"/>
                  </a:lnTo>
                  <a:cubicBezTo>
                    <a:pt x="32173" y="252052"/>
                    <a:pt x="31051" y="248970"/>
                    <a:pt x="31051" y="245702"/>
                  </a:cubicBezTo>
                  <a:cubicBezTo>
                    <a:pt x="31051" y="242247"/>
                    <a:pt x="32453" y="238605"/>
                    <a:pt x="35259" y="235990"/>
                  </a:cubicBezTo>
                  <a:lnTo>
                    <a:pt x="50036" y="222544"/>
                  </a:lnTo>
                  <a:cubicBezTo>
                    <a:pt x="40777" y="207696"/>
                    <a:pt x="35072" y="191261"/>
                    <a:pt x="32640" y="174639"/>
                  </a:cubicBezTo>
                  <a:lnTo>
                    <a:pt x="12626" y="173705"/>
                  </a:lnTo>
                  <a:cubicBezTo>
                    <a:pt x="5518" y="173332"/>
                    <a:pt x="0" y="167542"/>
                    <a:pt x="0" y="160539"/>
                  </a:cubicBezTo>
                  <a:lnTo>
                    <a:pt x="0" y="159885"/>
                  </a:lnTo>
                  <a:lnTo>
                    <a:pt x="842" y="139621"/>
                  </a:lnTo>
                  <a:cubicBezTo>
                    <a:pt x="1216" y="132431"/>
                    <a:pt x="7388" y="126642"/>
                    <a:pt x="14683" y="127015"/>
                  </a:cubicBezTo>
                  <a:lnTo>
                    <a:pt x="34885" y="127949"/>
                  </a:lnTo>
                  <a:cubicBezTo>
                    <a:pt x="38813" y="111514"/>
                    <a:pt x="46015" y="95826"/>
                    <a:pt x="56490" y="81819"/>
                  </a:cubicBezTo>
                  <a:lnTo>
                    <a:pt x="42741" y="66878"/>
                  </a:lnTo>
                  <a:cubicBezTo>
                    <a:pt x="40403" y="64263"/>
                    <a:pt x="39281" y="61182"/>
                    <a:pt x="39281" y="57913"/>
                  </a:cubicBezTo>
                  <a:cubicBezTo>
                    <a:pt x="39281" y="54458"/>
                    <a:pt x="40684" y="50816"/>
                    <a:pt x="43490" y="48202"/>
                  </a:cubicBezTo>
                  <a:lnTo>
                    <a:pt x="58641" y="34381"/>
                  </a:lnTo>
                  <a:cubicBezTo>
                    <a:pt x="63972" y="29526"/>
                    <a:pt x="72296" y="29899"/>
                    <a:pt x="77346" y="35315"/>
                  </a:cubicBezTo>
                  <a:lnTo>
                    <a:pt x="90627" y="50256"/>
                  </a:lnTo>
                  <a:cubicBezTo>
                    <a:pt x="105591" y="41011"/>
                    <a:pt x="121864" y="35128"/>
                    <a:pt x="138512" y="32794"/>
                  </a:cubicBezTo>
                  <a:lnTo>
                    <a:pt x="139447" y="12624"/>
                  </a:lnTo>
                  <a:cubicBezTo>
                    <a:pt x="139821" y="5433"/>
                    <a:pt x="145901" y="-356"/>
                    <a:pt x="153289" y="17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1" name="îṣḻïḓè">
              <a:extLst>
                <a:ext uri="{FF2B5EF4-FFF2-40B4-BE49-F238E27FC236}">
                  <a16:creationId xmlns:a16="http://schemas.microsoft.com/office/drawing/2014/main" id="{30C8A656-A69C-4844-9B4C-38593487F7D6}"/>
                </a:ext>
              </a:extLst>
            </p:cNvPr>
            <p:cNvSpPr/>
            <p:nvPr/>
          </p:nvSpPr>
          <p:spPr bwMode="auto">
            <a:xfrm>
              <a:off x="3563916" y="3658051"/>
              <a:ext cx="377806" cy="377072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81741" h="580612">
                  <a:moveTo>
                    <a:pt x="291612" y="187916"/>
                  </a:moveTo>
                  <a:cubicBezTo>
                    <a:pt x="304876" y="187916"/>
                    <a:pt x="315648" y="198758"/>
                    <a:pt x="315648" y="212088"/>
                  </a:cubicBezTo>
                  <a:lnTo>
                    <a:pt x="315648" y="491836"/>
                  </a:lnTo>
                  <a:lnTo>
                    <a:pt x="331227" y="473974"/>
                  </a:lnTo>
                  <a:cubicBezTo>
                    <a:pt x="339863" y="463932"/>
                    <a:pt x="355086" y="462866"/>
                    <a:pt x="365145" y="471574"/>
                  </a:cubicBezTo>
                  <a:cubicBezTo>
                    <a:pt x="375116" y="480372"/>
                    <a:pt x="376184" y="495657"/>
                    <a:pt x="367460" y="505699"/>
                  </a:cubicBezTo>
                  <a:lnTo>
                    <a:pt x="309773" y="572348"/>
                  </a:lnTo>
                  <a:cubicBezTo>
                    <a:pt x="305143" y="577502"/>
                    <a:pt x="298556" y="580612"/>
                    <a:pt x="291612" y="580612"/>
                  </a:cubicBezTo>
                  <a:cubicBezTo>
                    <a:pt x="284579" y="580612"/>
                    <a:pt x="278080" y="577680"/>
                    <a:pt x="273451" y="572348"/>
                  </a:cubicBezTo>
                  <a:lnTo>
                    <a:pt x="215764" y="505699"/>
                  </a:lnTo>
                  <a:cubicBezTo>
                    <a:pt x="207039" y="495657"/>
                    <a:pt x="208108" y="480372"/>
                    <a:pt x="218078" y="471574"/>
                  </a:cubicBezTo>
                  <a:cubicBezTo>
                    <a:pt x="228049" y="462866"/>
                    <a:pt x="243272" y="463932"/>
                    <a:pt x="252085" y="473974"/>
                  </a:cubicBezTo>
                  <a:lnTo>
                    <a:pt x="267486" y="491747"/>
                  </a:lnTo>
                  <a:lnTo>
                    <a:pt x="267486" y="212088"/>
                  </a:lnTo>
                  <a:cubicBezTo>
                    <a:pt x="267486" y="198758"/>
                    <a:pt x="278258" y="187916"/>
                    <a:pt x="291612" y="187916"/>
                  </a:cubicBezTo>
                  <a:close/>
                  <a:moveTo>
                    <a:pt x="329499" y="0"/>
                  </a:moveTo>
                  <a:cubicBezTo>
                    <a:pt x="426248" y="0"/>
                    <a:pt x="465322" y="80426"/>
                    <a:pt x="473332" y="108153"/>
                  </a:cubicBezTo>
                  <a:cubicBezTo>
                    <a:pt x="535280" y="120684"/>
                    <a:pt x="581474" y="175693"/>
                    <a:pt x="581741" y="241190"/>
                  </a:cubicBezTo>
                  <a:cubicBezTo>
                    <a:pt x="581741" y="315840"/>
                    <a:pt x="521306" y="376537"/>
                    <a:pt x="446987" y="376537"/>
                  </a:cubicBezTo>
                  <a:lnTo>
                    <a:pt x="372756" y="376537"/>
                  </a:lnTo>
                  <a:cubicBezTo>
                    <a:pt x="359316" y="376537"/>
                    <a:pt x="348546" y="365606"/>
                    <a:pt x="348546" y="352276"/>
                  </a:cubicBezTo>
                  <a:cubicBezTo>
                    <a:pt x="348546" y="338857"/>
                    <a:pt x="359316" y="327926"/>
                    <a:pt x="372756" y="327926"/>
                  </a:cubicBezTo>
                  <a:lnTo>
                    <a:pt x="446987" y="327926"/>
                  </a:lnTo>
                  <a:cubicBezTo>
                    <a:pt x="494605" y="327926"/>
                    <a:pt x="533322" y="289090"/>
                    <a:pt x="533322" y="241190"/>
                  </a:cubicBezTo>
                  <a:cubicBezTo>
                    <a:pt x="533322" y="195334"/>
                    <a:pt x="497720" y="157298"/>
                    <a:pt x="452238" y="154632"/>
                  </a:cubicBezTo>
                  <a:cubicBezTo>
                    <a:pt x="440934" y="153921"/>
                    <a:pt x="431589" y="145478"/>
                    <a:pt x="429809" y="134192"/>
                  </a:cubicBezTo>
                  <a:cubicBezTo>
                    <a:pt x="421709" y="84692"/>
                    <a:pt x="379609" y="48789"/>
                    <a:pt x="329677" y="48789"/>
                  </a:cubicBezTo>
                  <a:cubicBezTo>
                    <a:pt x="279567" y="48789"/>
                    <a:pt x="238001" y="84781"/>
                    <a:pt x="229457" y="134192"/>
                  </a:cubicBezTo>
                  <a:cubicBezTo>
                    <a:pt x="226520" y="151521"/>
                    <a:pt x="212190" y="162807"/>
                    <a:pt x="192964" y="151077"/>
                  </a:cubicBezTo>
                  <a:cubicBezTo>
                    <a:pt x="178011" y="141834"/>
                    <a:pt x="160922" y="136947"/>
                    <a:pt x="143299" y="136947"/>
                  </a:cubicBezTo>
                  <a:cubicBezTo>
                    <a:pt x="90964" y="136947"/>
                    <a:pt x="48419" y="179693"/>
                    <a:pt x="48419" y="232303"/>
                  </a:cubicBezTo>
                  <a:cubicBezTo>
                    <a:pt x="48419" y="284913"/>
                    <a:pt x="90964" y="327748"/>
                    <a:pt x="143299" y="327748"/>
                  </a:cubicBezTo>
                  <a:lnTo>
                    <a:pt x="218776" y="327748"/>
                  </a:lnTo>
                  <a:cubicBezTo>
                    <a:pt x="232216" y="327748"/>
                    <a:pt x="242986" y="338590"/>
                    <a:pt x="242986" y="352009"/>
                  </a:cubicBezTo>
                  <a:cubicBezTo>
                    <a:pt x="242986" y="365429"/>
                    <a:pt x="232216" y="376271"/>
                    <a:pt x="218776" y="376271"/>
                  </a:cubicBezTo>
                  <a:lnTo>
                    <a:pt x="143299" y="376271"/>
                  </a:lnTo>
                  <a:cubicBezTo>
                    <a:pt x="64262" y="376271"/>
                    <a:pt x="0" y="311574"/>
                    <a:pt x="0" y="232214"/>
                  </a:cubicBezTo>
                  <a:cubicBezTo>
                    <a:pt x="0" y="152854"/>
                    <a:pt x="64262" y="88158"/>
                    <a:pt x="143210" y="88158"/>
                  </a:cubicBezTo>
                  <a:cubicBezTo>
                    <a:pt x="159231" y="88158"/>
                    <a:pt x="174896" y="90735"/>
                    <a:pt x="189849" y="95978"/>
                  </a:cubicBezTo>
                  <a:cubicBezTo>
                    <a:pt x="198749" y="73050"/>
                    <a:pt x="238891" y="0"/>
                    <a:pt x="32949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2" name="iş1iḑe">
              <a:extLst>
                <a:ext uri="{FF2B5EF4-FFF2-40B4-BE49-F238E27FC236}">
                  <a16:creationId xmlns:a16="http://schemas.microsoft.com/office/drawing/2014/main" id="{79D5FAF9-096B-4C61-A299-6A26A276E128}"/>
                </a:ext>
              </a:extLst>
            </p:cNvPr>
            <p:cNvSpPr/>
            <p:nvPr/>
          </p:nvSpPr>
          <p:spPr bwMode="auto">
            <a:xfrm>
              <a:off x="3025037" y="4301073"/>
              <a:ext cx="377806" cy="377236"/>
            </a:xfrm>
            <a:custGeom>
              <a:avLst/>
              <a:gdLst>
                <a:gd name="connsiteX0" fmla="*/ 303820 w 607639"/>
                <a:gd name="connsiteY0" fmla="*/ 278099 h 606722"/>
                <a:gd name="connsiteX1" fmla="*/ 329118 w 607639"/>
                <a:gd name="connsiteY1" fmla="*/ 303362 h 606722"/>
                <a:gd name="connsiteX2" fmla="*/ 303820 w 607639"/>
                <a:gd name="connsiteY2" fmla="*/ 328625 h 606722"/>
                <a:gd name="connsiteX3" fmla="*/ 278522 w 607639"/>
                <a:gd name="connsiteY3" fmla="*/ 303362 h 606722"/>
                <a:gd name="connsiteX4" fmla="*/ 303820 w 607639"/>
                <a:gd name="connsiteY4" fmla="*/ 278099 h 606722"/>
                <a:gd name="connsiteX5" fmla="*/ 303775 w 607639"/>
                <a:gd name="connsiteY5" fmla="*/ 252735 h 606722"/>
                <a:gd name="connsiteX6" fmla="*/ 253140 w 607639"/>
                <a:gd name="connsiteY6" fmla="*/ 303317 h 606722"/>
                <a:gd name="connsiteX7" fmla="*/ 303775 w 607639"/>
                <a:gd name="connsiteY7" fmla="*/ 353900 h 606722"/>
                <a:gd name="connsiteX8" fmla="*/ 354410 w 607639"/>
                <a:gd name="connsiteY8" fmla="*/ 303317 h 606722"/>
                <a:gd name="connsiteX9" fmla="*/ 303775 w 607639"/>
                <a:gd name="connsiteY9" fmla="*/ 252735 h 606722"/>
                <a:gd name="connsiteX10" fmla="*/ 303775 w 607639"/>
                <a:gd name="connsiteY10" fmla="*/ 202241 h 606722"/>
                <a:gd name="connsiteX11" fmla="*/ 405045 w 607639"/>
                <a:gd name="connsiteY11" fmla="*/ 303317 h 606722"/>
                <a:gd name="connsiteX12" fmla="*/ 303775 w 607639"/>
                <a:gd name="connsiteY12" fmla="*/ 404482 h 606722"/>
                <a:gd name="connsiteX13" fmla="*/ 202593 w 607639"/>
                <a:gd name="connsiteY13" fmla="*/ 303317 h 606722"/>
                <a:gd name="connsiteX14" fmla="*/ 303775 w 607639"/>
                <a:gd name="connsiteY14" fmla="*/ 202241 h 606722"/>
                <a:gd name="connsiteX15" fmla="*/ 303775 w 607639"/>
                <a:gd name="connsiteY15" fmla="*/ 151703 h 606722"/>
                <a:gd name="connsiteX16" fmla="*/ 151932 w 607639"/>
                <a:gd name="connsiteY16" fmla="*/ 303317 h 606722"/>
                <a:gd name="connsiteX17" fmla="*/ 303775 w 607639"/>
                <a:gd name="connsiteY17" fmla="*/ 455019 h 606722"/>
                <a:gd name="connsiteX18" fmla="*/ 455707 w 607639"/>
                <a:gd name="connsiteY18" fmla="*/ 303317 h 606722"/>
                <a:gd name="connsiteX19" fmla="*/ 303775 w 607639"/>
                <a:gd name="connsiteY19" fmla="*/ 151703 h 606722"/>
                <a:gd name="connsiteX20" fmla="*/ 253131 w 607639"/>
                <a:gd name="connsiteY20" fmla="*/ 0 h 606722"/>
                <a:gd name="connsiteX21" fmla="*/ 354419 w 607639"/>
                <a:gd name="connsiteY21" fmla="*/ 0 h 606722"/>
                <a:gd name="connsiteX22" fmla="*/ 379786 w 607639"/>
                <a:gd name="connsiteY22" fmla="*/ 25239 h 606722"/>
                <a:gd name="connsiteX23" fmla="*/ 379786 w 607639"/>
                <a:gd name="connsiteY23" fmla="*/ 62387 h 606722"/>
                <a:gd name="connsiteX24" fmla="*/ 420639 w 607639"/>
                <a:gd name="connsiteY24" fmla="*/ 79451 h 606722"/>
                <a:gd name="connsiteX25" fmla="*/ 446985 w 607639"/>
                <a:gd name="connsiteY25" fmla="*/ 53145 h 606722"/>
                <a:gd name="connsiteX26" fmla="*/ 482854 w 607639"/>
                <a:gd name="connsiteY26" fmla="*/ 53145 h 606722"/>
                <a:gd name="connsiteX27" fmla="*/ 554414 w 607639"/>
                <a:gd name="connsiteY27" fmla="*/ 124597 h 606722"/>
                <a:gd name="connsiteX28" fmla="*/ 554414 w 607639"/>
                <a:gd name="connsiteY28" fmla="*/ 160323 h 606722"/>
                <a:gd name="connsiteX29" fmla="*/ 528069 w 607639"/>
                <a:gd name="connsiteY29" fmla="*/ 186629 h 606722"/>
                <a:gd name="connsiteX30" fmla="*/ 545158 w 607639"/>
                <a:gd name="connsiteY30" fmla="*/ 227510 h 606722"/>
                <a:gd name="connsiteX31" fmla="*/ 582273 w 607639"/>
                <a:gd name="connsiteY31" fmla="*/ 227510 h 606722"/>
                <a:gd name="connsiteX32" fmla="*/ 607639 w 607639"/>
                <a:gd name="connsiteY32" fmla="*/ 252749 h 606722"/>
                <a:gd name="connsiteX33" fmla="*/ 607639 w 607639"/>
                <a:gd name="connsiteY33" fmla="*/ 353884 h 606722"/>
                <a:gd name="connsiteX34" fmla="*/ 582273 w 607639"/>
                <a:gd name="connsiteY34" fmla="*/ 379212 h 606722"/>
                <a:gd name="connsiteX35" fmla="*/ 545158 w 607639"/>
                <a:gd name="connsiteY35" fmla="*/ 379212 h 606722"/>
                <a:gd name="connsiteX36" fmla="*/ 528069 w 607639"/>
                <a:gd name="connsiteY36" fmla="*/ 420004 h 606722"/>
                <a:gd name="connsiteX37" fmla="*/ 554414 w 607639"/>
                <a:gd name="connsiteY37" fmla="*/ 446310 h 606722"/>
                <a:gd name="connsiteX38" fmla="*/ 554414 w 607639"/>
                <a:gd name="connsiteY38" fmla="*/ 482125 h 606722"/>
                <a:gd name="connsiteX39" fmla="*/ 482854 w 607639"/>
                <a:gd name="connsiteY39" fmla="*/ 553577 h 606722"/>
                <a:gd name="connsiteX40" fmla="*/ 446985 w 607639"/>
                <a:gd name="connsiteY40" fmla="*/ 553577 h 606722"/>
                <a:gd name="connsiteX41" fmla="*/ 420639 w 607639"/>
                <a:gd name="connsiteY41" fmla="*/ 527271 h 606722"/>
                <a:gd name="connsiteX42" fmla="*/ 379786 w 607639"/>
                <a:gd name="connsiteY42" fmla="*/ 544246 h 606722"/>
                <a:gd name="connsiteX43" fmla="*/ 379786 w 607639"/>
                <a:gd name="connsiteY43" fmla="*/ 581394 h 606722"/>
                <a:gd name="connsiteX44" fmla="*/ 354419 w 607639"/>
                <a:gd name="connsiteY44" fmla="*/ 606722 h 606722"/>
                <a:gd name="connsiteX45" fmla="*/ 253131 w 607639"/>
                <a:gd name="connsiteY45" fmla="*/ 606722 h 606722"/>
                <a:gd name="connsiteX46" fmla="*/ 227854 w 607639"/>
                <a:gd name="connsiteY46" fmla="*/ 581394 h 606722"/>
                <a:gd name="connsiteX47" fmla="*/ 227854 w 607639"/>
                <a:gd name="connsiteY47" fmla="*/ 544246 h 606722"/>
                <a:gd name="connsiteX48" fmla="*/ 186911 w 607639"/>
                <a:gd name="connsiteY48" fmla="*/ 527271 h 606722"/>
                <a:gd name="connsiteX49" fmla="*/ 160566 w 607639"/>
                <a:gd name="connsiteY49" fmla="*/ 553577 h 606722"/>
                <a:gd name="connsiteX50" fmla="*/ 124786 w 607639"/>
                <a:gd name="connsiteY50" fmla="*/ 553577 h 606722"/>
                <a:gd name="connsiteX51" fmla="*/ 53225 w 607639"/>
                <a:gd name="connsiteY51" fmla="*/ 482125 h 606722"/>
                <a:gd name="connsiteX52" fmla="*/ 53225 w 607639"/>
                <a:gd name="connsiteY52" fmla="*/ 446310 h 606722"/>
                <a:gd name="connsiteX53" fmla="*/ 79482 w 607639"/>
                <a:gd name="connsiteY53" fmla="*/ 420004 h 606722"/>
                <a:gd name="connsiteX54" fmla="*/ 62482 w 607639"/>
                <a:gd name="connsiteY54" fmla="*/ 379212 h 606722"/>
                <a:gd name="connsiteX55" fmla="*/ 25278 w 607639"/>
                <a:gd name="connsiteY55" fmla="*/ 379212 h 606722"/>
                <a:gd name="connsiteX56" fmla="*/ 0 w 607639"/>
                <a:gd name="connsiteY56" fmla="*/ 353884 h 606722"/>
                <a:gd name="connsiteX57" fmla="*/ 0 w 607639"/>
                <a:gd name="connsiteY57" fmla="*/ 252749 h 606722"/>
                <a:gd name="connsiteX58" fmla="*/ 25278 w 607639"/>
                <a:gd name="connsiteY58" fmla="*/ 227510 h 606722"/>
                <a:gd name="connsiteX59" fmla="*/ 62482 w 607639"/>
                <a:gd name="connsiteY59" fmla="*/ 227510 h 606722"/>
                <a:gd name="connsiteX60" fmla="*/ 79482 w 607639"/>
                <a:gd name="connsiteY60" fmla="*/ 186629 h 606722"/>
                <a:gd name="connsiteX61" fmla="*/ 53225 w 607639"/>
                <a:gd name="connsiteY61" fmla="*/ 160323 h 606722"/>
                <a:gd name="connsiteX62" fmla="*/ 53225 w 607639"/>
                <a:gd name="connsiteY62" fmla="*/ 124597 h 606722"/>
                <a:gd name="connsiteX63" fmla="*/ 124786 w 607639"/>
                <a:gd name="connsiteY63" fmla="*/ 53145 h 606722"/>
                <a:gd name="connsiteX64" fmla="*/ 160566 w 607639"/>
                <a:gd name="connsiteY64" fmla="*/ 53145 h 606722"/>
                <a:gd name="connsiteX65" fmla="*/ 186911 w 607639"/>
                <a:gd name="connsiteY65" fmla="*/ 79451 h 606722"/>
                <a:gd name="connsiteX66" fmla="*/ 227854 w 607639"/>
                <a:gd name="connsiteY66" fmla="*/ 62387 h 606722"/>
                <a:gd name="connsiteX67" fmla="*/ 227854 w 607639"/>
                <a:gd name="connsiteY67" fmla="*/ 25239 h 606722"/>
                <a:gd name="connsiteX68" fmla="*/ 253131 w 607639"/>
                <a:gd name="connsiteY68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607639" h="606722">
                  <a:moveTo>
                    <a:pt x="303820" y="278099"/>
                  </a:moveTo>
                  <a:cubicBezTo>
                    <a:pt x="317792" y="278099"/>
                    <a:pt x="329118" y="289410"/>
                    <a:pt x="329118" y="303362"/>
                  </a:cubicBezTo>
                  <a:cubicBezTo>
                    <a:pt x="329118" y="317314"/>
                    <a:pt x="317792" y="328625"/>
                    <a:pt x="303820" y="328625"/>
                  </a:cubicBezTo>
                  <a:cubicBezTo>
                    <a:pt x="289848" y="328625"/>
                    <a:pt x="278522" y="317314"/>
                    <a:pt x="278522" y="303362"/>
                  </a:cubicBezTo>
                  <a:cubicBezTo>
                    <a:pt x="278522" y="289410"/>
                    <a:pt x="289848" y="278099"/>
                    <a:pt x="303820" y="278099"/>
                  </a:cubicBezTo>
                  <a:close/>
                  <a:moveTo>
                    <a:pt x="303775" y="252735"/>
                  </a:moveTo>
                  <a:cubicBezTo>
                    <a:pt x="275921" y="252735"/>
                    <a:pt x="253140" y="275492"/>
                    <a:pt x="253140" y="303317"/>
                  </a:cubicBezTo>
                  <a:cubicBezTo>
                    <a:pt x="253140" y="331231"/>
                    <a:pt x="275921" y="353900"/>
                    <a:pt x="303775" y="353900"/>
                  </a:cubicBezTo>
                  <a:cubicBezTo>
                    <a:pt x="331718" y="353900"/>
                    <a:pt x="354410" y="331231"/>
                    <a:pt x="354410" y="303317"/>
                  </a:cubicBezTo>
                  <a:cubicBezTo>
                    <a:pt x="354410" y="275492"/>
                    <a:pt x="331718" y="252735"/>
                    <a:pt x="303775" y="252735"/>
                  </a:cubicBezTo>
                  <a:close/>
                  <a:moveTo>
                    <a:pt x="303775" y="202241"/>
                  </a:moveTo>
                  <a:cubicBezTo>
                    <a:pt x="359660" y="202241"/>
                    <a:pt x="405045" y="247579"/>
                    <a:pt x="405045" y="303317"/>
                  </a:cubicBezTo>
                  <a:cubicBezTo>
                    <a:pt x="405045" y="359144"/>
                    <a:pt x="359660" y="404482"/>
                    <a:pt x="303775" y="404482"/>
                  </a:cubicBezTo>
                  <a:cubicBezTo>
                    <a:pt x="247978" y="404482"/>
                    <a:pt x="202593" y="359144"/>
                    <a:pt x="202593" y="303317"/>
                  </a:cubicBezTo>
                  <a:cubicBezTo>
                    <a:pt x="202593" y="247579"/>
                    <a:pt x="247978" y="202241"/>
                    <a:pt x="303775" y="202241"/>
                  </a:cubicBezTo>
                  <a:close/>
                  <a:moveTo>
                    <a:pt x="303775" y="151703"/>
                  </a:moveTo>
                  <a:cubicBezTo>
                    <a:pt x="220021" y="151703"/>
                    <a:pt x="151932" y="219689"/>
                    <a:pt x="151932" y="303317"/>
                  </a:cubicBezTo>
                  <a:cubicBezTo>
                    <a:pt x="151932" y="387033"/>
                    <a:pt x="220021" y="455019"/>
                    <a:pt x="303775" y="455019"/>
                  </a:cubicBezTo>
                  <a:cubicBezTo>
                    <a:pt x="387618" y="455019"/>
                    <a:pt x="455707" y="387033"/>
                    <a:pt x="455707" y="303317"/>
                  </a:cubicBezTo>
                  <a:cubicBezTo>
                    <a:pt x="455707" y="219689"/>
                    <a:pt x="387618" y="151703"/>
                    <a:pt x="303775" y="151703"/>
                  </a:cubicBezTo>
                  <a:close/>
                  <a:moveTo>
                    <a:pt x="253131" y="0"/>
                  </a:moveTo>
                  <a:lnTo>
                    <a:pt x="354419" y="0"/>
                  </a:lnTo>
                  <a:cubicBezTo>
                    <a:pt x="368482" y="0"/>
                    <a:pt x="379786" y="11287"/>
                    <a:pt x="379786" y="25239"/>
                  </a:cubicBezTo>
                  <a:lnTo>
                    <a:pt x="379786" y="62387"/>
                  </a:lnTo>
                  <a:cubicBezTo>
                    <a:pt x="393849" y="66831"/>
                    <a:pt x="407555" y="72519"/>
                    <a:pt x="420639" y="79451"/>
                  </a:cubicBezTo>
                  <a:lnTo>
                    <a:pt x="446985" y="53145"/>
                  </a:lnTo>
                  <a:cubicBezTo>
                    <a:pt x="456953" y="43191"/>
                    <a:pt x="472974" y="43191"/>
                    <a:pt x="482854" y="53145"/>
                  </a:cubicBezTo>
                  <a:lnTo>
                    <a:pt x="554414" y="124597"/>
                  </a:lnTo>
                  <a:cubicBezTo>
                    <a:pt x="564294" y="134462"/>
                    <a:pt x="564294" y="150459"/>
                    <a:pt x="554414" y="160323"/>
                  </a:cubicBezTo>
                  <a:lnTo>
                    <a:pt x="528069" y="186629"/>
                  </a:lnTo>
                  <a:cubicBezTo>
                    <a:pt x="535011" y="199782"/>
                    <a:pt x="540707" y="213468"/>
                    <a:pt x="545158" y="227510"/>
                  </a:cubicBezTo>
                  <a:lnTo>
                    <a:pt x="582273" y="227510"/>
                  </a:lnTo>
                  <a:cubicBezTo>
                    <a:pt x="596336" y="227510"/>
                    <a:pt x="607639" y="238796"/>
                    <a:pt x="607639" y="252749"/>
                  </a:cubicBezTo>
                  <a:lnTo>
                    <a:pt x="607639" y="353884"/>
                  </a:lnTo>
                  <a:cubicBezTo>
                    <a:pt x="607639" y="367926"/>
                    <a:pt x="596247" y="379212"/>
                    <a:pt x="582273" y="379212"/>
                  </a:cubicBezTo>
                  <a:lnTo>
                    <a:pt x="545158" y="379212"/>
                  </a:lnTo>
                  <a:cubicBezTo>
                    <a:pt x="540707" y="393254"/>
                    <a:pt x="535011" y="406940"/>
                    <a:pt x="528069" y="420004"/>
                  </a:cubicBezTo>
                  <a:lnTo>
                    <a:pt x="554414" y="446310"/>
                  </a:lnTo>
                  <a:cubicBezTo>
                    <a:pt x="564294" y="456263"/>
                    <a:pt x="564294" y="472260"/>
                    <a:pt x="554414" y="482125"/>
                  </a:cubicBezTo>
                  <a:lnTo>
                    <a:pt x="482854" y="553577"/>
                  </a:lnTo>
                  <a:cubicBezTo>
                    <a:pt x="472974" y="563442"/>
                    <a:pt x="456953" y="563442"/>
                    <a:pt x="446985" y="553577"/>
                  </a:cubicBezTo>
                  <a:lnTo>
                    <a:pt x="420639" y="527271"/>
                  </a:lnTo>
                  <a:cubicBezTo>
                    <a:pt x="407555" y="534203"/>
                    <a:pt x="393849" y="539802"/>
                    <a:pt x="379786" y="544246"/>
                  </a:cubicBezTo>
                  <a:lnTo>
                    <a:pt x="379786" y="581394"/>
                  </a:lnTo>
                  <a:cubicBezTo>
                    <a:pt x="379786" y="595435"/>
                    <a:pt x="368393" y="606722"/>
                    <a:pt x="354419" y="606722"/>
                  </a:cubicBezTo>
                  <a:lnTo>
                    <a:pt x="253131" y="606722"/>
                  </a:lnTo>
                  <a:cubicBezTo>
                    <a:pt x="239157" y="606722"/>
                    <a:pt x="227854" y="595435"/>
                    <a:pt x="227854" y="581394"/>
                  </a:cubicBezTo>
                  <a:lnTo>
                    <a:pt x="227854" y="544246"/>
                  </a:lnTo>
                  <a:cubicBezTo>
                    <a:pt x="213791" y="539802"/>
                    <a:pt x="200084" y="534203"/>
                    <a:pt x="186911" y="527271"/>
                  </a:cubicBezTo>
                  <a:lnTo>
                    <a:pt x="160566" y="553577"/>
                  </a:lnTo>
                  <a:cubicBezTo>
                    <a:pt x="150686" y="563442"/>
                    <a:pt x="134665" y="563442"/>
                    <a:pt x="124786" y="553577"/>
                  </a:cubicBezTo>
                  <a:lnTo>
                    <a:pt x="53225" y="482125"/>
                  </a:lnTo>
                  <a:cubicBezTo>
                    <a:pt x="43257" y="472260"/>
                    <a:pt x="43257" y="456263"/>
                    <a:pt x="53225" y="446310"/>
                  </a:cubicBezTo>
                  <a:lnTo>
                    <a:pt x="79482" y="420004"/>
                  </a:lnTo>
                  <a:cubicBezTo>
                    <a:pt x="72629" y="406940"/>
                    <a:pt x="66932" y="393254"/>
                    <a:pt x="62482" y="379212"/>
                  </a:cubicBezTo>
                  <a:lnTo>
                    <a:pt x="25278" y="379212"/>
                  </a:lnTo>
                  <a:cubicBezTo>
                    <a:pt x="11304" y="379212"/>
                    <a:pt x="0" y="367926"/>
                    <a:pt x="0" y="353884"/>
                  </a:cubicBezTo>
                  <a:lnTo>
                    <a:pt x="0" y="252749"/>
                  </a:lnTo>
                  <a:cubicBezTo>
                    <a:pt x="0" y="238796"/>
                    <a:pt x="11304" y="227510"/>
                    <a:pt x="25278" y="227510"/>
                  </a:cubicBezTo>
                  <a:lnTo>
                    <a:pt x="62482" y="227510"/>
                  </a:lnTo>
                  <a:cubicBezTo>
                    <a:pt x="66932" y="213468"/>
                    <a:pt x="72629" y="199782"/>
                    <a:pt x="79482" y="186629"/>
                  </a:cubicBezTo>
                  <a:lnTo>
                    <a:pt x="53225" y="160323"/>
                  </a:lnTo>
                  <a:cubicBezTo>
                    <a:pt x="43257" y="150459"/>
                    <a:pt x="43257" y="134462"/>
                    <a:pt x="53225" y="124597"/>
                  </a:cubicBezTo>
                  <a:lnTo>
                    <a:pt x="124786" y="53145"/>
                  </a:lnTo>
                  <a:cubicBezTo>
                    <a:pt x="134665" y="43191"/>
                    <a:pt x="150686" y="43191"/>
                    <a:pt x="160566" y="53145"/>
                  </a:cubicBezTo>
                  <a:lnTo>
                    <a:pt x="186911" y="79451"/>
                  </a:lnTo>
                  <a:cubicBezTo>
                    <a:pt x="200084" y="72519"/>
                    <a:pt x="213791" y="66831"/>
                    <a:pt x="227854" y="62387"/>
                  </a:cubicBezTo>
                  <a:lnTo>
                    <a:pt x="227854" y="25239"/>
                  </a:lnTo>
                  <a:cubicBezTo>
                    <a:pt x="227854" y="11287"/>
                    <a:pt x="239157" y="0"/>
                    <a:pt x="253131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3" name="ïṧľíďê">
              <a:extLst>
                <a:ext uri="{FF2B5EF4-FFF2-40B4-BE49-F238E27FC236}">
                  <a16:creationId xmlns:a16="http://schemas.microsoft.com/office/drawing/2014/main" id="{83AC56C8-BB22-4DB6-8372-AA84DFFA3A81}"/>
                </a:ext>
              </a:extLst>
            </p:cNvPr>
            <p:cNvSpPr/>
            <p:nvPr/>
          </p:nvSpPr>
          <p:spPr bwMode="auto">
            <a:xfrm>
              <a:off x="2498293" y="4944202"/>
              <a:ext cx="377806" cy="377188"/>
            </a:xfrm>
            <a:custGeom>
              <a:avLst/>
              <a:gdLst>
                <a:gd name="connsiteX0" fmla="*/ 380418 w 604181"/>
                <a:gd name="connsiteY0" fmla="*/ 268007 h 603193"/>
                <a:gd name="connsiteX1" fmla="*/ 519220 w 604181"/>
                <a:gd name="connsiteY1" fmla="*/ 339187 h 603193"/>
                <a:gd name="connsiteX2" fmla="*/ 519220 w 604181"/>
                <a:gd name="connsiteY2" fmla="*/ 355820 h 603193"/>
                <a:gd name="connsiteX3" fmla="*/ 380418 w 604181"/>
                <a:gd name="connsiteY3" fmla="*/ 426850 h 603193"/>
                <a:gd name="connsiteX4" fmla="*/ 380418 w 604181"/>
                <a:gd name="connsiteY4" fmla="*/ 406320 h 603193"/>
                <a:gd name="connsiteX5" fmla="*/ 498212 w 604181"/>
                <a:gd name="connsiteY5" fmla="*/ 347728 h 603193"/>
                <a:gd name="connsiteX6" fmla="*/ 498212 w 604181"/>
                <a:gd name="connsiteY6" fmla="*/ 347129 h 603193"/>
                <a:gd name="connsiteX7" fmla="*/ 380418 w 604181"/>
                <a:gd name="connsiteY7" fmla="*/ 288687 h 603193"/>
                <a:gd name="connsiteX8" fmla="*/ 216565 w 604181"/>
                <a:gd name="connsiteY8" fmla="*/ 268007 h 603193"/>
                <a:gd name="connsiteX9" fmla="*/ 216565 w 604181"/>
                <a:gd name="connsiteY9" fmla="*/ 288687 h 603193"/>
                <a:gd name="connsiteX10" fmla="*/ 99664 w 604181"/>
                <a:gd name="connsiteY10" fmla="*/ 347129 h 603193"/>
                <a:gd name="connsiteX11" fmla="*/ 99664 w 604181"/>
                <a:gd name="connsiteY11" fmla="*/ 347728 h 603193"/>
                <a:gd name="connsiteX12" fmla="*/ 216565 w 604181"/>
                <a:gd name="connsiteY12" fmla="*/ 406320 h 603193"/>
                <a:gd name="connsiteX13" fmla="*/ 216565 w 604181"/>
                <a:gd name="connsiteY13" fmla="*/ 426850 h 603193"/>
                <a:gd name="connsiteX14" fmla="*/ 77904 w 604181"/>
                <a:gd name="connsiteY14" fmla="*/ 355521 h 603193"/>
                <a:gd name="connsiteX15" fmla="*/ 77904 w 604181"/>
                <a:gd name="connsiteY15" fmla="*/ 339486 h 603193"/>
                <a:gd name="connsiteX16" fmla="*/ 338273 w 604181"/>
                <a:gd name="connsiteY16" fmla="*/ 222493 h 603193"/>
                <a:gd name="connsiteX17" fmla="*/ 358684 w 604181"/>
                <a:gd name="connsiteY17" fmla="*/ 222493 h 603193"/>
                <a:gd name="connsiteX18" fmla="*/ 253179 w 604181"/>
                <a:gd name="connsiteY18" fmla="*/ 482103 h 603193"/>
                <a:gd name="connsiteX19" fmla="*/ 233219 w 604181"/>
                <a:gd name="connsiteY19" fmla="*/ 482103 h 603193"/>
                <a:gd name="connsiteX20" fmla="*/ 28813 w 604181"/>
                <a:gd name="connsiteY20" fmla="*/ 128849 h 603193"/>
                <a:gd name="connsiteX21" fmla="*/ 28813 w 604181"/>
                <a:gd name="connsiteY21" fmla="*/ 557497 h 603193"/>
                <a:gd name="connsiteX22" fmla="*/ 45921 w 604181"/>
                <a:gd name="connsiteY22" fmla="*/ 574427 h 603193"/>
                <a:gd name="connsiteX23" fmla="*/ 558410 w 604181"/>
                <a:gd name="connsiteY23" fmla="*/ 574427 h 603193"/>
                <a:gd name="connsiteX24" fmla="*/ 575368 w 604181"/>
                <a:gd name="connsiteY24" fmla="*/ 557497 h 603193"/>
                <a:gd name="connsiteX25" fmla="*/ 575368 w 604181"/>
                <a:gd name="connsiteY25" fmla="*/ 128849 h 603193"/>
                <a:gd name="connsiteX26" fmla="*/ 502734 w 604181"/>
                <a:gd name="connsiteY26" fmla="*/ 43149 h 603193"/>
                <a:gd name="connsiteX27" fmla="*/ 502734 w 604181"/>
                <a:gd name="connsiteY27" fmla="*/ 77309 h 603193"/>
                <a:gd name="connsiteX28" fmla="*/ 537100 w 604181"/>
                <a:gd name="connsiteY28" fmla="*/ 77309 h 603193"/>
                <a:gd name="connsiteX29" fmla="*/ 537100 w 604181"/>
                <a:gd name="connsiteY29" fmla="*/ 43149 h 603193"/>
                <a:gd name="connsiteX30" fmla="*/ 423197 w 604181"/>
                <a:gd name="connsiteY30" fmla="*/ 43149 h 603193"/>
                <a:gd name="connsiteX31" fmla="*/ 423197 w 604181"/>
                <a:gd name="connsiteY31" fmla="*/ 77309 h 603193"/>
                <a:gd name="connsiteX32" fmla="*/ 457563 w 604181"/>
                <a:gd name="connsiteY32" fmla="*/ 77309 h 603193"/>
                <a:gd name="connsiteX33" fmla="*/ 457563 w 604181"/>
                <a:gd name="connsiteY33" fmla="*/ 43149 h 603193"/>
                <a:gd name="connsiteX34" fmla="*/ 45921 w 604181"/>
                <a:gd name="connsiteY34" fmla="*/ 0 h 603193"/>
                <a:gd name="connsiteX35" fmla="*/ 558410 w 604181"/>
                <a:gd name="connsiteY35" fmla="*/ 0 h 603193"/>
                <a:gd name="connsiteX36" fmla="*/ 604181 w 604181"/>
                <a:gd name="connsiteY36" fmla="*/ 45846 h 603193"/>
                <a:gd name="connsiteX37" fmla="*/ 604181 w 604181"/>
                <a:gd name="connsiteY37" fmla="*/ 557497 h 603193"/>
                <a:gd name="connsiteX38" fmla="*/ 558410 w 604181"/>
                <a:gd name="connsiteY38" fmla="*/ 603193 h 603193"/>
                <a:gd name="connsiteX39" fmla="*/ 45921 w 604181"/>
                <a:gd name="connsiteY39" fmla="*/ 603193 h 603193"/>
                <a:gd name="connsiteX40" fmla="*/ 0 w 604181"/>
                <a:gd name="connsiteY40" fmla="*/ 557497 h 603193"/>
                <a:gd name="connsiteX41" fmla="*/ 0 w 604181"/>
                <a:gd name="connsiteY41" fmla="*/ 45846 h 603193"/>
                <a:gd name="connsiteX42" fmla="*/ 45921 w 604181"/>
                <a:gd name="connsiteY42" fmla="*/ 0 h 603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04181" h="603193">
                  <a:moveTo>
                    <a:pt x="380418" y="268007"/>
                  </a:moveTo>
                  <a:lnTo>
                    <a:pt x="519220" y="339187"/>
                  </a:lnTo>
                  <a:lnTo>
                    <a:pt x="519220" y="355820"/>
                  </a:lnTo>
                  <a:lnTo>
                    <a:pt x="380418" y="426850"/>
                  </a:lnTo>
                  <a:lnTo>
                    <a:pt x="380418" y="406320"/>
                  </a:lnTo>
                  <a:lnTo>
                    <a:pt x="498212" y="347728"/>
                  </a:lnTo>
                  <a:lnTo>
                    <a:pt x="498212" y="347129"/>
                  </a:lnTo>
                  <a:lnTo>
                    <a:pt x="380418" y="288687"/>
                  </a:lnTo>
                  <a:close/>
                  <a:moveTo>
                    <a:pt x="216565" y="268007"/>
                  </a:moveTo>
                  <a:lnTo>
                    <a:pt x="216565" y="288687"/>
                  </a:lnTo>
                  <a:lnTo>
                    <a:pt x="99664" y="347129"/>
                  </a:lnTo>
                  <a:lnTo>
                    <a:pt x="99664" y="347728"/>
                  </a:lnTo>
                  <a:lnTo>
                    <a:pt x="216565" y="406320"/>
                  </a:lnTo>
                  <a:lnTo>
                    <a:pt x="216565" y="426850"/>
                  </a:lnTo>
                  <a:lnTo>
                    <a:pt x="77904" y="355521"/>
                  </a:lnTo>
                  <a:lnTo>
                    <a:pt x="77904" y="339486"/>
                  </a:lnTo>
                  <a:close/>
                  <a:moveTo>
                    <a:pt x="338273" y="222493"/>
                  </a:moveTo>
                  <a:lnTo>
                    <a:pt x="358684" y="222493"/>
                  </a:lnTo>
                  <a:lnTo>
                    <a:pt x="253179" y="482103"/>
                  </a:lnTo>
                  <a:lnTo>
                    <a:pt x="233219" y="482103"/>
                  </a:lnTo>
                  <a:close/>
                  <a:moveTo>
                    <a:pt x="28813" y="128849"/>
                  </a:moveTo>
                  <a:lnTo>
                    <a:pt x="28813" y="557497"/>
                  </a:lnTo>
                  <a:cubicBezTo>
                    <a:pt x="28813" y="566786"/>
                    <a:pt x="36467" y="574427"/>
                    <a:pt x="45921" y="574427"/>
                  </a:cubicBezTo>
                  <a:lnTo>
                    <a:pt x="558410" y="574427"/>
                  </a:lnTo>
                  <a:cubicBezTo>
                    <a:pt x="567714" y="574427"/>
                    <a:pt x="575368" y="566786"/>
                    <a:pt x="575368" y="557497"/>
                  </a:cubicBezTo>
                  <a:lnTo>
                    <a:pt x="575368" y="128849"/>
                  </a:lnTo>
                  <a:close/>
                  <a:moveTo>
                    <a:pt x="502734" y="43149"/>
                  </a:moveTo>
                  <a:lnTo>
                    <a:pt x="502734" y="77309"/>
                  </a:lnTo>
                  <a:lnTo>
                    <a:pt x="537100" y="77309"/>
                  </a:lnTo>
                  <a:lnTo>
                    <a:pt x="537100" y="43149"/>
                  </a:lnTo>
                  <a:close/>
                  <a:moveTo>
                    <a:pt x="423197" y="43149"/>
                  </a:moveTo>
                  <a:lnTo>
                    <a:pt x="423197" y="77309"/>
                  </a:lnTo>
                  <a:lnTo>
                    <a:pt x="457563" y="77309"/>
                  </a:lnTo>
                  <a:lnTo>
                    <a:pt x="457563" y="43149"/>
                  </a:lnTo>
                  <a:close/>
                  <a:moveTo>
                    <a:pt x="45921" y="0"/>
                  </a:moveTo>
                  <a:lnTo>
                    <a:pt x="558410" y="0"/>
                  </a:lnTo>
                  <a:cubicBezTo>
                    <a:pt x="583621" y="0"/>
                    <a:pt x="604181" y="20526"/>
                    <a:pt x="604181" y="45846"/>
                  </a:cubicBezTo>
                  <a:lnTo>
                    <a:pt x="604181" y="557497"/>
                  </a:lnTo>
                  <a:cubicBezTo>
                    <a:pt x="604181" y="582667"/>
                    <a:pt x="583621" y="603193"/>
                    <a:pt x="558410" y="603193"/>
                  </a:cubicBezTo>
                  <a:lnTo>
                    <a:pt x="45921" y="603193"/>
                  </a:lnTo>
                  <a:cubicBezTo>
                    <a:pt x="20560" y="603193"/>
                    <a:pt x="0" y="582667"/>
                    <a:pt x="0" y="557497"/>
                  </a:cubicBezTo>
                  <a:lnTo>
                    <a:pt x="0" y="45846"/>
                  </a:lnTo>
                  <a:cubicBezTo>
                    <a:pt x="0" y="20526"/>
                    <a:pt x="20560" y="0"/>
                    <a:pt x="45921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4" name="îṣḻîḍé">
              <a:extLst>
                <a:ext uri="{FF2B5EF4-FFF2-40B4-BE49-F238E27FC236}">
                  <a16:creationId xmlns:a16="http://schemas.microsoft.com/office/drawing/2014/main" id="{716A4AAF-66FE-4462-901E-658C29D84AD8}"/>
                </a:ext>
              </a:extLst>
            </p:cNvPr>
            <p:cNvSpPr/>
            <p:nvPr/>
          </p:nvSpPr>
          <p:spPr bwMode="auto">
            <a:xfrm>
              <a:off x="1959174" y="5587283"/>
              <a:ext cx="377806" cy="377235"/>
            </a:xfrm>
            <a:custGeom>
              <a:avLst/>
              <a:gdLst>
                <a:gd name="T0" fmla="*/ 6624 w 7154"/>
                <a:gd name="T1" fmla="*/ 2037 h 7154"/>
                <a:gd name="T2" fmla="*/ 6106 w 7154"/>
                <a:gd name="T3" fmla="*/ 1048 h 7154"/>
                <a:gd name="T4" fmla="*/ 5117 w 7154"/>
                <a:gd name="T5" fmla="*/ 530 h 7154"/>
                <a:gd name="T6" fmla="*/ 4643 w 7154"/>
                <a:gd name="T7" fmla="*/ 334 h 7154"/>
                <a:gd name="T8" fmla="*/ 3577 w 7154"/>
                <a:gd name="T9" fmla="*/ 0 h 7154"/>
                <a:gd name="T10" fmla="*/ 2511 w 7154"/>
                <a:gd name="T11" fmla="*/ 334 h 7154"/>
                <a:gd name="T12" fmla="*/ 2037 w 7154"/>
                <a:gd name="T13" fmla="*/ 530 h 7154"/>
                <a:gd name="T14" fmla="*/ 1048 w 7154"/>
                <a:gd name="T15" fmla="*/ 1048 h 7154"/>
                <a:gd name="T16" fmla="*/ 530 w 7154"/>
                <a:gd name="T17" fmla="*/ 2037 h 7154"/>
                <a:gd name="T18" fmla="*/ 334 w 7154"/>
                <a:gd name="T19" fmla="*/ 2511 h 7154"/>
                <a:gd name="T20" fmla="*/ 0 w 7154"/>
                <a:gd name="T21" fmla="*/ 3577 h 7154"/>
                <a:gd name="T22" fmla="*/ 334 w 7154"/>
                <a:gd name="T23" fmla="*/ 4643 h 7154"/>
                <a:gd name="T24" fmla="*/ 530 w 7154"/>
                <a:gd name="T25" fmla="*/ 5117 h 7154"/>
                <a:gd name="T26" fmla="*/ 1048 w 7154"/>
                <a:gd name="T27" fmla="*/ 6106 h 7154"/>
                <a:gd name="T28" fmla="*/ 2037 w 7154"/>
                <a:gd name="T29" fmla="*/ 6624 h 7154"/>
                <a:gd name="T30" fmla="*/ 2511 w 7154"/>
                <a:gd name="T31" fmla="*/ 6820 h 7154"/>
                <a:gd name="T32" fmla="*/ 3577 w 7154"/>
                <a:gd name="T33" fmla="*/ 7154 h 7154"/>
                <a:gd name="T34" fmla="*/ 4643 w 7154"/>
                <a:gd name="T35" fmla="*/ 6820 h 7154"/>
                <a:gd name="T36" fmla="*/ 5117 w 7154"/>
                <a:gd name="T37" fmla="*/ 6624 h 7154"/>
                <a:gd name="T38" fmla="*/ 6106 w 7154"/>
                <a:gd name="T39" fmla="*/ 6106 h 7154"/>
                <a:gd name="T40" fmla="*/ 6624 w 7154"/>
                <a:gd name="T41" fmla="*/ 5117 h 7154"/>
                <a:gd name="T42" fmla="*/ 6820 w 7154"/>
                <a:gd name="T43" fmla="*/ 4643 h 7154"/>
                <a:gd name="T44" fmla="*/ 7154 w 7154"/>
                <a:gd name="T45" fmla="*/ 3577 h 7154"/>
                <a:gd name="T46" fmla="*/ 6820 w 7154"/>
                <a:gd name="T47" fmla="*/ 2511 h 7154"/>
                <a:gd name="T48" fmla="*/ 6624 w 7154"/>
                <a:gd name="T49" fmla="*/ 2037 h 7154"/>
                <a:gd name="T50" fmla="*/ 5857 w 7154"/>
                <a:gd name="T51" fmla="*/ 2406 h 7154"/>
                <a:gd name="T52" fmla="*/ 3286 w 7154"/>
                <a:gd name="T53" fmla="*/ 4976 h 7154"/>
                <a:gd name="T54" fmla="*/ 2875 w 7154"/>
                <a:gd name="T55" fmla="*/ 5387 h 7154"/>
                <a:gd name="T56" fmla="*/ 2464 w 7154"/>
                <a:gd name="T57" fmla="*/ 5387 h 7154"/>
                <a:gd name="T58" fmla="*/ 2053 w 7154"/>
                <a:gd name="T59" fmla="*/ 4976 h 7154"/>
                <a:gd name="T60" fmla="*/ 1297 w 7154"/>
                <a:gd name="T61" fmla="*/ 4221 h 7154"/>
                <a:gd name="T62" fmla="*/ 1297 w 7154"/>
                <a:gd name="T63" fmla="*/ 3809 h 7154"/>
                <a:gd name="T64" fmla="*/ 1708 w 7154"/>
                <a:gd name="T65" fmla="*/ 3398 h 7154"/>
                <a:gd name="T66" fmla="*/ 2120 w 7154"/>
                <a:gd name="T67" fmla="*/ 3398 h 7154"/>
                <a:gd name="T68" fmla="*/ 2669 w 7154"/>
                <a:gd name="T69" fmla="*/ 3948 h 7154"/>
                <a:gd name="T70" fmla="*/ 5034 w 7154"/>
                <a:gd name="T71" fmla="*/ 1583 h 7154"/>
                <a:gd name="T72" fmla="*/ 5445 w 7154"/>
                <a:gd name="T73" fmla="*/ 1583 h 7154"/>
                <a:gd name="T74" fmla="*/ 5857 w 7154"/>
                <a:gd name="T75" fmla="*/ 1994 h 7154"/>
                <a:gd name="T76" fmla="*/ 5857 w 7154"/>
                <a:gd name="T77" fmla="*/ 2406 h 7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154" h="7154">
                  <a:moveTo>
                    <a:pt x="6624" y="2037"/>
                  </a:moveTo>
                  <a:cubicBezTo>
                    <a:pt x="6580" y="1703"/>
                    <a:pt x="6403" y="1345"/>
                    <a:pt x="6106" y="1048"/>
                  </a:cubicBezTo>
                  <a:cubicBezTo>
                    <a:pt x="5809" y="751"/>
                    <a:pt x="5451" y="574"/>
                    <a:pt x="5117" y="530"/>
                  </a:cubicBezTo>
                  <a:cubicBezTo>
                    <a:pt x="4966" y="510"/>
                    <a:pt x="4764" y="427"/>
                    <a:pt x="4643" y="334"/>
                  </a:cubicBezTo>
                  <a:cubicBezTo>
                    <a:pt x="4375" y="128"/>
                    <a:pt x="3997" y="0"/>
                    <a:pt x="3577" y="0"/>
                  </a:cubicBezTo>
                  <a:cubicBezTo>
                    <a:pt x="3157" y="0"/>
                    <a:pt x="2779" y="128"/>
                    <a:pt x="2511" y="334"/>
                  </a:cubicBezTo>
                  <a:cubicBezTo>
                    <a:pt x="2390" y="427"/>
                    <a:pt x="2188" y="510"/>
                    <a:pt x="2037" y="530"/>
                  </a:cubicBezTo>
                  <a:cubicBezTo>
                    <a:pt x="1702" y="574"/>
                    <a:pt x="1345" y="751"/>
                    <a:pt x="1048" y="1048"/>
                  </a:cubicBezTo>
                  <a:cubicBezTo>
                    <a:pt x="751" y="1345"/>
                    <a:pt x="574" y="1703"/>
                    <a:pt x="530" y="2037"/>
                  </a:cubicBezTo>
                  <a:cubicBezTo>
                    <a:pt x="510" y="2188"/>
                    <a:pt x="427" y="2390"/>
                    <a:pt x="334" y="2511"/>
                  </a:cubicBezTo>
                  <a:cubicBezTo>
                    <a:pt x="128" y="2779"/>
                    <a:pt x="0" y="3157"/>
                    <a:pt x="0" y="3577"/>
                  </a:cubicBezTo>
                  <a:cubicBezTo>
                    <a:pt x="0" y="3997"/>
                    <a:pt x="128" y="4375"/>
                    <a:pt x="334" y="4643"/>
                  </a:cubicBezTo>
                  <a:cubicBezTo>
                    <a:pt x="427" y="4764"/>
                    <a:pt x="510" y="4966"/>
                    <a:pt x="530" y="5117"/>
                  </a:cubicBezTo>
                  <a:cubicBezTo>
                    <a:pt x="574" y="5451"/>
                    <a:pt x="751" y="5809"/>
                    <a:pt x="1048" y="6106"/>
                  </a:cubicBezTo>
                  <a:cubicBezTo>
                    <a:pt x="1345" y="6403"/>
                    <a:pt x="1702" y="6580"/>
                    <a:pt x="2037" y="6624"/>
                  </a:cubicBezTo>
                  <a:cubicBezTo>
                    <a:pt x="2188" y="6644"/>
                    <a:pt x="2390" y="6727"/>
                    <a:pt x="2511" y="6820"/>
                  </a:cubicBezTo>
                  <a:cubicBezTo>
                    <a:pt x="2779" y="7025"/>
                    <a:pt x="3157" y="7154"/>
                    <a:pt x="3577" y="7154"/>
                  </a:cubicBezTo>
                  <a:cubicBezTo>
                    <a:pt x="3997" y="7154"/>
                    <a:pt x="4375" y="7025"/>
                    <a:pt x="4643" y="6820"/>
                  </a:cubicBezTo>
                  <a:cubicBezTo>
                    <a:pt x="4764" y="6727"/>
                    <a:pt x="4966" y="6644"/>
                    <a:pt x="5117" y="6624"/>
                  </a:cubicBezTo>
                  <a:cubicBezTo>
                    <a:pt x="5451" y="6580"/>
                    <a:pt x="5809" y="6403"/>
                    <a:pt x="6106" y="6106"/>
                  </a:cubicBezTo>
                  <a:cubicBezTo>
                    <a:pt x="6403" y="5809"/>
                    <a:pt x="6580" y="5451"/>
                    <a:pt x="6624" y="5117"/>
                  </a:cubicBezTo>
                  <a:cubicBezTo>
                    <a:pt x="6644" y="4966"/>
                    <a:pt x="6727" y="4764"/>
                    <a:pt x="6820" y="4643"/>
                  </a:cubicBezTo>
                  <a:cubicBezTo>
                    <a:pt x="7026" y="4375"/>
                    <a:pt x="7154" y="3997"/>
                    <a:pt x="7154" y="3577"/>
                  </a:cubicBezTo>
                  <a:cubicBezTo>
                    <a:pt x="7154" y="3157"/>
                    <a:pt x="7026" y="2779"/>
                    <a:pt x="6820" y="2511"/>
                  </a:cubicBezTo>
                  <a:cubicBezTo>
                    <a:pt x="6727" y="2390"/>
                    <a:pt x="6644" y="2188"/>
                    <a:pt x="6624" y="2037"/>
                  </a:cubicBezTo>
                  <a:close/>
                  <a:moveTo>
                    <a:pt x="5857" y="2406"/>
                  </a:moveTo>
                  <a:lnTo>
                    <a:pt x="3286" y="4976"/>
                  </a:lnTo>
                  <a:lnTo>
                    <a:pt x="2875" y="5387"/>
                  </a:lnTo>
                  <a:cubicBezTo>
                    <a:pt x="2762" y="5501"/>
                    <a:pt x="2577" y="5501"/>
                    <a:pt x="2464" y="5387"/>
                  </a:cubicBezTo>
                  <a:lnTo>
                    <a:pt x="2053" y="4976"/>
                  </a:lnTo>
                  <a:lnTo>
                    <a:pt x="1297" y="4221"/>
                  </a:lnTo>
                  <a:cubicBezTo>
                    <a:pt x="1183" y="4107"/>
                    <a:pt x="1183" y="3923"/>
                    <a:pt x="1297" y="3809"/>
                  </a:cubicBezTo>
                  <a:lnTo>
                    <a:pt x="1708" y="3398"/>
                  </a:lnTo>
                  <a:cubicBezTo>
                    <a:pt x="1822" y="3285"/>
                    <a:pt x="2006" y="3285"/>
                    <a:pt x="2120" y="3398"/>
                  </a:cubicBezTo>
                  <a:lnTo>
                    <a:pt x="2669" y="3948"/>
                  </a:lnTo>
                  <a:lnTo>
                    <a:pt x="5034" y="1583"/>
                  </a:lnTo>
                  <a:cubicBezTo>
                    <a:pt x="5148" y="1470"/>
                    <a:pt x="5332" y="1470"/>
                    <a:pt x="5445" y="1583"/>
                  </a:cubicBezTo>
                  <a:lnTo>
                    <a:pt x="5857" y="1994"/>
                  </a:lnTo>
                  <a:cubicBezTo>
                    <a:pt x="5970" y="2108"/>
                    <a:pt x="5970" y="2292"/>
                    <a:pt x="5857" y="2406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15" name="iṧḷiḑé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743264" y="4276135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按分布模式进行配置</a:t>
              </a:r>
              <a:endParaRPr lang="en-US" altLang="zh-CN" sz="1100" dirty="0"/>
            </a:p>
          </p:txBody>
        </p:sp>
        <p:sp>
          <p:nvSpPr>
            <p:cNvPr id="216" name="îṧḻiḑe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3197100" y="4926511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>
                  <a:solidFill>
                    <a:schemeClr val="bg1"/>
                  </a:solidFill>
                </a:rPr>
                <a:t>运行第一个实例</a:t>
              </a:r>
              <a:endParaRPr lang="en-US" altLang="zh-CN" sz="1100" dirty="0">
                <a:solidFill>
                  <a:schemeClr val="bg1"/>
                </a:solidFill>
              </a:endParaRPr>
            </a:p>
          </p:txBody>
        </p:sp>
        <p:sp>
          <p:nvSpPr>
            <p:cNvPr id="217" name="îṣľïd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2651098" y="5576887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开心</a:t>
              </a:r>
              <a:r>
                <a:rPr lang="en-US" altLang="zh-CN" sz="1100" dirty="0" err="1"/>
                <a:t>ing</a:t>
              </a:r>
              <a:r>
                <a:rPr lang="en-US" altLang="zh-CN" sz="1100" dirty="0"/>
                <a:t>~</a:t>
              </a:r>
            </a:p>
          </p:txBody>
        </p:sp>
        <p:sp>
          <p:nvSpPr>
            <p:cNvPr id="218" name="íṧ1îd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289201" y="3625759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 解压</a:t>
              </a:r>
              <a:endParaRPr lang="en-US" altLang="zh-CN" sz="1100" dirty="0"/>
            </a:p>
          </p:txBody>
        </p:sp>
        <p:sp>
          <p:nvSpPr>
            <p:cNvPr id="219" name="îs1ïḋè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842020" y="2975382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配置环境变量 使之生效</a:t>
              </a:r>
              <a:endParaRPr lang="en-US" altLang="zh-CN" sz="1100" dirty="0"/>
            </a:p>
          </p:txBody>
        </p:sp>
        <p:sp>
          <p:nvSpPr>
            <p:cNvPr id="220" name="íšliḓê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5387990" y="2325006"/>
              <a:ext cx="3124921" cy="47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100" dirty="0"/>
                <a:t>在官网下载安装包</a:t>
              </a:r>
              <a:r>
                <a:rPr lang="en-US" altLang="zh-CN" sz="1100" dirty="0"/>
                <a:t> </a:t>
              </a:r>
              <a:r>
                <a:rPr lang="zh-CN" altLang="en-US" sz="1100" dirty="0"/>
                <a:t>解压</a:t>
              </a:r>
              <a:endParaRPr lang="en-US" altLang="zh-CN" sz="1100" dirty="0"/>
            </a:p>
          </p:txBody>
        </p:sp>
      </p:grpSp>
      <p:sp>
        <p:nvSpPr>
          <p:cNvPr id="7" name="Rectangle 2">
            <a:extLst>
              <a:ext uri="{FF2B5EF4-FFF2-40B4-BE49-F238E27FC236}">
                <a16:creationId xmlns:a16="http://schemas.microsoft.com/office/drawing/2014/main" id="{3AE81623-7CD6-49D9-AB93-2743959343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7C9400A1-127B-443B-9890-1A43D9C469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5E96695E-50F1-42F2-BC25-869F2B0EF49D}"/>
              </a:ext>
            </a:extLst>
          </p:cNvPr>
          <p:cNvSpPr txBox="1"/>
          <p:nvPr/>
        </p:nvSpPr>
        <p:spPr>
          <a:xfrm>
            <a:off x="503436" y="1130300"/>
            <a:ext cx="81371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使用 </a:t>
            </a:r>
            <a:r>
              <a:rPr lang="en-US" altLang="zh-CN" dirty="0"/>
              <a:t>rm –r output </a:t>
            </a:r>
            <a:r>
              <a:rPr lang="zh-CN" altLang="en-US" dirty="0"/>
              <a:t>删除</a:t>
            </a:r>
            <a:r>
              <a:rPr lang="en-US" altLang="zh-CN" dirty="0"/>
              <a:t>output</a:t>
            </a:r>
            <a:r>
              <a:rPr lang="zh-CN" altLang="en-US" dirty="0"/>
              <a:t>文件夹再执行其他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BB82027F-4FB8-4B48-940C-0BF5A4EAFF07}"/>
              </a:ext>
            </a:extLst>
          </p:cNvPr>
          <p:cNvSpPr txBox="1"/>
          <p:nvPr/>
        </p:nvSpPr>
        <p:spPr>
          <a:xfrm>
            <a:off x="503437" y="1555828"/>
            <a:ext cx="81371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 err="1"/>
              <a:t>hadoop</a:t>
            </a:r>
            <a:r>
              <a:rPr lang="en-US" altLang="zh-CN" sz="1200" b="1" dirty="0"/>
              <a:t> jar share/</a:t>
            </a:r>
            <a:r>
              <a:rPr lang="en-US" altLang="zh-CN" sz="1200" b="1" dirty="0" err="1"/>
              <a:t>hadoop</a:t>
            </a:r>
            <a:r>
              <a:rPr lang="en-US" altLang="zh-CN" sz="1200" b="1" dirty="0"/>
              <a:t>/</a:t>
            </a:r>
            <a:r>
              <a:rPr lang="en-US" altLang="zh-CN" sz="1200" b="1" dirty="0" err="1"/>
              <a:t>mapreduce</a:t>
            </a:r>
            <a:r>
              <a:rPr lang="en-US" altLang="zh-CN" sz="1200" b="1" dirty="0"/>
              <a:t>/hadoop-mapreduce-examples-3.1.2.jar pi 16 10000</a:t>
            </a:r>
            <a:endParaRPr lang="zh-CN" altLang="en-US" sz="1200" b="1" dirty="0"/>
          </a:p>
        </p:txBody>
      </p:sp>
      <p:pic>
        <p:nvPicPr>
          <p:cNvPr id="19457" name="Picture 1" descr="L:\Water\Documents\Tencent Files\1106367305\Image\C2C\9FA7S({PD5ZSW5%KC_S4$4F.jpg">
            <a:extLst>
              <a:ext uri="{FF2B5EF4-FFF2-40B4-BE49-F238E27FC236}">
                <a16:creationId xmlns:a16="http://schemas.microsoft.com/office/drawing/2014/main" id="{4CF91837-EEA7-4955-A20B-3805A57D18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1" t="515"/>
          <a:stretch>
            <a:fillRect/>
          </a:stretch>
        </p:blipFill>
        <p:spPr bwMode="auto">
          <a:xfrm>
            <a:off x="1082629" y="1906939"/>
            <a:ext cx="6978742" cy="4519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1" name="Picture 1" descr="L:\Water\Documents\Tencent Files\1106367305\Image\C2C\}[1J5K2(K)(PU%@[TDI}O}7.jpg">
            <a:extLst>
              <a:ext uri="{FF2B5EF4-FFF2-40B4-BE49-F238E27FC236}">
                <a16:creationId xmlns:a16="http://schemas.microsoft.com/office/drawing/2014/main" id="{0422F658-37AE-49A2-A974-88FBBAE826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" r="750"/>
          <a:stretch>
            <a:fillRect/>
          </a:stretch>
        </p:blipFill>
        <p:spPr bwMode="auto">
          <a:xfrm>
            <a:off x="1090612" y="1906939"/>
            <a:ext cx="6962776" cy="467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20035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运行的实例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3</a:t>
            </a:fld>
            <a:endParaRPr lang="zh-CN" altLang="en-US"/>
          </a:p>
        </p:txBody>
      </p:sp>
      <p:sp>
        <p:nvSpPr>
          <p:cNvPr id="195" name="iṧḻîďè">
            <a:extLst>
              <a:ext uri="{FF2B5EF4-FFF2-40B4-BE49-F238E27FC236}">
                <a16:creationId xmlns:a16="http://schemas.microsoft.com/office/drawing/2014/main" id="{6FC8272D-4563-47EB-B741-E738A21C2623}"/>
              </a:ext>
            </a:extLst>
          </p:cNvPr>
          <p:cNvSpPr/>
          <p:nvPr/>
        </p:nvSpPr>
        <p:spPr bwMode="auto">
          <a:xfrm>
            <a:off x="4270421" y="-716814"/>
            <a:ext cx="1659226" cy="34701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搞定！</a:t>
            </a:r>
            <a:endParaRPr lang="en-US" altLang="zh-CN" b="1" dirty="0"/>
          </a:p>
        </p:txBody>
      </p:sp>
      <p:sp>
        <p:nvSpPr>
          <p:cNvPr id="196" name="îŝḻiḋé">
            <a:extLst>
              <a:ext uri="{FF2B5EF4-FFF2-40B4-BE49-F238E27FC236}">
                <a16:creationId xmlns:a16="http://schemas.microsoft.com/office/drawing/2014/main" id="{C05C75D7-4258-49B9-958F-F2EEF0B840E0}"/>
              </a:ext>
            </a:extLst>
          </p:cNvPr>
          <p:cNvSpPr/>
          <p:nvPr/>
        </p:nvSpPr>
        <p:spPr bwMode="auto">
          <a:xfrm>
            <a:off x="4545232" y="-1048337"/>
            <a:ext cx="1659226" cy="347013"/>
          </a:xfrm>
          <a:prstGeom prst="parallelogram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>
                <a:solidFill>
                  <a:schemeClr val="bg1"/>
                </a:solidFill>
              </a:rPr>
              <a:t>测试</a:t>
            </a:r>
            <a:endParaRPr lang="en-US" altLang="zh-CN" sz="1750" b="1" dirty="0">
              <a:solidFill>
                <a:schemeClr val="bg1"/>
              </a:solidFill>
            </a:endParaRPr>
          </a:p>
        </p:txBody>
      </p:sp>
      <p:sp>
        <p:nvSpPr>
          <p:cNvPr id="197" name="íṥḷíďê">
            <a:extLst>
              <a:ext uri="{FF2B5EF4-FFF2-40B4-BE49-F238E27FC236}">
                <a16:creationId xmlns:a16="http://schemas.microsoft.com/office/drawing/2014/main" id="{D4FCC7AE-5767-4EC4-BB68-B94457D3AE6D}"/>
              </a:ext>
            </a:extLst>
          </p:cNvPr>
          <p:cNvSpPr/>
          <p:nvPr/>
        </p:nvSpPr>
        <p:spPr bwMode="auto">
          <a:xfrm>
            <a:off x="4814195" y="-1379859"/>
            <a:ext cx="1659226" cy="34701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/>
              <a:t>配置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8" name="ïś1ïḓè">
            <a:extLst>
              <a:ext uri="{FF2B5EF4-FFF2-40B4-BE49-F238E27FC236}">
                <a16:creationId xmlns:a16="http://schemas.microsoft.com/office/drawing/2014/main" id="{F32E844B-E27C-4A92-9B60-95E4AD88D81F}"/>
              </a:ext>
            </a:extLst>
          </p:cNvPr>
          <p:cNvSpPr/>
          <p:nvPr/>
        </p:nvSpPr>
        <p:spPr bwMode="auto">
          <a:xfrm>
            <a:off x="5088422" y="-1711382"/>
            <a:ext cx="1659226" cy="34701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 dirty="0"/>
              <a:t>安装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9" name="îśļïḍè">
            <a:extLst>
              <a:ext uri="{FF2B5EF4-FFF2-40B4-BE49-F238E27FC236}">
                <a16:creationId xmlns:a16="http://schemas.microsoft.com/office/drawing/2014/main" id="{F812BB55-77DE-4E23-95E6-156A22FAD363}"/>
              </a:ext>
            </a:extLst>
          </p:cNvPr>
          <p:cNvSpPr/>
          <p:nvPr/>
        </p:nvSpPr>
        <p:spPr bwMode="auto">
          <a:xfrm>
            <a:off x="5344175" y="-2042905"/>
            <a:ext cx="1659226" cy="34701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配置</a:t>
            </a:r>
            <a:r>
              <a:rPr lang="en-US" altLang="zh-CN" b="1" dirty="0"/>
              <a:t>JAVA</a:t>
            </a:r>
          </a:p>
        </p:txBody>
      </p:sp>
      <p:sp>
        <p:nvSpPr>
          <p:cNvPr id="200" name="ï$1íḍé">
            <a:extLst>
              <a:ext uri="{FF2B5EF4-FFF2-40B4-BE49-F238E27FC236}">
                <a16:creationId xmlns:a16="http://schemas.microsoft.com/office/drawing/2014/main" id="{48245F16-84E7-4201-9485-85B5E5B15ECD}"/>
              </a:ext>
            </a:extLst>
          </p:cNvPr>
          <p:cNvSpPr/>
          <p:nvPr/>
        </p:nvSpPr>
        <p:spPr bwMode="auto">
          <a:xfrm>
            <a:off x="5609393" y="-2374428"/>
            <a:ext cx="1659226" cy="34701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安装</a:t>
            </a:r>
            <a:r>
              <a:rPr lang="en-US" altLang="zh-CN" b="1" dirty="0"/>
              <a:t>JAVA</a:t>
            </a:r>
          </a:p>
        </p:txBody>
      </p:sp>
      <p:sp>
        <p:nvSpPr>
          <p:cNvPr id="201" name="îṥľïďê">
            <a:extLst>
              <a:ext uri="{FF2B5EF4-FFF2-40B4-BE49-F238E27FC236}">
                <a16:creationId xmlns:a16="http://schemas.microsoft.com/office/drawing/2014/main" id="{920DFBAA-02E5-4206-86B0-FE10F93A7509}"/>
              </a:ext>
            </a:extLst>
          </p:cNvPr>
          <p:cNvSpPr/>
          <p:nvPr/>
        </p:nvSpPr>
        <p:spPr bwMode="auto">
          <a:xfrm>
            <a:off x="4058071" y="-1628425"/>
            <a:ext cx="1907405" cy="631854"/>
          </a:xfrm>
          <a:custGeom>
            <a:avLst/>
            <a:gdLst>
              <a:gd name="T0" fmla="*/ 179 w 203"/>
              <a:gd name="T1" fmla="*/ 82 h 82"/>
              <a:gd name="T2" fmla="*/ 203 w 203"/>
              <a:gd name="T3" fmla="*/ 29 h 82"/>
              <a:gd name="T4" fmla="*/ 65 w 203"/>
              <a:gd name="T5" fmla="*/ 27 h 82"/>
              <a:gd name="T6" fmla="*/ 59 w 203"/>
              <a:gd name="T7" fmla="*/ 0 h 82"/>
              <a:gd name="T8" fmla="*/ 59 w 203"/>
              <a:gd name="T9" fmla="*/ 0 h 82"/>
              <a:gd name="T10" fmla="*/ 0 w 203"/>
              <a:gd name="T11" fmla="*/ 80 h 82"/>
              <a:gd name="T12" fmla="*/ 61 w 203"/>
              <a:gd name="T13" fmla="*/ 82 h 82"/>
              <a:gd name="T14" fmla="*/ 179 w 203"/>
              <a:gd name="T15" fmla="*/ 8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3" h="82">
                <a:moveTo>
                  <a:pt x="179" y="82"/>
                </a:moveTo>
                <a:lnTo>
                  <a:pt x="203" y="29"/>
                </a:lnTo>
                <a:lnTo>
                  <a:pt x="65" y="27"/>
                </a:lnTo>
                <a:lnTo>
                  <a:pt x="59" y="0"/>
                </a:lnTo>
                <a:lnTo>
                  <a:pt x="59" y="0"/>
                </a:lnTo>
                <a:lnTo>
                  <a:pt x="0" y="80"/>
                </a:lnTo>
                <a:lnTo>
                  <a:pt x="61" y="82"/>
                </a:lnTo>
                <a:lnTo>
                  <a:pt x="179" y="8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2" name="i$ḻíḋè">
            <a:extLst>
              <a:ext uri="{FF2B5EF4-FFF2-40B4-BE49-F238E27FC236}">
                <a16:creationId xmlns:a16="http://schemas.microsoft.com/office/drawing/2014/main" id="{430BE7EB-B6F0-4F05-80EA-1F517165029F}"/>
              </a:ext>
            </a:extLst>
          </p:cNvPr>
          <p:cNvSpPr/>
          <p:nvPr/>
        </p:nvSpPr>
        <p:spPr bwMode="auto">
          <a:xfrm>
            <a:off x="5491685" y="-2374428"/>
            <a:ext cx="712773" cy="126244"/>
          </a:xfrm>
          <a:prstGeom prst="triangle">
            <a:avLst>
              <a:gd name="adj" fmla="val 14726"/>
            </a:avLst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3" name="işľiḋe">
            <a:extLst>
              <a:ext uri="{FF2B5EF4-FFF2-40B4-BE49-F238E27FC236}">
                <a16:creationId xmlns:a16="http://schemas.microsoft.com/office/drawing/2014/main" id="{E4DECB97-43D1-4D26-8C48-41447675AE79}"/>
              </a:ext>
            </a:extLst>
          </p:cNvPr>
          <p:cNvSpPr/>
          <p:nvPr/>
        </p:nvSpPr>
        <p:spPr bwMode="auto">
          <a:xfrm>
            <a:off x="3270484" y="-2460624"/>
            <a:ext cx="2933974" cy="555361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4" name="iś1íďé">
            <a:extLst>
              <a:ext uri="{FF2B5EF4-FFF2-40B4-BE49-F238E27FC236}">
                <a16:creationId xmlns:a16="http://schemas.microsoft.com/office/drawing/2014/main" id="{6E7EA96A-F20A-4912-AC31-63A0F19E66DE}"/>
              </a:ext>
            </a:extLst>
          </p:cNvPr>
          <p:cNvSpPr/>
          <p:nvPr/>
        </p:nvSpPr>
        <p:spPr bwMode="auto">
          <a:xfrm>
            <a:off x="2992182" y="-2129101"/>
            <a:ext cx="2933974" cy="555361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5" name="ïŝlíḋe">
            <a:extLst>
              <a:ext uri="{FF2B5EF4-FFF2-40B4-BE49-F238E27FC236}">
                <a16:creationId xmlns:a16="http://schemas.microsoft.com/office/drawing/2014/main" id="{66D30D6F-26C9-4C2C-BC01-900AC07DC57E}"/>
              </a:ext>
            </a:extLst>
          </p:cNvPr>
          <p:cNvSpPr/>
          <p:nvPr/>
        </p:nvSpPr>
        <p:spPr bwMode="auto">
          <a:xfrm>
            <a:off x="2710388" y="-1797578"/>
            <a:ext cx="2933974" cy="555361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6" name="îSliďè">
            <a:extLst>
              <a:ext uri="{FF2B5EF4-FFF2-40B4-BE49-F238E27FC236}">
                <a16:creationId xmlns:a16="http://schemas.microsoft.com/office/drawing/2014/main" id="{2F6D5554-EACD-4DDD-892F-2E5F97A9C421}"/>
              </a:ext>
            </a:extLst>
          </p:cNvPr>
          <p:cNvSpPr/>
          <p:nvPr/>
        </p:nvSpPr>
        <p:spPr bwMode="auto">
          <a:xfrm>
            <a:off x="2432102" y="-1466055"/>
            <a:ext cx="2933974" cy="555361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7" name="îSliďé">
            <a:extLst>
              <a:ext uri="{FF2B5EF4-FFF2-40B4-BE49-F238E27FC236}">
                <a16:creationId xmlns:a16="http://schemas.microsoft.com/office/drawing/2014/main" id="{2E278F3F-C8D8-4E2A-A3EA-29ADCF1A02AA}"/>
              </a:ext>
            </a:extLst>
          </p:cNvPr>
          <p:cNvSpPr/>
          <p:nvPr/>
        </p:nvSpPr>
        <p:spPr bwMode="auto">
          <a:xfrm>
            <a:off x="2153700" y="-1134533"/>
            <a:ext cx="2933974" cy="555361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8" name="îs1iďé">
            <a:extLst>
              <a:ext uri="{FF2B5EF4-FFF2-40B4-BE49-F238E27FC236}">
                <a16:creationId xmlns:a16="http://schemas.microsoft.com/office/drawing/2014/main" id="{EB74D0C2-5677-4F3F-A043-44D01A3F3D48}"/>
              </a:ext>
            </a:extLst>
          </p:cNvPr>
          <p:cNvSpPr/>
          <p:nvPr/>
        </p:nvSpPr>
        <p:spPr bwMode="auto">
          <a:xfrm>
            <a:off x="1875381" y="-803010"/>
            <a:ext cx="2933974" cy="555361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9" name="ïṣḻïḋe">
            <a:extLst>
              <a:ext uri="{FF2B5EF4-FFF2-40B4-BE49-F238E27FC236}">
                <a16:creationId xmlns:a16="http://schemas.microsoft.com/office/drawing/2014/main" id="{7709F84E-C33F-462F-B538-51CB71C9284E}"/>
              </a:ext>
            </a:extLst>
          </p:cNvPr>
          <p:cNvSpPr/>
          <p:nvPr/>
        </p:nvSpPr>
        <p:spPr bwMode="auto">
          <a:xfrm>
            <a:off x="3734615" y="-2171950"/>
            <a:ext cx="192583" cy="192315"/>
          </a:xfrm>
          <a:custGeom>
            <a:avLst/>
            <a:gdLst>
              <a:gd name="T0" fmla="*/ 400 w 11264"/>
              <a:gd name="T1" fmla="*/ 7099 h 11264"/>
              <a:gd name="T2" fmla="*/ 4165 w 11264"/>
              <a:gd name="T3" fmla="*/ 7099 h 11264"/>
              <a:gd name="T4" fmla="*/ 4165 w 11264"/>
              <a:gd name="T5" fmla="*/ 10864 h 11264"/>
              <a:gd name="T6" fmla="*/ 4565 w 11264"/>
              <a:gd name="T7" fmla="*/ 11264 h 11264"/>
              <a:gd name="T8" fmla="*/ 6699 w 11264"/>
              <a:gd name="T9" fmla="*/ 11264 h 11264"/>
              <a:gd name="T10" fmla="*/ 7099 w 11264"/>
              <a:gd name="T11" fmla="*/ 10864 h 11264"/>
              <a:gd name="T12" fmla="*/ 7099 w 11264"/>
              <a:gd name="T13" fmla="*/ 7099 h 11264"/>
              <a:gd name="T14" fmla="*/ 10864 w 11264"/>
              <a:gd name="T15" fmla="*/ 7099 h 11264"/>
              <a:gd name="T16" fmla="*/ 11264 w 11264"/>
              <a:gd name="T17" fmla="*/ 6699 h 11264"/>
              <a:gd name="T18" fmla="*/ 11264 w 11264"/>
              <a:gd name="T19" fmla="*/ 4565 h 11264"/>
              <a:gd name="T20" fmla="*/ 10864 w 11264"/>
              <a:gd name="T21" fmla="*/ 4165 h 11264"/>
              <a:gd name="T22" fmla="*/ 7099 w 11264"/>
              <a:gd name="T23" fmla="*/ 4165 h 11264"/>
              <a:gd name="T24" fmla="*/ 7099 w 11264"/>
              <a:gd name="T25" fmla="*/ 400 h 11264"/>
              <a:gd name="T26" fmla="*/ 6699 w 11264"/>
              <a:gd name="T27" fmla="*/ 0 h 11264"/>
              <a:gd name="T28" fmla="*/ 4565 w 11264"/>
              <a:gd name="T29" fmla="*/ 0 h 11264"/>
              <a:gd name="T30" fmla="*/ 4165 w 11264"/>
              <a:gd name="T31" fmla="*/ 400 h 11264"/>
              <a:gd name="T32" fmla="*/ 4165 w 11264"/>
              <a:gd name="T33" fmla="*/ 4165 h 11264"/>
              <a:gd name="T34" fmla="*/ 400 w 11264"/>
              <a:gd name="T35" fmla="*/ 4165 h 11264"/>
              <a:gd name="T36" fmla="*/ 0 w 11264"/>
              <a:gd name="T37" fmla="*/ 4565 h 11264"/>
              <a:gd name="T38" fmla="*/ 0 w 11264"/>
              <a:gd name="T39" fmla="*/ 6699 h 11264"/>
              <a:gd name="T40" fmla="*/ 400 w 11264"/>
              <a:gd name="T41" fmla="*/ 7099 h 11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264" h="11264">
                <a:moveTo>
                  <a:pt x="400" y="7099"/>
                </a:moveTo>
                <a:lnTo>
                  <a:pt x="4165" y="7099"/>
                </a:lnTo>
                <a:lnTo>
                  <a:pt x="4165" y="10864"/>
                </a:lnTo>
                <a:cubicBezTo>
                  <a:pt x="4165" y="11085"/>
                  <a:pt x="4344" y="11264"/>
                  <a:pt x="4565" y="11264"/>
                </a:cubicBezTo>
                <a:lnTo>
                  <a:pt x="6699" y="11264"/>
                </a:lnTo>
                <a:cubicBezTo>
                  <a:pt x="6920" y="11264"/>
                  <a:pt x="7099" y="11085"/>
                  <a:pt x="7099" y="10864"/>
                </a:cubicBezTo>
                <a:lnTo>
                  <a:pt x="7099" y="7099"/>
                </a:lnTo>
                <a:lnTo>
                  <a:pt x="10864" y="7099"/>
                </a:lnTo>
                <a:cubicBezTo>
                  <a:pt x="11085" y="7099"/>
                  <a:pt x="11264" y="6920"/>
                  <a:pt x="11264" y="6699"/>
                </a:cubicBezTo>
                <a:lnTo>
                  <a:pt x="11264" y="4565"/>
                </a:lnTo>
                <a:cubicBezTo>
                  <a:pt x="11264" y="4344"/>
                  <a:pt x="11085" y="4165"/>
                  <a:pt x="10864" y="4165"/>
                </a:cubicBezTo>
                <a:lnTo>
                  <a:pt x="7099" y="4165"/>
                </a:lnTo>
                <a:lnTo>
                  <a:pt x="7099" y="400"/>
                </a:lnTo>
                <a:cubicBezTo>
                  <a:pt x="7099" y="179"/>
                  <a:pt x="6920" y="0"/>
                  <a:pt x="6699" y="0"/>
                </a:cubicBezTo>
                <a:lnTo>
                  <a:pt x="4565" y="0"/>
                </a:lnTo>
                <a:cubicBezTo>
                  <a:pt x="4344" y="0"/>
                  <a:pt x="4165" y="179"/>
                  <a:pt x="4165" y="400"/>
                </a:cubicBezTo>
                <a:lnTo>
                  <a:pt x="4165" y="4165"/>
                </a:lnTo>
                <a:lnTo>
                  <a:pt x="400" y="4165"/>
                </a:lnTo>
                <a:cubicBezTo>
                  <a:pt x="179" y="4165"/>
                  <a:pt x="0" y="4344"/>
                  <a:pt x="0" y="4565"/>
                </a:cubicBezTo>
                <a:lnTo>
                  <a:pt x="0" y="6699"/>
                </a:lnTo>
                <a:cubicBezTo>
                  <a:pt x="0" y="6920"/>
                  <a:pt x="179" y="7099"/>
                  <a:pt x="400" y="7099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0" name="îsḷïde">
            <a:extLst>
              <a:ext uri="{FF2B5EF4-FFF2-40B4-BE49-F238E27FC236}">
                <a16:creationId xmlns:a16="http://schemas.microsoft.com/office/drawing/2014/main" id="{F7027C89-1BCC-4A00-9535-016DE4C49FD7}"/>
              </a:ext>
            </a:extLst>
          </p:cNvPr>
          <p:cNvSpPr/>
          <p:nvPr/>
        </p:nvSpPr>
        <p:spPr bwMode="auto">
          <a:xfrm>
            <a:off x="3471395" y="-1844268"/>
            <a:ext cx="188588" cy="192583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  <a:gd name="connsiteX107" fmla="*/ 373273 h 605239"/>
              <a:gd name="connsiteY107" fmla="*/ 373273 h 605239"/>
              <a:gd name="connsiteX108" fmla="*/ 373273 h 605239"/>
              <a:gd name="connsiteY108" fmla="*/ 373273 h 605239"/>
              <a:gd name="connsiteX109" fmla="*/ 373273 h 605239"/>
              <a:gd name="connsiteY109" fmla="*/ 373273 h 605239"/>
              <a:gd name="connsiteX110" fmla="*/ 373273 h 605239"/>
              <a:gd name="connsiteY110" fmla="*/ 373273 h 605239"/>
              <a:gd name="connsiteX111" fmla="*/ 373273 h 605239"/>
              <a:gd name="connsiteY111" fmla="*/ 373273 h 605239"/>
              <a:gd name="connsiteX112" fmla="*/ 373273 h 605239"/>
              <a:gd name="connsiteY112" fmla="*/ 373273 h 605239"/>
              <a:gd name="connsiteX113" fmla="*/ 373273 h 605239"/>
              <a:gd name="connsiteY113" fmla="*/ 373273 h 605239"/>
              <a:gd name="connsiteX114" fmla="*/ 373273 h 605239"/>
              <a:gd name="connsiteY114" fmla="*/ 373273 h 605239"/>
              <a:gd name="connsiteX115" fmla="*/ 373273 h 605239"/>
              <a:gd name="connsiteY115" fmla="*/ 373273 h 605239"/>
              <a:gd name="connsiteX116" fmla="*/ 373273 h 605239"/>
              <a:gd name="connsiteY116" fmla="*/ 373273 h 605239"/>
              <a:gd name="connsiteX117" fmla="*/ 373273 h 605239"/>
              <a:gd name="connsiteY117" fmla="*/ 373273 h 605239"/>
              <a:gd name="connsiteX118" fmla="*/ 373273 h 605239"/>
              <a:gd name="connsiteY118" fmla="*/ 373273 h 605239"/>
              <a:gd name="connsiteX119" fmla="*/ 373273 h 605239"/>
              <a:gd name="connsiteY119" fmla="*/ 373273 h 605239"/>
              <a:gd name="connsiteX120" fmla="*/ 373273 h 605239"/>
              <a:gd name="connsiteY120" fmla="*/ 373273 h 605239"/>
              <a:gd name="connsiteX121" fmla="*/ 373273 h 605239"/>
              <a:gd name="connsiteY121" fmla="*/ 373273 h 605239"/>
              <a:gd name="connsiteX122" fmla="*/ 373273 h 605239"/>
              <a:gd name="connsiteY122" fmla="*/ 373273 h 605239"/>
              <a:gd name="connsiteX123" fmla="*/ 373273 h 605239"/>
              <a:gd name="connsiteY123" fmla="*/ 373273 h 605239"/>
              <a:gd name="connsiteX124" fmla="*/ 373273 h 605239"/>
              <a:gd name="connsiteY124" fmla="*/ 373273 h 605239"/>
              <a:gd name="connsiteX125" fmla="*/ 373273 h 605239"/>
              <a:gd name="connsiteY125" fmla="*/ 373273 h 605239"/>
              <a:gd name="connsiteX126" fmla="*/ 373273 h 605239"/>
              <a:gd name="connsiteY126" fmla="*/ 373273 h 605239"/>
              <a:gd name="connsiteX127" fmla="*/ 373273 h 605239"/>
              <a:gd name="connsiteY127" fmla="*/ 373273 h 605239"/>
              <a:gd name="connsiteX128" fmla="*/ 373273 h 605239"/>
              <a:gd name="connsiteY128" fmla="*/ 373273 h 605239"/>
              <a:gd name="connsiteX129" fmla="*/ 373273 h 605239"/>
              <a:gd name="connsiteY12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593733" h="606309">
                <a:moveTo>
                  <a:pt x="353250" y="302855"/>
                </a:moveTo>
                <a:cubicBezTo>
                  <a:pt x="318468" y="302855"/>
                  <a:pt x="290232" y="331146"/>
                  <a:pt x="290232" y="365879"/>
                </a:cubicBezTo>
                <a:cubicBezTo>
                  <a:pt x="290232" y="374189"/>
                  <a:pt x="296964" y="380912"/>
                  <a:pt x="305285" y="380912"/>
                </a:cubicBezTo>
                <a:cubicBezTo>
                  <a:pt x="313607" y="380912"/>
                  <a:pt x="320338" y="374189"/>
                  <a:pt x="320338" y="365879"/>
                </a:cubicBezTo>
                <a:cubicBezTo>
                  <a:pt x="320338" y="347672"/>
                  <a:pt x="335111" y="333014"/>
                  <a:pt x="353250" y="333014"/>
                </a:cubicBezTo>
                <a:cubicBezTo>
                  <a:pt x="361665" y="333014"/>
                  <a:pt x="368397" y="326291"/>
                  <a:pt x="368397" y="317888"/>
                </a:cubicBezTo>
                <a:cubicBezTo>
                  <a:pt x="368397" y="309578"/>
                  <a:pt x="361665" y="302855"/>
                  <a:pt x="353250" y="302855"/>
                </a:cubicBezTo>
                <a:close/>
                <a:moveTo>
                  <a:pt x="353250" y="265041"/>
                </a:moveTo>
                <a:cubicBezTo>
                  <a:pt x="409163" y="265041"/>
                  <a:pt x="454229" y="310232"/>
                  <a:pt x="454229" y="365879"/>
                </a:cubicBezTo>
                <a:cubicBezTo>
                  <a:pt x="454229" y="421527"/>
                  <a:pt x="408976" y="466717"/>
                  <a:pt x="353250" y="466717"/>
                </a:cubicBezTo>
                <a:cubicBezTo>
                  <a:pt x="297525" y="466717"/>
                  <a:pt x="252271" y="421527"/>
                  <a:pt x="252271" y="365879"/>
                </a:cubicBezTo>
                <a:cubicBezTo>
                  <a:pt x="252271" y="310232"/>
                  <a:pt x="297431" y="265041"/>
                  <a:pt x="353250" y="265041"/>
                </a:cubicBezTo>
                <a:close/>
                <a:moveTo>
                  <a:pt x="427779" y="133781"/>
                </a:moveTo>
                <a:cubicBezTo>
                  <a:pt x="432818" y="131960"/>
                  <a:pt x="438547" y="132054"/>
                  <a:pt x="443784" y="134482"/>
                </a:cubicBezTo>
                <a:lnTo>
                  <a:pt x="473245" y="148209"/>
                </a:lnTo>
                <a:cubicBezTo>
                  <a:pt x="483720" y="153158"/>
                  <a:pt x="488209" y="165671"/>
                  <a:pt x="483346" y="176130"/>
                </a:cubicBezTo>
                <a:lnTo>
                  <a:pt x="470252" y="203957"/>
                </a:lnTo>
                <a:cubicBezTo>
                  <a:pt x="492231" y="219646"/>
                  <a:pt x="511123" y="240003"/>
                  <a:pt x="525526" y="264095"/>
                </a:cubicBezTo>
                <a:lnTo>
                  <a:pt x="554426" y="253636"/>
                </a:lnTo>
                <a:cubicBezTo>
                  <a:pt x="565368" y="249714"/>
                  <a:pt x="577340" y="255411"/>
                  <a:pt x="581361" y="266243"/>
                </a:cubicBezTo>
                <a:lnTo>
                  <a:pt x="592491" y="296592"/>
                </a:lnTo>
                <a:cubicBezTo>
                  <a:pt x="596419" y="307612"/>
                  <a:pt x="590714" y="319564"/>
                  <a:pt x="579865" y="323486"/>
                </a:cubicBezTo>
                <a:lnTo>
                  <a:pt x="550965" y="333945"/>
                </a:lnTo>
                <a:cubicBezTo>
                  <a:pt x="555455" y="361586"/>
                  <a:pt x="553958" y="389414"/>
                  <a:pt x="547224" y="415561"/>
                </a:cubicBezTo>
                <a:lnTo>
                  <a:pt x="575095" y="428634"/>
                </a:lnTo>
                <a:cubicBezTo>
                  <a:pt x="585570" y="433490"/>
                  <a:pt x="590059" y="445910"/>
                  <a:pt x="585102" y="456649"/>
                </a:cubicBezTo>
                <a:lnTo>
                  <a:pt x="571354" y="485970"/>
                </a:lnTo>
                <a:cubicBezTo>
                  <a:pt x="566397" y="496429"/>
                  <a:pt x="553958" y="500911"/>
                  <a:pt x="543483" y="496056"/>
                </a:cubicBezTo>
                <a:lnTo>
                  <a:pt x="515238" y="482982"/>
                </a:lnTo>
                <a:cubicBezTo>
                  <a:pt x="499526" y="504833"/>
                  <a:pt x="479137" y="523510"/>
                  <a:pt x="455007" y="537704"/>
                </a:cubicBezTo>
                <a:lnTo>
                  <a:pt x="465763" y="567026"/>
                </a:lnTo>
                <a:cubicBezTo>
                  <a:pt x="469784" y="578045"/>
                  <a:pt x="463986" y="589997"/>
                  <a:pt x="453137" y="593919"/>
                </a:cubicBezTo>
                <a:lnTo>
                  <a:pt x="422741" y="605032"/>
                </a:lnTo>
                <a:cubicBezTo>
                  <a:pt x="411798" y="609047"/>
                  <a:pt x="399827" y="603258"/>
                  <a:pt x="395805" y="592425"/>
                </a:cubicBezTo>
                <a:lnTo>
                  <a:pt x="385050" y="562823"/>
                </a:lnTo>
                <a:cubicBezTo>
                  <a:pt x="357646" y="567212"/>
                  <a:pt x="330056" y="565718"/>
                  <a:pt x="304149" y="558995"/>
                </a:cubicBezTo>
                <a:lnTo>
                  <a:pt x="290682" y="587756"/>
                </a:lnTo>
                <a:cubicBezTo>
                  <a:pt x="285725" y="598215"/>
                  <a:pt x="273192" y="602697"/>
                  <a:pt x="262717" y="597841"/>
                </a:cubicBezTo>
                <a:lnTo>
                  <a:pt x="233350" y="584114"/>
                </a:lnTo>
                <a:cubicBezTo>
                  <a:pt x="222875" y="579165"/>
                  <a:pt x="218385" y="566652"/>
                  <a:pt x="223249" y="556193"/>
                </a:cubicBezTo>
                <a:lnTo>
                  <a:pt x="236810" y="527338"/>
                </a:lnTo>
                <a:cubicBezTo>
                  <a:pt x="215112" y="511650"/>
                  <a:pt x="196407" y="491480"/>
                  <a:pt x="182284" y="467668"/>
                </a:cubicBezTo>
                <a:lnTo>
                  <a:pt x="152169" y="478687"/>
                </a:lnTo>
                <a:cubicBezTo>
                  <a:pt x="141133" y="482609"/>
                  <a:pt x="129161" y="476912"/>
                  <a:pt x="125233" y="466080"/>
                </a:cubicBezTo>
                <a:lnTo>
                  <a:pt x="114104" y="435731"/>
                </a:lnTo>
                <a:cubicBezTo>
                  <a:pt x="110082" y="424712"/>
                  <a:pt x="115881" y="412759"/>
                  <a:pt x="126730" y="408837"/>
                </a:cubicBezTo>
                <a:lnTo>
                  <a:pt x="156845" y="397818"/>
                </a:lnTo>
                <a:cubicBezTo>
                  <a:pt x="153852" y="379422"/>
                  <a:pt x="153478" y="361026"/>
                  <a:pt x="155629" y="342910"/>
                </a:cubicBezTo>
                <a:lnTo>
                  <a:pt x="158622" y="343097"/>
                </a:lnTo>
                <a:cubicBezTo>
                  <a:pt x="181162" y="344030"/>
                  <a:pt x="200522" y="327408"/>
                  <a:pt x="203141" y="305370"/>
                </a:cubicBezTo>
                <a:cubicBezTo>
                  <a:pt x="207723" y="303876"/>
                  <a:pt x="212119" y="302195"/>
                  <a:pt x="216515" y="300515"/>
                </a:cubicBezTo>
                <a:cubicBezTo>
                  <a:pt x="220349" y="304063"/>
                  <a:pt x="224745" y="306958"/>
                  <a:pt x="229609" y="308919"/>
                </a:cubicBezTo>
                <a:cubicBezTo>
                  <a:pt x="219227" y="330957"/>
                  <a:pt x="214831" y="355983"/>
                  <a:pt x="217824" y="381943"/>
                </a:cubicBezTo>
                <a:cubicBezTo>
                  <a:pt x="226709" y="456462"/>
                  <a:pt x="294329" y="509876"/>
                  <a:pt x="368963" y="501192"/>
                </a:cubicBezTo>
                <a:cubicBezTo>
                  <a:pt x="443691" y="492320"/>
                  <a:pt x="497188" y="424899"/>
                  <a:pt x="488490" y="350287"/>
                </a:cubicBezTo>
                <a:cubicBezTo>
                  <a:pt x="479605" y="275675"/>
                  <a:pt x="411985" y="222260"/>
                  <a:pt x="337351" y="231038"/>
                </a:cubicBezTo>
                <a:cubicBezTo>
                  <a:pt x="324632" y="232532"/>
                  <a:pt x="312473" y="235707"/>
                  <a:pt x="301156" y="240376"/>
                </a:cubicBezTo>
                <a:cubicBezTo>
                  <a:pt x="299660" y="236268"/>
                  <a:pt x="297509" y="232345"/>
                  <a:pt x="294797" y="228890"/>
                </a:cubicBezTo>
                <a:cubicBezTo>
                  <a:pt x="297041" y="224688"/>
                  <a:pt x="299005" y="220393"/>
                  <a:pt x="300782" y="216097"/>
                </a:cubicBezTo>
                <a:cubicBezTo>
                  <a:pt x="311164" y="215817"/>
                  <a:pt x="320891" y="211802"/>
                  <a:pt x="328466" y="204891"/>
                </a:cubicBezTo>
                <a:cubicBezTo>
                  <a:pt x="336977" y="197141"/>
                  <a:pt x="341934" y="186589"/>
                  <a:pt x="342402" y="175103"/>
                </a:cubicBezTo>
                <a:lnTo>
                  <a:pt x="342776" y="166978"/>
                </a:lnTo>
                <a:cubicBezTo>
                  <a:pt x="363164" y="165764"/>
                  <a:pt x="383460" y="167912"/>
                  <a:pt x="402820" y="172768"/>
                </a:cubicBezTo>
                <a:lnTo>
                  <a:pt x="415913" y="144567"/>
                </a:lnTo>
                <a:cubicBezTo>
                  <a:pt x="418392" y="139338"/>
                  <a:pt x="422741" y="135602"/>
                  <a:pt x="427779" y="133781"/>
                </a:cubicBezTo>
                <a:close/>
                <a:moveTo>
                  <a:pt x="159906" y="88589"/>
                </a:moveTo>
                <a:cubicBezTo>
                  <a:pt x="142487" y="87818"/>
                  <a:pt x="124764" y="93678"/>
                  <a:pt x="110828" y="106378"/>
                </a:cubicBezTo>
                <a:cubicBezTo>
                  <a:pt x="96145" y="119731"/>
                  <a:pt x="88663" y="138127"/>
                  <a:pt x="88663" y="156523"/>
                </a:cubicBezTo>
                <a:cubicBezTo>
                  <a:pt x="88663" y="172958"/>
                  <a:pt x="94555" y="189393"/>
                  <a:pt x="106526" y="202467"/>
                </a:cubicBezTo>
                <a:cubicBezTo>
                  <a:pt x="131965" y="230294"/>
                  <a:pt x="175081" y="232162"/>
                  <a:pt x="202764" y="206762"/>
                </a:cubicBezTo>
                <a:cubicBezTo>
                  <a:pt x="217448" y="193409"/>
                  <a:pt x="224930" y="175013"/>
                  <a:pt x="224930" y="156523"/>
                </a:cubicBezTo>
                <a:cubicBezTo>
                  <a:pt x="224930" y="140088"/>
                  <a:pt x="219132" y="123653"/>
                  <a:pt x="207160" y="110580"/>
                </a:cubicBezTo>
                <a:cubicBezTo>
                  <a:pt x="194441" y="96760"/>
                  <a:pt x="177325" y="89359"/>
                  <a:pt x="159906" y="88589"/>
                </a:cubicBezTo>
                <a:close/>
                <a:moveTo>
                  <a:pt x="153289" y="17"/>
                </a:moveTo>
                <a:lnTo>
                  <a:pt x="173678" y="951"/>
                </a:lnTo>
                <a:cubicBezTo>
                  <a:pt x="180786" y="1325"/>
                  <a:pt x="186304" y="7114"/>
                  <a:pt x="186304" y="14118"/>
                </a:cubicBezTo>
                <a:lnTo>
                  <a:pt x="186304" y="14771"/>
                </a:lnTo>
                <a:lnTo>
                  <a:pt x="185462" y="34755"/>
                </a:lnTo>
                <a:cubicBezTo>
                  <a:pt x="201923" y="38677"/>
                  <a:pt x="217729" y="45774"/>
                  <a:pt x="231851" y="56232"/>
                </a:cubicBezTo>
                <a:lnTo>
                  <a:pt x="246535" y="42786"/>
                </a:lnTo>
                <a:cubicBezTo>
                  <a:pt x="251866" y="37930"/>
                  <a:pt x="260283" y="38303"/>
                  <a:pt x="265240" y="43626"/>
                </a:cubicBezTo>
                <a:lnTo>
                  <a:pt x="279082" y="58660"/>
                </a:lnTo>
                <a:cubicBezTo>
                  <a:pt x="281420" y="61275"/>
                  <a:pt x="282542" y="64450"/>
                  <a:pt x="282542" y="67625"/>
                </a:cubicBezTo>
                <a:cubicBezTo>
                  <a:pt x="282542" y="71173"/>
                  <a:pt x="281233" y="74722"/>
                  <a:pt x="278334" y="77337"/>
                </a:cubicBezTo>
                <a:lnTo>
                  <a:pt x="263744" y="90690"/>
                </a:lnTo>
                <a:cubicBezTo>
                  <a:pt x="273096" y="105537"/>
                  <a:pt x="278988" y="121973"/>
                  <a:pt x="281420" y="138781"/>
                </a:cubicBezTo>
                <a:lnTo>
                  <a:pt x="301061" y="139621"/>
                </a:lnTo>
                <a:cubicBezTo>
                  <a:pt x="308169" y="139995"/>
                  <a:pt x="313593" y="145878"/>
                  <a:pt x="313593" y="152788"/>
                </a:cubicBezTo>
                <a:lnTo>
                  <a:pt x="313593" y="153442"/>
                </a:lnTo>
                <a:lnTo>
                  <a:pt x="312751" y="173892"/>
                </a:lnTo>
                <a:cubicBezTo>
                  <a:pt x="312377" y="181083"/>
                  <a:pt x="306298" y="186779"/>
                  <a:pt x="298910" y="186405"/>
                </a:cubicBezTo>
                <a:lnTo>
                  <a:pt x="279456" y="185565"/>
                </a:lnTo>
                <a:cubicBezTo>
                  <a:pt x="275622" y="202093"/>
                  <a:pt x="268327" y="218061"/>
                  <a:pt x="257758" y="232162"/>
                </a:cubicBezTo>
                <a:lnTo>
                  <a:pt x="270852" y="246449"/>
                </a:lnTo>
                <a:cubicBezTo>
                  <a:pt x="273190" y="249064"/>
                  <a:pt x="274312" y="252145"/>
                  <a:pt x="274312" y="255414"/>
                </a:cubicBezTo>
                <a:cubicBezTo>
                  <a:pt x="274312" y="258869"/>
                  <a:pt x="273003" y="262511"/>
                  <a:pt x="270104" y="265126"/>
                </a:cubicBezTo>
                <a:lnTo>
                  <a:pt x="255046" y="278946"/>
                </a:lnTo>
                <a:cubicBezTo>
                  <a:pt x="249621" y="283802"/>
                  <a:pt x="241297" y="283428"/>
                  <a:pt x="236340" y="278106"/>
                </a:cubicBezTo>
                <a:lnTo>
                  <a:pt x="223247" y="263724"/>
                </a:lnTo>
                <a:cubicBezTo>
                  <a:pt x="208282" y="272970"/>
                  <a:pt x="191635" y="278853"/>
                  <a:pt x="174800" y="281187"/>
                </a:cubicBezTo>
                <a:lnTo>
                  <a:pt x="173958" y="300610"/>
                </a:lnTo>
                <a:cubicBezTo>
                  <a:pt x="173584" y="307801"/>
                  <a:pt x="167505" y="313590"/>
                  <a:pt x="160117" y="313217"/>
                </a:cubicBezTo>
                <a:lnTo>
                  <a:pt x="139634" y="312283"/>
                </a:lnTo>
                <a:cubicBezTo>
                  <a:pt x="132526" y="311909"/>
                  <a:pt x="127102" y="306120"/>
                  <a:pt x="127102" y="299116"/>
                </a:cubicBezTo>
                <a:lnTo>
                  <a:pt x="127102" y="298463"/>
                </a:lnTo>
                <a:lnTo>
                  <a:pt x="128037" y="279039"/>
                </a:lnTo>
                <a:cubicBezTo>
                  <a:pt x="111577" y="275211"/>
                  <a:pt x="95771" y="267834"/>
                  <a:pt x="81648" y="257281"/>
                </a:cubicBezTo>
                <a:lnTo>
                  <a:pt x="67058" y="270635"/>
                </a:lnTo>
                <a:cubicBezTo>
                  <a:pt x="61727" y="275491"/>
                  <a:pt x="53403" y="275117"/>
                  <a:pt x="48353" y="269701"/>
                </a:cubicBezTo>
                <a:lnTo>
                  <a:pt x="34511" y="254667"/>
                </a:lnTo>
                <a:cubicBezTo>
                  <a:pt x="32173" y="252052"/>
                  <a:pt x="31051" y="248970"/>
                  <a:pt x="31051" y="245702"/>
                </a:cubicBezTo>
                <a:cubicBezTo>
                  <a:pt x="31051" y="242247"/>
                  <a:pt x="32453" y="238605"/>
                  <a:pt x="35259" y="235990"/>
                </a:cubicBezTo>
                <a:lnTo>
                  <a:pt x="50036" y="222544"/>
                </a:lnTo>
                <a:cubicBezTo>
                  <a:pt x="40777" y="207696"/>
                  <a:pt x="35072" y="191261"/>
                  <a:pt x="32640" y="174639"/>
                </a:cubicBezTo>
                <a:lnTo>
                  <a:pt x="12626" y="173705"/>
                </a:lnTo>
                <a:cubicBezTo>
                  <a:pt x="5518" y="173332"/>
                  <a:pt x="0" y="167542"/>
                  <a:pt x="0" y="160539"/>
                </a:cubicBezTo>
                <a:lnTo>
                  <a:pt x="0" y="159885"/>
                </a:lnTo>
                <a:lnTo>
                  <a:pt x="842" y="139621"/>
                </a:lnTo>
                <a:cubicBezTo>
                  <a:pt x="1216" y="132431"/>
                  <a:pt x="7388" y="126642"/>
                  <a:pt x="14683" y="127015"/>
                </a:cubicBezTo>
                <a:lnTo>
                  <a:pt x="34885" y="127949"/>
                </a:lnTo>
                <a:cubicBezTo>
                  <a:pt x="38813" y="111514"/>
                  <a:pt x="46015" y="95826"/>
                  <a:pt x="56490" y="81819"/>
                </a:cubicBezTo>
                <a:lnTo>
                  <a:pt x="42741" y="66878"/>
                </a:lnTo>
                <a:cubicBezTo>
                  <a:pt x="40403" y="64263"/>
                  <a:pt x="39281" y="61182"/>
                  <a:pt x="39281" y="57913"/>
                </a:cubicBezTo>
                <a:cubicBezTo>
                  <a:pt x="39281" y="54458"/>
                  <a:pt x="40684" y="50816"/>
                  <a:pt x="43490" y="48202"/>
                </a:cubicBezTo>
                <a:lnTo>
                  <a:pt x="58641" y="34381"/>
                </a:lnTo>
                <a:cubicBezTo>
                  <a:pt x="63972" y="29526"/>
                  <a:pt x="72296" y="29899"/>
                  <a:pt x="77346" y="35315"/>
                </a:cubicBezTo>
                <a:lnTo>
                  <a:pt x="90627" y="50256"/>
                </a:lnTo>
                <a:cubicBezTo>
                  <a:pt x="105591" y="41011"/>
                  <a:pt x="121864" y="35128"/>
                  <a:pt x="138512" y="32794"/>
                </a:cubicBezTo>
                <a:lnTo>
                  <a:pt x="139447" y="12624"/>
                </a:lnTo>
                <a:cubicBezTo>
                  <a:pt x="139821" y="5433"/>
                  <a:pt x="145901" y="-356"/>
                  <a:pt x="153289" y="1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1" name="îṣḻïḓè">
            <a:extLst>
              <a:ext uri="{FF2B5EF4-FFF2-40B4-BE49-F238E27FC236}">
                <a16:creationId xmlns:a16="http://schemas.microsoft.com/office/drawing/2014/main" id="{30C8A656-A69C-4844-9B4C-38593487F7D6}"/>
              </a:ext>
            </a:extLst>
          </p:cNvPr>
          <p:cNvSpPr/>
          <p:nvPr/>
        </p:nvSpPr>
        <p:spPr bwMode="auto">
          <a:xfrm>
            <a:off x="3213645" y="-1516264"/>
            <a:ext cx="192583" cy="192209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81741" h="580612">
                <a:moveTo>
                  <a:pt x="291612" y="187916"/>
                </a:moveTo>
                <a:cubicBezTo>
                  <a:pt x="304876" y="187916"/>
                  <a:pt x="315648" y="198758"/>
                  <a:pt x="315648" y="212088"/>
                </a:cubicBezTo>
                <a:lnTo>
                  <a:pt x="315648" y="491836"/>
                </a:lnTo>
                <a:lnTo>
                  <a:pt x="331227" y="473974"/>
                </a:lnTo>
                <a:cubicBezTo>
                  <a:pt x="339863" y="463932"/>
                  <a:pt x="355086" y="462866"/>
                  <a:pt x="365145" y="471574"/>
                </a:cubicBezTo>
                <a:cubicBezTo>
                  <a:pt x="375116" y="480372"/>
                  <a:pt x="376184" y="495657"/>
                  <a:pt x="367460" y="505699"/>
                </a:cubicBezTo>
                <a:lnTo>
                  <a:pt x="309773" y="572348"/>
                </a:lnTo>
                <a:cubicBezTo>
                  <a:pt x="305143" y="577502"/>
                  <a:pt x="298556" y="580612"/>
                  <a:pt x="291612" y="580612"/>
                </a:cubicBezTo>
                <a:cubicBezTo>
                  <a:pt x="284579" y="580612"/>
                  <a:pt x="278080" y="577680"/>
                  <a:pt x="273451" y="572348"/>
                </a:cubicBezTo>
                <a:lnTo>
                  <a:pt x="215764" y="505699"/>
                </a:lnTo>
                <a:cubicBezTo>
                  <a:pt x="207039" y="495657"/>
                  <a:pt x="208108" y="480372"/>
                  <a:pt x="218078" y="471574"/>
                </a:cubicBezTo>
                <a:cubicBezTo>
                  <a:pt x="228049" y="462866"/>
                  <a:pt x="243272" y="463932"/>
                  <a:pt x="252085" y="473974"/>
                </a:cubicBezTo>
                <a:lnTo>
                  <a:pt x="267486" y="491747"/>
                </a:lnTo>
                <a:lnTo>
                  <a:pt x="267486" y="212088"/>
                </a:lnTo>
                <a:cubicBezTo>
                  <a:pt x="267486" y="198758"/>
                  <a:pt x="278258" y="187916"/>
                  <a:pt x="291612" y="187916"/>
                </a:cubicBezTo>
                <a:close/>
                <a:moveTo>
                  <a:pt x="329499" y="0"/>
                </a:moveTo>
                <a:cubicBezTo>
                  <a:pt x="426248" y="0"/>
                  <a:pt x="465322" y="80426"/>
                  <a:pt x="473332" y="108153"/>
                </a:cubicBezTo>
                <a:cubicBezTo>
                  <a:pt x="535280" y="120684"/>
                  <a:pt x="581474" y="175693"/>
                  <a:pt x="581741" y="241190"/>
                </a:cubicBezTo>
                <a:cubicBezTo>
                  <a:pt x="581741" y="315840"/>
                  <a:pt x="521306" y="376537"/>
                  <a:pt x="446987" y="376537"/>
                </a:cubicBezTo>
                <a:lnTo>
                  <a:pt x="372756" y="376537"/>
                </a:lnTo>
                <a:cubicBezTo>
                  <a:pt x="359316" y="376537"/>
                  <a:pt x="348546" y="365606"/>
                  <a:pt x="348546" y="352276"/>
                </a:cubicBezTo>
                <a:cubicBezTo>
                  <a:pt x="348546" y="338857"/>
                  <a:pt x="359316" y="327926"/>
                  <a:pt x="372756" y="327926"/>
                </a:cubicBezTo>
                <a:lnTo>
                  <a:pt x="446987" y="327926"/>
                </a:lnTo>
                <a:cubicBezTo>
                  <a:pt x="494605" y="327926"/>
                  <a:pt x="533322" y="289090"/>
                  <a:pt x="533322" y="241190"/>
                </a:cubicBezTo>
                <a:cubicBezTo>
                  <a:pt x="533322" y="195334"/>
                  <a:pt x="497720" y="157298"/>
                  <a:pt x="452238" y="154632"/>
                </a:cubicBezTo>
                <a:cubicBezTo>
                  <a:pt x="440934" y="153921"/>
                  <a:pt x="431589" y="145478"/>
                  <a:pt x="429809" y="134192"/>
                </a:cubicBezTo>
                <a:cubicBezTo>
                  <a:pt x="421709" y="84692"/>
                  <a:pt x="379609" y="48789"/>
                  <a:pt x="329677" y="48789"/>
                </a:cubicBezTo>
                <a:cubicBezTo>
                  <a:pt x="279567" y="48789"/>
                  <a:pt x="238001" y="84781"/>
                  <a:pt x="229457" y="134192"/>
                </a:cubicBezTo>
                <a:cubicBezTo>
                  <a:pt x="226520" y="151521"/>
                  <a:pt x="212190" y="162807"/>
                  <a:pt x="192964" y="151077"/>
                </a:cubicBezTo>
                <a:cubicBezTo>
                  <a:pt x="178011" y="141834"/>
                  <a:pt x="160922" y="136947"/>
                  <a:pt x="143299" y="136947"/>
                </a:cubicBezTo>
                <a:cubicBezTo>
                  <a:pt x="90964" y="136947"/>
                  <a:pt x="48419" y="179693"/>
                  <a:pt x="48419" y="232303"/>
                </a:cubicBezTo>
                <a:cubicBezTo>
                  <a:pt x="48419" y="284913"/>
                  <a:pt x="90964" y="327748"/>
                  <a:pt x="143299" y="327748"/>
                </a:cubicBezTo>
                <a:lnTo>
                  <a:pt x="218776" y="327748"/>
                </a:lnTo>
                <a:cubicBezTo>
                  <a:pt x="232216" y="327748"/>
                  <a:pt x="242986" y="338590"/>
                  <a:pt x="242986" y="352009"/>
                </a:cubicBezTo>
                <a:cubicBezTo>
                  <a:pt x="242986" y="365429"/>
                  <a:pt x="232216" y="376271"/>
                  <a:pt x="218776" y="376271"/>
                </a:cubicBezTo>
                <a:lnTo>
                  <a:pt x="143299" y="376271"/>
                </a:lnTo>
                <a:cubicBezTo>
                  <a:pt x="64262" y="376271"/>
                  <a:pt x="0" y="311574"/>
                  <a:pt x="0" y="232214"/>
                </a:cubicBezTo>
                <a:cubicBezTo>
                  <a:pt x="0" y="152854"/>
                  <a:pt x="64262" y="88158"/>
                  <a:pt x="143210" y="88158"/>
                </a:cubicBezTo>
                <a:cubicBezTo>
                  <a:pt x="159231" y="88158"/>
                  <a:pt x="174896" y="90735"/>
                  <a:pt x="189849" y="95978"/>
                </a:cubicBezTo>
                <a:cubicBezTo>
                  <a:pt x="198749" y="73050"/>
                  <a:pt x="238891" y="0"/>
                  <a:pt x="329499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2" name="iş1iḑe">
            <a:extLst>
              <a:ext uri="{FF2B5EF4-FFF2-40B4-BE49-F238E27FC236}">
                <a16:creationId xmlns:a16="http://schemas.microsoft.com/office/drawing/2014/main" id="{79D5FAF9-096B-4C61-A299-6A26A276E128}"/>
              </a:ext>
            </a:extLst>
          </p:cNvPr>
          <p:cNvSpPr/>
          <p:nvPr/>
        </p:nvSpPr>
        <p:spPr bwMode="auto">
          <a:xfrm>
            <a:off x="2938957" y="-1188490"/>
            <a:ext cx="192583" cy="192292"/>
          </a:xfrm>
          <a:custGeom>
            <a:avLst/>
            <a:gdLst>
              <a:gd name="connsiteX0" fmla="*/ 303820 w 607639"/>
              <a:gd name="connsiteY0" fmla="*/ 278099 h 606722"/>
              <a:gd name="connsiteX1" fmla="*/ 329118 w 607639"/>
              <a:gd name="connsiteY1" fmla="*/ 303362 h 606722"/>
              <a:gd name="connsiteX2" fmla="*/ 303820 w 607639"/>
              <a:gd name="connsiteY2" fmla="*/ 328625 h 606722"/>
              <a:gd name="connsiteX3" fmla="*/ 278522 w 607639"/>
              <a:gd name="connsiteY3" fmla="*/ 303362 h 606722"/>
              <a:gd name="connsiteX4" fmla="*/ 303820 w 607639"/>
              <a:gd name="connsiteY4" fmla="*/ 278099 h 606722"/>
              <a:gd name="connsiteX5" fmla="*/ 303775 w 607639"/>
              <a:gd name="connsiteY5" fmla="*/ 252735 h 606722"/>
              <a:gd name="connsiteX6" fmla="*/ 253140 w 607639"/>
              <a:gd name="connsiteY6" fmla="*/ 303317 h 606722"/>
              <a:gd name="connsiteX7" fmla="*/ 303775 w 607639"/>
              <a:gd name="connsiteY7" fmla="*/ 353900 h 606722"/>
              <a:gd name="connsiteX8" fmla="*/ 354410 w 607639"/>
              <a:gd name="connsiteY8" fmla="*/ 303317 h 606722"/>
              <a:gd name="connsiteX9" fmla="*/ 303775 w 607639"/>
              <a:gd name="connsiteY9" fmla="*/ 252735 h 606722"/>
              <a:gd name="connsiteX10" fmla="*/ 303775 w 607639"/>
              <a:gd name="connsiteY10" fmla="*/ 202241 h 606722"/>
              <a:gd name="connsiteX11" fmla="*/ 405045 w 607639"/>
              <a:gd name="connsiteY11" fmla="*/ 303317 h 606722"/>
              <a:gd name="connsiteX12" fmla="*/ 303775 w 607639"/>
              <a:gd name="connsiteY12" fmla="*/ 404482 h 606722"/>
              <a:gd name="connsiteX13" fmla="*/ 202593 w 607639"/>
              <a:gd name="connsiteY13" fmla="*/ 303317 h 606722"/>
              <a:gd name="connsiteX14" fmla="*/ 303775 w 607639"/>
              <a:gd name="connsiteY14" fmla="*/ 202241 h 606722"/>
              <a:gd name="connsiteX15" fmla="*/ 303775 w 607639"/>
              <a:gd name="connsiteY15" fmla="*/ 151703 h 606722"/>
              <a:gd name="connsiteX16" fmla="*/ 151932 w 607639"/>
              <a:gd name="connsiteY16" fmla="*/ 303317 h 606722"/>
              <a:gd name="connsiteX17" fmla="*/ 303775 w 607639"/>
              <a:gd name="connsiteY17" fmla="*/ 455019 h 606722"/>
              <a:gd name="connsiteX18" fmla="*/ 455707 w 607639"/>
              <a:gd name="connsiteY18" fmla="*/ 303317 h 606722"/>
              <a:gd name="connsiteX19" fmla="*/ 303775 w 607639"/>
              <a:gd name="connsiteY19" fmla="*/ 151703 h 606722"/>
              <a:gd name="connsiteX20" fmla="*/ 253131 w 607639"/>
              <a:gd name="connsiteY20" fmla="*/ 0 h 606722"/>
              <a:gd name="connsiteX21" fmla="*/ 354419 w 607639"/>
              <a:gd name="connsiteY21" fmla="*/ 0 h 606722"/>
              <a:gd name="connsiteX22" fmla="*/ 379786 w 607639"/>
              <a:gd name="connsiteY22" fmla="*/ 25239 h 606722"/>
              <a:gd name="connsiteX23" fmla="*/ 379786 w 607639"/>
              <a:gd name="connsiteY23" fmla="*/ 62387 h 606722"/>
              <a:gd name="connsiteX24" fmla="*/ 420639 w 607639"/>
              <a:gd name="connsiteY24" fmla="*/ 79451 h 606722"/>
              <a:gd name="connsiteX25" fmla="*/ 446985 w 607639"/>
              <a:gd name="connsiteY25" fmla="*/ 53145 h 606722"/>
              <a:gd name="connsiteX26" fmla="*/ 482854 w 607639"/>
              <a:gd name="connsiteY26" fmla="*/ 53145 h 606722"/>
              <a:gd name="connsiteX27" fmla="*/ 554414 w 607639"/>
              <a:gd name="connsiteY27" fmla="*/ 124597 h 606722"/>
              <a:gd name="connsiteX28" fmla="*/ 554414 w 607639"/>
              <a:gd name="connsiteY28" fmla="*/ 160323 h 606722"/>
              <a:gd name="connsiteX29" fmla="*/ 528069 w 607639"/>
              <a:gd name="connsiteY29" fmla="*/ 186629 h 606722"/>
              <a:gd name="connsiteX30" fmla="*/ 545158 w 607639"/>
              <a:gd name="connsiteY30" fmla="*/ 227510 h 606722"/>
              <a:gd name="connsiteX31" fmla="*/ 582273 w 607639"/>
              <a:gd name="connsiteY31" fmla="*/ 227510 h 606722"/>
              <a:gd name="connsiteX32" fmla="*/ 607639 w 607639"/>
              <a:gd name="connsiteY32" fmla="*/ 252749 h 606722"/>
              <a:gd name="connsiteX33" fmla="*/ 607639 w 607639"/>
              <a:gd name="connsiteY33" fmla="*/ 353884 h 606722"/>
              <a:gd name="connsiteX34" fmla="*/ 582273 w 607639"/>
              <a:gd name="connsiteY34" fmla="*/ 379212 h 606722"/>
              <a:gd name="connsiteX35" fmla="*/ 545158 w 607639"/>
              <a:gd name="connsiteY35" fmla="*/ 379212 h 606722"/>
              <a:gd name="connsiteX36" fmla="*/ 528069 w 607639"/>
              <a:gd name="connsiteY36" fmla="*/ 420004 h 606722"/>
              <a:gd name="connsiteX37" fmla="*/ 554414 w 607639"/>
              <a:gd name="connsiteY37" fmla="*/ 446310 h 606722"/>
              <a:gd name="connsiteX38" fmla="*/ 554414 w 607639"/>
              <a:gd name="connsiteY38" fmla="*/ 482125 h 606722"/>
              <a:gd name="connsiteX39" fmla="*/ 482854 w 607639"/>
              <a:gd name="connsiteY39" fmla="*/ 553577 h 606722"/>
              <a:gd name="connsiteX40" fmla="*/ 446985 w 607639"/>
              <a:gd name="connsiteY40" fmla="*/ 553577 h 606722"/>
              <a:gd name="connsiteX41" fmla="*/ 420639 w 607639"/>
              <a:gd name="connsiteY41" fmla="*/ 527271 h 606722"/>
              <a:gd name="connsiteX42" fmla="*/ 379786 w 607639"/>
              <a:gd name="connsiteY42" fmla="*/ 544246 h 606722"/>
              <a:gd name="connsiteX43" fmla="*/ 379786 w 607639"/>
              <a:gd name="connsiteY43" fmla="*/ 581394 h 606722"/>
              <a:gd name="connsiteX44" fmla="*/ 354419 w 607639"/>
              <a:gd name="connsiteY44" fmla="*/ 606722 h 606722"/>
              <a:gd name="connsiteX45" fmla="*/ 253131 w 607639"/>
              <a:gd name="connsiteY45" fmla="*/ 606722 h 606722"/>
              <a:gd name="connsiteX46" fmla="*/ 227854 w 607639"/>
              <a:gd name="connsiteY46" fmla="*/ 581394 h 606722"/>
              <a:gd name="connsiteX47" fmla="*/ 227854 w 607639"/>
              <a:gd name="connsiteY47" fmla="*/ 544246 h 606722"/>
              <a:gd name="connsiteX48" fmla="*/ 186911 w 607639"/>
              <a:gd name="connsiteY48" fmla="*/ 527271 h 606722"/>
              <a:gd name="connsiteX49" fmla="*/ 160566 w 607639"/>
              <a:gd name="connsiteY49" fmla="*/ 553577 h 606722"/>
              <a:gd name="connsiteX50" fmla="*/ 124786 w 607639"/>
              <a:gd name="connsiteY50" fmla="*/ 553577 h 606722"/>
              <a:gd name="connsiteX51" fmla="*/ 53225 w 607639"/>
              <a:gd name="connsiteY51" fmla="*/ 482125 h 606722"/>
              <a:gd name="connsiteX52" fmla="*/ 53225 w 607639"/>
              <a:gd name="connsiteY52" fmla="*/ 446310 h 606722"/>
              <a:gd name="connsiteX53" fmla="*/ 79482 w 607639"/>
              <a:gd name="connsiteY53" fmla="*/ 420004 h 606722"/>
              <a:gd name="connsiteX54" fmla="*/ 62482 w 607639"/>
              <a:gd name="connsiteY54" fmla="*/ 379212 h 606722"/>
              <a:gd name="connsiteX55" fmla="*/ 25278 w 607639"/>
              <a:gd name="connsiteY55" fmla="*/ 379212 h 606722"/>
              <a:gd name="connsiteX56" fmla="*/ 0 w 607639"/>
              <a:gd name="connsiteY56" fmla="*/ 353884 h 606722"/>
              <a:gd name="connsiteX57" fmla="*/ 0 w 607639"/>
              <a:gd name="connsiteY57" fmla="*/ 252749 h 606722"/>
              <a:gd name="connsiteX58" fmla="*/ 25278 w 607639"/>
              <a:gd name="connsiteY58" fmla="*/ 227510 h 606722"/>
              <a:gd name="connsiteX59" fmla="*/ 62482 w 607639"/>
              <a:gd name="connsiteY59" fmla="*/ 227510 h 606722"/>
              <a:gd name="connsiteX60" fmla="*/ 79482 w 607639"/>
              <a:gd name="connsiteY60" fmla="*/ 186629 h 606722"/>
              <a:gd name="connsiteX61" fmla="*/ 53225 w 607639"/>
              <a:gd name="connsiteY61" fmla="*/ 160323 h 606722"/>
              <a:gd name="connsiteX62" fmla="*/ 53225 w 607639"/>
              <a:gd name="connsiteY62" fmla="*/ 124597 h 606722"/>
              <a:gd name="connsiteX63" fmla="*/ 124786 w 607639"/>
              <a:gd name="connsiteY63" fmla="*/ 53145 h 606722"/>
              <a:gd name="connsiteX64" fmla="*/ 160566 w 607639"/>
              <a:gd name="connsiteY64" fmla="*/ 53145 h 606722"/>
              <a:gd name="connsiteX65" fmla="*/ 186911 w 607639"/>
              <a:gd name="connsiteY65" fmla="*/ 79451 h 606722"/>
              <a:gd name="connsiteX66" fmla="*/ 227854 w 607639"/>
              <a:gd name="connsiteY66" fmla="*/ 62387 h 606722"/>
              <a:gd name="connsiteX67" fmla="*/ 227854 w 607639"/>
              <a:gd name="connsiteY67" fmla="*/ 25239 h 606722"/>
              <a:gd name="connsiteX68" fmla="*/ 253131 w 607639"/>
              <a:gd name="connsiteY68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07639" h="606722">
                <a:moveTo>
                  <a:pt x="303820" y="278099"/>
                </a:moveTo>
                <a:cubicBezTo>
                  <a:pt x="317792" y="278099"/>
                  <a:pt x="329118" y="289410"/>
                  <a:pt x="329118" y="303362"/>
                </a:cubicBezTo>
                <a:cubicBezTo>
                  <a:pt x="329118" y="317314"/>
                  <a:pt x="317792" y="328625"/>
                  <a:pt x="303820" y="328625"/>
                </a:cubicBezTo>
                <a:cubicBezTo>
                  <a:pt x="289848" y="328625"/>
                  <a:pt x="278522" y="317314"/>
                  <a:pt x="278522" y="303362"/>
                </a:cubicBezTo>
                <a:cubicBezTo>
                  <a:pt x="278522" y="289410"/>
                  <a:pt x="289848" y="278099"/>
                  <a:pt x="303820" y="278099"/>
                </a:cubicBezTo>
                <a:close/>
                <a:moveTo>
                  <a:pt x="303775" y="252735"/>
                </a:moveTo>
                <a:cubicBezTo>
                  <a:pt x="275921" y="252735"/>
                  <a:pt x="253140" y="275492"/>
                  <a:pt x="253140" y="303317"/>
                </a:cubicBezTo>
                <a:cubicBezTo>
                  <a:pt x="253140" y="331231"/>
                  <a:pt x="275921" y="353900"/>
                  <a:pt x="303775" y="353900"/>
                </a:cubicBezTo>
                <a:cubicBezTo>
                  <a:pt x="331718" y="353900"/>
                  <a:pt x="354410" y="331231"/>
                  <a:pt x="354410" y="303317"/>
                </a:cubicBezTo>
                <a:cubicBezTo>
                  <a:pt x="354410" y="275492"/>
                  <a:pt x="331718" y="252735"/>
                  <a:pt x="303775" y="252735"/>
                </a:cubicBezTo>
                <a:close/>
                <a:moveTo>
                  <a:pt x="303775" y="202241"/>
                </a:moveTo>
                <a:cubicBezTo>
                  <a:pt x="359660" y="202241"/>
                  <a:pt x="405045" y="247579"/>
                  <a:pt x="405045" y="303317"/>
                </a:cubicBezTo>
                <a:cubicBezTo>
                  <a:pt x="405045" y="359144"/>
                  <a:pt x="359660" y="404482"/>
                  <a:pt x="303775" y="404482"/>
                </a:cubicBezTo>
                <a:cubicBezTo>
                  <a:pt x="247978" y="404482"/>
                  <a:pt x="202593" y="359144"/>
                  <a:pt x="202593" y="303317"/>
                </a:cubicBezTo>
                <a:cubicBezTo>
                  <a:pt x="202593" y="247579"/>
                  <a:pt x="247978" y="202241"/>
                  <a:pt x="303775" y="202241"/>
                </a:cubicBezTo>
                <a:close/>
                <a:moveTo>
                  <a:pt x="303775" y="151703"/>
                </a:moveTo>
                <a:cubicBezTo>
                  <a:pt x="220021" y="151703"/>
                  <a:pt x="151932" y="219689"/>
                  <a:pt x="151932" y="303317"/>
                </a:cubicBezTo>
                <a:cubicBezTo>
                  <a:pt x="151932" y="387033"/>
                  <a:pt x="220021" y="455019"/>
                  <a:pt x="303775" y="455019"/>
                </a:cubicBezTo>
                <a:cubicBezTo>
                  <a:pt x="387618" y="455019"/>
                  <a:pt x="455707" y="387033"/>
                  <a:pt x="455707" y="303317"/>
                </a:cubicBezTo>
                <a:cubicBezTo>
                  <a:pt x="455707" y="219689"/>
                  <a:pt x="387618" y="151703"/>
                  <a:pt x="303775" y="151703"/>
                </a:cubicBezTo>
                <a:close/>
                <a:moveTo>
                  <a:pt x="253131" y="0"/>
                </a:moveTo>
                <a:lnTo>
                  <a:pt x="354419" y="0"/>
                </a:lnTo>
                <a:cubicBezTo>
                  <a:pt x="368482" y="0"/>
                  <a:pt x="379786" y="11287"/>
                  <a:pt x="379786" y="25239"/>
                </a:cubicBezTo>
                <a:lnTo>
                  <a:pt x="379786" y="62387"/>
                </a:lnTo>
                <a:cubicBezTo>
                  <a:pt x="393849" y="66831"/>
                  <a:pt x="407555" y="72519"/>
                  <a:pt x="420639" y="79451"/>
                </a:cubicBezTo>
                <a:lnTo>
                  <a:pt x="446985" y="53145"/>
                </a:lnTo>
                <a:cubicBezTo>
                  <a:pt x="456953" y="43191"/>
                  <a:pt x="472974" y="43191"/>
                  <a:pt x="482854" y="53145"/>
                </a:cubicBezTo>
                <a:lnTo>
                  <a:pt x="554414" y="124597"/>
                </a:lnTo>
                <a:cubicBezTo>
                  <a:pt x="564294" y="134462"/>
                  <a:pt x="564294" y="150459"/>
                  <a:pt x="554414" y="160323"/>
                </a:cubicBezTo>
                <a:lnTo>
                  <a:pt x="528069" y="186629"/>
                </a:lnTo>
                <a:cubicBezTo>
                  <a:pt x="535011" y="199782"/>
                  <a:pt x="540707" y="213468"/>
                  <a:pt x="545158" y="227510"/>
                </a:cubicBezTo>
                <a:lnTo>
                  <a:pt x="582273" y="227510"/>
                </a:lnTo>
                <a:cubicBezTo>
                  <a:pt x="596336" y="227510"/>
                  <a:pt x="607639" y="238796"/>
                  <a:pt x="607639" y="252749"/>
                </a:cubicBezTo>
                <a:lnTo>
                  <a:pt x="607639" y="353884"/>
                </a:lnTo>
                <a:cubicBezTo>
                  <a:pt x="607639" y="367926"/>
                  <a:pt x="596247" y="379212"/>
                  <a:pt x="582273" y="379212"/>
                </a:cubicBezTo>
                <a:lnTo>
                  <a:pt x="545158" y="379212"/>
                </a:lnTo>
                <a:cubicBezTo>
                  <a:pt x="540707" y="393254"/>
                  <a:pt x="535011" y="406940"/>
                  <a:pt x="528069" y="420004"/>
                </a:cubicBezTo>
                <a:lnTo>
                  <a:pt x="554414" y="446310"/>
                </a:lnTo>
                <a:cubicBezTo>
                  <a:pt x="564294" y="456263"/>
                  <a:pt x="564294" y="472260"/>
                  <a:pt x="554414" y="482125"/>
                </a:cubicBezTo>
                <a:lnTo>
                  <a:pt x="482854" y="553577"/>
                </a:lnTo>
                <a:cubicBezTo>
                  <a:pt x="472974" y="563442"/>
                  <a:pt x="456953" y="563442"/>
                  <a:pt x="446985" y="553577"/>
                </a:cubicBezTo>
                <a:lnTo>
                  <a:pt x="420639" y="527271"/>
                </a:lnTo>
                <a:cubicBezTo>
                  <a:pt x="407555" y="534203"/>
                  <a:pt x="393849" y="539802"/>
                  <a:pt x="379786" y="544246"/>
                </a:cubicBezTo>
                <a:lnTo>
                  <a:pt x="379786" y="581394"/>
                </a:lnTo>
                <a:cubicBezTo>
                  <a:pt x="379786" y="595435"/>
                  <a:pt x="368393" y="606722"/>
                  <a:pt x="354419" y="606722"/>
                </a:cubicBezTo>
                <a:lnTo>
                  <a:pt x="253131" y="606722"/>
                </a:lnTo>
                <a:cubicBezTo>
                  <a:pt x="239157" y="606722"/>
                  <a:pt x="227854" y="595435"/>
                  <a:pt x="227854" y="581394"/>
                </a:cubicBezTo>
                <a:lnTo>
                  <a:pt x="227854" y="544246"/>
                </a:lnTo>
                <a:cubicBezTo>
                  <a:pt x="213791" y="539802"/>
                  <a:pt x="200084" y="534203"/>
                  <a:pt x="186911" y="527271"/>
                </a:cubicBezTo>
                <a:lnTo>
                  <a:pt x="160566" y="553577"/>
                </a:lnTo>
                <a:cubicBezTo>
                  <a:pt x="150686" y="563442"/>
                  <a:pt x="134665" y="563442"/>
                  <a:pt x="124786" y="553577"/>
                </a:cubicBezTo>
                <a:lnTo>
                  <a:pt x="53225" y="482125"/>
                </a:lnTo>
                <a:cubicBezTo>
                  <a:pt x="43257" y="472260"/>
                  <a:pt x="43257" y="456263"/>
                  <a:pt x="53225" y="446310"/>
                </a:cubicBezTo>
                <a:lnTo>
                  <a:pt x="79482" y="420004"/>
                </a:lnTo>
                <a:cubicBezTo>
                  <a:pt x="72629" y="406940"/>
                  <a:pt x="66932" y="393254"/>
                  <a:pt x="62482" y="379212"/>
                </a:cubicBezTo>
                <a:lnTo>
                  <a:pt x="25278" y="379212"/>
                </a:lnTo>
                <a:cubicBezTo>
                  <a:pt x="11304" y="379212"/>
                  <a:pt x="0" y="367926"/>
                  <a:pt x="0" y="353884"/>
                </a:cubicBezTo>
                <a:lnTo>
                  <a:pt x="0" y="252749"/>
                </a:lnTo>
                <a:cubicBezTo>
                  <a:pt x="0" y="238796"/>
                  <a:pt x="11304" y="227510"/>
                  <a:pt x="25278" y="227510"/>
                </a:cubicBezTo>
                <a:lnTo>
                  <a:pt x="62482" y="227510"/>
                </a:lnTo>
                <a:cubicBezTo>
                  <a:pt x="66932" y="213468"/>
                  <a:pt x="72629" y="199782"/>
                  <a:pt x="79482" y="186629"/>
                </a:cubicBezTo>
                <a:lnTo>
                  <a:pt x="53225" y="160323"/>
                </a:lnTo>
                <a:cubicBezTo>
                  <a:pt x="43257" y="150459"/>
                  <a:pt x="43257" y="134462"/>
                  <a:pt x="53225" y="124597"/>
                </a:cubicBezTo>
                <a:lnTo>
                  <a:pt x="124786" y="53145"/>
                </a:lnTo>
                <a:cubicBezTo>
                  <a:pt x="134665" y="43191"/>
                  <a:pt x="150686" y="43191"/>
                  <a:pt x="160566" y="53145"/>
                </a:cubicBezTo>
                <a:lnTo>
                  <a:pt x="186911" y="79451"/>
                </a:lnTo>
                <a:cubicBezTo>
                  <a:pt x="200084" y="72519"/>
                  <a:pt x="213791" y="66831"/>
                  <a:pt x="227854" y="62387"/>
                </a:cubicBezTo>
                <a:lnTo>
                  <a:pt x="227854" y="25239"/>
                </a:lnTo>
                <a:cubicBezTo>
                  <a:pt x="227854" y="11287"/>
                  <a:pt x="239157" y="0"/>
                  <a:pt x="25313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3" name="ïṧľíďê">
            <a:extLst>
              <a:ext uri="{FF2B5EF4-FFF2-40B4-BE49-F238E27FC236}">
                <a16:creationId xmlns:a16="http://schemas.microsoft.com/office/drawing/2014/main" id="{83AC56C8-BB22-4DB6-8372-AA84DFFA3A81}"/>
              </a:ext>
            </a:extLst>
          </p:cNvPr>
          <p:cNvSpPr/>
          <p:nvPr/>
        </p:nvSpPr>
        <p:spPr bwMode="auto">
          <a:xfrm>
            <a:off x="2670455" y="-860661"/>
            <a:ext cx="192583" cy="192268"/>
          </a:xfrm>
          <a:custGeom>
            <a:avLst/>
            <a:gdLst>
              <a:gd name="connsiteX0" fmla="*/ 380418 w 604181"/>
              <a:gd name="connsiteY0" fmla="*/ 268007 h 603193"/>
              <a:gd name="connsiteX1" fmla="*/ 519220 w 604181"/>
              <a:gd name="connsiteY1" fmla="*/ 339187 h 603193"/>
              <a:gd name="connsiteX2" fmla="*/ 519220 w 604181"/>
              <a:gd name="connsiteY2" fmla="*/ 355820 h 603193"/>
              <a:gd name="connsiteX3" fmla="*/ 380418 w 604181"/>
              <a:gd name="connsiteY3" fmla="*/ 426850 h 603193"/>
              <a:gd name="connsiteX4" fmla="*/ 380418 w 604181"/>
              <a:gd name="connsiteY4" fmla="*/ 406320 h 603193"/>
              <a:gd name="connsiteX5" fmla="*/ 498212 w 604181"/>
              <a:gd name="connsiteY5" fmla="*/ 347728 h 603193"/>
              <a:gd name="connsiteX6" fmla="*/ 498212 w 604181"/>
              <a:gd name="connsiteY6" fmla="*/ 347129 h 603193"/>
              <a:gd name="connsiteX7" fmla="*/ 380418 w 604181"/>
              <a:gd name="connsiteY7" fmla="*/ 288687 h 603193"/>
              <a:gd name="connsiteX8" fmla="*/ 216565 w 604181"/>
              <a:gd name="connsiteY8" fmla="*/ 268007 h 603193"/>
              <a:gd name="connsiteX9" fmla="*/ 216565 w 604181"/>
              <a:gd name="connsiteY9" fmla="*/ 288687 h 603193"/>
              <a:gd name="connsiteX10" fmla="*/ 99664 w 604181"/>
              <a:gd name="connsiteY10" fmla="*/ 347129 h 603193"/>
              <a:gd name="connsiteX11" fmla="*/ 99664 w 604181"/>
              <a:gd name="connsiteY11" fmla="*/ 347728 h 603193"/>
              <a:gd name="connsiteX12" fmla="*/ 216565 w 604181"/>
              <a:gd name="connsiteY12" fmla="*/ 406320 h 603193"/>
              <a:gd name="connsiteX13" fmla="*/ 216565 w 604181"/>
              <a:gd name="connsiteY13" fmla="*/ 426850 h 603193"/>
              <a:gd name="connsiteX14" fmla="*/ 77904 w 604181"/>
              <a:gd name="connsiteY14" fmla="*/ 355521 h 603193"/>
              <a:gd name="connsiteX15" fmla="*/ 77904 w 604181"/>
              <a:gd name="connsiteY15" fmla="*/ 339486 h 603193"/>
              <a:gd name="connsiteX16" fmla="*/ 338273 w 604181"/>
              <a:gd name="connsiteY16" fmla="*/ 222493 h 603193"/>
              <a:gd name="connsiteX17" fmla="*/ 358684 w 604181"/>
              <a:gd name="connsiteY17" fmla="*/ 222493 h 603193"/>
              <a:gd name="connsiteX18" fmla="*/ 253179 w 604181"/>
              <a:gd name="connsiteY18" fmla="*/ 482103 h 603193"/>
              <a:gd name="connsiteX19" fmla="*/ 233219 w 604181"/>
              <a:gd name="connsiteY19" fmla="*/ 482103 h 603193"/>
              <a:gd name="connsiteX20" fmla="*/ 28813 w 604181"/>
              <a:gd name="connsiteY20" fmla="*/ 128849 h 603193"/>
              <a:gd name="connsiteX21" fmla="*/ 28813 w 604181"/>
              <a:gd name="connsiteY21" fmla="*/ 557497 h 603193"/>
              <a:gd name="connsiteX22" fmla="*/ 45921 w 604181"/>
              <a:gd name="connsiteY22" fmla="*/ 574427 h 603193"/>
              <a:gd name="connsiteX23" fmla="*/ 558410 w 604181"/>
              <a:gd name="connsiteY23" fmla="*/ 574427 h 603193"/>
              <a:gd name="connsiteX24" fmla="*/ 575368 w 604181"/>
              <a:gd name="connsiteY24" fmla="*/ 557497 h 603193"/>
              <a:gd name="connsiteX25" fmla="*/ 575368 w 604181"/>
              <a:gd name="connsiteY25" fmla="*/ 128849 h 603193"/>
              <a:gd name="connsiteX26" fmla="*/ 502734 w 604181"/>
              <a:gd name="connsiteY26" fmla="*/ 43149 h 603193"/>
              <a:gd name="connsiteX27" fmla="*/ 502734 w 604181"/>
              <a:gd name="connsiteY27" fmla="*/ 77309 h 603193"/>
              <a:gd name="connsiteX28" fmla="*/ 537100 w 604181"/>
              <a:gd name="connsiteY28" fmla="*/ 77309 h 603193"/>
              <a:gd name="connsiteX29" fmla="*/ 537100 w 604181"/>
              <a:gd name="connsiteY29" fmla="*/ 43149 h 603193"/>
              <a:gd name="connsiteX30" fmla="*/ 423197 w 604181"/>
              <a:gd name="connsiteY30" fmla="*/ 43149 h 603193"/>
              <a:gd name="connsiteX31" fmla="*/ 423197 w 604181"/>
              <a:gd name="connsiteY31" fmla="*/ 77309 h 603193"/>
              <a:gd name="connsiteX32" fmla="*/ 457563 w 604181"/>
              <a:gd name="connsiteY32" fmla="*/ 77309 h 603193"/>
              <a:gd name="connsiteX33" fmla="*/ 457563 w 604181"/>
              <a:gd name="connsiteY33" fmla="*/ 43149 h 603193"/>
              <a:gd name="connsiteX34" fmla="*/ 45921 w 604181"/>
              <a:gd name="connsiteY34" fmla="*/ 0 h 603193"/>
              <a:gd name="connsiteX35" fmla="*/ 558410 w 604181"/>
              <a:gd name="connsiteY35" fmla="*/ 0 h 603193"/>
              <a:gd name="connsiteX36" fmla="*/ 604181 w 604181"/>
              <a:gd name="connsiteY36" fmla="*/ 45846 h 603193"/>
              <a:gd name="connsiteX37" fmla="*/ 604181 w 604181"/>
              <a:gd name="connsiteY37" fmla="*/ 557497 h 603193"/>
              <a:gd name="connsiteX38" fmla="*/ 558410 w 604181"/>
              <a:gd name="connsiteY38" fmla="*/ 603193 h 603193"/>
              <a:gd name="connsiteX39" fmla="*/ 45921 w 604181"/>
              <a:gd name="connsiteY39" fmla="*/ 603193 h 603193"/>
              <a:gd name="connsiteX40" fmla="*/ 0 w 604181"/>
              <a:gd name="connsiteY40" fmla="*/ 557497 h 603193"/>
              <a:gd name="connsiteX41" fmla="*/ 0 w 604181"/>
              <a:gd name="connsiteY41" fmla="*/ 45846 h 603193"/>
              <a:gd name="connsiteX42" fmla="*/ 45921 w 604181"/>
              <a:gd name="connsiteY42" fmla="*/ 0 h 603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04181" h="603193">
                <a:moveTo>
                  <a:pt x="380418" y="268007"/>
                </a:moveTo>
                <a:lnTo>
                  <a:pt x="519220" y="339187"/>
                </a:lnTo>
                <a:lnTo>
                  <a:pt x="519220" y="355820"/>
                </a:lnTo>
                <a:lnTo>
                  <a:pt x="380418" y="426850"/>
                </a:lnTo>
                <a:lnTo>
                  <a:pt x="380418" y="406320"/>
                </a:lnTo>
                <a:lnTo>
                  <a:pt x="498212" y="347728"/>
                </a:lnTo>
                <a:lnTo>
                  <a:pt x="498212" y="347129"/>
                </a:lnTo>
                <a:lnTo>
                  <a:pt x="380418" y="288687"/>
                </a:lnTo>
                <a:close/>
                <a:moveTo>
                  <a:pt x="216565" y="268007"/>
                </a:moveTo>
                <a:lnTo>
                  <a:pt x="216565" y="288687"/>
                </a:lnTo>
                <a:lnTo>
                  <a:pt x="99664" y="347129"/>
                </a:lnTo>
                <a:lnTo>
                  <a:pt x="99664" y="347728"/>
                </a:lnTo>
                <a:lnTo>
                  <a:pt x="216565" y="406320"/>
                </a:lnTo>
                <a:lnTo>
                  <a:pt x="216565" y="426850"/>
                </a:lnTo>
                <a:lnTo>
                  <a:pt x="77904" y="355521"/>
                </a:lnTo>
                <a:lnTo>
                  <a:pt x="77904" y="339486"/>
                </a:lnTo>
                <a:close/>
                <a:moveTo>
                  <a:pt x="338273" y="222493"/>
                </a:moveTo>
                <a:lnTo>
                  <a:pt x="358684" y="222493"/>
                </a:lnTo>
                <a:lnTo>
                  <a:pt x="253179" y="482103"/>
                </a:lnTo>
                <a:lnTo>
                  <a:pt x="233219" y="482103"/>
                </a:lnTo>
                <a:close/>
                <a:moveTo>
                  <a:pt x="28813" y="128849"/>
                </a:moveTo>
                <a:lnTo>
                  <a:pt x="28813" y="557497"/>
                </a:lnTo>
                <a:cubicBezTo>
                  <a:pt x="28813" y="566786"/>
                  <a:pt x="36467" y="574427"/>
                  <a:pt x="45921" y="574427"/>
                </a:cubicBezTo>
                <a:lnTo>
                  <a:pt x="558410" y="574427"/>
                </a:lnTo>
                <a:cubicBezTo>
                  <a:pt x="567714" y="574427"/>
                  <a:pt x="575368" y="566786"/>
                  <a:pt x="575368" y="557497"/>
                </a:cubicBezTo>
                <a:lnTo>
                  <a:pt x="575368" y="128849"/>
                </a:lnTo>
                <a:close/>
                <a:moveTo>
                  <a:pt x="502734" y="43149"/>
                </a:moveTo>
                <a:lnTo>
                  <a:pt x="502734" y="77309"/>
                </a:lnTo>
                <a:lnTo>
                  <a:pt x="537100" y="77309"/>
                </a:lnTo>
                <a:lnTo>
                  <a:pt x="537100" y="43149"/>
                </a:lnTo>
                <a:close/>
                <a:moveTo>
                  <a:pt x="423197" y="43149"/>
                </a:moveTo>
                <a:lnTo>
                  <a:pt x="423197" y="77309"/>
                </a:lnTo>
                <a:lnTo>
                  <a:pt x="457563" y="77309"/>
                </a:lnTo>
                <a:lnTo>
                  <a:pt x="457563" y="43149"/>
                </a:lnTo>
                <a:close/>
                <a:moveTo>
                  <a:pt x="45921" y="0"/>
                </a:moveTo>
                <a:lnTo>
                  <a:pt x="558410" y="0"/>
                </a:lnTo>
                <a:cubicBezTo>
                  <a:pt x="583621" y="0"/>
                  <a:pt x="604181" y="20526"/>
                  <a:pt x="604181" y="45846"/>
                </a:cubicBezTo>
                <a:lnTo>
                  <a:pt x="604181" y="557497"/>
                </a:lnTo>
                <a:cubicBezTo>
                  <a:pt x="604181" y="582667"/>
                  <a:pt x="583621" y="603193"/>
                  <a:pt x="558410" y="603193"/>
                </a:cubicBezTo>
                <a:lnTo>
                  <a:pt x="45921" y="603193"/>
                </a:lnTo>
                <a:cubicBezTo>
                  <a:pt x="20560" y="603193"/>
                  <a:pt x="0" y="582667"/>
                  <a:pt x="0" y="557497"/>
                </a:cubicBezTo>
                <a:lnTo>
                  <a:pt x="0" y="45846"/>
                </a:lnTo>
                <a:cubicBezTo>
                  <a:pt x="0" y="20526"/>
                  <a:pt x="20560" y="0"/>
                  <a:pt x="45921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4" name="îṣḻîḍé">
            <a:extLst>
              <a:ext uri="{FF2B5EF4-FFF2-40B4-BE49-F238E27FC236}">
                <a16:creationId xmlns:a16="http://schemas.microsoft.com/office/drawing/2014/main" id="{716A4AAF-66FE-4462-901E-658C29D84AD8}"/>
              </a:ext>
            </a:extLst>
          </p:cNvPr>
          <p:cNvSpPr/>
          <p:nvPr/>
        </p:nvSpPr>
        <p:spPr bwMode="auto">
          <a:xfrm>
            <a:off x="2395644" y="-532857"/>
            <a:ext cx="192583" cy="192292"/>
          </a:xfrm>
          <a:custGeom>
            <a:avLst/>
            <a:gdLst>
              <a:gd name="T0" fmla="*/ 6624 w 7154"/>
              <a:gd name="T1" fmla="*/ 2037 h 7154"/>
              <a:gd name="T2" fmla="*/ 6106 w 7154"/>
              <a:gd name="T3" fmla="*/ 1048 h 7154"/>
              <a:gd name="T4" fmla="*/ 5117 w 7154"/>
              <a:gd name="T5" fmla="*/ 530 h 7154"/>
              <a:gd name="T6" fmla="*/ 4643 w 7154"/>
              <a:gd name="T7" fmla="*/ 334 h 7154"/>
              <a:gd name="T8" fmla="*/ 3577 w 7154"/>
              <a:gd name="T9" fmla="*/ 0 h 7154"/>
              <a:gd name="T10" fmla="*/ 2511 w 7154"/>
              <a:gd name="T11" fmla="*/ 334 h 7154"/>
              <a:gd name="T12" fmla="*/ 2037 w 7154"/>
              <a:gd name="T13" fmla="*/ 530 h 7154"/>
              <a:gd name="T14" fmla="*/ 1048 w 7154"/>
              <a:gd name="T15" fmla="*/ 1048 h 7154"/>
              <a:gd name="T16" fmla="*/ 530 w 7154"/>
              <a:gd name="T17" fmla="*/ 2037 h 7154"/>
              <a:gd name="T18" fmla="*/ 334 w 7154"/>
              <a:gd name="T19" fmla="*/ 2511 h 7154"/>
              <a:gd name="T20" fmla="*/ 0 w 7154"/>
              <a:gd name="T21" fmla="*/ 3577 h 7154"/>
              <a:gd name="T22" fmla="*/ 334 w 7154"/>
              <a:gd name="T23" fmla="*/ 4643 h 7154"/>
              <a:gd name="T24" fmla="*/ 530 w 7154"/>
              <a:gd name="T25" fmla="*/ 5117 h 7154"/>
              <a:gd name="T26" fmla="*/ 1048 w 7154"/>
              <a:gd name="T27" fmla="*/ 6106 h 7154"/>
              <a:gd name="T28" fmla="*/ 2037 w 7154"/>
              <a:gd name="T29" fmla="*/ 6624 h 7154"/>
              <a:gd name="T30" fmla="*/ 2511 w 7154"/>
              <a:gd name="T31" fmla="*/ 6820 h 7154"/>
              <a:gd name="T32" fmla="*/ 3577 w 7154"/>
              <a:gd name="T33" fmla="*/ 7154 h 7154"/>
              <a:gd name="T34" fmla="*/ 4643 w 7154"/>
              <a:gd name="T35" fmla="*/ 6820 h 7154"/>
              <a:gd name="T36" fmla="*/ 5117 w 7154"/>
              <a:gd name="T37" fmla="*/ 6624 h 7154"/>
              <a:gd name="T38" fmla="*/ 6106 w 7154"/>
              <a:gd name="T39" fmla="*/ 6106 h 7154"/>
              <a:gd name="T40" fmla="*/ 6624 w 7154"/>
              <a:gd name="T41" fmla="*/ 5117 h 7154"/>
              <a:gd name="T42" fmla="*/ 6820 w 7154"/>
              <a:gd name="T43" fmla="*/ 4643 h 7154"/>
              <a:gd name="T44" fmla="*/ 7154 w 7154"/>
              <a:gd name="T45" fmla="*/ 3577 h 7154"/>
              <a:gd name="T46" fmla="*/ 6820 w 7154"/>
              <a:gd name="T47" fmla="*/ 2511 h 7154"/>
              <a:gd name="T48" fmla="*/ 6624 w 7154"/>
              <a:gd name="T49" fmla="*/ 2037 h 7154"/>
              <a:gd name="T50" fmla="*/ 5857 w 7154"/>
              <a:gd name="T51" fmla="*/ 2406 h 7154"/>
              <a:gd name="T52" fmla="*/ 3286 w 7154"/>
              <a:gd name="T53" fmla="*/ 4976 h 7154"/>
              <a:gd name="T54" fmla="*/ 2875 w 7154"/>
              <a:gd name="T55" fmla="*/ 5387 h 7154"/>
              <a:gd name="T56" fmla="*/ 2464 w 7154"/>
              <a:gd name="T57" fmla="*/ 5387 h 7154"/>
              <a:gd name="T58" fmla="*/ 2053 w 7154"/>
              <a:gd name="T59" fmla="*/ 4976 h 7154"/>
              <a:gd name="T60" fmla="*/ 1297 w 7154"/>
              <a:gd name="T61" fmla="*/ 4221 h 7154"/>
              <a:gd name="T62" fmla="*/ 1297 w 7154"/>
              <a:gd name="T63" fmla="*/ 3809 h 7154"/>
              <a:gd name="T64" fmla="*/ 1708 w 7154"/>
              <a:gd name="T65" fmla="*/ 3398 h 7154"/>
              <a:gd name="T66" fmla="*/ 2120 w 7154"/>
              <a:gd name="T67" fmla="*/ 3398 h 7154"/>
              <a:gd name="T68" fmla="*/ 2669 w 7154"/>
              <a:gd name="T69" fmla="*/ 3948 h 7154"/>
              <a:gd name="T70" fmla="*/ 5034 w 7154"/>
              <a:gd name="T71" fmla="*/ 1583 h 7154"/>
              <a:gd name="T72" fmla="*/ 5445 w 7154"/>
              <a:gd name="T73" fmla="*/ 1583 h 7154"/>
              <a:gd name="T74" fmla="*/ 5857 w 7154"/>
              <a:gd name="T75" fmla="*/ 1994 h 7154"/>
              <a:gd name="T76" fmla="*/ 5857 w 7154"/>
              <a:gd name="T77" fmla="*/ 2406 h 7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154" h="7154">
                <a:moveTo>
                  <a:pt x="6624" y="2037"/>
                </a:moveTo>
                <a:cubicBezTo>
                  <a:pt x="6580" y="1703"/>
                  <a:pt x="6403" y="1345"/>
                  <a:pt x="6106" y="1048"/>
                </a:cubicBezTo>
                <a:cubicBezTo>
                  <a:pt x="5809" y="751"/>
                  <a:pt x="5451" y="574"/>
                  <a:pt x="5117" y="530"/>
                </a:cubicBezTo>
                <a:cubicBezTo>
                  <a:pt x="4966" y="510"/>
                  <a:pt x="4764" y="427"/>
                  <a:pt x="4643" y="334"/>
                </a:cubicBezTo>
                <a:cubicBezTo>
                  <a:pt x="4375" y="128"/>
                  <a:pt x="3997" y="0"/>
                  <a:pt x="3577" y="0"/>
                </a:cubicBezTo>
                <a:cubicBezTo>
                  <a:pt x="3157" y="0"/>
                  <a:pt x="2779" y="128"/>
                  <a:pt x="2511" y="334"/>
                </a:cubicBezTo>
                <a:cubicBezTo>
                  <a:pt x="2390" y="427"/>
                  <a:pt x="2188" y="510"/>
                  <a:pt x="2037" y="530"/>
                </a:cubicBezTo>
                <a:cubicBezTo>
                  <a:pt x="1702" y="574"/>
                  <a:pt x="1345" y="751"/>
                  <a:pt x="1048" y="1048"/>
                </a:cubicBezTo>
                <a:cubicBezTo>
                  <a:pt x="751" y="1345"/>
                  <a:pt x="574" y="1703"/>
                  <a:pt x="530" y="2037"/>
                </a:cubicBezTo>
                <a:cubicBezTo>
                  <a:pt x="510" y="2188"/>
                  <a:pt x="427" y="2390"/>
                  <a:pt x="334" y="2511"/>
                </a:cubicBezTo>
                <a:cubicBezTo>
                  <a:pt x="128" y="2779"/>
                  <a:pt x="0" y="3157"/>
                  <a:pt x="0" y="3577"/>
                </a:cubicBezTo>
                <a:cubicBezTo>
                  <a:pt x="0" y="3997"/>
                  <a:pt x="128" y="4375"/>
                  <a:pt x="334" y="4643"/>
                </a:cubicBezTo>
                <a:cubicBezTo>
                  <a:pt x="427" y="4764"/>
                  <a:pt x="510" y="4966"/>
                  <a:pt x="530" y="5117"/>
                </a:cubicBezTo>
                <a:cubicBezTo>
                  <a:pt x="574" y="5451"/>
                  <a:pt x="751" y="5809"/>
                  <a:pt x="1048" y="6106"/>
                </a:cubicBezTo>
                <a:cubicBezTo>
                  <a:pt x="1345" y="6403"/>
                  <a:pt x="1702" y="6580"/>
                  <a:pt x="2037" y="6624"/>
                </a:cubicBezTo>
                <a:cubicBezTo>
                  <a:pt x="2188" y="6644"/>
                  <a:pt x="2390" y="6727"/>
                  <a:pt x="2511" y="6820"/>
                </a:cubicBezTo>
                <a:cubicBezTo>
                  <a:pt x="2779" y="7025"/>
                  <a:pt x="3157" y="7154"/>
                  <a:pt x="3577" y="7154"/>
                </a:cubicBezTo>
                <a:cubicBezTo>
                  <a:pt x="3997" y="7154"/>
                  <a:pt x="4375" y="7025"/>
                  <a:pt x="4643" y="6820"/>
                </a:cubicBezTo>
                <a:cubicBezTo>
                  <a:pt x="4764" y="6727"/>
                  <a:pt x="4966" y="6644"/>
                  <a:pt x="5117" y="6624"/>
                </a:cubicBezTo>
                <a:cubicBezTo>
                  <a:pt x="5451" y="6580"/>
                  <a:pt x="5809" y="6403"/>
                  <a:pt x="6106" y="6106"/>
                </a:cubicBezTo>
                <a:cubicBezTo>
                  <a:pt x="6403" y="5809"/>
                  <a:pt x="6580" y="5451"/>
                  <a:pt x="6624" y="5117"/>
                </a:cubicBezTo>
                <a:cubicBezTo>
                  <a:pt x="6644" y="4966"/>
                  <a:pt x="6727" y="4764"/>
                  <a:pt x="6820" y="4643"/>
                </a:cubicBezTo>
                <a:cubicBezTo>
                  <a:pt x="7026" y="4375"/>
                  <a:pt x="7154" y="3997"/>
                  <a:pt x="7154" y="3577"/>
                </a:cubicBezTo>
                <a:cubicBezTo>
                  <a:pt x="7154" y="3157"/>
                  <a:pt x="7026" y="2779"/>
                  <a:pt x="6820" y="2511"/>
                </a:cubicBezTo>
                <a:cubicBezTo>
                  <a:pt x="6727" y="2390"/>
                  <a:pt x="6644" y="2188"/>
                  <a:pt x="6624" y="2037"/>
                </a:cubicBezTo>
                <a:close/>
                <a:moveTo>
                  <a:pt x="5857" y="2406"/>
                </a:moveTo>
                <a:lnTo>
                  <a:pt x="3286" y="4976"/>
                </a:lnTo>
                <a:lnTo>
                  <a:pt x="2875" y="5387"/>
                </a:lnTo>
                <a:cubicBezTo>
                  <a:pt x="2762" y="5501"/>
                  <a:pt x="2577" y="5501"/>
                  <a:pt x="2464" y="5387"/>
                </a:cubicBezTo>
                <a:lnTo>
                  <a:pt x="2053" y="4976"/>
                </a:lnTo>
                <a:lnTo>
                  <a:pt x="1297" y="4221"/>
                </a:lnTo>
                <a:cubicBezTo>
                  <a:pt x="1183" y="4107"/>
                  <a:pt x="1183" y="3923"/>
                  <a:pt x="1297" y="3809"/>
                </a:cubicBezTo>
                <a:lnTo>
                  <a:pt x="1708" y="3398"/>
                </a:lnTo>
                <a:cubicBezTo>
                  <a:pt x="1822" y="3285"/>
                  <a:pt x="2006" y="3285"/>
                  <a:pt x="2120" y="3398"/>
                </a:cubicBezTo>
                <a:lnTo>
                  <a:pt x="2669" y="3948"/>
                </a:lnTo>
                <a:lnTo>
                  <a:pt x="5034" y="1583"/>
                </a:lnTo>
                <a:cubicBezTo>
                  <a:pt x="5148" y="1470"/>
                  <a:pt x="5332" y="1470"/>
                  <a:pt x="5445" y="1583"/>
                </a:cubicBezTo>
                <a:lnTo>
                  <a:pt x="5857" y="1994"/>
                </a:lnTo>
                <a:cubicBezTo>
                  <a:pt x="5970" y="2108"/>
                  <a:pt x="5970" y="2292"/>
                  <a:pt x="5857" y="2406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5" name="iṧḷiḑé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305066" y="-1201202"/>
            <a:ext cx="1592897" cy="239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按分布模式进行配置</a:t>
            </a:r>
            <a:endParaRPr lang="en-US" altLang="zh-CN" sz="1100" dirty="0"/>
          </a:p>
        </p:txBody>
      </p:sp>
      <p:sp>
        <p:nvSpPr>
          <p:cNvPr id="216" name="îṧḻiḑe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026665" y="-869679"/>
            <a:ext cx="1592897" cy="239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>
                <a:solidFill>
                  <a:schemeClr val="bg1"/>
                </a:solidFill>
              </a:rPr>
              <a:t>运行第一个实例</a:t>
            </a: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17" name="îṣľïd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2748345" y="-538157"/>
            <a:ext cx="1592897" cy="239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开心</a:t>
            </a:r>
            <a:r>
              <a:rPr lang="en-US" altLang="zh-CN" sz="1100" dirty="0" err="1"/>
              <a:t>ing</a:t>
            </a:r>
            <a:r>
              <a:rPr lang="en-US" altLang="zh-CN" sz="1100" dirty="0"/>
              <a:t>~</a:t>
            </a:r>
          </a:p>
        </p:txBody>
      </p:sp>
      <p:sp>
        <p:nvSpPr>
          <p:cNvPr id="218" name="íṧ1îd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583352" y="-1532725"/>
            <a:ext cx="1592897" cy="239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 解压</a:t>
            </a:r>
            <a:endParaRPr lang="en-US" altLang="zh-CN" sz="1100" dirty="0"/>
          </a:p>
        </p:txBody>
      </p:sp>
      <p:sp>
        <p:nvSpPr>
          <p:cNvPr id="219" name="îs1ïḋ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865146" y="-1864248"/>
            <a:ext cx="1592897" cy="239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配置环境变量 使之生效</a:t>
            </a:r>
            <a:endParaRPr lang="en-US" altLang="zh-CN" sz="1100" dirty="0"/>
          </a:p>
        </p:txBody>
      </p:sp>
      <p:sp>
        <p:nvSpPr>
          <p:cNvPr id="220" name="íšliḓ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4143449" y="-2195771"/>
            <a:ext cx="1592897" cy="239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</a:t>
            </a:r>
            <a:r>
              <a:rPr lang="en-US" altLang="zh-CN" sz="1100" dirty="0"/>
              <a:t> </a:t>
            </a:r>
            <a:r>
              <a:rPr lang="zh-CN" altLang="en-US" sz="1100" dirty="0"/>
              <a:t>解压</a:t>
            </a:r>
            <a:endParaRPr lang="en-US" altLang="zh-CN" sz="1100" dirty="0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3AE81623-7CD6-49D9-AB93-2743959343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7C9400A1-127B-443B-9890-1A43D9C469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5E96695E-50F1-42F2-BC25-869F2B0EF49D}"/>
              </a:ext>
            </a:extLst>
          </p:cNvPr>
          <p:cNvSpPr txBox="1"/>
          <p:nvPr/>
        </p:nvSpPr>
        <p:spPr>
          <a:xfrm>
            <a:off x="503436" y="1130300"/>
            <a:ext cx="8137127" cy="1077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" dirty="0"/>
              <a:t>使用 </a:t>
            </a:r>
            <a:r>
              <a:rPr lang="en-US" altLang="zh-CN" sz="100" dirty="0"/>
              <a:t>rm –r output </a:t>
            </a:r>
            <a:r>
              <a:rPr lang="zh-CN" altLang="en-US" sz="100" dirty="0"/>
              <a:t>删除</a:t>
            </a:r>
            <a:r>
              <a:rPr lang="en-US" altLang="zh-CN" sz="100" dirty="0"/>
              <a:t>output</a:t>
            </a:r>
            <a:r>
              <a:rPr lang="zh-CN" altLang="en-US" sz="100" dirty="0"/>
              <a:t>文件夹再执行其他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BB82027F-4FB8-4B48-940C-0BF5A4EAFF07}"/>
              </a:ext>
            </a:extLst>
          </p:cNvPr>
          <p:cNvSpPr txBox="1"/>
          <p:nvPr/>
        </p:nvSpPr>
        <p:spPr>
          <a:xfrm>
            <a:off x="503437" y="1309743"/>
            <a:ext cx="8137126" cy="1077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" b="1" dirty="0" err="1"/>
              <a:t>hadoop</a:t>
            </a:r>
            <a:r>
              <a:rPr lang="en-US" altLang="zh-CN" sz="100" b="1" dirty="0"/>
              <a:t> jar share/</a:t>
            </a:r>
            <a:r>
              <a:rPr lang="en-US" altLang="zh-CN" sz="100" b="1" dirty="0" err="1"/>
              <a:t>hadoop</a:t>
            </a:r>
            <a:r>
              <a:rPr lang="en-US" altLang="zh-CN" sz="100" b="1" dirty="0"/>
              <a:t>/</a:t>
            </a:r>
            <a:r>
              <a:rPr lang="en-US" altLang="zh-CN" sz="100" b="1" dirty="0" err="1"/>
              <a:t>mapreduce</a:t>
            </a:r>
            <a:r>
              <a:rPr lang="en-US" altLang="zh-CN" sz="100" b="1" dirty="0"/>
              <a:t>/hadoop-mapreduce-examples-3.1.2.jar pi 16 10000</a:t>
            </a:r>
            <a:endParaRPr lang="zh-CN" altLang="en-US" sz="100" b="1" dirty="0"/>
          </a:p>
        </p:txBody>
      </p:sp>
      <p:pic>
        <p:nvPicPr>
          <p:cNvPr id="20481" name="Picture 1" descr="L:\Water\Documents\Tencent Files\1106367305\Image\C2C\}[1J5K2(K)(PU%@[TDI}O}7.jpg">
            <a:extLst>
              <a:ext uri="{FF2B5EF4-FFF2-40B4-BE49-F238E27FC236}">
                <a16:creationId xmlns:a16="http://schemas.microsoft.com/office/drawing/2014/main" id="{0422F658-37AE-49A2-A974-88FBBAE826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" t="89036" r="750"/>
          <a:stretch>
            <a:fillRect/>
          </a:stretch>
        </p:blipFill>
        <p:spPr bwMode="auto">
          <a:xfrm>
            <a:off x="1090017" y="5198290"/>
            <a:ext cx="6962776" cy="512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1" descr="L:\Water\Documents\Tencent Files\1106367305\Image\C2C\9FA7S({PD5ZSW5%KC_S4$4F.jpg">
            <a:extLst>
              <a:ext uri="{FF2B5EF4-FFF2-40B4-BE49-F238E27FC236}">
                <a16:creationId xmlns:a16="http://schemas.microsoft.com/office/drawing/2014/main" id="{1E839B8E-FF8C-4260-84BD-B6D46BE4A12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1" t="84610" b="4179"/>
          <a:stretch>
            <a:fillRect/>
          </a:stretch>
        </p:blipFill>
        <p:spPr bwMode="auto">
          <a:xfrm>
            <a:off x="1082629" y="3972412"/>
            <a:ext cx="6978742" cy="509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" descr="L:\Water\Documents\Tencent Files\1106367305\Image\C2C\KJD@`IB[N55]76]%]M5EN0U.png">
            <a:extLst>
              <a:ext uri="{FF2B5EF4-FFF2-40B4-BE49-F238E27FC236}">
                <a16:creationId xmlns:a16="http://schemas.microsoft.com/office/drawing/2014/main" id="{47399E06-EA43-49A7-816F-57E67A8FD38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816"/>
          <a:stretch>
            <a:fillRect/>
          </a:stretch>
        </p:blipFill>
        <p:spPr bwMode="auto">
          <a:xfrm>
            <a:off x="1076325" y="1553347"/>
            <a:ext cx="6991350" cy="1702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53191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运行的实例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4</a:t>
            </a:fld>
            <a:endParaRPr lang="zh-CN" altLang="en-US"/>
          </a:p>
        </p:txBody>
      </p:sp>
      <p:sp>
        <p:nvSpPr>
          <p:cNvPr id="195" name="iṧḻîďè">
            <a:extLst>
              <a:ext uri="{FF2B5EF4-FFF2-40B4-BE49-F238E27FC236}">
                <a16:creationId xmlns:a16="http://schemas.microsoft.com/office/drawing/2014/main" id="{6FC8272D-4563-47EB-B741-E738A21C2623}"/>
              </a:ext>
            </a:extLst>
          </p:cNvPr>
          <p:cNvSpPr/>
          <p:nvPr/>
        </p:nvSpPr>
        <p:spPr bwMode="auto">
          <a:xfrm>
            <a:off x="4270421" y="-56678"/>
            <a:ext cx="1659226" cy="34701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搞定！</a:t>
            </a:r>
            <a:endParaRPr lang="en-US" altLang="zh-CN" b="1" dirty="0"/>
          </a:p>
        </p:txBody>
      </p:sp>
      <p:sp>
        <p:nvSpPr>
          <p:cNvPr id="196" name="îŝḻiḋé">
            <a:extLst>
              <a:ext uri="{FF2B5EF4-FFF2-40B4-BE49-F238E27FC236}">
                <a16:creationId xmlns:a16="http://schemas.microsoft.com/office/drawing/2014/main" id="{C05C75D7-4258-49B9-958F-F2EEF0B840E0}"/>
              </a:ext>
            </a:extLst>
          </p:cNvPr>
          <p:cNvSpPr/>
          <p:nvPr/>
        </p:nvSpPr>
        <p:spPr bwMode="auto">
          <a:xfrm>
            <a:off x="4545232" y="-388201"/>
            <a:ext cx="1659226" cy="347013"/>
          </a:xfrm>
          <a:prstGeom prst="parallelogram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>
                <a:solidFill>
                  <a:schemeClr val="bg1"/>
                </a:solidFill>
              </a:rPr>
              <a:t>测试</a:t>
            </a:r>
            <a:endParaRPr lang="en-US" altLang="zh-CN" sz="1750" b="1" dirty="0">
              <a:solidFill>
                <a:schemeClr val="bg1"/>
              </a:solidFill>
            </a:endParaRPr>
          </a:p>
        </p:txBody>
      </p:sp>
      <p:sp>
        <p:nvSpPr>
          <p:cNvPr id="197" name="íṥḷíďê">
            <a:extLst>
              <a:ext uri="{FF2B5EF4-FFF2-40B4-BE49-F238E27FC236}">
                <a16:creationId xmlns:a16="http://schemas.microsoft.com/office/drawing/2014/main" id="{D4FCC7AE-5767-4EC4-BB68-B94457D3AE6D}"/>
              </a:ext>
            </a:extLst>
          </p:cNvPr>
          <p:cNvSpPr/>
          <p:nvPr/>
        </p:nvSpPr>
        <p:spPr bwMode="auto">
          <a:xfrm>
            <a:off x="4814195" y="-719723"/>
            <a:ext cx="1659226" cy="34701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/>
              <a:t>配置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8" name="ïś1ïḓè">
            <a:extLst>
              <a:ext uri="{FF2B5EF4-FFF2-40B4-BE49-F238E27FC236}">
                <a16:creationId xmlns:a16="http://schemas.microsoft.com/office/drawing/2014/main" id="{F32E844B-E27C-4A92-9B60-95E4AD88D81F}"/>
              </a:ext>
            </a:extLst>
          </p:cNvPr>
          <p:cNvSpPr/>
          <p:nvPr/>
        </p:nvSpPr>
        <p:spPr bwMode="auto">
          <a:xfrm>
            <a:off x="5088422" y="-1051246"/>
            <a:ext cx="1659226" cy="34701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 dirty="0"/>
              <a:t>安装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9" name="îśļïḍè">
            <a:extLst>
              <a:ext uri="{FF2B5EF4-FFF2-40B4-BE49-F238E27FC236}">
                <a16:creationId xmlns:a16="http://schemas.microsoft.com/office/drawing/2014/main" id="{F812BB55-77DE-4E23-95E6-156A22FAD363}"/>
              </a:ext>
            </a:extLst>
          </p:cNvPr>
          <p:cNvSpPr/>
          <p:nvPr/>
        </p:nvSpPr>
        <p:spPr bwMode="auto">
          <a:xfrm>
            <a:off x="5344175" y="-1382769"/>
            <a:ext cx="1659226" cy="34701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配置</a:t>
            </a:r>
            <a:r>
              <a:rPr lang="en-US" altLang="zh-CN" b="1" dirty="0"/>
              <a:t>JAVA</a:t>
            </a:r>
          </a:p>
        </p:txBody>
      </p:sp>
      <p:sp>
        <p:nvSpPr>
          <p:cNvPr id="200" name="ï$1íḍé">
            <a:extLst>
              <a:ext uri="{FF2B5EF4-FFF2-40B4-BE49-F238E27FC236}">
                <a16:creationId xmlns:a16="http://schemas.microsoft.com/office/drawing/2014/main" id="{48245F16-84E7-4201-9485-85B5E5B15ECD}"/>
              </a:ext>
            </a:extLst>
          </p:cNvPr>
          <p:cNvSpPr/>
          <p:nvPr/>
        </p:nvSpPr>
        <p:spPr bwMode="auto">
          <a:xfrm>
            <a:off x="5609393" y="-1714292"/>
            <a:ext cx="1659226" cy="34701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安装</a:t>
            </a:r>
            <a:r>
              <a:rPr lang="en-US" altLang="zh-CN" b="1" dirty="0"/>
              <a:t>JAVA</a:t>
            </a:r>
          </a:p>
        </p:txBody>
      </p:sp>
      <p:sp>
        <p:nvSpPr>
          <p:cNvPr id="201" name="îṥľïďê">
            <a:extLst>
              <a:ext uri="{FF2B5EF4-FFF2-40B4-BE49-F238E27FC236}">
                <a16:creationId xmlns:a16="http://schemas.microsoft.com/office/drawing/2014/main" id="{920DFBAA-02E5-4206-86B0-FE10F93A7509}"/>
              </a:ext>
            </a:extLst>
          </p:cNvPr>
          <p:cNvSpPr/>
          <p:nvPr/>
        </p:nvSpPr>
        <p:spPr bwMode="auto">
          <a:xfrm>
            <a:off x="4058071" y="-968289"/>
            <a:ext cx="1907405" cy="631854"/>
          </a:xfrm>
          <a:custGeom>
            <a:avLst/>
            <a:gdLst>
              <a:gd name="T0" fmla="*/ 179 w 203"/>
              <a:gd name="T1" fmla="*/ 82 h 82"/>
              <a:gd name="T2" fmla="*/ 203 w 203"/>
              <a:gd name="T3" fmla="*/ 29 h 82"/>
              <a:gd name="T4" fmla="*/ 65 w 203"/>
              <a:gd name="T5" fmla="*/ 27 h 82"/>
              <a:gd name="T6" fmla="*/ 59 w 203"/>
              <a:gd name="T7" fmla="*/ 0 h 82"/>
              <a:gd name="T8" fmla="*/ 59 w 203"/>
              <a:gd name="T9" fmla="*/ 0 h 82"/>
              <a:gd name="T10" fmla="*/ 0 w 203"/>
              <a:gd name="T11" fmla="*/ 80 h 82"/>
              <a:gd name="T12" fmla="*/ 61 w 203"/>
              <a:gd name="T13" fmla="*/ 82 h 82"/>
              <a:gd name="T14" fmla="*/ 179 w 203"/>
              <a:gd name="T15" fmla="*/ 8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3" h="82">
                <a:moveTo>
                  <a:pt x="179" y="82"/>
                </a:moveTo>
                <a:lnTo>
                  <a:pt x="203" y="29"/>
                </a:lnTo>
                <a:lnTo>
                  <a:pt x="65" y="27"/>
                </a:lnTo>
                <a:lnTo>
                  <a:pt x="59" y="0"/>
                </a:lnTo>
                <a:lnTo>
                  <a:pt x="59" y="0"/>
                </a:lnTo>
                <a:lnTo>
                  <a:pt x="0" y="80"/>
                </a:lnTo>
                <a:lnTo>
                  <a:pt x="61" y="82"/>
                </a:lnTo>
                <a:lnTo>
                  <a:pt x="179" y="8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2" name="i$ḻíḋè">
            <a:extLst>
              <a:ext uri="{FF2B5EF4-FFF2-40B4-BE49-F238E27FC236}">
                <a16:creationId xmlns:a16="http://schemas.microsoft.com/office/drawing/2014/main" id="{430BE7EB-B6F0-4F05-80EA-1F517165029F}"/>
              </a:ext>
            </a:extLst>
          </p:cNvPr>
          <p:cNvSpPr/>
          <p:nvPr/>
        </p:nvSpPr>
        <p:spPr bwMode="auto">
          <a:xfrm>
            <a:off x="5491685" y="-1714292"/>
            <a:ext cx="712773" cy="126244"/>
          </a:xfrm>
          <a:prstGeom prst="triangle">
            <a:avLst>
              <a:gd name="adj" fmla="val 14726"/>
            </a:avLst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3" name="işľiḋe">
            <a:extLst>
              <a:ext uri="{FF2B5EF4-FFF2-40B4-BE49-F238E27FC236}">
                <a16:creationId xmlns:a16="http://schemas.microsoft.com/office/drawing/2014/main" id="{E4DECB97-43D1-4D26-8C48-41447675AE79}"/>
              </a:ext>
            </a:extLst>
          </p:cNvPr>
          <p:cNvSpPr/>
          <p:nvPr/>
        </p:nvSpPr>
        <p:spPr bwMode="auto">
          <a:xfrm>
            <a:off x="3270484" y="-1800488"/>
            <a:ext cx="2933974" cy="555361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4" name="iś1íďé">
            <a:extLst>
              <a:ext uri="{FF2B5EF4-FFF2-40B4-BE49-F238E27FC236}">
                <a16:creationId xmlns:a16="http://schemas.microsoft.com/office/drawing/2014/main" id="{6E7EA96A-F20A-4912-AC31-63A0F19E66DE}"/>
              </a:ext>
            </a:extLst>
          </p:cNvPr>
          <p:cNvSpPr/>
          <p:nvPr/>
        </p:nvSpPr>
        <p:spPr bwMode="auto">
          <a:xfrm>
            <a:off x="2992182" y="-1468965"/>
            <a:ext cx="2933974" cy="555361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5" name="ïŝlíḋe">
            <a:extLst>
              <a:ext uri="{FF2B5EF4-FFF2-40B4-BE49-F238E27FC236}">
                <a16:creationId xmlns:a16="http://schemas.microsoft.com/office/drawing/2014/main" id="{66D30D6F-26C9-4C2C-BC01-900AC07DC57E}"/>
              </a:ext>
            </a:extLst>
          </p:cNvPr>
          <p:cNvSpPr/>
          <p:nvPr/>
        </p:nvSpPr>
        <p:spPr bwMode="auto">
          <a:xfrm>
            <a:off x="2710388" y="-1137442"/>
            <a:ext cx="2933974" cy="555361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6" name="îSliďè">
            <a:extLst>
              <a:ext uri="{FF2B5EF4-FFF2-40B4-BE49-F238E27FC236}">
                <a16:creationId xmlns:a16="http://schemas.microsoft.com/office/drawing/2014/main" id="{2F6D5554-EACD-4DDD-892F-2E5F97A9C421}"/>
              </a:ext>
            </a:extLst>
          </p:cNvPr>
          <p:cNvSpPr/>
          <p:nvPr/>
        </p:nvSpPr>
        <p:spPr bwMode="auto">
          <a:xfrm>
            <a:off x="2432102" y="-805919"/>
            <a:ext cx="2933974" cy="555361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7" name="îSliďé">
            <a:extLst>
              <a:ext uri="{FF2B5EF4-FFF2-40B4-BE49-F238E27FC236}">
                <a16:creationId xmlns:a16="http://schemas.microsoft.com/office/drawing/2014/main" id="{2E278F3F-C8D8-4E2A-A3EA-29ADCF1A02AA}"/>
              </a:ext>
            </a:extLst>
          </p:cNvPr>
          <p:cNvSpPr/>
          <p:nvPr/>
        </p:nvSpPr>
        <p:spPr bwMode="auto">
          <a:xfrm>
            <a:off x="2153700" y="-474397"/>
            <a:ext cx="2933974" cy="555361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8" name="îs1iďé">
            <a:extLst>
              <a:ext uri="{FF2B5EF4-FFF2-40B4-BE49-F238E27FC236}">
                <a16:creationId xmlns:a16="http://schemas.microsoft.com/office/drawing/2014/main" id="{EB74D0C2-5677-4F3F-A043-44D01A3F3D48}"/>
              </a:ext>
            </a:extLst>
          </p:cNvPr>
          <p:cNvSpPr/>
          <p:nvPr/>
        </p:nvSpPr>
        <p:spPr bwMode="auto">
          <a:xfrm>
            <a:off x="1875381" y="-142874"/>
            <a:ext cx="2933974" cy="555361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9" name="ïṣḻïḋe">
            <a:extLst>
              <a:ext uri="{FF2B5EF4-FFF2-40B4-BE49-F238E27FC236}">
                <a16:creationId xmlns:a16="http://schemas.microsoft.com/office/drawing/2014/main" id="{7709F84E-C33F-462F-B538-51CB71C9284E}"/>
              </a:ext>
            </a:extLst>
          </p:cNvPr>
          <p:cNvSpPr/>
          <p:nvPr/>
        </p:nvSpPr>
        <p:spPr bwMode="auto">
          <a:xfrm>
            <a:off x="3734615" y="-1511814"/>
            <a:ext cx="192583" cy="192315"/>
          </a:xfrm>
          <a:custGeom>
            <a:avLst/>
            <a:gdLst>
              <a:gd name="T0" fmla="*/ 400 w 11264"/>
              <a:gd name="T1" fmla="*/ 7099 h 11264"/>
              <a:gd name="T2" fmla="*/ 4165 w 11264"/>
              <a:gd name="T3" fmla="*/ 7099 h 11264"/>
              <a:gd name="T4" fmla="*/ 4165 w 11264"/>
              <a:gd name="T5" fmla="*/ 10864 h 11264"/>
              <a:gd name="T6" fmla="*/ 4565 w 11264"/>
              <a:gd name="T7" fmla="*/ 11264 h 11264"/>
              <a:gd name="T8" fmla="*/ 6699 w 11264"/>
              <a:gd name="T9" fmla="*/ 11264 h 11264"/>
              <a:gd name="T10" fmla="*/ 7099 w 11264"/>
              <a:gd name="T11" fmla="*/ 10864 h 11264"/>
              <a:gd name="T12" fmla="*/ 7099 w 11264"/>
              <a:gd name="T13" fmla="*/ 7099 h 11264"/>
              <a:gd name="T14" fmla="*/ 10864 w 11264"/>
              <a:gd name="T15" fmla="*/ 7099 h 11264"/>
              <a:gd name="T16" fmla="*/ 11264 w 11264"/>
              <a:gd name="T17" fmla="*/ 6699 h 11264"/>
              <a:gd name="T18" fmla="*/ 11264 w 11264"/>
              <a:gd name="T19" fmla="*/ 4565 h 11264"/>
              <a:gd name="T20" fmla="*/ 10864 w 11264"/>
              <a:gd name="T21" fmla="*/ 4165 h 11264"/>
              <a:gd name="T22" fmla="*/ 7099 w 11264"/>
              <a:gd name="T23" fmla="*/ 4165 h 11264"/>
              <a:gd name="T24" fmla="*/ 7099 w 11264"/>
              <a:gd name="T25" fmla="*/ 400 h 11264"/>
              <a:gd name="T26" fmla="*/ 6699 w 11264"/>
              <a:gd name="T27" fmla="*/ 0 h 11264"/>
              <a:gd name="T28" fmla="*/ 4565 w 11264"/>
              <a:gd name="T29" fmla="*/ 0 h 11264"/>
              <a:gd name="T30" fmla="*/ 4165 w 11264"/>
              <a:gd name="T31" fmla="*/ 400 h 11264"/>
              <a:gd name="T32" fmla="*/ 4165 w 11264"/>
              <a:gd name="T33" fmla="*/ 4165 h 11264"/>
              <a:gd name="T34" fmla="*/ 400 w 11264"/>
              <a:gd name="T35" fmla="*/ 4165 h 11264"/>
              <a:gd name="T36" fmla="*/ 0 w 11264"/>
              <a:gd name="T37" fmla="*/ 4565 h 11264"/>
              <a:gd name="T38" fmla="*/ 0 w 11264"/>
              <a:gd name="T39" fmla="*/ 6699 h 11264"/>
              <a:gd name="T40" fmla="*/ 400 w 11264"/>
              <a:gd name="T41" fmla="*/ 7099 h 11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264" h="11264">
                <a:moveTo>
                  <a:pt x="400" y="7099"/>
                </a:moveTo>
                <a:lnTo>
                  <a:pt x="4165" y="7099"/>
                </a:lnTo>
                <a:lnTo>
                  <a:pt x="4165" y="10864"/>
                </a:lnTo>
                <a:cubicBezTo>
                  <a:pt x="4165" y="11085"/>
                  <a:pt x="4344" y="11264"/>
                  <a:pt x="4565" y="11264"/>
                </a:cubicBezTo>
                <a:lnTo>
                  <a:pt x="6699" y="11264"/>
                </a:lnTo>
                <a:cubicBezTo>
                  <a:pt x="6920" y="11264"/>
                  <a:pt x="7099" y="11085"/>
                  <a:pt x="7099" y="10864"/>
                </a:cubicBezTo>
                <a:lnTo>
                  <a:pt x="7099" y="7099"/>
                </a:lnTo>
                <a:lnTo>
                  <a:pt x="10864" y="7099"/>
                </a:lnTo>
                <a:cubicBezTo>
                  <a:pt x="11085" y="7099"/>
                  <a:pt x="11264" y="6920"/>
                  <a:pt x="11264" y="6699"/>
                </a:cubicBezTo>
                <a:lnTo>
                  <a:pt x="11264" y="4565"/>
                </a:lnTo>
                <a:cubicBezTo>
                  <a:pt x="11264" y="4344"/>
                  <a:pt x="11085" y="4165"/>
                  <a:pt x="10864" y="4165"/>
                </a:cubicBezTo>
                <a:lnTo>
                  <a:pt x="7099" y="4165"/>
                </a:lnTo>
                <a:lnTo>
                  <a:pt x="7099" y="400"/>
                </a:lnTo>
                <a:cubicBezTo>
                  <a:pt x="7099" y="179"/>
                  <a:pt x="6920" y="0"/>
                  <a:pt x="6699" y="0"/>
                </a:cubicBezTo>
                <a:lnTo>
                  <a:pt x="4565" y="0"/>
                </a:lnTo>
                <a:cubicBezTo>
                  <a:pt x="4344" y="0"/>
                  <a:pt x="4165" y="179"/>
                  <a:pt x="4165" y="400"/>
                </a:cubicBezTo>
                <a:lnTo>
                  <a:pt x="4165" y="4165"/>
                </a:lnTo>
                <a:lnTo>
                  <a:pt x="400" y="4165"/>
                </a:lnTo>
                <a:cubicBezTo>
                  <a:pt x="179" y="4165"/>
                  <a:pt x="0" y="4344"/>
                  <a:pt x="0" y="4565"/>
                </a:cubicBezTo>
                <a:lnTo>
                  <a:pt x="0" y="6699"/>
                </a:lnTo>
                <a:cubicBezTo>
                  <a:pt x="0" y="6920"/>
                  <a:pt x="179" y="7099"/>
                  <a:pt x="400" y="7099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0" name="îsḷïde">
            <a:extLst>
              <a:ext uri="{FF2B5EF4-FFF2-40B4-BE49-F238E27FC236}">
                <a16:creationId xmlns:a16="http://schemas.microsoft.com/office/drawing/2014/main" id="{F7027C89-1BCC-4A00-9535-016DE4C49FD7}"/>
              </a:ext>
            </a:extLst>
          </p:cNvPr>
          <p:cNvSpPr/>
          <p:nvPr/>
        </p:nvSpPr>
        <p:spPr bwMode="auto">
          <a:xfrm>
            <a:off x="3471395" y="-1184132"/>
            <a:ext cx="188588" cy="192583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  <a:gd name="connsiteX107" fmla="*/ 373273 h 605239"/>
              <a:gd name="connsiteY107" fmla="*/ 373273 h 605239"/>
              <a:gd name="connsiteX108" fmla="*/ 373273 h 605239"/>
              <a:gd name="connsiteY108" fmla="*/ 373273 h 605239"/>
              <a:gd name="connsiteX109" fmla="*/ 373273 h 605239"/>
              <a:gd name="connsiteY109" fmla="*/ 373273 h 605239"/>
              <a:gd name="connsiteX110" fmla="*/ 373273 h 605239"/>
              <a:gd name="connsiteY110" fmla="*/ 373273 h 605239"/>
              <a:gd name="connsiteX111" fmla="*/ 373273 h 605239"/>
              <a:gd name="connsiteY111" fmla="*/ 373273 h 605239"/>
              <a:gd name="connsiteX112" fmla="*/ 373273 h 605239"/>
              <a:gd name="connsiteY112" fmla="*/ 373273 h 605239"/>
              <a:gd name="connsiteX113" fmla="*/ 373273 h 605239"/>
              <a:gd name="connsiteY113" fmla="*/ 373273 h 605239"/>
              <a:gd name="connsiteX114" fmla="*/ 373273 h 605239"/>
              <a:gd name="connsiteY114" fmla="*/ 373273 h 605239"/>
              <a:gd name="connsiteX115" fmla="*/ 373273 h 605239"/>
              <a:gd name="connsiteY115" fmla="*/ 373273 h 605239"/>
              <a:gd name="connsiteX116" fmla="*/ 373273 h 605239"/>
              <a:gd name="connsiteY116" fmla="*/ 373273 h 605239"/>
              <a:gd name="connsiteX117" fmla="*/ 373273 h 605239"/>
              <a:gd name="connsiteY117" fmla="*/ 373273 h 605239"/>
              <a:gd name="connsiteX118" fmla="*/ 373273 h 605239"/>
              <a:gd name="connsiteY118" fmla="*/ 373273 h 605239"/>
              <a:gd name="connsiteX119" fmla="*/ 373273 h 605239"/>
              <a:gd name="connsiteY119" fmla="*/ 373273 h 605239"/>
              <a:gd name="connsiteX120" fmla="*/ 373273 h 605239"/>
              <a:gd name="connsiteY120" fmla="*/ 373273 h 605239"/>
              <a:gd name="connsiteX121" fmla="*/ 373273 h 605239"/>
              <a:gd name="connsiteY121" fmla="*/ 373273 h 605239"/>
              <a:gd name="connsiteX122" fmla="*/ 373273 h 605239"/>
              <a:gd name="connsiteY122" fmla="*/ 373273 h 605239"/>
              <a:gd name="connsiteX123" fmla="*/ 373273 h 605239"/>
              <a:gd name="connsiteY123" fmla="*/ 373273 h 605239"/>
              <a:gd name="connsiteX124" fmla="*/ 373273 h 605239"/>
              <a:gd name="connsiteY124" fmla="*/ 373273 h 605239"/>
              <a:gd name="connsiteX125" fmla="*/ 373273 h 605239"/>
              <a:gd name="connsiteY125" fmla="*/ 373273 h 605239"/>
              <a:gd name="connsiteX126" fmla="*/ 373273 h 605239"/>
              <a:gd name="connsiteY126" fmla="*/ 373273 h 605239"/>
              <a:gd name="connsiteX127" fmla="*/ 373273 h 605239"/>
              <a:gd name="connsiteY127" fmla="*/ 373273 h 605239"/>
              <a:gd name="connsiteX128" fmla="*/ 373273 h 605239"/>
              <a:gd name="connsiteY128" fmla="*/ 373273 h 605239"/>
              <a:gd name="connsiteX129" fmla="*/ 373273 h 605239"/>
              <a:gd name="connsiteY12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593733" h="606309">
                <a:moveTo>
                  <a:pt x="353250" y="302855"/>
                </a:moveTo>
                <a:cubicBezTo>
                  <a:pt x="318468" y="302855"/>
                  <a:pt x="290232" y="331146"/>
                  <a:pt x="290232" y="365879"/>
                </a:cubicBezTo>
                <a:cubicBezTo>
                  <a:pt x="290232" y="374189"/>
                  <a:pt x="296964" y="380912"/>
                  <a:pt x="305285" y="380912"/>
                </a:cubicBezTo>
                <a:cubicBezTo>
                  <a:pt x="313607" y="380912"/>
                  <a:pt x="320338" y="374189"/>
                  <a:pt x="320338" y="365879"/>
                </a:cubicBezTo>
                <a:cubicBezTo>
                  <a:pt x="320338" y="347672"/>
                  <a:pt x="335111" y="333014"/>
                  <a:pt x="353250" y="333014"/>
                </a:cubicBezTo>
                <a:cubicBezTo>
                  <a:pt x="361665" y="333014"/>
                  <a:pt x="368397" y="326291"/>
                  <a:pt x="368397" y="317888"/>
                </a:cubicBezTo>
                <a:cubicBezTo>
                  <a:pt x="368397" y="309578"/>
                  <a:pt x="361665" y="302855"/>
                  <a:pt x="353250" y="302855"/>
                </a:cubicBezTo>
                <a:close/>
                <a:moveTo>
                  <a:pt x="353250" y="265041"/>
                </a:moveTo>
                <a:cubicBezTo>
                  <a:pt x="409163" y="265041"/>
                  <a:pt x="454229" y="310232"/>
                  <a:pt x="454229" y="365879"/>
                </a:cubicBezTo>
                <a:cubicBezTo>
                  <a:pt x="454229" y="421527"/>
                  <a:pt x="408976" y="466717"/>
                  <a:pt x="353250" y="466717"/>
                </a:cubicBezTo>
                <a:cubicBezTo>
                  <a:pt x="297525" y="466717"/>
                  <a:pt x="252271" y="421527"/>
                  <a:pt x="252271" y="365879"/>
                </a:cubicBezTo>
                <a:cubicBezTo>
                  <a:pt x="252271" y="310232"/>
                  <a:pt x="297431" y="265041"/>
                  <a:pt x="353250" y="265041"/>
                </a:cubicBezTo>
                <a:close/>
                <a:moveTo>
                  <a:pt x="427779" y="133781"/>
                </a:moveTo>
                <a:cubicBezTo>
                  <a:pt x="432818" y="131960"/>
                  <a:pt x="438547" y="132054"/>
                  <a:pt x="443784" y="134482"/>
                </a:cubicBezTo>
                <a:lnTo>
                  <a:pt x="473245" y="148209"/>
                </a:lnTo>
                <a:cubicBezTo>
                  <a:pt x="483720" y="153158"/>
                  <a:pt x="488209" y="165671"/>
                  <a:pt x="483346" y="176130"/>
                </a:cubicBezTo>
                <a:lnTo>
                  <a:pt x="470252" y="203957"/>
                </a:lnTo>
                <a:cubicBezTo>
                  <a:pt x="492231" y="219646"/>
                  <a:pt x="511123" y="240003"/>
                  <a:pt x="525526" y="264095"/>
                </a:cubicBezTo>
                <a:lnTo>
                  <a:pt x="554426" y="253636"/>
                </a:lnTo>
                <a:cubicBezTo>
                  <a:pt x="565368" y="249714"/>
                  <a:pt x="577340" y="255411"/>
                  <a:pt x="581361" y="266243"/>
                </a:cubicBezTo>
                <a:lnTo>
                  <a:pt x="592491" y="296592"/>
                </a:lnTo>
                <a:cubicBezTo>
                  <a:pt x="596419" y="307612"/>
                  <a:pt x="590714" y="319564"/>
                  <a:pt x="579865" y="323486"/>
                </a:cubicBezTo>
                <a:lnTo>
                  <a:pt x="550965" y="333945"/>
                </a:lnTo>
                <a:cubicBezTo>
                  <a:pt x="555455" y="361586"/>
                  <a:pt x="553958" y="389414"/>
                  <a:pt x="547224" y="415561"/>
                </a:cubicBezTo>
                <a:lnTo>
                  <a:pt x="575095" y="428634"/>
                </a:lnTo>
                <a:cubicBezTo>
                  <a:pt x="585570" y="433490"/>
                  <a:pt x="590059" y="445910"/>
                  <a:pt x="585102" y="456649"/>
                </a:cubicBezTo>
                <a:lnTo>
                  <a:pt x="571354" y="485970"/>
                </a:lnTo>
                <a:cubicBezTo>
                  <a:pt x="566397" y="496429"/>
                  <a:pt x="553958" y="500911"/>
                  <a:pt x="543483" y="496056"/>
                </a:cubicBezTo>
                <a:lnTo>
                  <a:pt x="515238" y="482982"/>
                </a:lnTo>
                <a:cubicBezTo>
                  <a:pt x="499526" y="504833"/>
                  <a:pt x="479137" y="523510"/>
                  <a:pt x="455007" y="537704"/>
                </a:cubicBezTo>
                <a:lnTo>
                  <a:pt x="465763" y="567026"/>
                </a:lnTo>
                <a:cubicBezTo>
                  <a:pt x="469784" y="578045"/>
                  <a:pt x="463986" y="589997"/>
                  <a:pt x="453137" y="593919"/>
                </a:cubicBezTo>
                <a:lnTo>
                  <a:pt x="422741" y="605032"/>
                </a:lnTo>
                <a:cubicBezTo>
                  <a:pt x="411798" y="609047"/>
                  <a:pt x="399827" y="603258"/>
                  <a:pt x="395805" y="592425"/>
                </a:cubicBezTo>
                <a:lnTo>
                  <a:pt x="385050" y="562823"/>
                </a:lnTo>
                <a:cubicBezTo>
                  <a:pt x="357646" y="567212"/>
                  <a:pt x="330056" y="565718"/>
                  <a:pt x="304149" y="558995"/>
                </a:cubicBezTo>
                <a:lnTo>
                  <a:pt x="290682" y="587756"/>
                </a:lnTo>
                <a:cubicBezTo>
                  <a:pt x="285725" y="598215"/>
                  <a:pt x="273192" y="602697"/>
                  <a:pt x="262717" y="597841"/>
                </a:cubicBezTo>
                <a:lnTo>
                  <a:pt x="233350" y="584114"/>
                </a:lnTo>
                <a:cubicBezTo>
                  <a:pt x="222875" y="579165"/>
                  <a:pt x="218385" y="566652"/>
                  <a:pt x="223249" y="556193"/>
                </a:cubicBezTo>
                <a:lnTo>
                  <a:pt x="236810" y="527338"/>
                </a:lnTo>
                <a:cubicBezTo>
                  <a:pt x="215112" y="511650"/>
                  <a:pt x="196407" y="491480"/>
                  <a:pt x="182284" y="467668"/>
                </a:cubicBezTo>
                <a:lnTo>
                  <a:pt x="152169" y="478687"/>
                </a:lnTo>
                <a:cubicBezTo>
                  <a:pt x="141133" y="482609"/>
                  <a:pt x="129161" y="476912"/>
                  <a:pt x="125233" y="466080"/>
                </a:cubicBezTo>
                <a:lnTo>
                  <a:pt x="114104" y="435731"/>
                </a:lnTo>
                <a:cubicBezTo>
                  <a:pt x="110082" y="424712"/>
                  <a:pt x="115881" y="412759"/>
                  <a:pt x="126730" y="408837"/>
                </a:cubicBezTo>
                <a:lnTo>
                  <a:pt x="156845" y="397818"/>
                </a:lnTo>
                <a:cubicBezTo>
                  <a:pt x="153852" y="379422"/>
                  <a:pt x="153478" y="361026"/>
                  <a:pt x="155629" y="342910"/>
                </a:cubicBezTo>
                <a:lnTo>
                  <a:pt x="158622" y="343097"/>
                </a:lnTo>
                <a:cubicBezTo>
                  <a:pt x="181162" y="344030"/>
                  <a:pt x="200522" y="327408"/>
                  <a:pt x="203141" y="305370"/>
                </a:cubicBezTo>
                <a:cubicBezTo>
                  <a:pt x="207723" y="303876"/>
                  <a:pt x="212119" y="302195"/>
                  <a:pt x="216515" y="300515"/>
                </a:cubicBezTo>
                <a:cubicBezTo>
                  <a:pt x="220349" y="304063"/>
                  <a:pt x="224745" y="306958"/>
                  <a:pt x="229609" y="308919"/>
                </a:cubicBezTo>
                <a:cubicBezTo>
                  <a:pt x="219227" y="330957"/>
                  <a:pt x="214831" y="355983"/>
                  <a:pt x="217824" y="381943"/>
                </a:cubicBezTo>
                <a:cubicBezTo>
                  <a:pt x="226709" y="456462"/>
                  <a:pt x="294329" y="509876"/>
                  <a:pt x="368963" y="501192"/>
                </a:cubicBezTo>
                <a:cubicBezTo>
                  <a:pt x="443691" y="492320"/>
                  <a:pt x="497188" y="424899"/>
                  <a:pt x="488490" y="350287"/>
                </a:cubicBezTo>
                <a:cubicBezTo>
                  <a:pt x="479605" y="275675"/>
                  <a:pt x="411985" y="222260"/>
                  <a:pt x="337351" y="231038"/>
                </a:cubicBezTo>
                <a:cubicBezTo>
                  <a:pt x="324632" y="232532"/>
                  <a:pt x="312473" y="235707"/>
                  <a:pt x="301156" y="240376"/>
                </a:cubicBezTo>
                <a:cubicBezTo>
                  <a:pt x="299660" y="236268"/>
                  <a:pt x="297509" y="232345"/>
                  <a:pt x="294797" y="228890"/>
                </a:cubicBezTo>
                <a:cubicBezTo>
                  <a:pt x="297041" y="224688"/>
                  <a:pt x="299005" y="220393"/>
                  <a:pt x="300782" y="216097"/>
                </a:cubicBezTo>
                <a:cubicBezTo>
                  <a:pt x="311164" y="215817"/>
                  <a:pt x="320891" y="211802"/>
                  <a:pt x="328466" y="204891"/>
                </a:cubicBezTo>
                <a:cubicBezTo>
                  <a:pt x="336977" y="197141"/>
                  <a:pt x="341934" y="186589"/>
                  <a:pt x="342402" y="175103"/>
                </a:cubicBezTo>
                <a:lnTo>
                  <a:pt x="342776" y="166978"/>
                </a:lnTo>
                <a:cubicBezTo>
                  <a:pt x="363164" y="165764"/>
                  <a:pt x="383460" y="167912"/>
                  <a:pt x="402820" y="172768"/>
                </a:cubicBezTo>
                <a:lnTo>
                  <a:pt x="415913" y="144567"/>
                </a:lnTo>
                <a:cubicBezTo>
                  <a:pt x="418392" y="139338"/>
                  <a:pt x="422741" y="135602"/>
                  <a:pt x="427779" y="133781"/>
                </a:cubicBezTo>
                <a:close/>
                <a:moveTo>
                  <a:pt x="159906" y="88589"/>
                </a:moveTo>
                <a:cubicBezTo>
                  <a:pt x="142487" y="87818"/>
                  <a:pt x="124764" y="93678"/>
                  <a:pt x="110828" y="106378"/>
                </a:cubicBezTo>
                <a:cubicBezTo>
                  <a:pt x="96145" y="119731"/>
                  <a:pt x="88663" y="138127"/>
                  <a:pt x="88663" y="156523"/>
                </a:cubicBezTo>
                <a:cubicBezTo>
                  <a:pt x="88663" y="172958"/>
                  <a:pt x="94555" y="189393"/>
                  <a:pt x="106526" y="202467"/>
                </a:cubicBezTo>
                <a:cubicBezTo>
                  <a:pt x="131965" y="230294"/>
                  <a:pt x="175081" y="232162"/>
                  <a:pt x="202764" y="206762"/>
                </a:cubicBezTo>
                <a:cubicBezTo>
                  <a:pt x="217448" y="193409"/>
                  <a:pt x="224930" y="175013"/>
                  <a:pt x="224930" y="156523"/>
                </a:cubicBezTo>
                <a:cubicBezTo>
                  <a:pt x="224930" y="140088"/>
                  <a:pt x="219132" y="123653"/>
                  <a:pt x="207160" y="110580"/>
                </a:cubicBezTo>
                <a:cubicBezTo>
                  <a:pt x="194441" y="96760"/>
                  <a:pt x="177325" y="89359"/>
                  <a:pt x="159906" y="88589"/>
                </a:cubicBezTo>
                <a:close/>
                <a:moveTo>
                  <a:pt x="153289" y="17"/>
                </a:moveTo>
                <a:lnTo>
                  <a:pt x="173678" y="951"/>
                </a:lnTo>
                <a:cubicBezTo>
                  <a:pt x="180786" y="1325"/>
                  <a:pt x="186304" y="7114"/>
                  <a:pt x="186304" y="14118"/>
                </a:cubicBezTo>
                <a:lnTo>
                  <a:pt x="186304" y="14771"/>
                </a:lnTo>
                <a:lnTo>
                  <a:pt x="185462" y="34755"/>
                </a:lnTo>
                <a:cubicBezTo>
                  <a:pt x="201923" y="38677"/>
                  <a:pt x="217729" y="45774"/>
                  <a:pt x="231851" y="56232"/>
                </a:cubicBezTo>
                <a:lnTo>
                  <a:pt x="246535" y="42786"/>
                </a:lnTo>
                <a:cubicBezTo>
                  <a:pt x="251866" y="37930"/>
                  <a:pt x="260283" y="38303"/>
                  <a:pt x="265240" y="43626"/>
                </a:cubicBezTo>
                <a:lnTo>
                  <a:pt x="279082" y="58660"/>
                </a:lnTo>
                <a:cubicBezTo>
                  <a:pt x="281420" y="61275"/>
                  <a:pt x="282542" y="64450"/>
                  <a:pt x="282542" y="67625"/>
                </a:cubicBezTo>
                <a:cubicBezTo>
                  <a:pt x="282542" y="71173"/>
                  <a:pt x="281233" y="74722"/>
                  <a:pt x="278334" y="77337"/>
                </a:cubicBezTo>
                <a:lnTo>
                  <a:pt x="263744" y="90690"/>
                </a:lnTo>
                <a:cubicBezTo>
                  <a:pt x="273096" y="105537"/>
                  <a:pt x="278988" y="121973"/>
                  <a:pt x="281420" y="138781"/>
                </a:cubicBezTo>
                <a:lnTo>
                  <a:pt x="301061" y="139621"/>
                </a:lnTo>
                <a:cubicBezTo>
                  <a:pt x="308169" y="139995"/>
                  <a:pt x="313593" y="145878"/>
                  <a:pt x="313593" y="152788"/>
                </a:cubicBezTo>
                <a:lnTo>
                  <a:pt x="313593" y="153442"/>
                </a:lnTo>
                <a:lnTo>
                  <a:pt x="312751" y="173892"/>
                </a:lnTo>
                <a:cubicBezTo>
                  <a:pt x="312377" y="181083"/>
                  <a:pt x="306298" y="186779"/>
                  <a:pt x="298910" y="186405"/>
                </a:cubicBezTo>
                <a:lnTo>
                  <a:pt x="279456" y="185565"/>
                </a:lnTo>
                <a:cubicBezTo>
                  <a:pt x="275622" y="202093"/>
                  <a:pt x="268327" y="218061"/>
                  <a:pt x="257758" y="232162"/>
                </a:cubicBezTo>
                <a:lnTo>
                  <a:pt x="270852" y="246449"/>
                </a:lnTo>
                <a:cubicBezTo>
                  <a:pt x="273190" y="249064"/>
                  <a:pt x="274312" y="252145"/>
                  <a:pt x="274312" y="255414"/>
                </a:cubicBezTo>
                <a:cubicBezTo>
                  <a:pt x="274312" y="258869"/>
                  <a:pt x="273003" y="262511"/>
                  <a:pt x="270104" y="265126"/>
                </a:cubicBezTo>
                <a:lnTo>
                  <a:pt x="255046" y="278946"/>
                </a:lnTo>
                <a:cubicBezTo>
                  <a:pt x="249621" y="283802"/>
                  <a:pt x="241297" y="283428"/>
                  <a:pt x="236340" y="278106"/>
                </a:cubicBezTo>
                <a:lnTo>
                  <a:pt x="223247" y="263724"/>
                </a:lnTo>
                <a:cubicBezTo>
                  <a:pt x="208282" y="272970"/>
                  <a:pt x="191635" y="278853"/>
                  <a:pt x="174800" y="281187"/>
                </a:cubicBezTo>
                <a:lnTo>
                  <a:pt x="173958" y="300610"/>
                </a:lnTo>
                <a:cubicBezTo>
                  <a:pt x="173584" y="307801"/>
                  <a:pt x="167505" y="313590"/>
                  <a:pt x="160117" y="313217"/>
                </a:cubicBezTo>
                <a:lnTo>
                  <a:pt x="139634" y="312283"/>
                </a:lnTo>
                <a:cubicBezTo>
                  <a:pt x="132526" y="311909"/>
                  <a:pt x="127102" y="306120"/>
                  <a:pt x="127102" y="299116"/>
                </a:cubicBezTo>
                <a:lnTo>
                  <a:pt x="127102" y="298463"/>
                </a:lnTo>
                <a:lnTo>
                  <a:pt x="128037" y="279039"/>
                </a:lnTo>
                <a:cubicBezTo>
                  <a:pt x="111577" y="275211"/>
                  <a:pt x="95771" y="267834"/>
                  <a:pt x="81648" y="257281"/>
                </a:cubicBezTo>
                <a:lnTo>
                  <a:pt x="67058" y="270635"/>
                </a:lnTo>
                <a:cubicBezTo>
                  <a:pt x="61727" y="275491"/>
                  <a:pt x="53403" y="275117"/>
                  <a:pt x="48353" y="269701"/>
                </a:cubicBezTo>
                <a:lnTo>
                  <a:pt x="34511" y="254667"/>
                </a:lnTo>
                <a:cubicBezTo>
                  <a:pt x="32173" y="252052"/>
                  <a:pt x="31051" y="248970"/>
                  <a:pt x="31051" y="245702"/>
                </a:cubicBezTo>
                <a:cubicBezTo>
                  <a:pt x="31051" y="242247"/>
                  <a:pt x="32453" y="238605"/>
                  <a:pt x="35259" y="235990"/>
                </a:cubicBezTo>
                <a:lnTo>
                  <a:pt x="50036" y="222544"/>
                </a:lnTo>
                <a:cubicBezTo>
                  <a:pt x="40777" y="207696"/>
                  <a:pt x="35072" y="191261"/>
                  <a:pt x="32640" y="174639"/>
                </a:cubicBezTo>
                <a:lnTo>
                  <a:pt x="12626" y="173705"/>
                </a:lnTo>
                <a:cubicBezTo>
                  <a:pt x="5518" y="173332"/>
                  <a:pt x="0" y="167542"/>
                  <a:pt x="0" y="160539"/>
                </a:cubicBezTo>
                <a:lnTo>
                  <a:pt x="0" y="159885"/>
                </a:lnTo>
                <a:lnTo>
                  <a:pt x="842" y="139621"/>
                </a:lnTo>
                <a:cubicBezTo>
                  <a:pt x="1216" y="132431"/>
                  <a:pt x="7388" y="126642"/>
                  <a:pt x="14683" y="127015"/>
                </a:cubicBezTo>
                <a:lnTo>
                  <a:pt x="34885" y="127949"/>
                </a:lnTo>
                <a:cubicBezTo>
                  <a:pt x="38813" y="111514"/>
                  <a:pt x="46015" y="95826"/>
                  <a:pt x="56490" y="81819"/>
                </a:cubicBezTo>
                <a:lnTo>
                  <a:pt x="42741" y="66878"/>
                </a:lnTo>
                <a:cubicBezTo>
                  <a:pt x="40403" y="64263"/>
                  <a:pt x="39281" y="61182"/>
                  <a:pt x="39281" y="57913"/>
                </a:cubicBezTo>
                <a:cubicBezTo>
                  <a:pt x="39281" y="54458"/>
                  <a:pt x="40684" y="50816"/>
                  <a:pt x="43490" y="48202"/>
                </a:cubicBezTo>
                <a:lnTo>
                  <a:pt x="58641" y="34381"/>
                </a:lnTo>
                <a:cubicBezTo>
                  <a:pt x="63972" y="29526"/>
                  <a:pt x="72296" y="29899"/>
                  <a:pt x="77346" y="35315"/>
                </a:cubicBezTo>
                <a:lnTo>
                  <a:pt x="90627" y="50256"/>
                </a:lnTo>
                <a:cubicBezTo>
                  <a:pt x="105591" y="41011"/>
                  <a:pt x="121864" y="35128"/>
                  <a:pt x="138512" y="32794"/>
                </a:cubicBezTo>
                <a:lnTo>
                  <a:pt x="139447" y="12624"/>
                </a:lnTo>
                <a:cubicBezTo>
                  <a:pt x="139821" y="5433"/>
                  <a:pt x="145901" y="-356"/>
                  <a:pt x="153289" y="1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1" name="îṣḻïḓè">
            <a:extLst>
              <a:ext uri="{FF2B5EF4-FFF2-40B4-BE49-F238E27FC236}">
                <a16:creationId xmlns:a16="http://schemas.microsoft.com/office/drawing/2014/main" id="{30C8A656-A69C-4844-9B4C-38593487F7D6}"/>
              </a:ext>
            </a:extLst>
          </p:cNvPr>
          <p:cNvSpPr/>
          <p:nvPr/>
        </p:nvSpPr>
        <p:spPr bwMode="auto">
          <a:xfrm>
            <a:off x="3213645" y="-856128"/>
            <a:ext cx="192583" cy="192209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81741" h="580612">
                <a:moveTo>
                  <a:pt x="291612" y="187916"/>
                </a:moveTo>
                <a:cubicBezTo>
                  <a:pt x="304876" y="187916"/>
                  <a:pt x="315648" y="198758"/>
                  <a:pt x="315648" y="212088"/>
                </a:cubicBezTo>
                <a:lnTo>
                  <a:pt x="315648" y="491836"/>
                </a:lnTo>
                <a:lnTo>
                  <a:pt x="331227" y="473974"/>
                </a:lnTo>
                <a:cubicBezTo>
                  <a:pt x="339863" y="463932"/>
                  <a:pt x="355086" y="462866"/>
                  <a:pt x="365145" y="471574"/>
                </a:cubicBezTo>
                <a:cubicBezTo>
                  <a:pt x="375116" y="480372"/>
                  <a:pt x="376184" y="495657"/>
                  <a:pt x="367460" y="505699"/>
                </a:cubicBezTo>
                <a:lnTo>
                  <a:pt x="309773" y="572348"/>
                </a:lnTo>
                <a:cubicBezTo>
                  <a:pt x="305143" y="577502"/>
                  <a:pt x="298556" y="580612"/>
                  <a:pt x="291612" y="580612"/>
                </a:cubicBezTo>
                <a:cubicBezTo>
                  <a:pt x="284579" y="580612"/>
                  <a:pt x="278080" y="577680"/>
                  <a:pt x="273451" y="572348"/>
                </a:cubicBezTo>
                <a:lnTo>
                  <a:pt x="215764" y="505699"/>
                </a:lnTo>
                <a:cubicBezTo>
                  <a:pt x="207039" y="495657"/>
                  <a:pt x="208108" y="480372"/>
                  <a:pt x="218078" y="471574"/>
                </a:cubicBezTo>
                <a:cubicBezTo>
                  <a:pt x="228049" y="462866"/>
                  <a:pt x="243272" y="463932"/>
                  <a:pt x="252085" y="473974"/>
                </a:cubicBezTo>
                <a:lnTo>
                  <a:pt x="267486" y="491747"/>
                </a:lnTo>
                <a:lnTo>
                  <a:pt x="267486" y="212088"/>
                </a:lnTo>
                <a:cubicBezTo>
                  <a:pt x="267486" y="198758"/>
                  <a:pt x="278258" y="187916"/>
                  <a:pt x="291612" y="187916"/>
                </a:cubicBezTo>
                <a:close/>
                <a:moveTo>
                  <a:pt x="329499" y="0"/>
                </a:moveTo>
                <a:cubicBezTo>
                  <a:pt x="426248" y="0"/>
                  <a:pt x="465322" y="80426"/>
                  <a:pt x="473332" y="108153"/>
                </a:cubicBezTo>
                <a:cubicBezTo>
                  <a:pt x="535280" y="120684"/>
                  <a:pt x="581474" y="175693"/>
                  <a:pt x="581741" y="241190"/>
                </a:cubicBezTo>
                <a:cubicBezTo>
                  <a:pt x="581741" y="315840"/>
                  <a:pt x="521306" y="376537"/>
                  <a:pt x="446987" y="376537"/>
                </a:cubicBezTo>
                <a:lnTo>
                  <a:pt x="372756" y="376537"/>
                </a:lnTo>
                <a:cubicBezTo>
                  <a:pt x="359316" y="376537"/>
                  <a:pt x="348546" y="365606"/>
                  <a:pt x="348546" y="352276"/>
                </a:cubicBezTo>
                <a:cubicBezTo>
                  <a:pt x="348546" y="338857"/>
                  <a:pt x="359316" y="327926"/>
                  <a:pt x="372756" y="327926"/>
                </a:cubicBezTo>
                <a:lnTo>
                  <a:pt x="446987" y="327926"/>
                </a:lnTo>
                <a:cubicBezTo>
                  <a:pt x="494605" y="327926"/>
                  <a:pt x="533322" y="289090"/>
                  <a:pt x="533322" y="241190"/>
                </a:cubicBezTo>
                <a:cubicBezTo>
                  <a:pt x="533322" y="195334"/>
                  <a:pt x="497720" y="157298"/>
                  <a:pt x="452238" y="154632"/>
                </a:cubicBezTo>
                <a:cubicBezTo>
                  <a:pt x="440934" y="153921"/>
                  <a:pt x="431589" y="145478"/>
                  <a:pt x="429809" y="134192"/>
                </a:cubicBezTo>
                <a:cubicBezTo>
                  <a:pt x="421709" y="84692"/>
                  <a:pt x="379609" y="48789"/>
                  <a:pt x="329677" y="48789"/>
                </a:cubicBezTo>
                <a:cubicBezTo>
                  <a:pt x="279567" y="48789"/>
                  <a:pt x="238001" y="84781"/>
                  <a:pt x="229457" y="134192"/>
                </a:cubicBezTo>
                <a:cubicBezTo>
                  <a:pt x="226520" y="151521"/>
                  <a:pt x="212190" y="162807"/>
                  <a:pt x="192964" y="151077"/>
                </a:cubicBezTo>
                <a:cubicBezTo>
                  <a:pt x="178011" y="141834"/>
                  <a:pt x="160922" y="136947"/>
                  <a:pt x="143299" y="136947"/>
                </a:cubicBezTo>
                <a:cubicBezTo>
                  <a:pt x="90964" y="136947"/>
                  <a:pt x="48419" y="179693"/>
                  <a:pt x="48419" y="232303"/>
                </a:cubicBezTo>
                <a:cubicBezTo>
                  <a:pt x="48419" y="284913"/>
                  <a:pt x="90964" y="327748"/>
                  <a:pt x="143299" y="327748"/>
                </a:cubicBezTo>
                <a:lnTo>
                  <a:pt x="218776" y="327748"/>
                </a:lnTo>
                <a:cubicBezTo>
                  <a:pt x="232216" y="327748"/>
                  <a:pt x="242986" y="338590"/>
                  <a:pt x="242986" y="352009"/>
                </a:cubicBezTo>
                <a:cubicBezTo>
                  <a:pt x="242986" y="365429"/>
                  <a:pt x="232216" y="376271"/>
                  <a:pt x="218776" y="376271"/>
                </a:cubicBezTo>
                <a:lnTo>
                  <a:pt x="143299" y="376271"/>
                </a:lnTo>
                <a:cubicBezTo>
                  <a:pt x="64262" y="376271"/>
                  <a:pt x="0" y="311574"/>
                  <a:pt x="0" y="232214"/>
                </a:cubicBezTo>
                <a:cubicBezTo>
                  <a:pt x="0" y="152854"/>
                  <a:pt x="64262" y="88158"/>
                  <a:pt x="143210" y="88158"/>
                </a:cubicBezTo>
                <a:cubicBezTo>
                  <a:pt x="159231" y="88158"/>
                  <a:pt x="174896" y="90735"/>
                  <a:pt x="189849" y="95978"/>
                </a:cubicBezTo>
                <a:cubicBezTo>
                  <a:pt x="198749" y="73050"/>
                  <a:pt x="238891" y="0"/>
                  <a:pt x="329499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2" name="iş1iḑe">
            <a:extLst>
              <a:ext uri="{FF2B5EF4-FFF2-40B4-BE49-F238E27FC236}">
                <a16:creationId xmlns:a16="http://schemas.microsoft.com/office/drawing/2014/main" id="{79D5FAF9-096B-4C61-A299-6A26A276E128}"/>
              </a:ext>
            </a:extLst>
          </p:cNvPr>
          <p:cNvSpPr/>
          <p:nvPr/>
        </p:nvSpPr>
        <p:spPr bwMode="auto">
          <a:xfrm>
            <a:off x="2938957" y="-528354"/>
            <a:ext cx="192583" cy="192292"/>
          </a:xfrm>
          <a:custGeom>
            <a:avLst/>
            <a:gdLst>
              <a:gd name="connsiteX0" fmla="*/ 303820 w 607639"/>
              <a:gd name="connsiteY0" fmla="*/ 278099 h 606722"/>
              <a:gd name="connsiteX1" fmla="*/ 329118 w 607639"/>
              <a:gd name="connsiteY1" fmla="*/ 303362 h 606722"/>
              <a:gd name="connsiteX2" fmla="*/ 303820 w 607639"/>
              <a:gd name="connsiteY2" fmla="*/ 328625 h 606722"/>
              <a:gd name="connsiteX3" fmla="*/ 278522 w 607639"/>
              <a:gd name="connsiteY3" fmla="*/ 303362 h 606722"/>
              <a:gd name="connsiteX4" fmla="*/ 303820 w 607639"/>
              <a:gd name="connsiteY4" fmla="*/ 278099 h 606722"/>
              <a:gd name="connsiteX5" fmla="*/ 303775 w 607639"/>
              <a:gd name="connsiteY5" fmla="*/ 252735 h 606722"/>
              <a:gd name="connsiteX6" fmla="*/ 253140 w 607639"/>
              <a:gd name="connsiteY6" fmla="*/ 303317 h 606722"/>
              <a:gd name="connsiteX7" fmla="*/ 303775 w 607639"/>
              <a:gd name="connsiteY7" fmla="*/ 353900 h 606722"/>
              <a:gd name="connsiteX8" fmla="*/ 354410 w 607639"/>
              <a:gd name="connsiteY8" fmla="*/ 303317 h 606722"/>
              <a:gd name="connsiteX9" fmla="*/ 303775 w 607639"/>
              <a:gd name="connsiteY9" fmla="*/ 252735 h 606722"/>
              <a:gd name="connsiteX10" fmla="*/ 303775 w 607639"/>
              <a:gd name="connsiteY10" fmla="*/ 202241 h 606722"/>
              <a:gd name="connsiteX11" fmla="*/ 405045 w 607639"/>
              <a:gd name="connsiteY11" fmla="*/ 303317 h 606722"/>
              <a:gd name="connsiteX12" fmla="*/ 303775 w 607639"/>
              <a:gd name="connsiteY12" fmla="*/ 404482 h 606722"/>
              <a:gd name="connsiteX13" fmla="*/ 202593 w 607639"/>
              <a:gd name="connsiteY13" fmla="*/ 303317 h 606722"/>
              <a:gd name="connsiteX14" fmla="*/ 303775 w 607639"/>
              <a:gd name="connsiteY14" fmla="*/ 202241 h 606722"/>
              <a:gd name="connsiteX15" fmla="*/ 303775 w 607639"/>
              <a:gd name="connsiteY15" fmla="*/ 151703 h 606722"/>
              <a:gd name="connsiteX16" fmla="*/ 151932 w 607639"/>
              <a:gd name="connsiteY16" fmla="*/ 303317 h 606722"/>
              <a:gd name="connsiteX17" fmla="*/ 303775 w 607639"/>
              <a:gd name="connsiteY17" fmla="*/ 455019 h 606722"/>
              <a:gd name="connsiteX18" fmla="*/ 455707 w 607639"/>
              <a:gd name="connsiteY18" fmla="*/ 303317 h 606722"/>
              <a:gd name="connsiteX19" fmla="*/ 303775 w 607639"/>
              <a:gd name="connsiteY19" fmla="*/ 151703 h 606722"/>
              <a:gd name="connsiteX20" fmla="*/ 253131 w 607639"/>
              <a:gd name="connsiteY20" fmla="*/ 0 h 606722"/>
              <a:gd name="connsiteX21" fmla="*/ 354419 w 607639"/>
              <a:gd name="connsiteY21" fmla="*/ 0 h 606722"/>
              <a:gd name="connsiteX22" fmla="*/ 379786 w 607639"/>
              <a:gd name="connsiteY22" fmla="*/ 25239 h 606722"/>
              <a:gd name="connsiteX23" fmla="*/ 379786 w 607639"/>
              <a:gd name="connsiteY23" fmla="*/ 62387 h 606722"/>
              <a:gd name="connsiteX24" fmla="*/ 420639 w 607639"/>
              <a:gd name="connsiteY24" fmla="*/ 79451 h 606722"/>
              <a:gd name="connsiteX25" fmla="*/ 446985 w 607639"/>
              <a:gd name="connsiteY25" fmla="*/ 53145 h 606722"/>
              <a:gd name="connsiteX26" fmla="*/ 482854 w 607639"/>
              <a:gd name="connsiteY26" fmla="*/ 53145 h 606722"/>
              <a:gd name="connsiteX27" fmla="*/ 554414 w 607639"/>
              <a:gd name="connsiteY27" fmla="*/ 124597 h 606722"/>
              <a:gd name="connsiteX28" fmla="*/ 554414 w 607639"/>
              <a:gd name="connsiteY28" fmla="*/ 160323 h 606722"/>
              <a:gd name="connsiteX29" fmla="*/ 528069 w 607639"/>
              <a:gd name="connsiteY29" fmla="*/ 186629 h 606722"/>
              <a:gd name="connsiteX30" fmla="*/ 545158 w 607639"/>
              <a:gd name="connsiteY30" fmla="*/ 227510 h 606722"/>
              <a:gd name="connsiteX31" fmla="*/ 582273 w 607639"/>
              <a:gd name="connsiteY31" fmla="*/ 227510 h 606722"/>
              <a:gd name="connsiteX32" fmla="*/ 607639 w 607639"/>
              <a:gd name="connsiteY32" fmla="*/ 252749 h 606722"/>
              <a:gd name="connsiteX33" fmla="*/ 607639 w 607639"/>
              <a:gd name="connsiteY33" fmla="*/ 353884 h 606722"/>
              <a:gd name="connsiteX34" fmla="*/ 582273 w 607639"/>
              <a:gd name="connsiteY34" fmla="*/ 379212 h 606722"/>
              <a:gd name="connsiteX35" fmla="*/ 545158 w 607639"/>
              <a:gd name="connsiteY35" fmla="*/ 379212 h 606722"/>
              <a:gd name="connsiteX36" fmla="*/ 528069 w 607639"/>
              <a:gd name="connsiteY36" fmla="*/ 420004 h 606722"/>
              <a:gd name="connsiteX37" fmla="*/ 554414 w 607639"/>
              <a:gd name="connsiteY37" fmla="*/ 446310 h 606722"/>
              <a:gd name="connsiteX38" fmla="*/ 554414 w 607639"/>
              <a:gd name="connsiteY38" fmla="*/ 482125 h 606722"/>
              <a:gd name="connsiteX39" fmla="*/ 482854 w 607639"/>
              <a:gd name="connsiteY39" fmla="*/ 553577 h 606722"/>
              <a:gd name="connsiteX40" fmla="*/ 446985 w 607639"/>
              <a:gd name="connsiteY40" fmla="*/ 553577 h 606722"/>
              <a:gd name="connsiteX41" fmla="*/ 420639 w 607639"/>
              <a:gd name="connsiteY41" fmla="*/ 527271 h 606722"/>
              <a:gd name="connsiteX42" fmla="*/ 379786 w 607639"/>
              <a:gd name="connsiteY42" fmla="*/ 544246 h 606722"/>
              <a:gd name="connsiteX43" fmla="*/ 379786 w 607639"/>
              <a:gd name="connsiteY43" fmla="*/ 581394 h 606722"/>
              <a:gd name="connsiteX44" fmla="*/ 354419 w 607639"/>
              <a:gd name="connsiteY44" fmla="*/ 606722 h 606722"/>
              <a:gd name="connsiteX45" fmla="*/ 253131 w 607639"/>
              <a:gd name="connsiteY45" fmla="*/ 606722 h 606722"/>
              <a:gd name="connsiteX46" fmla="*/ 227854 w 607639"/>
              <a:gd name="connsiteY46" fmla="*/ 581394 h 606722"/>
              <a:gd name="connsiteX47" fmla="*/ 227854 w 607639"/>
              <a:gd name="connsiteY47" fmla="*/ 544246 h 606722"/>
              <a:gd name="connsiteX48" fmla="*/ 186911 w 607639"/>
              <a:gd name="connsiteY48" fmla="*/ 527271 h 606722"/>
              <a:gd name="connsiteX49" fmla="*/ 160566 w 607639"/>
              <a:gd name="connsiteY49" fmla="*/ 553577 h 606722"/>
              <a:gd name="connsiteX50" fmla="*/ 124786 w 607639"/>
              <a:gd name="connsiteY50" fmla="*/ 553577 h 606722"/>
              <a:gd name="connsiteX51" fmla="*/ 53225 w 607639"/>
              <a:gd name="connsiteY51" fmla="*/ 482125 h 606722"/>
              <a:gd name="connsiteX52" fmla="*/ 53225 w 607639"/>
              <a:gd name="connsiteY52" fmla="*/ 446310 h 606722"/>
              <a:gd name="connsiteX53" fmla="*/ 79482 w 607639"/>
              <a:gd name="connsiteY53" fmla="*/ 420004 h 606722"/>
              <a:gd name="connsiteX54" fmla="*/ 62482 w 607639"/>
              <a:gd name="connsiteY54" fmla="*/ 379212 h 606722"/>
              <a:gd name="connsiteX55" fmla="*/ 25278 w 607639"/>
              <a:gd name="connsiteY55" fmla="*/ 379212 h 606722"/>
              <a:gd name="connsiteX56" fmla="*/ 0 w 607639"/>
              <a:gd name="connsiteY56" fmla="*/ 353884 h 606722"/>
              <a:gd name="connsiteX57" fmla="*/ 0 w 607639"/>
              <a:gd name="connsiteY57" fmla="*/ 252749 h 606722"/>
              <a:gd name="connsiteX58" fmla="*/ 25278 w 607639"/>
              <a:gd name="connsiteY58" fmla="*/ 227510 h 606722"/>
              <a:gd name="connsiteX59" fmla="*/ 62482 w 607639"/>
              <a:gd name="connsiteY59" fmla="*/ 227510 h 606722"/>
              <a:gd name="connsiteX60" fmla="*/ 79482 w 607639"/>
              <a:gd name="connsiteY60" fmla="*/ 186629 h 606722"/>
              <a:gd name="connsiteX61" fmla="*/ 53225 w 607639"/>
              <a:gd name="connsiteY61" fmla="*/ 160323 h 606722"/>
              <a:gd name="connsiteX62" fmla="*/ 53225 w 607639"/>
              <a:gd name="connsiteY62" fmla="*/ 124597 h 606722"/>
              <a:gd name="connsiteX63" fmla="*/ 124786 w 607639"/>
              <a:gd name="connsiteY63" fmla="*/ 53145 h 606722"/>
              <a:gd name="connsiteX64" fmla="*/ 160566 w 607639"/>
              <a:gd name="connsiteY64" fmla="*/ 53145 h 606722"/>
              <a:gd name="connsiteX65" fmla="*/ 186911 w 607639"/>
              <a:gd name="connsiteY65" fmla="*/ 79451 h 606722"/>
              <a:gd name="connsiteX66" fmla="*/ 227854 w 607639"/>
              <a:gd name="connsiteY66" fmla="*/ 62387 h 606722"/>
              <a:gd name="connsiteX67" fmla="*/ 227854 w 607639"/>
              <a:gd name="connsiteY67" fmla="*/ 25239 h 606722"/>
              <a:gd name="connsiteX68" fmla="*/ 253131 w 607639"/>
              <a:gd name="connsiteY68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07639" h="606722">
                <a:moveTo>
                  <a:pt x="303820" y="278099"/>
                </a:moveTo>
                <a:cubicBezTo>
                  <a:pt x="317792" y="278099"/>
                  <a:pt x="329118" y="289410"/>
                  <a:pt x="329118" y="303362"/>
                </a:cubicBezTo>
                <a:cubicBezTo>
                  <a:pt x="329118" y="317314"/>
                  <a:pt x="317792" y="328625"/>
                  <a:pt x="303820" y="328625"/>
                </a:cubicBezTo>
                <a:cubicBezTo>
                  <a:pt x="289848" y="328625"/>
                  <a:pt x="278522" y="317314"/>
                  <a:pt x="278522" y="303362"/>
                </a:cubicBezTo>
                <a:cubicBezTo>
                  <a:pt x="278522" y="289410"/>
                  <a:pt x="289848" y="278099"/>
                  <a:pt x="303820" y="278099"/>
                </a:cubicBezTo>
                <a:close/>
                <a:moveTo>
                  <a:pt x="303775" y="252735"/>
                </a:moveTo>
                <a:cubicBezTo>
                  <a:pt x="275921" y="252735"/>
                  <a:pt x="253140" y="275492"/>
                  <a:pt x="253140" y="303317"/>
                </a:cubicBezTo>
                <a:cubicBezTo>
                  <a:pt x="253140" y="331231"/>
                  <a:pt x="275921" y="353900"/>
                  <a:pt x="303775" y="353900"/>
                </a:cubicBezTo>
                <a:cubicBezTo>
                  <a:pt x="331718" y="353900"/>
                  <a:pt x="354410" y="331231"/>
                  <a:pt x="354410" y="303317"/>
                </a:cubicBezTo>
                <a:cubicBezTo>
                  <a:pt x="354410" y="275492"/>
                  <a:pt x="331718" y="252735"/>
                  <a:pt x="303775" y="252735"/>
                </a:cubicBezTo>
                <a:close/>
                <a:moveTo>
                  <a:pt x="303775" y="202241"/>
                </a:moveTo>
                <a:cubicBezTo>
                  <a:pt x="359660" y="202241"/>
                  <a:pt x="405045" y="247579"/>
                  <a:pt x="405045" y="303317"/>
                </a:cubicBezTo>
                <a:cubicBezTo>
                  <a:pt x="405045" y="359144"/>
                  <a:pt x="359660" y="404482"/>
                  <a:pt x="303775" y="404482"/>
                </a:cubicBezTo>
                <a:cubicBezTo>
                  <a:pt x="247978" y="404482"/>
                  <a:pt x="202593" y="359144"/>
                  <a:pt x="202593" y="303317"/>
                </a:cubicBezTo>
                <a:cubicBezTo>
                  <a:pt x="202593" y="247579"/>
                  <a:pt x="247978" y="202241"/>
                  <a:pt x="303775" y="202241"/>
                </a:cubicBezTo>
                <a:close/>
                <a:moveTo>
                  <a:pt x="303775" y="151703"/>
                </a:moveTo>
                <a:cubicBezTo>
                  <a:pt x="220021" y="151703"/>
                  <a:pt x="151932" y="219689"/>
                  <a:pt x="151932" y="303317"/>
                </a:cubicBezTo>
                <a:cubicBezTo>
                  <a:pt x="151932" y="387033"/>
                  <a:pt x="220021" y="455019"/>
                  <a:pt x="303775" y="455019"/>
                </a:cubicBezTo>
                <a:cubicBezTo>
                  <a:pt x="387618" y="455019"/>
                  <a:pt x="455707" y="387033"/>
                  <a:pt x="455707" y="303317"/>
                </a:cubicBezTo>
                <a:cubicBezTo>
                  <a:pt x="455707" y="219689"/>
                  <a:pt x="387618" y="151703"/>
                  <a:pt x="303775" y="151703"/>
                </a:cubicBezTo>
                <a:close/>
                <a:moveTo>
                  <a:pt x="253131" y="0"/>
                </a:moveTo>
                <a:lnTo>
                  <a:pt x="354419" y="0"/>
                </a:lnTo>
                <a:cubicBezTo>
                  <a:pt x="368482" y="0"/>
                  <a:pt x="379786" y="11287"/>
                  <a:pt x="379786" y="25239"/>
                </a:cubicBezTo>
                <a:lnTo>
                  <a:pt x="379786" y="62387"/>
                </a:lnTo>
                <a:cubicBezTo>
                  <a:pt x="393849" y="66831"/>
                  <a:pt x="407555" y="72519"/>
                  <a:pt x="420639" y="79451"/>
                </a:cubicBezTo>
                <a:lnTo>
                  <a:pt x="446985" y="53145"/>
                </a:lnTo>
                <a:cubicBezTo>
                  <a:pt x="456953" y="43191"/>
                  <a:pt x="472974" y="43191"/>
                  <a:pt x="482854" y="53145"/>
                </a:cubicBezTo>
                <a:lnTo>
                  <a:pt x="554414" y="124597"/>
                </a:lnTo>
                <a:cubicBezTo>
                  <a:pt x="564294" y="134462"/>
                  <a:pt x="564294" y="150459"/>
                  <a:pt x="554414" y="160323"/>
                </a:cubicBezTo>
                <a:lnTo>
                  <a:pt x="528069" y="186629"/>
                </a:lnTo>
                <a:cubicBezTo>
                  <a:pt x="535011" y="199782"/>
                  <a:pt x="540707" y="213468"/>
                  <a:pt x="545158" y="227510"/>
                </a:cubicBezTo>
                <a:lnTo>
                  <a:pt x="582273" y="227510"/>
                </a:lnTo>
                <a:cubicBezTo>
                  <a:pt x="596336" y="227510"/>
                  <a:pt x="607639" y="238796"/>
                  <a:pt x="607639" y="252749"/>
                </a:cubicBezTo>
                <a:lnTo>
                  <a:pt x="607639" y="353884"/>
                </a:lnTo>
                <a:cubicBezTo>
                  <a:pt x="607639" y="367926"/>
                  <a:pt x="596247" y="379212"/>
                  <a:pt x="582273" y="379212"/>
                </a:cubicBezTo>
                <a:lnTo>
                  <a:pt x="545158" y="379212"/>
                </a:lnTo>
                <a:cubicBezTo>
                  <a:pt x="540707" y="393254"/>
                  <a:pt x="535011" y="406940"/>
                  <a:pt x="528069" y="420004"/>
                </a:cubicBezTo>
                <a:lnTo>
                  <a:pt x="554414" y="446310"/>
                </a:lnTo>
                <a:cubicBezTo>
                  <a:pt x="564294" y="456263"/>
                  <a:pt x="564294" y="472260"/>
                  <a:pt x="554414" y="482125"/>
                </a:cubicBezTo>
                <a:lnTo>
                  <a:pt x="482854" y="553577"/>
                </a:lnTo>
                <a:cubicBezTo>
                  <a:pt x="472974" y="563442"/>
                  <a:pt x="456953" y="563442"/>
                  <a:pt x="446985" y="553577"/>
                </a:cubicBezTo>
                <a:lnTo>
                  <a:pt x="420639" y="527271"/>
                </a:lnTo>
                <a:cubicBezTo>
                  <a:pt x="407555" y="534203"/>
                  <a:pt x="393849" y="539802"/>
                  <a:pt x="379786" y="544246"/>
                </a:cubicBezTo>
                <a:lnTo>
                  <a:pt x="379786" y="581394"/>
                </a:lnTo>
                <a:cubicBezTo>
                  <a:pt x="379786" y="595435"/>
                  <a:pt x="368393" y="606722"/>
                  <a:pt x="354419" y="606722"/>
                </a:cubicBezTo>
                <a:lnTo>
                  <a:pt x="253131" y="606722"/>
                </a:lnTo>
                <a:cubicBezTo>
                  <a:pt x="239157" y="606722"/>
                  <a:pt x="227854" y="595435"/>
                  <a:pt x="227854" y="581394"/>
                </a:cubicBezTo>
                <a:lnTo>
                  <a:pt x="227854" y="544246"/>
                </a:lnTo>
                <a:cubicBezTo>
                  <a:pt x="213791" y="539802"/>
                  <a:pt x="200084" y="534203"/>
                  <a:pt x="186911" y="527271"/>
                </a:cubicBezTo>
                <a:lnTo>
                  <a:pt x="160566" y="553577"/>
                </a:lnTo>
                <a:cubicBezTo>
                  <a:pt x="150686" y="563442"/>
                  <a:pt x="134665" y="563442"/>
                  <a:pt x="124786" y="553577"/>
                </a:cubicBezTo>
                <a:lnTo>
                  <a:pt x="53225" y="482125"/>
                </a:lnTo>
                <a:cubicBezTo>
                  <a:pt x="43257" y="472260"/>
                  <a:pt x="43257" y="456263"/>
                  <a:pt x="53225" y="446310"/>
                </a:cubicBezTo>
                <a:lnTo>
                  <a:pt x="79482" y="420004"/>
                </a:lnTo>
                <a:cubicBezTo>
                  <a:pt x="72629" y="406940"/>
                  <a:pt x="66932" y="393254"/>
                  <a:pt x="62482" y="379212"/>
                </a:cubicBezTo>
                <a:lnTo>
                  <a:pt x="25278" y="379212"/>
                </a:lnTo>
                <a:cubicBezTo>
                  <a:pt x="11304" y="379212"/>
                  <a:pt x="0" y="367926"/>
                  <a:pt x="0" y="353884"/>
                </a:cubicBezTo>
                <a:lnTo>
                  <a:pt x="0" y="252749"/>
                </a:lnTo>
                <a:cubicBezTo>
                  <a:pt x="0" y="238796"/>
                  <a:pt x="11304" y="227510"/>
                  <a:pt x="25278" y="227510"/>
                </a:cubicBezTo>
                <a:lnTo>
                  <a:pt x="62482" y="227510"/>
                </a:lnTo>
                <a:cubicBezTo>
                  <a:pt x="66932" y="213468"/>
                  <a:pt x="72629" y="199782"/>
                  <a:pt x="79482" y="186629"/>
                </a:cubicBezTo>
                <a:lnTo>
                  <a:pt x="53225" y="160323"/>
                </a:lnTo>
                <a:cubicBezTo>
                  <a:pt x="43257" y="150459"/>
                  <a:pt x="43257" y="134462"/>
                  <a:pt x="53225" y="124597"/>
                </a:cubicBezTo>
                <a:lnTo>
                  <a:pt x="124786" y="53145"/>
                </a:lnTo>
                <a:cubicBezTo>
                  <a:pt x="134665" y="43191"/>
                  <a:pt x="150686" y="43191"/>
                  <a:pt x="160566" y="53145"/>
                </a:cubicBezTo>
                <a:lnTo>
                  <a:pt x="186911" y="79451"/>
                </a:lnTo>
                <a:cubicBezTo>
                  <a:pt x="200084" y="72519"/>
                  <a:pt x="213791" y="66831"/>
                  <a:pt x="227854" y="62387"/>
                </a:cubicBezTo>
                <a:lnTo>
                  <a:pt x="227854" y="25239"/>
                </a:lnTo>
                <a:cubicBezTo>
                  <a:pt x="227854" y="11287"/>
                  <a:pt x="239157" y="0"/>
                  <a:pt x="25313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3" name="ïṧľíďê">
            <a:extLst>
              <a:ext uri="{FF2B5EF4-FFF2-40B4-BE49-F238E27FC236}">
                <a16:creationId xmlns:a16="http://schemas.microsoft.com/office/drawing/2014/main" id="{83AC56C8-BB22-4DB6-8372-AA84DFFA3A81}"/>
              </a:ext>
            </a:extLst>
          </p:cNvPr>
          <p:cNvSpPr/>
          <p:nvPr/>
        </p:nvSpPr>
        <p:spPr bwMode="auto">
          <a:xfrm>
            <a:off x="2670455" y="-200525"/>
            <a:ext cx="192583" cy="192268"/>
          </a:xfrm>
          <a:custGeom>
            <a:avLst/>
            <a:gdLst>
              <a:gd name="connsiteX0" fmla="*/ 380418 w 604181"/>
              <a:gd name="connsiteY0" fmla="*/ 268007 h 603193"/>
              <a:gd name="connsiteX1" fmla="*/ 519220 w 604181"/>
              <a:gd name="connsiteY1" fmla="*/ 339187 h 603193"/>
              <a:gd name="connsiteX2" fmla="*/ 519220 w 604181"/>
              <a:gd name="connsiteY2" fmla="*/ 355820 h 603193"/>
              <a:gd name="connsiteX3" fmla="*/ 380418 w 604181"/>
              <a:gd name="connsiteY3" fmla="*/ 426850 h 603193"/>
              <a:gd name="connsiteX4" fmla="*/ 380418 w 604181"/>
              <a:gd name="connsiteY4" fmla="*/ 406320 h 603193"/>
              <a:gd name="connsiteX5" fmla="*/ 498212 w 604181"/>
              <a:gd name="connsiteY5" fmla="*/ 347728 h 603193"/>
              <a:gd name="connsiteX6" fmla="*/ 498212 w 604181"/>
              <a:gd name="connsiteY6" fmla="*/ 347129 h 603193"/>
              <a:gd name="connsiteX7" fmla="*/ 380418 w 604181"/>
              <a:gd name="connsiteY7" fmla="*/ 288687 h 603193"/>
              <a:gd name="connsiteX8" fmla="*/ 216565 w 604181"/>
              <a:gd name="connsiteY8" fmla="*/ 268007 h 603193"/>
              <a:gd name="connsiteX9" fmla="*/ 216565 w 604181"/>
              <a:gd name="connsiteY9" fmla="*/ 288687 h 603193"/>
              <a:gd name="connsiteX10" fmla="*/ 99664 w 604181"/>
              <a:gd name="connsiteY10" fmla="*/ 347129 h 603193"/>
              <a:gd name="connsiteX11" fmla="*/ 99664 w 604181"/>
              <a:gd name="connsiteY11" fmla="*/ 347728 h 603193"/>
              <a:gd name="connsiteX12" fmla="*/ 216565 w 604181"/>
              <a:gd name="connsiteY12" fmla="*/ 406320 h 603193"/>
              <a:gd name="connsiteX13" fmla="*/ 216565 w 604181"/>
              <a:gd name="connsiteY13" fmla="*/ 426850 h 603193"/>
              <a:gd name="connsiteX14" fmla="*/ 77904 w 604181"/>
              <a:gd name="connsiteY14" fmla="*/ 355521 h 603193"/>
              <a:gd name="connsiteX15" fmla="*/ 77904 w 604181"/>
              <a:gd name="connsiteY15" fmla="*/ 339486 h 603193"/>
              <a:gd name="connsiteX16" fmla="*/ 338273 w 604181"/>
              <a:gd name="connsiteY16" fmla="*/ 222493 h 603193"/>
              <a:gd name="connsiteX17" fmla="*/ 358684 w 604181"/>
              <a:gd name="connsiteY17" fmla="*/ 222493 h 603193"/>
              <a:gd name="connsiteX18" fmla="*/ 253179 w 604181"/>
              <a:gd name="connsiteY18" fmla="*/ 482103 h 603193"/>
              <a:gd name="connsiteX19" fmla="*/ 233219 w 604181"/>
              <a:gd name="connsiteY19" fmla="*/ 482103 h 603193"/>
              <a:gd name="connsiteX20" fmla="*/ 28813 w 604181"/>
              <a:gd name="connsiteY20" fmla="*/ 128849 h 603193"/>
              <a:gd name="connsiteX21" fmla="*/ 28813 w 604181"/>
              <a:gd name="connsiteY21" fmla="*/ 557497 h 603193"/>
              <a:gd name="connsiteX22" fmla="*/ 45921 w 604181"/>
              <a:gd name="connsiteY22" fmla="*/ 574427 h 603193"/>
              <a:gd name="connsiteX23" fmla="*/ 558410 w 604181"/>
              <a:gd name="connsiteY23" fmla="*/ 574427 h 603193"/>
              <a:gd name="connsiteX24" fmla="*/ 575368 w 604181"/>
              <a:gd name="connsiteY24" fmla="*/ 557497 h 603193"/>
              <a:gd name="connsiteX25" fmla="*/ 575368 w 604181"/>
              <a:gd name="connsiteY25" fmla="*/ 128849 h 603193"/>
              <a:gd name="connsiteX26" fmla="*/ 502734 w 604181"/>
              <a:gd name="connsiteY26" fmla="*/ 43149 h 603193"/>
              <a:gd name="connsiteX27" fmla="*/ 502734 w 604181"/>
              <a:gd name="connsiteY27" fmla="*/ 77309 h 603193"/>
              <a:gd name="connsiteX28" fmla="*/ 537100 w 604181"/>
              <a:gd name="connsiteY28" fmla="*/ 77309 h 603193"/>
              <a:gd name="connsiteX29" fmla="*/ 537100 w 604181"/>
              <a:gd name="connsiteY29" fmla="*/ 43149 h 603193"/>
              <a:gd name="connsiteX30" fmla="*/ 423197 w 604181"/>
              <a:gd name="connsiteY30" fmla="*/ 43149 h 603193"/>
              <a:gd name="connsiteX31" fmla="*/ 423197 w 604181"/>
              <a:gd name="connsiteY31" fmla="*/ 77309 h 603193"/>
              <a:gd name="connsiteX32" fmla="*/ 457563 w 604181"/>
              <a:gd name="connsiteY32" fmla="*/ 77309 h 603193"/>
              <a:gd name="connsiteX33" fmla="*/ 457563 w 604181"/>
              <a:gd name="connsiteY33" fmla="*/ 43149 h 603193"/>
              <a:gd name="connsiteX34" fmla="*/ 45921 w 604181"/>
              <a:gd name="connsiteY34" fmla="*/ 0 h 603193"/>
              <a:gd name="connsiteX35" fmla="*/ 558410 w 604181"/>
              <a:gd name="connsiteY35" fmla="*/ 0 h 603193"/>
              <a:gd name="connsiteX36" fmla="*/ 604181 w 604181"/>
              <a:gd name="connsiteY36" fmla="*/ 45846 h 603193"/>
              <a:gd name="connsiteX37" fmla="*/ 604181 w 604181"/>
              <a:gd name="connsiteY37" fmla="*/ 557497 h 603193"/>
              <a:gd name="connsiteX38" fmla="*/ 558410 w 604181"/>
              <a:gd name="connsiteY38" fmla="*/ 603193 h 603193"/>
              <a:gd name="connsiteX39" fmla="*/ 45921 w 604181"/>
              <a:gd name="connsiteY39" fmla="*/ 603193 h 603193"/>
              <a:gd name="connsiteX40" fmla="*/ 0 w 604181"/>
              <a:gd name="connsiteY40" fmla="*/ 557497 h 603193"/>
              <a:gd name="connsiteX41" fmla="*/ 0 w 604181"/>
              <a:gd name="connsiteY41" fmla="*/ 45846 h 603193"/>
              <a:gd name="connsiteX42" fmla="*/ 45921 w 604181"/>
              <a:gd name="connsiteY42" fmla="*/ 0 h 603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04181" h="603193">
                <a:moveTo>
                  <a:pt x="380418" y="268007"/>
                </a:moveTo>
                <a:lnTo>
                  <a:pt x="519220" y="339187"/>
                </a:lnTo>
                <a:lnTo>
                  <a:pt x="519220" y="355820"/>
                </a:lnTo>
                <a:lnTo>
                  <a:pt x="380418" y="426850"/>
                </a:lnTo>
                <a:lnTo>
                  <a:pt x="380418" y="406320"/>
                </a:lnTo>
                <a:lnTo>
                  <a:pt x="498212" y="347728"/>
                </a:lnTo>
                <a:lnTo>
                  <a:pt x="498212" y="347129"/>
                </a:lnTo>
                <a:lnTo>
                  <a:pt x="380418" y="288687"/>
                </a:lnTo>
                <a:close/>
                <a:moveTo>
                  <a:pt x="216565" y="268007"/>
                </a:moveTo>
                <a:lnTo>
                  <a:pt x="216565" y="288687"/>
                </a:lnTo>
                <a:lnTo>
                  <a:pt x="99664" y="347129"/>
                </a:lnTo>
                <a:lnTo>
                  <a:pt x="99664" y="347728"/>
                </a:lnTo>
                <a:lnTo>
                  <a:pt x="216565" y="406320"/>
                </a:lnTo>
                <a:lnTo>
                  <a:pt x="216565" y="426850"/>
                </a:lnTo>
                <a:lnTo>
                  <a:pt x="77904" y="355521"/>
                </a:lnTo>
                <a:lnTo>
                  <a:pt x="77904" y="339486"/>
                </a:lnTo>
                <a:close/>
                <a:moveTo>
                  <a:pt x="338273" y="222493"/>
                </a:moveTo>
                <a:lnTo>
                  <a:pt x="358684" y="222493"/>
                </a:lnTo>
                <a:lnTo>
                  <a:pt x="253179" y="482103"/>
                </a:lnTo>
                <a:lnTo>
                  <a:pt x="233219" y="482103"/>
                </a:lnTo>
                <a:close/>
                <a:moveTo>
                  <a:pt x="28813" y="128849"/>
                </a:moveTo>
                <a:lnTo>
                  <a:pt x="28813" y="557497"/>
                </a:lnTo>
                <a:cubicBezTo>
                  <a:pt x="28813" y="566786"/>
                  <a:pt x="36467" y="574427"/>
                  <a:pt x="45921" y="574427"/>
                </a:cubicBezTo>
                <a:lnTo>
                  <a:pt x="558410" y="574427"/>
                </a:lnTo>
                <a:cubicBezTo>
                  <a:pt x="567714" y="574427"/>
                  <a:pt x="575368" y="566786"/>
                  <a:pt x="575368" y="557497"/>
                </a:cubicBezTo>
                <a:lnTo>
                  <a:pt x="575368" y="128849"/>
                </a:lnTo>
                <a:close/>
                <a:moveTo>
                  <a:pt x="502734" y="43149"/>
                </a:moveTo>
                <a:lnTo>
                  <a:pt x="502734" y="77309"/>
                </a:lnTo>
                <a:lnTo>
                  <a:pt x="537100" y="77309"/>
                </a:lnTo>
                <a:lnTo>
                  <a:pt x="537100" y="43149"/>
                </a:lnTo>
                <a:close/>
                <a:moveTo>
                  <a:pt x="423197" y="43149"/>
                </a:moveTo>
                <a:lnTo>
                  <a:pt x="423197" y="77309"/>
                </a:lnTo>
                <a:lnTo>
                  <a:pt x="457563" y="77309"/>
                </a:lnTo>
                <a:lnTo>
                  <a:pt x="457563" y="43149"/>
                </a:lnTo>
                <a:close/>
                <a:moveTo>
                  <a:pt x="45921" y="0"/>
                </a:moveTo>
                <a:lnTo>
                  <a:pt x="558410" y="0"/>
                </a:lnTo>
                <a:cubicBezTo>
                  <a:pt x="583621" y="0"/>
                  <a:pt x="604181" y="20526"/>
                  <a:pt x="604181" y="45846"/>
                </a:cubicBezTo>
                <a:lnTo>
                  <a:pt x="604181" y="557497"/>
                </a:lnTo>
                <a:cubicBezTo>
                  <a:pt x="604181" y="582667"/>
                  <a:pt x="583621" y="603193"/>
                  <a:pt x="558410" y="603193"/>
                </a:cubicBezTo>
                <a:lnTo>
                  <a:pt x="45921" y="603193"/>
                </a:lnTo>
                <a:cubicBezTo>
                  <a:pt x="20560" y="603193"/>
                  <a:pt x="0" y="582667"/>
                  <a:pt x="0" y="557497"/>
                </a:cubicBezTo>
                <a:lnTo>
                  <a:pt x="0" y="45846"/>
                </a:lnTo>
                <a:cubicBezTo>
                  <a:pt x="0" y="20526"/>
                  <a:pt x="20560" y="0"/>
                  <a:pt x="45921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4" name="îṣḻîḍé">
            <a:extLst>
              <a:ext uri="{FF2B5EF4-FFF2-40B4-BE49-F238E27FC236}">
                <a16:creationId xmlns:a16="http://schemas.microsoft.com/office/drawing/2014/main" id="{716A4AAF-66FE-4462-901E-658C29D84AD8}"/>
              </a:ext>
            </a:extLst>
          </p:cNvPr>
          <p:cNvSpPr/>
          <p:nvPr/>
        </p:nvSpPr>
        <p:spPr bwMode="auto">
          <a:xfrm>
            <a:off x="2395644" y="127279"/>
            <a:ext cx="192583" cy="192292"/>
          </a:xfrm>
          <a:custGeom>
            <a:avLst/>
            <a:gdLst>
              <a:gd name="T0" fmla="*/ 6624 w 7154"/>
              <a:gd name="T1" fmla="*/ 2037 h 7154"/>
              <a:gd name="T2" fmla="*/ 6106 w 7154"/>
              <a:gd name="T3" fmla="*/ 1048 h 7154"/>
              <a:gd name="T4" fmla="*/ 5117 w 7154"/>
              <a:gd name="T5" fmla="*/ 530 h 7154"/>
              <a:gd name="T6" fmla="*/ 4643 w 7154"/>
              <a:gd name="T7" fmla="*/ 334 h 7154"/>
              <a:gd name="T8" fmla="*/ 3577 w 7154"/>
              <a:gd name="T9" fmla="*/ 0 h 7154"/>
              <a:gd name="T10" fmla="*/ 2511 w 7154"/>
              <a:gd name="T11" fmla="*/ 334 h 7154"/>
              <a:gd name="T12" fmla="*/ 2037 w 7154"/>
              <a:gd name="T13" fmla="*/ 530 h 7154"/>
              <a:gd name="T14" fmla="*/ 1048 w 7154"/>
              <a:gd name="T15" fmla="*/ 1048 h 7154"/>
              <a:gd name="T16" fmla="*/ 530 w 7154"/>
              <a:gd name="T17" fmla="*/ 2037 h 7154"/>
              <a:gd name="T18" fmla="*/ 334 w 7154"/>
              <a:gd name="T19" fmla="*/ 2511 h 7154"/>
              <a:gd name="T20" fmla="*/ 0 w 7154"/>
              <a:gd name="T21" fmla="*/ 3577 h 7154"/>
              <a:gd name="T22" fmla="*/ 334 w 7154"/>
              <a:gd name="T23" fmla="*/ 4643 h 7154"/>
              <a:gd name="T24" fmla="*/ 530 w 7154"/>
              <a:gd name="T25" fmla="*/ 5117 h 7154"/>
              <a:gd name="T26" fmla="*/ 1048 w 7154"/>
              <a:gd name="T27" fmla="*/ 6106 h 7154"/>
              <a:gd name="T28" fmla="*/ 2037 w 7154"/>
              <a:gd name="T29" fmla="*/ 6624 h 7154"/>
              <a:gd name="T30" fmla="*/ 2511 w 7154"/>
              <a:gd name="T31" fmla="*/ 6820 h 7154"/>
              <a:gd name="T32" fmla="*/ 3577 w 7154"/>
              <a:gd name="T33" fmla="*/ 7154 h 7154"/>
              <a:gd name="T34" fmla="*/ 4643 w 7154"/>
              <a:gd name="T35" fmla="*/ 6820 h 7154"/>
              <a:gd name="T36" fmla="*/ 5117 w 7154"/>
              <a:gd name="T37" fmla="*/ 6624 h 7154"/>
              <a:gd name="T38" fmla="*/ 6106 w 7154"/>
              <a:gd name="T39" fmla="*/ 6106 h 7154"/>
              <a:gd name="T40" fmla="*/ 6624 w 7154"/>
              <a:gd name="T41" fmla="*/ 5117 h 7154"/>
              <a:gd name="T42" fmla="*/ 6820 w 7154"/>
              <a:gd name="T43" fmla="*/ 4643 h 7154"/>
              <a:gd name="T44" fmla="*/ 7154 w 7154"/>
              <a:gd name="T45" fmla="*/ 3577 h 7154"/>
              <a:gd name="T46" fmla="*/ 6820 w 7154"/>
              <a:gd name="T47" fmla="*/ 2511 h 7154"/>
              <a:gd name="T48" fmla="*/ 6624 w 7154"/>
              <a:gd name="T49" fmla="*/ 2037 h 7154"/>
              <a:gd name="T50" fmla="*/ 5857 w 7154"/>
              <a:gd name="T51" fmla="*/ 2406 h 7154"/>
              <a:gd name="T52" fmla="*/ 3286 w 7154"/>
              <a:gd name="T53" fmla="*/ 4976 h 7154"/>
              <a:gd name="T54" fmla="*/ 2875 w 7154"/>
              <a:gd name="T55" fmla="*/ 5387 h 7154"/>
              <a:gd name="T56" fmla="*/ 2464 w 7154"/>
              <a:gd name="T57" fmla="*/ 5387 h 7154"/>
              <a:gd name="T58" fmla="*/ 2053 w 7154"/>
              <a:gd name="T59" fmla="*/ 4976 h 7154"/>
              <a:gd name="T60" fmla="*/ 1297 w 7154"/>
              <a:gd name="T61" fmla="*/ 4221 h 7154"/>
              <a:gd name="T62" fmla="*/ 1297 w 7154"/>
              <a:gd name="T63" fmla="*/ 3809 h 7154"/>
              <a:gd name="T64" fmla="*/ 1708 w 7154"/>
              <a:gd name="T65" fmla="*/ 3398 h 7154"/>
              <a:gd name="T66" fmla="*/ 2120 w 7154"/>
              <a:gd name="T67" fmla="*/ 3398 h 7154"/>
              <a:gd name="T68" fmla="*/ 2669 w 7154"/>
              <a:gd name="T69" fmla="*/ 3948 h 7154"/>
              <a:gd name="T70" fmla="*/ 5034 w 7154"/>
              <a:gd name="T71" fmla="*/ 1583 h 7154"/>
              <a:gd name="T72" fmla="*/ 5445 w 7154"/>
              <a:gd name="T73" fmla="*/ 1583 h 7154"/>
              <a:gd name="T74" fmla="*/ 5857 w 7154"/>
              <a:gd name="T75" fmla="*/ 1994 h 7154"/>
              <a:gd name="T76" fmla="*/ 5857 w 7154"/>
              <a:gd name="T77" fmla="*/ 2406 h 7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154" h="7154">
                <a:moveTo>
                  <a:pt x="6624" y="2037"/>
                </a:moveTo>
                <a:cubicBezTo>
                  <a:pt x="6580" y="1703"/>
                  <a:pt x="6403" y="1345"/>
                  <a:pt x="6106" y="1048"/>
                </a:cubicBezTo>
                <a:cubicBezTo>
                  <a:pt x="5809" y="751"/>
                  <a:pt x="5451" y="574"/>
                  <a:pt x="5117" y="530"/>
                </a:cubicBezTo>
                <a:cubicBezTo>
                  <a:pt x="4966" y="510"/>
                  <a:pt x="4764" y="427"/>
                  <a:pt x="4643" y="334"/>
                </a:cubicBezTo>
                <a:cubicBezTo>
                  <a:pt x="4375" y="128"/>
                  <a:pt x="3997" y="0"/>
                  <a:pt x="3577" y="0"/>
                </a:cubicBezTo>
                <a:cubicBezTo>
                  <a:pt x="3157" y="0"/>
                  <a:pt x="2779" y="128"/>
                  <a:pt x="2511" y="334"/>
                </a:cubicBezTo>
                <a:cubicBezTo>
                  <a:pt x="2390" y="427"/>
                  <a:pt x="2188" y="510"/>
                  <a:pt x="2037" y="530"/>
                </a:cubicBezTo>
                <a:cubicBezTo>
                  <a:pt x="1702" y="574"/>
                  <a:pt x="1345" y="751"/>
                  <a:pt x="1048" y="1048"/>
                </a:cubicBezTo>
                <a:cubicBezTo>
                  <a:pt x="751" y="1345"/>
                  <a:pt x="574" y="1703"/>
                  <a:pt x="530" y="2037"/>
                </a:cubicBezTo>
                <a:cubicBezTo>
                  <a:pt x="510" y="2188"/>
                  <a:pt x="427" y="2390"/>
                  <a:pt x="334" y="2511"/>
                </a:cubicBezTo>
                <a:cubicBezTo>
                  <a:pt x="128" y="2779"/>
                  <a:pt x="0" y="3157"/>
                  <a:pt x="0" y="3577"/>
                </a:cubicBezTo>
                <a:cubicBezTo>
                  <a:pt x="0" y="3997"/>
                  <a:pt x="128" y="4375"/>
                  <a:pt x="334" y="4643"/>
                </a:cubicBezTo>
                <a:cubicBezTo>
                  <a:pt x="427" y="4764"/>
                  <a:pt x="510" y="4966"/>
                  <a:pt x="530" y="5117"/>
                </a:cubicBezTo>
                <a:cubicBezTo>
                  <a:pt x="574" y="5451"/>
                  <a:pt x="751" y="5809"/>
                  <a:pt x="1048" y="6106"/>
                </a:cubicBezTo>
                <a:cubicBezTo>
                  <a:pt x="1345" y="6403"/>
                  <a:pt x="1702" y="6580"/>
                  <a:pt x="2037" y="6624"/>
                </a:cubicBezTo>
                <a:cubicBezTo>
                  <a:pt x="2188" y="6644"/>
                  <a:pt x="2390" y="6727"/>
                  <a:pt x="2511" y="6820"/>
                </a:cubicBezTo>
                <a:cubicBezTo>
                  <a:pt x="2779" y="7025"/>
                  <a:pt x="3157" y="7154"/>
                  <a:pt x="3577" y="7154"/>
                </a:cubicBezTo>
                <a:cubicBezTo>
                  <a:pt x="3997" y="7154"/>
                  <a:pt x="4375" y="7025"/>
                  <a:pt x="4643" y="6820"/>
                </a:cubicBezTo>
                <a:cubicBezTo>
                  <a:pt x="4764" y="6727"/>
                  <a:pt x="4966" y="6644"/>
                  <a:pt x="5117" y="6624"/>
                </a:cubicBezTo>
                <a:cubicBezTo>
                  <a:pt x="5451" y="6580"/>
                  <a:pt x="5809" y="6403"/>
                  <a:pt x="6106" y="6106"/>
                </a:cubicBezTo>
                <a:cubicBezTo>
                  <a:pt x="6403" y="5809"/>
                  <a:pt x="6580" y="5451"/>
                  <a:pt x="6624" y="5117"/>
                </a:cubicBezTo>
                <a:cubicBezTo>
                  <a:pt x="6644" y="4966"/>
                  <a:pt x="6727" y="4764"/>
                  <a:pt x="6820" y="4643"/>
                </a:cubicBezTo>
                <a:cubicBezTo>
                  <a:pt x="7026" y="4375"/>
                  <a:pt x="7154" y="3997"/>
                  <a:pt x="7154" y="3577"/>
                </a:cubicBezTo>
                <a:cubicBezTo>
                  <a:pt x="7154" y="3157"/>
                  <a:pt x="7026" y="2779"/>
                  <a:pt x="6820" y="2511"/>
                </a:cubicBezTo>
                <a:cubicBezTo>
                  <a:pt x="6727" y="2390"/>
                  <a:pt x="6644" y="2188"/>
                  <a:pt x="6624" y="2037"/>
                </a:cubicBezTo>
                <a:close/>
                <a:moveTo>
                  <a:pt x="5857" y="2406"/>
                </a:moveTo>
                <a:lnTo>
                  <a:pt x="3286" y="4976"/>
                </a:lnTo>
                <a:lnTo>
                  <a:pt x="2875" y="5387"/>
                </a:lnTo>
                <a:cubicBezTo>
                  <a:pt x="2762" y="5501"/>
                  <a:pt x="2577" y="5501"/>
                  <a:pt x="2464" y="5387"/>
                </a:cubicBezTo>
                <a:lnTo>
                  <a:pt x="2053" y="4976"/>
                </a:lnTo>
                <a:lnTo>
                  <a:pt x="1297" y="4221"/>
                </a:lnTo>
                <a:cubicBezTo>
                  <a:pt x="1183" y="4107"/>
                  <a:pt x="1183" y="3923"/>
                  <a:pt x="1297" y="3809"/>
                </a:cubicBezTo>
                <a:lnTo>
                  <a:pt x="1708" y="3398"/>
                </a:lnTo>
                <a:cubicBezTo>
                  <a:pt x="1822" y="3285"/>
                  <a:pt x="2006" y="3285"/>
                  <a:pt x="2120" y="3398"/>
                </a:cubicBezTo>
                <a:lnTo>
                  <a:pt x="2669" y="3948"/>
                </a:lnTo>
                <a:lnTo>
                  <a:pt x="5034" y="1583"/>
                </a:lnTo>
                <a:cubicBezTo>
                  <a:pt x="5148" y="1470"/>
                  <a:pt x="5332" y="1470"/>
                  <a:pt x="5445" y="1583"/>
                </a:cubicBezTo>
                <a:lnTo>
                  <a:pt x="5857" y="1994"/>
                </a:lnTo>
                <a:cubicBezTo>
                  <a:pt x="5970" y="2108"/>
                  <a:pt x="5970" y="2292"/>
                  <a:pt x="5857" y="2406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5" name="iṧḷiḑé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305066" y="-541066"/>
            <a:ext cx="1592897" cy="239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按分布模式进行配置</a:t>
            </a:r>
            <a:endParaRPr lang="en-US" altLang="zh-CN" sz="1100" dirty="0"/>
          </a:p>
        </p:txBody>
      </p:sp>
      <p:sp>
        <p:nvSpPr>
          <p:cNvPr id="216" name="îṧḻiḑe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026665" y="-209543"/>
            <a:ext cx="1592897" cy="239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>
                <a:solidFill>
                  <a:schemeClr val="bg1"/>
                </a:solidFill>
              </a:rPr>
              <a:t>运行第一个实例</a:t>
            </a: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17" name="îṣľïd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2748345" y="121979"/>
            <a:ext cx="1592897" cy="239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开心</a:t>
            </a:r>
            <a:r>
              <a:rPr lang="en-US" altLang="zh-CN" sz="1100" dirty="0" err="1"/>
              <a:t>ing</a:t>
            </a:r>
            <a:r>
              <a:rPr lang="en-US" altLang="zh-CN" sz="1100" dirty="0"/>
              <a:t>~</a:t>
            </a:r>
          </a:p>
        </p:txBody>
      </p:sp>
      <p:sp>
        <p:nvSpPr>
          <p:cNvPr id="218" name="íṧ1îd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583352" y="-872589"/>
            <a:ext cx="1592897" cy="239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 解压</a:t>
            </a:r>
            <a:endParaRPr lang="en-US" altLang="zh-CN" sz="1100" dirty="0"/>
          </a:p>
        </p:txBody>
      </p:sp>
      <p:sp>
        <p:nvSpPr>
          <p:cNvPr id="219" name="îs1ïḋ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865146" y="-1204112"/>
            <a:ext cx="1592897" cy="239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配置环境变量 使之生效</a:t>
            </a:r>
            <a:endParaRPr lang="en-US" altLang="zh-CN" sz="1100" dirty="0"/>
          </a:p>
        </p:txBody>
      </p:sp>
      <p:sp>
        <p:nvSpPr>
          <p:cNvPr id="220" name="íšliḓ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4143449" y="-1535635"/>
            <a:ext cx="1592897" cy="239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</a:t>
            </a:r>
            <a:r>
              <a:rPr lang="en-US" altLang="zh-CN" sz="1100" dirty="0"/>
              <a:t> </a:t>
            </a:r>
            <a:r>
              <a:rPr lang="zh-CN" altLang="en-US" sz="1100" dirty="0"/>
              <a:t>解压</a:t>
            </a:r>
            <a:endParaRPr lang="en-US" altLang="zh-CN" sz="1100" dirty="0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3AE81623-7CD6-49D9-AB93-2743959343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7C9400A1-127B-443B-9890-1A43D9C469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5E96695E-50F1-42F2-BC25-869F2B0EF49D}"/>
              </a:ext>
            </a:extLst>
          </p:cNvPr>
          <p:cNvSpPr txBox="1"/>
          <p:nvPr/>
        </p:nvSpPr>
        <p:spPr>
          <a:xfrm>
            <a:off x="503436" y="1130300"/>
            <a:ext cx="8137127" cy="1077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" dirty="0"/>
              <a:t>使用 </a:t>
            </a:r>
            <a:r>
              <a:rPr lang="en-US" altLang="zh-CN" sz="100" dirty="0"/>
              <a:t>rm –r output </a:t>
            </a:r>
            <a:r>
              <a:rPr lang="zh-CN" altLang="en-US" sz="100" dirty="0"/>
              <a:t>删除</a:t>
            </a:r>
            <a:r>
              <a:rPr lang="en-US" altLang="zh-CN" sz="100" dirty="0"/>
              <a:t>output</a:t>
            </a:r>
            <a:r>
              <a:rPr lang="zh-CN" altLang="en-US" sz="100" dirty="0"/>
              <a:t>文件夹再执行其他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BB82027F-4FB8-4B48-940C-0BF5A4EAFF07}"/>
              </a:ext>
            </a:extLst>
          </p:cNvPr>
          <p:cNvSpPr txBox="1"/>
          <p:nvPr/>
        </p:nvSpPr>
        <p:spPr>
          <a:xfrm>
            <a:off x="503437" y="1309743"/>
            <a:ext cx="8137126" cy="1077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" b="1" dirty="0" err="1"/>
              <a:t>hadoop</a:t>
            </a:r>
            <a:r>
              <a:rPr lang="en-US" altLang="zh-CN" sz="100" b="1" dirty="0"/>
              <a:t> jar share/</a:t>
            </a:r>
            <a:r>
              <a:rPr lang="en-US" altLang="zh-CN" sz="100" b="1" dirty="0" err="1"/>
              <a:t>hadoop</a:t>
            </a:r>
            <a:r>
              <a:rPr lang="en-US" altLang="zh-CN" sz="100" b="1" dirty="0"/>
              <a:t>/</a:t>
            </a:r>
            <a:r>
              <a:rPr lang="en-US" altLang="zh-CN" sz="100" b="1" dirty="0" err="1"/>
              <a:t>mapreduce</a:t>
            </a:r>
            <a:r>
              <a:rPr lang="en-US" altLang="zh-CN" sz="100" b="1" dirty="0"/>
              <a:t>/hadoop-mapreduce-examples-3.1.2.jar pi 16 10000</a:t>
            </a:r>
            <a:endParaRPr lang="zh-CN" altLang="en-US" sz="100" b="1" dirty="0"/>
          </a:p>
        </p:txBody>
      </p:sp>
      <p:pic>
        <p:nvPicPr>
          <p:cNvPr id="20481" name="Picture 1" descr="L:\Water\Documents\Tencent Files\1106367305\Image\C2C\}[1J5K2(K)(PU%@[TDI}O}7.jpg">
            <a:extLst>
              <a:ext uri="{FF2B5EF4-FFF2-40B4-BE49-F238E27FC236}">
                <a16:creationId xmlns:a16="http://schemas.microsoft.com/office/drawing/2014/main" id="{0422F658-37AE-49A2-A974-88FBBAE826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" t="89036" r="750"/>
          <a:stretch>
            <a:fillRect/>
          </a:stretch>
        </p:blipFill>
        <p:spPr bwMode="auto">
          <a:xfrm>
            <a:off x="1090017" y="5198290"/>
            <a:ext cx="6962776" cy="512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1" descr="L:\Water\Documents\Tencent Files\1106367305\Image\C2C\9FA7S({PD5ZSW5%KC_S4$4F.jpg">
            <a:extLst>
              <a:ext uri="{FF2B5EF4-FFF2-40B4-BE49-F238E27FC236}">
                <a16:creationId xmlns:a16="http://schemas.microsoft.com/office/drawing/2014/main" id="{1E839B8E-FF8C-4260-84BD-B6D46BE4A12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1" t="84610" b="4179"/>
          <a:stretch>
            <a:fillRect/>
          </a:stretch>
        </p:blipFill>
        <p:spPr bwMode="auto">
          <a:xfrm>
            <a:off x="1082629" y="3972412"/>
            <a:ext cx="6978742" cy="509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" descr="L:\Water\Documents\Tencent Files\1106367305\Image\C2C\KJD@`IB[N55]76]%]M5EN0U.png">
            <a:extLst>
              <a:ext uri="{FF2B5EF4-FFF2-40B4-BE49-F238E27FC236}">
                <a16:creationId xmlns:a16="http://schemas.microsoft.com/office/drawing/2014/main" id="{47399E06-EA43-49A7-816F-57E67A8FD38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816"/>
          <a:stretch>
            <a:fillRect/>
          </a:stretch>
        </p:blipFill>
        <p:spPr bwMode="auto">
          <a:xfrm>
            <a:off x="1076325" y="1553347"/>
            <a:ext cx="6991350" cy="1702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12533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500">
        <p159:morph option="byObject"/>
      </p:transition>
    </mc:Choice>
    <mc:Fallback xmlns="">
      <p:transition spd="slow" advTm="500"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59C6123-E1E1-4B34-9D2C-8FFE67333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400" dirty="0"/>
              <a:t>Hadoop</a:t>
            </a:r>
            <a:r>
              <a:rPr lang="zh-CN" altLang="en-US" sz="2400" dirty="0"/>
              <a:t>的部署 </a:t>
            </a:r>
            <a:r>
              <a:rPr lang="en-US" altLang="zh-CN" sz="2400" dirty="0"/>
              <a:t>– </a:t>
            </a:r>
            <a:r>
              <a:rPr lang="zh-CN" altLang="en-US" sz="2400" dirty="0"/>
              <a:t>完成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FC6CDF-0342-4E59-84C6-20C3D90F8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5</a:t>
            </a:fld>
            <a:endParaRPr lang="zh-CN" altLang="en-US"/>
          </a:p>
        </p:txBody>
      </p:sp>
      <p:sp>
        <p:nvSpPr>
          <p:cNvPr id="195" name="iṧḻîďè">
            <a:extLst>
              <a:ext uri="{FF2B5EF4-FFF2-40B4-BE49-F238E27FC236}">
                <a16:creationId xmlns:a16="http://schemas.microsoft.com/office/drawing/2014/main" id="{6FC8272D-4563-47EB-B741-E738A21C2623}"/>
              </a:ext>
            </a:extLst>
          </p:cNvPr>
          <p:cNvSpPr/>
          <p:nvPr/>
        </p:nvSpPr>
        <p:spPr bwMode="auto">
          <a:xfrm>
            <a:off x="4127680" y="4366718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 dirty="0">
                <a:solidFill>
                  <a:schemeClr val="bg1"/>
                </a:solidFill>
              </a:rPr>
              <a:t>搞</a:t>
            </a:r>
            <a:r>
              <a:rPr lang="zh-CN" altLang="en-US" sz="1750" b="1">
                <a:solidFill>
                  <a:schemeClr val="bg1"/>
                </a:solidFill>
              </a:rPr>
              <a:t>定！</a:t>
            </a:r>
            <a:endParaRPr lang="en-US" altLang="zh-CN" sz="1750" b="1" dirty="0">
              <a:solidFill>
                <a:schemeClr val="bg1"/>
              </a:solidFill>
            </a:endParaRPr>
          </a:p>
        </p:txBody>
      </p:sp>
      <p:sp>
        <p:nvSpPr>
          <p:cNvPr id="196" name="îŝḻiḋé">
            <a:extLst>
              <a:ext uri="{FF2B5EF4-FFF2-40B4-BE49-F238E27FC236}">
                <a16:creationId xmlns:a16="http://schemas.microsoft.com/office/drawing/2014/main" id="{C05C75D7-4258-49B9-958F-F2EEF0B840E0}"/>
              </a:ext>
            </a:extLst>
          </p:cNvPr>
          <p:cNvSpPr/>
          <p:nvPr/>
        </p:nvSpPr>
        <p:spPr bwMode="auto">
          <a:xfrm>
            <a:off x="4532019" y="3878936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/>
              <a:t>测试</a:t>
            </a:r>
            <a:endParaRPr lang="en-US" altLang="zh-CN" sz="1750" b="1" dirty="0"/>
          </a:p>
        </p:txBody>
      </p:sp>
      <p:sp>
        <p:nvSpPr>
          <p:cNvPr id="197" name="íṥḷíďê">
            <a:extLst>
              <a:ext uri="{FF2B5EF4-FFF2-40B4-BE49-F238E27FC236}">
                <a16:creationId xmlns:a16="http://schemas.microsoft.com/office/drawing/2014/main" id="{D4FCC7AE-5767-4EC4-BB68-B94457D3AE6D}"/>
              </a:ext>
            </a:extLst>
          </p:cNvPr>
          <p:cNvSpPr/>
          <p:nvPr/>
        </p:nvSpPr>
        <p:spPr bwMode="auto">
          <a:xfrm>
            <a:off x="4927756" y="3391154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/>
              <a:t>配置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8" name="ïś1ïḓè">
            <a:extLst>
              <a:ext uri="{FF2B5EF4-FFF2-40B4-BE49-F238E27FC236}">
                <a16:creationId xmlns:a16="http://schemas.microsoft.com/office/drawing/2014/main" id="{F32E844B-E27C-4A92-9B60-95E4AD88D81F}"/>
              </a:ext>
            </a:extLst>
          </p:cNvPr>
          <p:cNvSpPr/>
          <p:nvPr/>
        </p:nvSpPr>
        <p:spPr bwMode="auto">
          <a:xfrm>
            <a:off x="5331236" y="2903372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sz="1750" b="1" dirty="0"/>
              <a:t>安装</a:t>
            </a:r>
            <a:r>
              <a:rPr lang="en-US" altLang="zh-CN" sz="1750" b="1" dirty="0"/>
              <a:t>Hadoop</a:t>
            </a:r>
          </a:p>
        </p:txBody>
      </p:sp>
      <p:sp>
        <p:nvSpPr>
          <p:cNvPr id="199" name="îśļïḍè">
            <a:extLst>
              <a:ext uri="{FF2B5EF4-FFF2-40B4-BE49-F238E27FC236}">
                <a16:creationId xmlns:a16="http://schemas.microsoft.com/office/drawing/2014/main" id="{F812BB55-77DE-4E23-95E6-156A22FAD363}"/>
              </a:ext>
            </a:extLst>
          </p:cNvPr>
          <p:cNvSpPr/>
          <p:nvPr/>
        </p:nvSpPr>
        <p:spPr bwMode="auto">
          <a:xfrm>
            <a:off x="5707535" y="2415589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配置</a:t>
            </a:r>
            <a:r>
              <a:rPr lang="en-US" altLang="zh-CN" b="1" dirty="0"/>
              <a:t>JAVA</a:t>
            </a:r>
          </a:p>
        </p:txBody>
      </p:sp>
      <p:sp>
        <p:nvSpPr>
          <p:cNvPr id="200" name="ï$1íḍé">
            <a:extLst>
              <a:ext uri="{FF2B5EF4-FFF2-40B4-BE49-F238E27FC236}">
                <a16:creationId xmlns:a16="http://schemas.microsoft.com/office/drawing/2014/main" id="{48245F16-84E7-4201-9485-85B5E5B15ECD}"/>
              </a:ext>
            </a:extLst>
          </p:cNvPr>
          <p:cNvSpPr/>
          <p:nvPr/>
        </p:nvSpPr>
        <p:spPr bwMode="auto">
          <a:xfrm>
            <a:off x="6097761" y="1927807"/>
            <a:ext cx="2441283" cy="510573"/>
          </a:xfrm>
          <a:prstGeom prst="parallelogram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zh-CN" altLang="en-US" b="1" dirty="0"/>
              <a:t>安装</a:t>
            </a:r>
            <a:r>
              <a:rPr lang="en-US" altLang="zh-CN" b="1" dirty="0"/>
              <a:t>JAVA</a:t>
            </a:r>
          </a:p>
        </p:txBody>
      </p:sp>
      <p:sp>
        <p:nvSpPr>
          <p:cNvPr id="201" name="îṥľïďê">
            <a:extLst>
              <a:ext uri="{FF2B5EF4-FFF2-40B4-BE49-F238E27FC236}">
                <a16:creationId xmlns:a16="http://schemas.microsoft.com/office/drawing/2014/main" id="{920DFBAA-02E5-4206-86B0-FE10F93A7509}"/>
              </a:ext>
            </a:extLst>
          </p:cNvPr>
          <p:cNvSpPr/>
          <p:nvPr/>
        </p:nvSpPr>
        <p:spPr bwMode="auto">
          <a:xfrm>
            <a:off x="3815241" y="3025429"/>
            <a:ext cx="2806439" cy="929672"/>
          </a:xfrm>
          <a:custGeom>
            <a:avLst/>
            <a:gdLst>
              <a:gd name="T0" fmla="*/ 179 w 203"/>
              <a:gd name="T1" fmla="*/ 82 h 82"/>
              <a:gd name="T2" fmla="*/ 203 w 203"/>
              <a:gd name="T3" fmla="*/ 29 h 82"/>
              <a:gd name="T4" fmla="*/ 65 w 203"/>
              <a:gd name="T5" fmla="*/ 27 h 82"/>
              <a:gd name="T6" fmla="*/ 59 w 203"/>
              <a:gd name="T7" fmla="*/ 0 h 82"/>
              <a:gd name="T8" fmla="*/ 59 w 203"/>
              <a:gd name="T9" fmla="*/ 0 h 82"/>
              <a:gd name="T10" fmla="*/ 0 w 203"/>
              <a:gd name="T11" fmla="*/ 80 h 82"/>
              <a:gd name="T12" fmla="*/ 61 w 203"/>
              <a:gd name="T13" fmla="*/ 82 h 82"/>
              <a:gd name="T14" fmla="*/ 179 w 203"/>
              <a:gd name="T15" fmla="*/ 8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3" h="82">
                <a:moveTo>
                  <a:pt x="179" y="82"/>
                </a:moveTo>
                <a:lnTo>
                  <a:pt x="203" y="29"/>
                </a:lnTo>
                <a:lnTo>
                  <a:pt x="65" y="27"/>
                </a:lnTo>
                <a:lnTo>
                  <a:pt x="59" y="0"/>
                </a:lnTo>
                <a:lnTo>
                  <a:pt x="59" y="0"/>
                </a:lnTo>
                <a:lnTo>
                  <a:pt x="0" y="80"/>
                </a:lnTo>
                <a:lnTo>
                  <a:pt x="61" y="82"/>
                </a:lnTo>
                <a:lnTo>
                  <a:pt x="179" y="8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2" name="i$ḻíḋè">
            <a:extLst>
              <a:ext uri="{FF2B5EF4-FFF2-40B4-BE49-F238E27FC236}">
                <a16:creationId xmlns:a16="http://schemas.microsoft.com/office/drawing/2014/main" id="{430BE7EB-B6F0-4F05-80EA-1F517165029F}"/>
              </a:ext>
            </a:extLst>
          </p:cNvPr>
          <p:cNvSpPr/>
          <p:nvPr/>
        </p:nvSpPr>
        <p:spPr bwMode="auto">
          <a:xfrm>
            <a:off x="5924572" y="1927807"/>
            <a:ext cx="1048730" cy="185748"/>
          </a:xfrm>
          <a:prstGeom prst="triangle">
            <a:avLst>
              <a:gd name="adj" fmla="val 14726"/>
            </a:avLst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03" name="işľiḋe">
            <a:extLst>
              <a:ext uri="{FF2B5EF4-FFF2-40B4-BE49-F238E27FC236}">
                <a16:creationId xmlns:a16="http://schemas.microsoft.com/office/drawing/2014/main" id="{E4DECB97-43D1-4D26-8C48-41447675AE79}"/>
              </a:ext>
            </a:extLst>
          </p:cNvPr>
          <p:cNvSpPr/>
          <p:nvPr/>
        </p:nvSpPr>
        <p:spPr bwMode="auto">
          <a:xfrm>
            <a:off x="2656434" y="1800983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4" name="iś1íďé">
            <a:extLst>
              <a:ext uri="{FF2B5EF4-FFF2-40B4-BE49-F238E27FC236}">
                <a16:creationId xmlns:a16="http://schemas.microsoft.com/office/drawing/2014/main" id="{6E7EA96A-F20A-4912-AC31-63A0F19E66DE}"/>
              </a:ext>
            </a:extLst>
          </p:cNvPr>
          <p:cNvSpPr/>
          <p:nvPr/>
        </p:nvSpPr>
        <p:spPr bwMode="auto">
          <a:xfrm>
            <a:off x="2246957" y="2288765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5" name="ïŝlíḋe">
            <a:extLst>
              <a:ext uri="{FF2B5EF4-FFF2-40B4-BE49-F238E27FC236}">
                <a16:creationId xmlns:a16="http://schemas.microsoft.com/office/drawing/2014/main" id="{66D30D6F-26C9-4C2C-BC01-900AC07DC57E}"/>
              </a:ext>
            </a:extLst>
          </p:cNvPr>
          <p:cNvSpPr/>
          <p:nvPr/>
        </p:nvSpPr>
        <p:spPr bwMode="auto">
          <a:xfrm>
            <a:off x="1832342" y="2776548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6" name="îSliďè">
            <a:extLst>
              <a:ext uri="{FF2B5EF4-FFF2-40B4-BE49-F238E27FC236}">
                <a16:creationId xmlns:a16="http://schemas.microsoft.com/office/drawing/2014/main" id="{2F6D5554-EACD-4DDD-892F-2E5F97A9C421}"/>
              </a:ext>
            </a:extLst>
          </p:cNvPr>
          <p:cNvSpPr/>
          <p:nvPr/>
        </p:nvSpPr>
        <p:spPr bwMode="auto">
          <a:xfrm>
            <a:off x="1422890" y="3264330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7" name="îSliďé">
            <a:extLst>
              <a:ext uri="{FF2B5EF4-FFF2-40B4-BE49-F238E27FC236}">
                <a16:creationId xmlns:a16="http://schemas.microsoft.com/office/drawing/2014/main" id="{2E278F3F-C8D8-4E2A-A3EA-29ADCF1A02AA}"/>
              </a:ext>
            </a:extLst>
          </p:cNvPr>
          <p:cNvSpPr/>
          <p:nvPr/>
        </p:nvSpPr>
        <p:spPr bwMode="auto">
          <a:xfrm>
            <a:off x="1013267" y="3752112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8" name="îs1iďé">
            <a:extLst>
              <a:ext uri="{FF2B5EF4-FFF2-40B4-BE49-F238E27FC236}">
                <a16:creationId xmlns:a16="http://schemas.microsoft.com/office/drawing/2014/main" id="{EB74D0C2-5677-4F3F-A043-44D01A3F3D48}"/>
              </a:ext>
            </a:extLst>
          </p:cNvPr>
          <p:cNvSpPr/>
          <p:nvPr/>
        </p:nvSpPr>
        <p:spPr bwMode="auto">
          <a:xfrm>
            <a:off x="603765" y="4239894"/>
            <a:ext cx="4316869" cy="817124"/>
          </a:xfrm>
          <a:custGeom>
            <a:avLst/>
            <a:gdLst>
              <a:gd name="connsiteX0" fmla="*/ 994185 w 6372708"/>
              <a:gd name="connsiteY0" fmla="*/ 0 h 1354923"/>
              <a:gd name="connsiteX1" fmla="*/ 1147989 w 6372708"/>
              <a:gd name="connsiteY1" fmla="*/ 508310 h 1354923"/>
              <a:gd name="connsiteX2" fmla="*/ 6372708 w 6372708"/>
              <a:gd name="connsiteY2" fmla="*/ 508310 h 1354923"/>
              <a:gd name="connsiteX3" fmla="*/ 5737342 w 6372708"/>
              <a:gd name="connsiteY3" fmla="*/ 1354923 h 1354923"/>
              <a:gd name="connsiteX4" fmla="*/ 1404156 w 6372708"/>
              <a:gd name="connsiteY4" fmla="*/ 1354923 h 1354923"/>
              <a:gd name="connsiteX5" fmla="*/ 0 w 6372708"/>
              <a:gd name="connsiteY5" fmla="*/ 1354923 h 1354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2708" h="1354923">
                <a:moveTo>
                  <a:pt x="994185" y="0"/>
                </a:moveTo>
                <a:lnTo>
                  <a:pt x="1147989" y="508310"/>
                </a:lnTo>
                <a:lnTo>
                  <a:pt x="6372708" y="508310"/>
                </a:lnTo>
                <a:lnTo>
                  <a:pt x="5737342" y="1354923"/>
                </a:lnTo>
                <a:lnTo>
                  <a:pt x="1404156" y="1354923"/>
                </a:lnTo>
                <a:lnTo>
                  <a:pt x="0" y="1354923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endParaRPr lang="en-US" altLang="zh-CN" sz="1100" dirty="0">
              <a:solidFill>
                <a:schemeClr val="bg1"/>
              </a:solidFill>
            </a:endParaRPr>
          </a:p>
        </p:txBody>
      </p:sp>
      <p:sp>
        <p:nvSpPr>
          <p:cNvPr id="209" name="ïṣḻïḋe">
            <a:extLst>
              <a:ext uri="{FF2B5EF4-FFF2-40B4-BE49-F238E27FC236}">
                <a16:creationId xmlns:a16="http://schemas.microsoft.com/office/drawing/2014/main" id="{7709F84E-C33F-462F-B538-51CB71C9284E}"/>
              </a:ext>
            </a:extLst>
          </p:cNvPr>
          <p:cNvSpPr/>
          <p:nvPr/>
        </p:nvSpPr>
        <p:spPr bwMode="auto">
          <a:xfrm>
            <a:off x="3339328" y="2225720"/>
            <a:ext cx="283355" cy="282961"/>
          </a:xfrm>
          <a:custGeom>
            <a:avLst/>
            <a:gdLst>
              <a:gd name="T0" fmla="*/ 400 w 11264"/>
              <a:gd name="T1" fmla="*/ 7099 h 11264"/>
              <a:gd name="T2" fmla="*/ 4165 w 11264"/>
              <a:gd name="T3" fmla="*/ 7099 h 11264"/>
              <a:gd name="T4" fmla="*/ 4165 w 11264"/>
              <a:gd name="T5" fmla="*/ 10864 h 11264"/>
              <a:gd name="T6" fmla="*/ 4565 w 11264"/>
              <a:gd name="T7" fmla="*/ 11264 h 11264"/>
              <a:gd name="T8" fmla="*/ 6699 w 11264"/>
              <a:gd name="T9" fmla="*/ 11264 h 11264"/>
              <a:gd name="T10" fmla="*/ 7099 w 11264"/>
              <a:gd name="T11" fmla="*/ 10864 h 11264"/>
              <a:gd name="T12" fmla="*/ 7099 w 11264"/>
              <a:gd name="T13" fmla="*/ 7099 h 11264"/>
              <a:gd name="T14" fmla="*/ 10864 w 11264"/>
              <a:gd name="T15" fmla="*/ 7099 h 11264"/>
              <a:gd name="T16" fmla="*/ 11264 w 11264"/>
              <a:gd name="T17" fmla="*/ 6699 h 11264"/>
              <a:gd name="T18" fmla="*/ 11264 w 11264"/>
              <a:gd name="T19" fmla="*/ 4565 h 11264"/>
              <a:gd name="T20" fmla="*/ 10864 w 11264"/>
              <a:gd name="T21" fmla="*/ 4165 h 11264"/>
              <a:gd name="T22" fmla="*/ 7099 w 11264"/>
              <a:gd name="T23" fmla="*/ 4165 h 11264"/>
              <a:gd name="T24" fmla="*/ 7099 w 11264"/>
              <a:gd name="T25" fmla="*/ 400 h 11264"/>
              <a:gd name="T26" fmla="*/ 6699 w 11264"/>
              <a:gd name="T27" fmla="*/ 0 h 11264"/>
              <a:gd name="T28" fmla="*/ 4565 w 11264"/>
              <a:gd name="T29" fmla="*/ 0 h 11264"/>
              <a:gd name="T30" fmla="*/ 4165 w 11264"/>
              <a:gd name="T31" fmla="*/ 400 h 11264"/>
              <a:gd name="T32" fmla="*/ 4165 w 11264"/>
              <a:gd name="T33" fmla="*/ 4165 h 11264"/>
              <a:gd name="T34" fmla="*/ 400 w 11264"/>
              <a:gd name="T35" fmla="*/ 4165 h 11264"/>
              <a:gd name="T36" fmla="*/ 0 w 11264"/>
              <a:gd name="T37" fmla="*/ 4565 h 11264"/>
              <a:gd name="T38" fmla="*/ 0 w 11264"/>
              <a:gd name="T39" fmla="*/ 6699 h 11264"/>
              <a:gd name="T40" fmla="*/ 400 w 11264"/>
              <a:gd name="T41" fmla="*/ 7099 h 11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264" h="11264">
                <a:moveTo>
                  <a:pt x="400" y="7099"/>
                </a:moveTo>
                <a:lnTo>
                  <a:pt x="4165" y="7099"/>
                </a:lnTo>
                <a:lnTo>
                  <a:pt x="4165" y="10864"/>
                </a:lnTo>
                <a:cubicBezTo>
                  <a:pt x="4165" y="11085"/>
                  <a:pt x="4344" y="11264"/>
                  <a:pt x="4565" y="11264"/>
                </a:cubicBezTo>
                <a:lnTo>
                  <a:pt x="6699" y="11264"/>
                </a:lnTo>
                <a:cubicBezTo>
                  <a:pt x="6920" y="11264"/>
                  <a:pt x="7099" y="11085"/>
                  <a:pt x="7099" y="10864"/>
                </a:cubicBezTo>
                <a:lnTo>
                  <a:pt x="7099" y="7099"/>
                </a:lnTo>
                <a:lnTo>
                  <a:pt x="10864" y="7099"/>
                </a:lnTo>
                <a:cubicBezTo>
                  <a:pt x="11085" y="7099"/>
                  <a:pt x="11264" y="6920"/>
                  <a:pt x="11264" y="6699"/>
                </a:cubicBezTo>
                <a:lnTo>
                  <a:pt x="11264" y="4565"/>
                </a:lnTo>
                <a:cubicBezTo>
                  <a:pt x="11264" y="4344"/>
                  <a:pt x="11085" y="4165"/>
                  <a:pt x="10864" y="4165"/>
                </a:cubicBezTo>
                <a:lnTo>
                  <a:pt x="7099" y="4165"/>
                </a:lnTo>
                <a:lnTo>
                  <a:pt x="7099" y="400"/>
                </a:lnTo>
                <a:cubicBezTo>
                  <a:pt x="7099" y="179"/>
                  <a:pt x="6920" y="0"/>
                  <a:pt x="6699" y="0"/>
                </a:cubicBezTo>
                <a:lnTo>
                  <a:pt x="4565" y="0"/>
                </a:lnTo>
                <a:cubicBezTo>
                  <a:pt x="4344" y="0"/>
                  <a:pt x="4165" y="179"/>
                  <a:pt x="4165" y="400"/>
                </a:cubicBezTo>
                <a:lnTo>
                  <a:pt x="4165" y="4165"/>
                </a:lnTo>
                <a:lnTo>
                  <a:pt x="400" y="4165"/>
                </a:lnTo>
                <a:cubicBezTo>
                  <a:pt x="179" y="4165"/>
                  <a:pt x="0" y="4344"/>
                  <a:pt x="0" y="4565"/>
                </a:cubicBezTo>
                <a:lnTo>
                  <a:pt x="0" y="6699"/>
                </a:lnTo>
                <a:cubicBezTo>
                  <a:pt x="0" y="6920"/>
                  <a:pt x="179" y="7099"/>
                  <a:pt x="400" y="7099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0" name="îsḷïde">
            <a:extLst>
              <a:ext uri="{FF2B5EF4-FFF2-40B4-BE49-F238E27FC236}">
                <a16:creationId xmlns:a16="http://schemas.microsoft.com/office/drawing/2014/main" id="{F7027C89-1BCC-4A00-9535-016DE4C49FD7}"/>
              </a:ext>
            </a:extLst>
          </p:cNvPr>
          <p:cNvSpPr/>
          <p:nvPr/>
        </p:nvSpPr>
        <p:spPr bwMode="auto">
          <a:xfrm>
            <a:off x="2952042" y="2707851"/>
            <a:ext cx="277477" cy="283355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  <a:gd name="connsiteX107" fmla="*/ 373273 h 605239"/>
              <a:gd name="connsiteY107" fmla="*/ 373273 h 605239"/>
              <a:gd name="connsiteX108" fmla="*/ 373273 h 605239"/>
              <a:gd name="connsiteY108" fmla="*/ 373273 h 605239"/>
              <a:gd name="connsiteX109" fmla="*/ 373273 h 605239"/>
              <a:gd name="connsiteY109" fmla="*/ 373273 h 605239"/>
              <a:gd name="connsiteX110" fmla="*/ 373273 h 605239"/>
              <a:gd name="connsiteY110" fmla="*/ 373273 h 605239"/>
              <a:gd name="connsiteX111" fmla="*/ 373273 h 605239"/>
              <a:gd name="connsiteY111" fmla="*/ 373273 h 605239"/>
              <a:gd name="connsiteX112" fmla="*/ 373273 h 605239"/>
              <a:gd name="connsiteY112" fmla="*/ 373273 h 605239"/>
              <a:gd name="connsiteX113" fmla="*/ 373273 h 605239"/>
              <a:gd name="connsiteY113" fmla="*/ 373273 h 605239"/>
              <a:gd name="connsiteX114" fmla="*/ 373273 h 605239"/>
              <a:gd name="connsiteY114" fmla="*/ 373273 h 605239"/>
              <a:gd name="connsiteX115" fmla="*/ 373273 h 605239"/>
              <a:gd name="connsiteY115" fmla="*/ 373273 h 605239"/>
              <a:gd name="connsiteX116" fmla="*/ 373273 h 605239"/>
              <a:gd name="connsiteY116" fmla="*/ 373273 h 605239"/>
              <a:gd name="connsiteX117" fmla="*/ 373273 h 605239"/>
              <a:gd name="connsiteY117" fmla="*/ 373273 h 605239"/>
              <a:gd name="connsiteX118" fmla="*/ 373273 h 605239"/>
              <a:gd name="connsiteY118" fmla="*/ 373273 h 605239"/>
              <a:gd name="connsiteX119" fmla="*/ 373273 h 605239"/>
              <a:gd name="connsiteY119" fmla="*/ 373273 h 605239"/>
              <a:gd name="connsiteX120" fmla="*/ 373273 h 605239"/>
              <a:gd name="connsiteY120" fmla="*/ 373273 h 605239"/>
              <a:gd name="connsiteX121" fmla="*/ 373273 h 605239"/>
              <a:gd name="connsiteY121" fmla="*/ 373273 h 605239"/>
              <a:gd name="connsiteX122" fmla="*/ 373273 h 605239"/>
              <a:gd name="connsiteY122" fmla="*/ 373273 h 605239"/>
              <a:gd name="connsiteX123" fmla="*/ 373273 h 605239"/>
              <a:gd name="connsiteY123" fmla="*/ 373273 h 605239"/>
              <a:gd name="connsiteX124" fmla="*/ 373273 h 605239"/>
              <a:gd name="connsiteY124" fmla="*/ 373273 h 605239"/>
              <a:gd name="connsiteX125" fmla="*/ 373273 h 605239"/>
              <a:gd name="connsiteY125" fmla="*/ 373273 h 605239"/>
              <a:gd name="connsiteX126" fmla="*/ 373273 h 605239"/>
              <a:gd name="connsiteY126" fmla="*/ 373273 h 605239"/>
              <a:gd name="connsiteX127" fmla="*/ 373273 h 605239"/>
              <a:gd name="connsiteY127" fmla="*/ 373273 h 605239"/>
              <a:gd name="connsiteX128" fmla="*/ 373273 h 605239"/>
              <a:gd name="connsiteY128" fmla="*/ 373273 h 605239"/>
              <a:gd name="connsiteX129" fmla="*/ 373273 h 605239"/>
              <a:gd name="connsiteY12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593733" h="606309">
                <a:moveTo>
                  <a:pt x="353250" y="302855"/>
                </a:moveTo>
                <a:cubicBezTo>
                  <a:pt x="318468" y="302855"/>
                  <a:pt x="290232" y="331146"/>
                  <a:pt x="290232" y="365879"/>
                </a:cubicBezTo>
                <a:cubicBezTo>
                  <a:pt x="290232" y="374189"/>
                  <a:pt x="296964" y="380912"/>
                  <a:pt x="305285" y="380912"/>
                </a:cubicBezTo>
                <a:cubicBezTo>
                  <a:pt x="313607" y="380912"/>
                  <a:pt x="320338" y="374189"/>
                  <a:pt x="320338" y="365879"/>
                </a:cubicBezTo>
                <a:cubicBezTo>
                  <a:pt x="320338" y="347672"/>
                  <a:pt x="335111" y="333014"/>
                  <a:pt x="353250" y="333014"/>
                </a:cubicBezTo>
                <a:cubicBezTo>
                  <a:pt x="361665" y="333014"/>
                  <a:pt x="368397" y="326291"/>
                  <a:pt x="368397" y="317888"/>
                </a:cubicBezTo>
                <a:cubicBezTo>
                  <a:pt x="368397" y="309578"/>
                  <a:pt x="361665" y="302855"/>
                  <a:pt x="353250" y="302855"/>
                </a:cubicBezTo>
                <a:close/>
                <a:moveTo>
                  <a:pt x="353250" y="265041"/>
                </a:moveTo>
                <a:cubicBezTo>
                  <a:pt x="409163" y="265041"/>
                  <a:pt x="454229" y="310232"/>
                  <a:pt x="454229" y="365879"/>
                </a:cubicBezTo>
                <a:cubicBezTo>
                  <a:pt x="454229" y="421527"/>
                  <a:pt x="408976" y="466717"/>
                  <a:pt x="353250" y="466717"/>
                </a:cubicBezTo>
                <a:cubicBezTo>
                  <a:pt x="297525" y="466717"/>
                  <a:pt x="252271" y="421527"/>
                  <a:pt x="252271" y="365879"/>
                </a:cubicBezTo>
                <a:cubicBezTo>
                  <a:pt x="252271" y="310232"/>
                  <a:pt x="297431" y="265041"/>
                  <a:pt x="353250" y="265041"/>
                </a:cubicBezTo>
                <a:close/>
                <a:moveTo>
                  <a:pt x="427779" y="133781"/>
                </a:moveTo>
                <a:cubicBezTo>
                  <a:pt x="432818" y="131960"/>
                  <a:pt x="438547" y="132054"/>
                  <a:pt x="443784" y="134482"/>
                </a:cubicBezTo>
                <a:lnTo>
                  <a:pt x="473245" y="148209"/>
                </a:lnTo>
                <a:cubicBezTo>
                  <a:pt x="483720" y="153158"/>
                  <a:pt x="488209" y="165671"/>
                  <a:pt x="483346" y="176130"/>
                </a:cubicBezTo>
                <a:lnTo>
                  <a:pt x="470252" y="203957"/>
                </a:lnTo>
                <a:cubicBezTo>
                  <a:pt x="492231" y="219646"/>
                  <a:pt x="511123" y="240003"/>
                  <a:pt x="525526" y="264095"/>
                </a:cubicBezTo>
                <a:lnTo>
                  <a:pt x="554426" y="253636"/>
                </a:lnTo>
                <a:cubicBezTo>
                  <a:pt x="565368" y="249714"/>
                  <a:pt x="577340" y="255411"/>
                  <a:pt x="581361" y="266243"/>
                </a:cubicBezTo>
                <a:lnTo>
                  <a:pt x="592491" y="296592"/>
                </a:lnTo>
                <a:cubicBezTo>
                  <a:pt x="596419" y="307612"/>
                  <a:pt x="590714" y="319564"/>
                  <a:pt x="579865" y="323486"/>
                </a:cubicBezTo>
                <a:lnTo>
                  <a:pt x="550965" y="333945"/>
                </a:lnTo>
                <a:cubicBezTo>
                  <a:pt x="555455" y="361586"/>
                  <a:pt x="553958" y="389414"/>
                  <a:pt x="547224" y="415561"/>
                </a:cubicBezTo>
                <a:lnTo>
                  <a:pt x="575095" y="428634"/>
                </a:lnTo>
                <a:cubicBezTo>
                  <a:pt x="585570" y="433490"/>
                  <a:pt x="590059" y="445910"/>
                  <a:pt x="585102" y="456649"/>
                </a:cubicBezTo>
                <a:lnTo>
                  <a:pt x="571354" y="485970"/>
                </a:lnTo>
                <a:cubicBezTo>
                  <a:pt x="566397" y="496429"/>
                  <a:pt x="553958" y="500911"/>
                  <a:pt x="543483" y="496056"/>
                </a:cubicBezTo>
                <a:lnTo>
                  <a:pt x="515238" y="482982"/>
                </a:lnTo>
                <a:cubicBezTo>
                  <a:pt x="499526" y="504833"/>
                  <a:pt x="479137" y="523510"/>
                  <a:pt x="455007" y="537704"/>
                </a:cubicBezTo>
                <a:lnTo>
                  <a:pt x="465763" y="567026"/>
                </a:lnTo>
                <a:cubicBezTo>
                  <a:pt x="469784" y="578045"/>
                  <a:pt x="463986" y="589997"/>
                  <a:pt x="453137" y="593919"/>
                </a:cubicBezTo>
                <a:lnTo>
                  <a:pt x="422741" y="605032"/>
                </a:lnTo>
                <a:cubicBezTo>
                  <a:pt x="411798" y="609047"/>
                  <a:pt x="399827" y="603258"/>
                  <a:pt x="395805" y="592425"/>
                </a:cubicBezTo>
                <a:lnTo>
                  <a:pt x="385050" y="562823"/>
                </a:lnTo>
                <a:cubicBezTo>
                  <a:pt x="357646" y="567212"/>
                  <a:pt x="330056" y="565718"/>
                  <a:pt x="304149" y="558995"/>
                </a:cubicBezTo>
                <a:lnTo>
                  <a:pt x="290682" y="587756"/>
                </a:lnTo>
                <a:cubicBezTo>
                  <a:pt x="285725" y="598215"/>
                  <a:pt x="273192" y="602697"/>
                  <a:pt x="262717" y="597841"/>
                </a:cubicBezTo>
                <a:lnTo>
                  <a:pt x="233350" y="584114"/>
                </a:lnTo>
                <a:cubicBezTo>
                  <a:pt x="222875" y="579165"/>
                  <a:pt x="218385" y="566652"/>
                  <a:pt x="223249" y="556193"/>
                </a:cubicBezTo>
                <a:lnTo>
                  <a:pt x="236810" y="527338"/>
                </a:lnTo>
                <a:cubicBezTo>
                  <a:pt x="215112" y="511650"/>
                  <a:pt x="196407" y="491480"/>
                  <a:pt x="182284" y="467668"/>
                </a:cubicBezTo>
                <a:lnTo>
                  <a:pt x="152169" y="478687"/>
                </a:lnTo>
                <a:cubicBezTo>
                  <a:pt x="141133" y="482609"/>
                  <a:pt x="129161" y="476912"/>
                  <a:pt x="125233" y="466080"/>
                </a:cubicBezTo>
                <a:lnTo>
                  <a:pt x="114104" y="435731"/>
                </a:lnTo>
                <a:cubicBezTo>
                  <a:pt x="110082" y="424712"/>
                  <a:pt x="115881" y="412759"/>
                  <a:pt x="126730" y="408837"/>
                </a:cubicBezTo>
                <a:lnTo>
                  <a:pt x="156845" y="397818"/>
                </a:lnTo>
                <a:cubicBezTo>
                  <a:pt x="153852" y="379422"/>
                  <a:pt x="153478" y="361026"/>
                  <a:pt x="155629" y="342910"/>
                </a:cubicBezTo>
                <a:lnTo>
                  <a:pt x="158622" y="343097"/>
                </a:lnTo>
                <a:cubicBezTo>
                  <a:pt x="181162" y="344030"/>
                  <a:pt x="200522" y="327408"/>
                  <a:pt x="203141" y="305370"/>
                </a:cubicBezTo>
                <a:cubicBezTo>
                  <a:pt x="207723" y="303876"/>
                  <a:pt x="212119" y="302195"/>
                  <a:pt x="216515" y="300515"/>
                </a:cubicBezTo>
                <a:cubicBezTo>
                  <a:pt x="220349" y="304063"/>
                  <a:pt x="224745" y="306958"/>
                  <a:pt x="229609" y="308919"/>
                </a:cubicBezTo>
                <a:cubicBezTo>
                  <a:pt x="219227" y="330957"/>
                  <a:pt x="214831" y="355983"/>
                  <a:pt x="217824" y="381943"/>
                </a:cubicBezTo>
                <a:cubicBezTo>
                  <a:pt x="226709" y="456462"/>
                  <a:pt x="294329" y="509876"/>
                  <a:pt x="368963" y="501192"/>
                </a:cubicBezTo>
                <a:cubicBezTo>
                  <a:pt x="443691" y="492320"/>
                  <a:pt x="497188" y="424899"/>
                  <a:pt x="488490" y="350287"/>
                </a:cubicBezTo>
                <a:cubicBezTo>
                  <a:pt x="479605" y="275675"/>
                  <a:pt x="411985" y="222260"/>
                  <a:pt x="337351" y="231038"/>
                </a:cubicBezTo>
                <a:cubicBezTo>
                  <a:pt x="324632" y="232532"/>
                  <a:pt x="312473" y="235707"/>
                  <a:pt x="301156" y="240376"/>
                </a:cubicBezTo>
                <a:cubicBezTo>
                  <a:pt x="299660" y="236268"/>
                  <a:pt x="297509" y="232345"/>
                  <a:pt x="294797" y="228890"/>
                </a:cubicBezTo>
                <a:cubicBezTo>
                  <a:pt x="297041" y="224688"/>
                  <a:pt x="299005" y="220393"/>
                  <a:pt x="300782" y="216097"/>
                </a:cubicBezTo>
                <a:cubicBezTo>
                  <a:pt x="311164" y="215817"/>
                  <a:pt x="320891" y="211802"/>
                  <a:pt x="328466" y="204891"/>
                </a:cubicBezTo>
                <a:cubicBezTo>
                  <a:pt x="336977" y="197141"/>
                  <a:pt x="341934" y="186589"/>
                  <a:pt x="342402" y="175103"/>
                </a:cubicBezTo>
                <a:lnTo>
                  <a:pt x="342776" y="166978"/>
                </a:lnTo>
                <a:cubicBezTo>
                  <a:pt x="363164" y="165764"/>
                  <a:pt x="383460" y="167912"/>
                  <a:pt x="402820" y="172768"/>
                </a:cubicBezTo>
                <a:lnTo>
                  <a:pt x="415913" y="144567"/>
                </a:lnTo>
                <a:cubicBezTo>
                  <a:pt x="418392" y="139338"/>
                  <a:pt x="422741" y="135602"/>
                  <a:pt x="427779" y="133781"/>
                </a:cubicBezTo>
                <a:close/>
                <a:moveTo>
                  <a:pt x="159906" y="88589"/>
                </a:moveTo>
                <a:cubicBezTo>
                  <a:pt x="142487" y="87818"/>
                  <a:pt x="124764" y="93678"/>
                  <a:pt x="110828" y="106378"/>
                </a:cubicBezTo>
                <a:cubicBezTo>
                  <a:pt x="96145" y="119731"/>
                  <a:pt x="88663" y="138127"/>
                  <a:pt x="88663" y="156523"/>
                </a:cubicBezTo>
                <a:cubicBezTo>
                  <a:pt x="88663" y="172958"/>
                  <a:pt x="94555" y="189393"/>
                  <a:pt x="106526" y="202467"/>
                </a:cubicBezTo>
                <a:cubicBezTo>
                  <a:pt x="131965" y="230294"/>
                  <a:pt x="175081" y="232162"/>
                  <a:pt x="202764" y="206762"/>
                </a:cubicBezTo>
                <a:cubicBezTo>
                  <a:pt x="217448" y="193409"/>
                  <a:pt x="224930" y="175013"/>
                  <a:pt x="224930" y="156523"/>
                </a:cubicBezTo>
                <a:cubicBezTo>
                  <a:pt x="224930" y="140088"/>
                  <a:pt x="219132" y="123653"/>
                  <a:pt x="207160" y="110580"/>
                </a:cubicBezTo>
                <a:cubicBezTo>
                  <a:pt x="194441" y="96760"/>
                  <a:pt x="177325" y="89359"/>
                  <a:pt x="159906" y="88589"/>
                </a:cubicBezTo>
                <a:close/>
                <a:moveTo>
                  <a:pt x="153289" y="17"/>
                </a:moveTo>
                <a:lnTo>
                  <a:pt x="173678" y="951"/>
                </a:lnTo>
                <a:cubicBezTo>
                  <a:pt x="180786" y="1325"/>
                  <a:pt x="186304" y="7114"/>
                  <a:pt x="186304" y="14118"/>
                </a:cubicBezTo>
                <a:lnTo>
                  <a:pt x="186304" y="14771"/>
                </a:lnTo>
                <a:lnTo>
                  <a:pt x="185462" y="34755"/>
                </a:lnTo>
                <a:cubicBezTo>
                  <a:pt x="201923" y="38677"/>
                  <a:pt x="217729" y="45774"/>
                  <a:pt x="231851" y="56232"/>
                </a:cubicBezTo>
                <a:lnTo>
                  <a:pt x="246535" y="42786"/>
                </a:lnTo>
                <a:cubicBezTo>
                  <a:pt x="251866" y="37930"/>
                  <a:pt x="260283" y="38303"/>
                  <a:pt x="265240" y="43626"/>
                </a:cubicBezTo>
                <a:lnTo>
                  <a:pt x="279082" y="58660"/>
                </a:lnTo>
                <a:cubicBezTo>
                  <a:pt x="281420" y="61275"/>
                  <a:pt x="282542" y="64450"/>
                  <a:pt x="282542" y="67625"/>
                </a:cubicBezTo>
                <a:cubicBezTo>
                  <a:pt x="282542" y="71173"/>
                  <a:pt x="281233" y="74722"/>
                  <a:pt x="278334" y="77337"/>
                </a:cubicBezTo>
                <a:lnTo>
                  <a:pt x="263744" y="90690"/>
                </a:lnTo>
                <a:cubicBezTo>
                  <a:pt x="273096" y="105537"/>
                  <a:pt x="278988" y="121973"/>
                  <a:pt x="281420" y="138781"/>
                </a:cubicBezTo>
                <a:lnTo>
                  <a:pt x="301061" y="139621"/>
                </a:lnTo>
                <a:cubicBezTo>
                  <a:pt x="308169" y="139995"/>
                  <a:pt x="313593" y="145878"/>
                  <a:pt x="313593" y="152788"/>
                </a:cubicBezTo>
                <a:lnTo>
                  <a:pt x="313593" y="153442"/>
                </a:lnTo>
                <a:lnTo>
                  <a:pt x="312751" y="173892"/>
                </a:lnTo>
                <a:cubicBezTo>
                  <a:pt x="312377" y="181083"/>
                  <a:pt x="306298" y="186779"/>
                  <a:pt x="298910" y="186405"/>
                </a:cubicBezTo>
                <a:lnTo>
                  <a:pt x="279456" y="185565"/>
                </a:lnTo>
                <a:cubicBezTo>
                  <a:pt x="275622" y="202093"/>
                  <a:pt x="268327" y="218061"/>
                  <a:pt x="257758" y="232162"/>
                </a:cubicBezTo>
                <a:lnTo>
                  <a:pt x="270852" y="246449"/>
                </a:lnTo>
                <a:cubicBezTo>
                  <a:pt x="273190" y="249064"/>
                  <a:pt x="274312" y="252145"/>
                  <a:pt x="274312" y="255414"/>
                </a:cubicBezTo>
                <a:cubicBezTo>
                  <a:pt x="274312" y="258869"/>
                  <a:pt x="273003" y="262511"/>
                  <a:pt x="270104" y="265126"/>
                </a:cubicBezTo>
                <a:lnTo>
                  <a:pt x="255046" y="278946"/>
                </a:lnTo>
                <a:cubicBezTo>
                  <a:pt x="249621" y="283802"/>
                  <a:pt x="241297" y="283428"/>
                  <a:pt x="236340" y="278106"/>
                </a:cubicBezTo>
                <a:lnTo>
                  <a:pt x="223247" y="263724"/>
                </a:lnTo>
                <a:cubicBezTo>
                  <a:pt x="208282" y="272970"/>
                  <a:pt x="191635" y="278853"/>
                  <a:pt x="174800" y="281187"/>
                </a:cubicBezTo>
                <a:lnTo>
                  <a:pt x="173958" y="300610"/>
                </a:lnTo>
                <a:cubicBezTo>
                  <a:pt x="173584" y="307801"/>
                  <a:pt x="167505" y="313590"/>
                  <a:pt x="160117" y="313217"/>
                </a:cubicBezTo>
                <a:lnTo>
                  <a:pt x="139634" y="312283"/>
                </a:lnTo>
                <a:cubicBezTo>
                  <a:pt x="132526" y="311909"/>
                  <a:pt x="127102" y="306120"/>
                  <a:pt x="127102" y="299116"/>
                </a:cubicBezTo>
                <a:lnTo>
                  <a:pt x="127102" y="298463"/>
                </a:lnTo>
                <a:lnTo>
                  <a:pt x="128037" y="279039"/>
                </a:lnTo>
                <a:cubicBezTo>
                  <a:pt x="111577" y="275211"/>
                  <a:pt x="95771" y="267834"/>
                  <a:pt x="81648" y="257281"/>
                </a:cubicBezTo>
                <a:lnTo>
                  <a:pt x="67058" y="270635"/>
                </a:lnTo>
                <a:cubicBezTo>
                  <a:pt x="61727" y="275491"/>
                  <a:pt x="53403" y="275117"/>
                  <a:pt x="48353" y="269701"/>
                </a:cubicBezTo>
                <a:lnTo>
                  <a:pt x="34511" y="254667"/>
                </a:lnTo>
                <a:cubicBezTo>
                  <a:pt x="32173" y="252052"/>
                  <a:pt x="31051" y="248970"/>
                  <a:pt x="31051" y="245702"/>
                </a:cubicBezTo>
                <a:cubicBezTo>
                  <a:pt x="31051" y="242247"/>
                  <a:pt x="32453" y="238605"/>
                  <a:pt x="35259" y="235990"/>
                </a:cubicBezTo>
                <a:lnTo>
                  <a:pt x="50036" y="222544"/>
                </a:lnTo>
                <a:cubicBezTo>
                  <a:pt x="40777" y="207696"/>
                  <a:pt x="35072" y="191261"/>
                  <a:pt x="32640" y="174639"/>
                </a:cubicBezTo>
                <a:lnTo>
                  <a:pt x="12626" y="173705"/>
                </a:lnTo>
                <a:cubicBezTo>
                  <a:pt x="5518" y="173332"/>
                  <a:pt x="0" y="167542"/>
                  <a:pt x="0" y="160539"/>
                </a:cubicBezTo>
                <a:lnTo>
                  <a:pt x="0" y="159885"/>
                </a:lnTo>
                <a:lnTo>
                  <a:pt x="842" y="139621"/>
                </a:lnTo>
                <a:cubicBezTo>
                  <a:pt x="1216" y="132431"/>
                  <a:pt x="7388" y="126642"/>
                  <a:pt x="14683" y="127015"/>
                </a:cubicBezTo>
                <a:lnTo>
                  <a:pt x="34885" y="127949"/>
                </a:lnTo>
                <a:cubicBezTo>
                  <a:pt x="38813" y="111514"/>
                  <a:pt x="46015" y="95826"/>
                  <a:pt x="56490" y="81819"/>
                </a:cubicBezTo>
                <a:lnTo>
                  <a:pt x="42741" y="66878"/>
                </a:lnTo>
                <a:cubicBezTo>
                  <a:pt x="40403" y="64263"/>
                  <a:pt x="39281" y="61182"/>
                  <a:pt x="39281" y="57913"/>
                </a:cubicBezTo>
                <a:cubicBezTo>
                  <a:pt x="39281" y="54458"/>
                  <a:pt x="40684" y="50816"/>
                  <a:pt x="43490" y="48202"/>
                </a:cubicBezTo>
                <a:lnTo>
                  <a:pt x="58641" y="34381"/>
                </a:lnTo>
                <a:cubicBezTo>
                  <a:pt x="63972" y="29526"/>
                  <a:pt x="72296" y="29899"/>
                  <a:pt x="77346" y="35315"/>
                </a:cubicBezTo>
                <a:lnTo>
                  <a:pt x="90627" y="50256"/>
                </a:lnTo>
                <a:cubicBezTo>
                  <a:pt x="105591" y="41011"/>
                  <a:pt x="121864" y="35128"/>
                  <a:pt x="138512" y="32794"/>
                </a:cubicBezTo>
                <a:lnTo>
                  <a:pt x="139447" y="12624"/>
                </a:lnTo>
                <a:cubicBezTo>
                  <a:pt x="139821" y="5433"/>
                  <a:pt x="145901" y="-356"/>
                  <a:pt x="153289" y="1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1" name="îṣḻïḓè">
            <a:extLst>
              <a:ext uri="{FF2B5EF4-FFF2-40B4-BE49-F238E27FC236}">
                <a16:creationId xmlns:a16="http://schemas.microsoft.com/office/drawing/2014/main" id="{30C8A656-A69C-4844-9B4C-38593487F7D6}"/>
              </a:ext>
            </a:extLst>
          </p:cNvPr>
          <p:cNvSpPr/>
          <p:nvPr/>
        </p:nvSpPr>
        <p:spPr bwMode="auto">
          <a:xfrm>
            <a:off x="2572805" y="3190456"/>
            <a:ext cx="283355" cy="282804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81741" h="580612">
                <a:moveTo>
                  <a:pt x="291612" y="187916"/>
                </a:moveTo>
                <a:cubicBezTo>
                  <a:pt x="304876" y="187916"/>
                  <a:pt x="315648" y="198758"/>
                  <a:pt x="315648" y="212088"/>
                </a:cubicBezTo>
                <a:lnTo>
                  <a:pt x="315648" y="491836"/>
                </a:lnTo>
                <a:lnTo>
                  <a:pt x="331227" y="473974"/>
                </a:lnTo>
                <a:cubicBezTo>
                  <a:pt x="339863" y="463932"/>
                  <a:pt x="355086" y="462866"/>
                  <a:pt x="365145" y="471574"/>
                </a:cubicBezTo>
                <a:cubicBezTo>
                  <a:pt x="375116" y="480372"/>
                  <a:pt x="376184" y="495657"/>
                  <a:pt x="367460" y="505699"/>
                </a:cubicBezTo>
                <a:lnTo>
                  <a:pt x="309773" y="572348"/>
                </a:lnTo>
                <a:cubicBezTo>
                  <a:pt x="305143" y="577502"/>
                  <a:pt x="298556" y="580612"/>
                  <a:pt x="291612" y="580612"/>
                </a:cubicBezTo>
                <a:cubicBezTo>
                  <a:pt x="284579" y="580612"/>
                  <a:pt x="278080" y="577680"/>
                  <a:pt x="273451" y="572348"/>
                </a:cubicBezTo>
                <a:lnTo>
                  <a:pt x="215764" y="505699"/>
                </a:lnTo>
                <a:cubicBezTo>
                  <a:pt x="207039" y="495657"/>
                  <a:pt x="208108" y="480372"/>
                  <a:pt x="218078" y="471574"/>
                </a:cubicBezTo>
                <a:cubicBezTo>
                  <a:pt x="228049" y="462866"/>
                  <a:pt x="243272" y="463932"/>
                  <a:pt x="252085" y="473974"/>
                </a:cubicBezTo>
                <a:lnTo>
                  <a:pt x="267486" y="491747"/>
                </a:lnTo>
                <a:lnTo>
                  <a:pt x="267486" y="212088"/>
                </a:lnTo>
                <a:cubicBezTo>
                  <a:pt x="267486" y="198758"/>
                  <a:pt x="278258" y="187916"/>
                  <a:pt x="291612" y="187916"/>
                </a:cubicBezTo>
                <a:close/>
                <a:moveTo>
                  <a:pt x="329499" y="0"/>
                </a:moveTo>
                <a:cubicBezTo>
                  <a:pt x="426248" y="0"/>
                  <a:pt x="465322" y="80426"/>
                  <a:pt x="473332" y="108153"/>
                </a:cubicBezTo>
                <a:cubicBezTo>
                  <a:pt x="535280" y="120684"/>
                  <a:pt x="581474" y="175693"/>
                  <a:pt x="581741" y="241190"/>
                </a:cubicBezTo>
                <a:cubicBezTo>
                  <a:pt x="581741" y="315840"/>
                  <a:pt x="521306" y="376537"/>
                  <a:pt x="446987" y="376537"/>
                </a:cubicBezTo>
                <a:lnTo>
                  <a:pt x="372756" y="376537"/>
                </a:lnTo>
                <a:cubicBezTo>
                  <a:pt x="359316" y="376537"/>
                  <a:pt x="348546" y="365606"/>
                  <a:pt x="348546" y="352276"/>
                </a:cubicBezTo>
                <a:cubicBezTo>
                  <a:pt x="348546" y="338857"/>
                  <a:pt x="359316" y="327926"/>
                  <a:pt x="372756" y="327926"/>
                </a:cubicBezTo>
                <a:lnTo>
                  <a:pt x="446987" y="327926"/>
                </a:lnTo>
                <a:cubicBezTo>
                  <a:pt x="494605" y="327926"/>
                  <a:pt x="533322" y="289090"/>
                  <a:pt x="533322" y="241190"/>
                </a:cubicBezTo>
                <a:cubicBezTo>
                  <a:pt x="533322" y="195334"/>
                  <a:pt x="497720" y="157298"/>
                  <a:pt x="452238" y="154632"/>
                </a:cubicBezTo>
                <a:cubicBezTo>
                  <a:pt x="440934" y="153921"/>
                  <a:pt x="431589" y="145478"/>
                  <a:pt x="429809" y="134192"/>
                </a:cubicBezTo>
                <a:cubicBezTo>
                  <a:pt x="421709" y="84692"/>
                  <a:pt x="379609" y="48789"/>
                  <a:pt x="329677" y="48789"/>
                </a:cubicBezTo>
                <a:cubicBezTo>
                  <a:pt x="279567" y="48789"/>
                  <a:pt x="238001" y="84781"/>
                  <a:pt x="229457" y="134192"/>
                </a:cubicBezTo>
                <a:cubicBezTo>
                  <a:pt x="226520" y="151521"/>
                  <a:pt x="212190" y="162807"/>
                  <a:pt x="192964" y="151077"/>
                </a:cubicBezTo>
                <a:cubicBezTo>
                  <a:pt x="178011" y="141834"/>
                  <a:pt x="160922" y="136947"/>
                  <a:pt x="143299" y="136947"/>
                </a:cubicBezTo>
                <a:cubicBezTo>
                  <a:pt x="90964" y="136947"/>
                  <a:pt x="48419" y="179693"/>
                  <a:pt x="48419" y="232303"/>
                </a:cubicBezTo>
                <a:cubicBezTo>
                  <a:pt x="48419" y="284913"/>
                  <a:pt x="90964" y="327748"/>
                  <a:pt x="143299" y="327748"/>
                </a:cubicBezTo>
                <a:lnTo>
                  <a:pt x="218776" y="327748"/>
                </a:lnTo>
                <a:cubicBezTo>
                  <a:pt x="232216" y="327748"/>
                  <a:pt x="242986" y="338590"/>
                  <a:pt x="242986" y="352009"/>
                </a:cubicBezTo>
                <a:cubicBezTo>
                  <a:pt x="242986" y="365429"/>
                  <a:pt x="232216" y="376271"/>
                  <a:pt x="218776" y="376271"/>
                </a:cubicBezTo>
                <a:lnTo>
                  <a:pt x="143299" y="376271"/>
                </a:lnTo>
                <a:cubicBezTo>
                  <a:pt x="64262" y="376271"/>
                  <a:pt x="0" y="311574"/>
                  <a:pt x="0" y="232214"/>
                </a:cubicBezTo>
                <a:cubicBezTo>
                  <a:pt x="0" y="152854"/>
                  <a:pt x="64262" y="88158"/>
                  <a:pt x="143210" y="88158"/>
                </a:cubicBezTo>
                <a:cubicBezTo>
                  <a:pt x="159231" y="88158"/>
                  <a:pt x="174896" y="90735"/>
                  <a:pt x="189849" y="95978"/>
                </a:cubicBezTo>
                <a:cubicBezTo>
                  <a:pt x="198749" y="73050"/>
                  <a:pt x="238891" y="0"/>
                  <a:pt x="329499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2" name="iş1iḑe">
            <a:extLst>
              <a:ext uri="{FF2B5EF4-FFF2-40B4-BE49-F238E27FC236}">
                <a16:creationId xmlns:a16="http://schemas.microsoft.com/office/drawing/2014/main" id="{79D5FAF9-096B-4C61-A299-6A26A276E128}"/>
              </a:ext>
            </a:extLst>
          </p:cNvPr>
          <p:cNvSpPr/>
          <p:nvPr/>
        </p:nvSpPr>
        <p:spPr bwMode="auto">
          <a:xfrm>
            <a:off x="2168646" y="3672722"/>
            <a:ext cx="283355" cy="282927"/>
          </a:xfrm>
          <a:custGeom>
            <a:avLst/>
            <a:gdLst>
              <a:gd name="connsiteX0" fmla="*/ 303820 w 607639"/>
              <a:gd name="connsiteY0" fmla="*/ 278099 h 606722"/>
              <a:gd name="connsiteX1" fmla="*/ 329118 w 607639"/>
              <a:gd name="connsiteY1" fmla="*/ 303362 h 606722"/>
              <a:gd name="connsiteX2" fmla="*/ 303820 w 607639"/>
              <a:gd name="connsiteY2" fmla="*/ 328625 h 606722"/>
              <a:gd name="connsiteX3" fmla="*/ 278522 w 607639"/>
              <a:gd name="connsiteY3" fmla="*/ 303362 h 606722"/>
              <a:gd name="connsiteX4" fmla="*/ 303820 w 607639"/>
              <a:gd name="connsiteY4" fmla="*/ 278099 h 606722"/>
              <a:gd name="connsiteX5" fmla="*/ 303775 w 607639"/>
              <a:gd name="connsiteY5" fmla="*/ 252735 h 606722"/>
              <a:gd name="connsiteX6" fmla="*/ 253140 w 607639"/>
              <a:gd name="connsiteY6" fmla="*/ 303317 h 606722"/>
              <a:gd name="connsiteX7" fmla="*/ 303775 w 607639"/>
              <a:gd name="connsiteY7" fmla="*/ 353900 h 606722"/>
              <a:gd name="connsiteX8" fmla="*/ 354410 w 607639"/>
              <a:gd name="connsiteY8" fmla="*/ 303317 h 606722"/>
              <a:gd name="connsiteX9" fmla="*/ 303775 w 607639"/>
              <a:gd name="connsiteY9" fmla="*/ 252735 h 606722"/>
              <a:gd name="connsiteX10" fmla="*/ 303775 w 607639"/>
              <a:gd name="connsiteY10" fmla="*/ 202241 h 606722"/>
              <a:gd name="connsiteX11" fmla="*/ 405045 w 607639"/>
              <a:gd name="connsiteY11" fmla="*/ 303317 h 606722"/>
              <a:gd name="connsiteX12" fmla="*/ 303775 w 607639"/>
              <a:gd name="connsiteY12" fmla="*/ 404482 h 606722"/>
              <a:gd name="connsiteX13" fmla="*/ 202593 w 607639"/>
              <a:gd name="connsiteY13" fmla="*/ 303317 h 606722"/>
              <a:gd name="connsiteX14" fmla="*/ 303775 w 607639"/>
              <a:gd name="connsiteY14" fmla="*/ 202241 h 606722"/>
              <a:gd name="connsiteX15" fmla="*/ 303775 w 607639"/>
              <a:gd name="connsiteY15" fmla="*/ 151703 h 606722"/>
              <a:gd name="connsiteX16" fmla="*/ 151932 w 607639"/>
              <a:gd name="connsiteY16" fmla="*/ 303317 h 606722"/>
              <a:gd name="connsiteX17" fmla="*/ 303775 w 607639"/>
              <a:gd name="connsiteY17" fmla="*/ 455019 h 606722"/>
              <a:gd name="connsiteX18" fmla="*/ 455707 w 607639"/>
              <a:gd name="connsiteY18" fmla="*/ 303317 h 606722"/>
              <a:gd name="connsiteX19" fmla="*/ 303775 w 607639"/>
              <a:gd name="connsiteY19" fmla="*/ 151703 h 606722"/>
              <a:gd name="connsiteX20" fmla="*/ 253131 w 607639"/>
              <a:gd name="connsiteY20" fmla="*/ 0 h 606722"/>
              <a:gd name="connsiteX21" fmla="*/ 354419 w 607639"/>
              <a:gd name="connsiteY21" fmla="*/ 0 h 606722"/>
              <a:gd name="connsiteX22" fmla="*/ 379786 w 607639"/>
              <a:gd name="connsiteY22" fmla="*/ 25239 h 606722"/>
              <a:gd name="connsiteX23" fmla="*/ 379786 w 607639"/>
              <a:gd name="connsiteY23" fmla="*/ 62387 h 606722"/>
              <a:gd name="connsiteX24" fmla="*/ 420639 w 607639"/>
              <a:gd name="connsiteY24" fmla="*/ 79451 h 606722"/>
              <a:gd name="connsiteX25" fmla="*/ 446985 w 607639"/>
              <a:gd name="connsiteY25" fmla="*/ 53145 h 606722"/>
              <a:gd name="connsiteX26" fmla="*/ 482854 w 607639"/>
              <a:gd name="connsiteY26" fmla="*/ 53145 h 606722"/>
              <a:gd name="connsiteX27" fmla="*/ 554414 w 607639"/>
              <a:gd name="connsiteY27" fmla="*/ 124597 h 606722"/>
              <a:gd name="connsiteX28" fmla="*/ 554414 w 607639"/>
              <a:gd name="connsiteY28" fmla="*/ 160323 h 606722"/>
              <a:gd name="connsiteX29" fmla="*/ 528069 w 607639"/>
              <a:gd name="connsiteY29" fmla="*/ 186629 h 606722"/>
              <a:gd name="connsiteX30" fmla="*/ 545158 w 607639"/>
              <a:gd name="connsiteY30" fmla="*/ 227510 h 606722"/>
              <a:gd name="connsiteX31" fmla="*/ 582273 w 607639"/>
              <a:gd name="connsiteY31" fmla="*/ 227510 h 606722"/>
              <a:gd name="connsiteX32" fmla="*/ 607639 w 607639"/>
              <a:gd name="connsiteY32" fmla="*/ 252749 h 606722"/>
              <a:gd name="connsiteX33" fmla="*/ 607639 w 607639"/>
              <a:gd name="connsiteY33" fmla="*/ 353884 h 606722"/>
              <a:gd name="connsiteX34" fmla="*/ 582273 w 607639"/>
              <a:gd name="connsiteY34" fmla="*/ 379212 h 606722"/>
              <a:gd name="connsiteX35" fmla="*/ 545158 w 607639"/>
              <a:gd name="connsiteY35" fmla="*/ 379212 h 606722"/>
              <a:gd name="connsiteX36" fmla="*/ 528069 w 607639"/>
              <a:gd name="connsiteY36" fmla="*/ 420004 h 606722"/>
              <a:gd name="connsiteX37" fmla="*/ 554414 w 607639"/>
              <a:gd name="connsiteY37" fmla="*/ 446310 h 606722"/>
              <a:gd name="connsiteX38" fmla="*/ 554414 w 607639"/>
              <a:gd name="connsiteY38" fmla="*/ 482125 h 606722"/>
              <a:gd name="connsiteX39" fmla="*/ 482854 w 607639"/>
              <a:gd name="connsiteY39" fmla="*/ 553577 h 606722"/>
              <a:gd name="connsiteX40" fmla="*/ 446985 w 607639"/>
              <a:gd name="connsiteY40" fmla="*/ 553577 h 606722"/>
              <a:gd name="connsiteX41" fmla="*/ 420639 w 607639"/>
              <a:gd name="connsiteY41" fmla="*/ 527271 h 606722"/>
              <a:gd name="connsiteX42" fmla="*/ 379786 w 607639"/>
              <a:gd name="connsiteY42" fmla="*/ 544246 h 606722"/>
              <a:gd name="connsiteX43" fmla="*/ 379786 w 607639"/>
              <a:gd name="connsiteY43" fmla="*/ 581394 h 606722"/>
              <a:gd name="connsiteX44" fmla="*/ 354419 w 607639"/>
              <a:gd name="connsiteY44" fmla="*/ 606722 h 606722"/>
              <a:gd name="connsiteX45" fmla="*/ 253131 w 607639"/>
              <a:gd name="connsiteY45" fmla="*/ 606722 h 606722"/>
              <a:gd name="connsiteX46" fmla="*/ 227854 w 607639"/>
              <a:gd name="connsiteY46" fmla="*/ 581394 h 606722"/>
              <a:gd name="connsiteX47" fmla="*/ 227854 w 607639"/>
              <a:gd name="connsiteY47" fmla="*/ 544246 h 606722"/>
              <a:gd name="connsiteX48" fmla="*/ 186911 w 607639"/>
              <a:gd name="connsiteY48" fmla="*/ 527271 h 606722"/>
              <a:gd name="connsiteX49" fmla="*/ 160566 w 607639"/>
              <a:gd name="connsiteY49" fmla="*/ 553577 h 606722"/>
              <a:gd name="connsiteX50" fmla="*/ 124786 w 607639"/>
              <a:gd name="connsiteY50" fmla="*/ 553577 h 606722"/>
              <a:gd name="connsiteX51" fmla="*/ 53225 w 607639"/>
              <a:gd name="connsiteY51" fmla="*/ 482125 h 606722"/>
              <a:gd name="connsiteX52" fmla="*/ 53225 w 607639"/>
              <a:gd name="connsiteY52" fmla="*/ 446310 h 606722"/>
              <a:gd name="connsiteX53" fmla="*/ 79482 w 607639"/>
              <a:gd name="connsiteY53" fmla="*/ 420004 h 606722"/>
              <a:gd name="connsiteX54" fmla="*/ 62482 w 607639"/>
              <a:gd name="connsiteY54" fmla="*/ 379212 h 606722"/>
              <a:gd name="connsiteX55" fmla="*/ 25278 w 607639"/>
              <a:gd name="connsiteY55" fmla="*/ 379212 h 606722"/>
              <a:gd name="connsiteX56" fmla="*/ 0 w 607639"/>
              <a:gd name="connsiteY56" fmla="*/ 353884 h 606722"/>
              <a:gd name="connsiteX57" fmla="*/ 0 w 607639"/>
              <a:gd name="connsiteY57" fmla="*/ 252749 h 606722"/>
              <a:gd name="connsiteX58" fmla="*/ 25278 w 607639"/>
              <a:gd name="connsiteY58" fmla="*/ 227510 h 606722"/>
              <a:gd name="connsiteX59" fmla="*/ 62482 w 607639"/>
              <a:gd name="connsiteY59" fmla="*/ 227510 h 606722"/>
              <a:gd name="connsiteX60" fmla="*/ 79482 w 607639"/>
              <a:gd name="connsiteY60" fmla="*/ 186629 h 606722"/>
              <a:gd name="connsiteX61" fmla="*/ 53225 w 607639"/>
              <a:gd name="connsiteY61" fmla="*/ 160323 h 606722"/>
              <a:gd name="connsiteX62" fmla="*/ 53225 w 607639"/>
              <a:gd name="connsiteY62" fmla="*/ 124597 h 606722"/>
              <a:gd name="connsiteX63" fmla="*/ 124786 w 607639"/>
              <a:gd name="connsiteY63" fmla="*/ 53145 h 606722"/>
              <a:gd name="connsiteX64" fmla="*/ 160566 w 607639"/>
              <a:gd name="connsiteY64" fmla="*/ 53145 h 606722"/>
              <a:gd name="connsiteX65" fmla="*/ 186911 w 607639"/>
              <a:gd name="connsiteY65" fmla="*/ 79451 h 606722"/>
              <a:gd name="connsiteX66" fmla="*/ 227854 w 607639"/>
              <a:gd name="connsiteY66" fmla="*/ 62387 h 606722"/>
              <a:gd name="connsiteX67" fmla="*/ 227854 w 607639"/>
              <a:gd name="connsiteY67" fmla="*/ 25239 h 606722"/>
              <a:gd name="connsiteX68" fmla="*/ 253131 w 607639"/>
              <a:gd name="connsiteY68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07639" h="606722">
                <a:moveTo>
                  <a:pt x="303820" y="278099"/>
                </a:moveTo>
                <a:cubicBezTo>
                  <a:pt x="317792" y="278099"/>
                  <a:pt x="329118" y="289410"/>
                  <a:pt x="329118" y="303362"/>
                </a:cubicBezTo>
                <a:cubicBezTo>
                  <a:pt x="329118" y="317314"/>
                  <a:pt x="317792" y="328625"/>
                  <a:pt x="303820" y="328625"/>
                </a:cubicBezTo>
                <a:cubicBezTo>
                  <a:pt x="289848" y="328625"/>
                  <a:pt x="278522" y="317314"/>
                  <a:pt x="278522" y="303362"/>
                </a:cubicBezTo>
                <a:cubicBezTo>
                  <a:pt x="278522" y="289410"/>
                  <a:pt x="289848" y="278099"/>
                  <a:pt x="303820" y="278099"/>
                </a:cubicBezTo>
                <a:close/>
                <a:moveTo>
                  <a:pt x="303775" y="252735"/>
                </a:moveTo>
                <a:cubicBezTo>
                  <a:pt x="275921" y="252735"/>
                  <a:pt x="253140" y="275492"/>
                  <a:pt x="253140" y="303317"/>
                </a:cubicBezTo>
                <a:cubicBezTo>
                  <a:pt x="253140" y="331231"/>
                  <a:pt x="275921" y="353900"/>
                  <a:pt x="303775" y="353900"/>
                </a:cubicBezTo>
                <a:cubicBezTo>
                  <a:pt x="331718" y="353900"/>
                  <a:pt x="354410" y="331231"/>
                  <a:pt x="354410" y="303317"/>
                </a:cubicBezTo>
                <a:cubicBezTo>
                  <a:pt x="354410" y="275492"/>
                  <a:pt x="331718" y="252735"/>
                  <a:pt x="303775" y="252735"/>
                </a:cubicBezTo>
                <a:close/>
                <a:moveTo>
                  <a:pt x="303775" y="202241"/>
                </a:moveTo>
                <a:cubicBezTo>
                  <a:pt x="359660" y="202241"/>
                  <a:pt x="405045" y="247579"/>
                  <a:pt x="405045" y="303317"/>
                </a:cubicBezTo>
                <a:cubicBezTo>
                  <a:pt x="405045" y="359144"/>
                  <a:pt x="359660" y="404482"/>
                  <a:pt x="303775" y="404482"/>
                </a:cubicBezTo>
                <a:cubicBezTo>
                  <a:pt x="247978" y="404482"/>
                  <a:pt x="202593" y="359144"/>
                  <a:pt x="202593" y="303317"/>
                </a:cubicBezTo>
                <a:cubicBezTo>
                  <a:pt x="202593" y="247579"/>
                  <a:pt x="247978" y="202241"/>
                  <a:pt x="303775" y="202241"/>
                </a:cubicBezTo>
                <a:close/>
                <a:moveTo>
                  <a:pt x="303775" y="151703"/>
                </a:moveTo>
                <a:cubicBezTo>
                  <a:pt x="220021" y="151703"/>
                  <a:pt x="151932" y="219689"/>
                  <a:pt x="151932" y="303317"/>
                </a:cubicBezTo>
                <a:cubicBezTo>
                  <a:pt x="151932" y="387033"/>
                  <a:pt x="220021" y="455019"/>
                  <a:pt x="303775" y="455019"/>
                </a:cubicBezTo>
                <a:cubicBezTo>
                  <a:pt x="387618" y="455019"/>
                  <a:pt x="455707" y="387033"/>
                  <a:pt x="455707" y="303317"/>
                </a:cubicBezTo>
                <a:cubicBezTo>
                  <a:pt x="455707" y="219689"/>
                  <a:pt x="387618" y="151703"/>
                  <a:pt x="303775" y="151703"/>
                </a:cubicBezTo>
                <a:close/>
                <a:moveTo>
                  <a:pt x="253131" y="0"/>
                </a:moveTo>
                <a:lnTo>
                  <a:pt x="354419" y="0"/>
                </a:lnTo>
                <a:cubicBezTo>
                  <a:pt x="368482" y="0"/>
                  <a:pt x="379786" y="11287"/>
                  <a:pt x="379786" y="25239"/>
                </a:cubicBezTo>
                <a:lnTo>
                  <a:pt x="379786" y="62387"/>
                </a:lnTo>
                <a:cubicBezTo>
                  <a:pt x="393849" y="66831"/>
                  <a:pt x="407555" y="72519"/>
                  <a:pt x="420639" y="79451"/>
                </a:cubicBezTo>
                <a:lnTo>
                  <a:pt x="446985" y="53145"/>
                </a:lnTo>
                <a:cubicBezTo>
                  <a:pt x="456953" y="43191"/>
                  <a:pt x="472974" y="43191"/>
                  <a:pt x="482854" y="53145"/>
                </a:cubicBezTo>
                <a:lnTo>
                  <a:pt x="554414" y="124597"/>
                </a:lnTo>
                <a:cubicBezTo>
                  <a:pt x="564294" y="134462"/>
                  <a:pt x="564294" y="150459"/>
                  <a:pt x="554414" y="160323"/>
                </a:cubicBezTo>
                <a:lnTo>
                  <a:pt x="528069" y="186629"/>
                </a:lnTo>
                <a:cubicBezTo>
                  <a:pt x="535011" y="199782"/>
                  <a:pt x="540707" y="213468"/>
                  <a:pt x="545158" y="227510"/>
                </a:cubicBezTo>
                <a:lnTo>
                  <a:pt x="582273" y="227510"/>
                </a:lnTo>
                <a:cubicBezTo>
                  <a:pt x="596336" y="227510"/>
                  <a:pt x="607639" y="238796"/>
                  <a:pt x="607639" y="252749"/>
                </a:cubicBezTo>
                <a:lnTo>
                  <a:pt x="607639" y="353884"/>
                </a:lnTo>
                <a:cubicBezTo>
                  <a:pt x="607639" y="367926"/>
                  <a:pt x="596247" y="379212"/>
                  <a:pt x="582273" y="379212"/>
                </a:cubicBezTo>
                <a:lnTo>
                  <a:pt x="545158" y="379212"/>
                </a:lnTo>
                <a:cubicBezTo>
                  <a:pt x="540707" y="393254"/>
                  <a:pt x="535011" y="406940"/>
                  <a:pt x="528069" y="420004"/>
                </a:cubicBezTo>
                <a:lnTo>
                  <a:pt x="554414" y="446310"/>
                </a:lnTo>
                <a:cubicBezTo>
                  <a:pt x="564294" y="456263"/>
                  <a:pt x="564294" y="472260"/>
                  <a:pt x="554414" y="482125"/>
                </a:cubicBezTo>
                <a:lnTo>
                  <a:pt x="482854" y="553577"/>
                </a:lnTo>
                <a:cubicBezTo>
                  <a:pt x="472974" y="563442"/>
                  <a:pt x="456953" y="563442"/>
                  <a:pt x="446985" y="553577"/>
                </a:cubicBezTo>
                <a:lnTo>
                  <a:pt x="420639" y="527271"/>
                </a:lnTo>
                <a:cubicBezTo>
                  <a:pt x="407555" y="534203"/>
                  <a:pt x="393849" y="539802"/>
                  <a:pt x="379786" y="544246"/>
                </a:cubicBezTo>
                <a:lnTo>
                  <a:pt x="379786" y="581394"/>
                </a:lnTo>
                <a:cubicBezTo>
                  <a:pt x="379786" y="595435"/>
                  <a:pt x="368393" y="606722"/>
                  <a:pt x="354419" y="606722"/>
                </a:cubicBezTo>
                <a:lnTo>
                  <a:pt x="253131" y="606722"/>
                </a:lnTo>
                <a:cubicBezTo>
                  <a:pt x="239157" y="606722"/>
                  <a:pt x="227854" y="595435"/>
                  <a:pt x="227854" y="581394"/>
                </a:cubicBezTo>
                <a:lnTo>
                  <a:pt x="227854" y="544246"/>
                </a:lnTo>
                <a:cubicBezTo>
                  <a:pt x="213791" y="539802"/>
                  <a:pt x="200084" y="534203"/>
                  <a:pt x="186911" y="527271"/>
                </a:cubicBezTo>
                <a:lnTo>
                  <a:pt x="160566" y="553577"/>
                </a:lnTo>
                <a:cubicBezTo>
                  <a:pt x="150686" y="563442"/>
                  <a:pt x="134665" y="563442"/>
                  <a:pt x="124786" y="553577"/>
                </a:cubicBezTo>
                <a:lnTo>
                  <a:pt x="53225" y="482125"/>
                </a:lnTo>
                <a:cubicBezTo>
                  <a:pt x="43257" y="472260"/>
                  <a:pt x="43257" y="456263"/>
                  <a:pt x="53225" y="446310"/>
                </a:cubicBezTo>
                <a:lnTo>
                  <a:pt x="79482" y="420004"/>
                </a:lnTo>
                <a:cubicBezTo>
                  <a:pt x="72629" y="406940"/>
                  <a:pt x="66932" y="393254"/>
                  <a:pt x="62482" y="379212"/>
                </a:cubicBezTo>
                <a:lnTo>
                  <a:pt x="25278" y="379212"/>
                </a:lnTo>
                <a:cubicBezTo>
                  <a:pt x="11304" y="379212"/>
                  <a:pt x="0" y="367926"/>
                  <a:pt x="0" y="353884"/>
                </a:cubicBezTo>
                <a:lnTo>
                  <a:pt x="0" y="252749"/>
                </a:lnTo>
                <a:cubicBezTo>
                  <a:pt x="0" y="238796"/>
                  <a:pt x="11304" y="227510"/>
                  <a:pt x="25278" y="227510"/>
                </a:cubicBezTo>
                <a:lnTo>
                  <a:pt x="62482" y="227510"/>
                </a:lnTo>
                <a:cubicBezTo>
                  <a:pt x="66932" y="213468"/>
                  <a:pt x="72629" y="199782"/>
                  <a:pt x="79482" y="186629"/>
                </a:cubicBezTo>
                <a:lnTo>
                  <a:pt x="53225" y="160323"/>
                </a:lnTo>
                <a:cubicBezTo>
                  <a:pt x="43257" y="150459"/>
                  <a:pt x="43257" y="134462"/>
                  <a:pt x="53225" y="124597"/>
                </a:cubicBezTo>
                <a:lnTo>
                  <a:pt x="124786" y="53145"/>
                </a:lnTo>
                <a:cubicBezTo>
                  <a:pt x="134665" y="43191"/>
                  <a:pt x="150686" y="43191"/>
                  <a:pt x="160566" y="53145"/>
                </a:cubicBezTo>
                <a:lnTo>
                  <a:pt x="186911" y="79451"/>
                </a:lnTo>
                <a:cubicBezTo>
                  <a:pt x="200084" y="72519"/>
                  <a:pt x="213791" y="66831"/>
                  <a:pt x="227854" y="62387"/>
                </a:cubicBezTo>
                <a:lnTo>
                  <a:pt x="227854" y="25239"/>
                </a:lnTo>
                <a:cubicBezTo>
                  <a:pt x="227854" y="11287"/>
                  <a:pt x="239157" y="0"/>
                  <a:pt x="25313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3" name="ïṧľíďê">
            <a:extLst>
              <a:ext uri="{FF2B5EF4-FFF2-40B4-BE49-F238E27FC236}">
                <a16:creationId xmlns:a16="http://schemas.microsoft.com/office/drawing/2014/main" id="{83AC56C8-BB22-4DB6-8372-AA84DFFA3A81}"/>
              </a:ext>
            </a:extLst>
          </p:cNvPr>
          <p:cNvSpPr/>
          <p:nvPr/>
        </p:nvSpPr>
        <p:spPr bwMode="auto">
          <a:xfrm>
            <a:off x="1773587" y="4155069"/>
            <a:ext cx="283355" cy="282891"/>
          </a:xfrm>
          <a:custGeom>
            <a:avLst/>
            <a:gdLst>
              <a:gd name="connsiteX0" fmla="*/ 380418 w 604181"/>
              <a:gd name="connsiteY0" fmla="*/ 268007 h 603193"/>
              <a:gd name="connsiteX1" fmla="*/ 519220 w 604181"/>
              <a:gd name="connsiteY1" fmla="*/ 339187 h 603193"/>
              <a:gd name="connsiteX2" fmla="*/ 519220 w 604181"/>
              <a:gd name="connsiteY2" fmla="*/ 355820 h 603193"/>
              <a:gd name="connsiteX3" fmla="*/ 380418 w 604181"/>
              <a:gd name="connsiteY3" fmla="*/ 426850 h 603193"/>
              <a:gd name="connsiteX4" fmla="*/ 380418 w 604181"/>
              <a:gd name="connsiteY4" fmla="*/ 406320 h 603193"/>
              <a:gd name="connsiteX5" fmla="*/ 498212 w 604181"/>
              <a:gd name="connsiteY5" fmla="*/ 347728 h 603193"/>
              <a:gd name="connsiteX6" fmla="*/ 498212 w 604181"/>
              <a:gd name="connsiteY6" fmla="*/ 347129 h 603193"/>
              <a:gd name="connsiteX7" fmla="*/ 380418 w 604181"/>
              <a:gd name="connsiteY7" fmla="*/ 288687 h 603193"/>
              <a:gd name="connsiteX8" fmla="*/ 216565 w 604181"/>
              <a:gd name="connsiteY8" fmla="*/ 268007 h 603193"/>
              <a:gd name="connsiteX9" fmla="*/ 216565 w 604181"/>
              <a:gd name="connsiteY9" fmla="*/ 288687 h 603193"/>
              <a:gd name="connsiteX10" fmla="*/ 99664 w 604181"/>
              <a:gd name="connsiteY10" fmla="*/ 347129 h 603193"/>
              <a:gd name="connsiteX11" fmla="*/ 99664 w 604181"/>
              <a:gd name="connsiteY11" fmla="*/ 347728 h 603193"/>
              <a:gd name="connsiteX12" fmla="*/ 216565 w 604181"/>
              <a:gd name="connsiteY12" fmla="*/ 406320 h 603193"/>
              <a:gd name="connsiteX13" fmla="*/ 216565 w 604181"/>
              <a:gd name="connsiteY13" fmla="*/ 426850 h 603193"/>
              <a:gd name="connsiteX14" fmla="*/ 77904 w 604181"/>
              <a:gd name="connsiteY14" fmla="*/ 355521 h 603193"/>
              <a:gd name="connsiteX15" fmla="*/ 77904 w 604181"/>
              <a:gd name="connsiteY15" fmla="*/ 339486 h 603193"/>
              <a:gd name="connsiteX16" fmla="*/ 338273 w 604181"/>
              <a:gd name="connsiteY16" fmla="*/ 222493 h 603193"/>
              <a:gd name="connsiteX17" fmla="*/ 358684 w 604181"/>
              <a:gd name="connsiteY17" fmla="*/ 222493 h 603193"/>
              <a:gd name="connsiteX18" fmla="*/ 253179 w 604181"/>
              <a:gd name="connsiteY18" fmla="*/ 482103 h 603193"/>
              <a:gd name="connsiteX19" fmla="*/ 233219 w 604181"/>
              <a:gd name="connsiteY19" fmla="*/ 482103 h 603193"/>
              <a:gd name="connsiteX20" fmla="*/ 28813 w 604181"/>
              <a:gd name="connsiteY20" fmla="*/ 128849 h 603193"/>
              <a:gd name="connsiteX21" fmla="*/ 28813 w 604181"/>
              <a:gd name="connsiteY21" fmla="*/ 557497 h 603193"/>
              <a:gd name="connsiteX22" fmla="*/ 45921 w 604181"/>
              <a:gd name="connsiteY22" fmla="*/ 574427 h 603193"/>
              <a:gd name="connsiteX23" fmla="*/ 558410 w 604181"/>
              <a:gd name="connsiteY23" fmla="*/ 574427 h 603193"/>
              <a:gd name="connsiteX24" fmla="*/ 575368 w 604181"/>
              <a:gd name="connsiteY24" fmla="*/ 557497 h 603193"/>
              <a:gd name="connsiteX25" fmla="*/ 575368 w 604181"/>
              <a:gd name="connsiteY25" fmla="*/ 128849 h 603193"/>
              <a:gd name="connsiteX26" fmla="*/ 502734 w 604181"/>
              <a:gd name="connsiteY26" fmla="*/ 43149 h 603193"/>
              <a:gd name="connsiteX27" fmla="*/ 502734 w 604181"/>
              <a:gd name="connsiteY27" fmla="*/ 77309 h 603193"/>
              <a:gd name="connsiteX28" fmla="*/ 537100 w 604181"/>
              <a:gd name="connsiteY28" fmla="*/ 77309 h 603193"/>
              <a:gd name="connsiteX29" fmla="*/ 537100 w 604181"/>
              <a:gd name="connsiteY29" fmla="*/ 43149 h 603193"/>
              <a:gd name="connsiteX30" fmla="*/ 423197 w 604181"/>
              <a:gd name="connsiteY30" fmla="*/ 43149 h 603193"/>
              <a:gd name="connsiteX31" fmla="*/ 423197 w 604181"/>
              <a:gd name="connsiteY31" fmla="*/ 77309 h 603193"/>
              <a:gd name="connsiteX32" fmla="*/ 457563 w 604181"/>
              <a:gd name="connsiteY32" fmla="*/ 77309 h 603193"/>
              <a:gd name="connsiteX33" fmla="*/ 457563 w 604181"/>
              <a:gd name="connsiteY33" fmla="*/ 43149 h 603193"/>
              <a:gd name="connsiteX34" fmla="*/ 45921 w 604181"/>
              <a:gd name="connsiteY34" fmla="*/ 0 h 603193"/>
              <a:gd name="connsiteX35" fmla="*/ 558410 w 604181"/>
              <a:gd name="connsiteY35" fmla="*/ 0 h 603193"/>
              <a:gd name="connsiteX36" fmla="*/ 604181 w 604181"/>
              <a:gd name="connsiteY36" fmla="*/ 45846 h 603193"/>
              <a:gd name="connsiteX37" fmla="*/ 604181 w 604181"/>
              <a:gd name="connsiteY37" fmla="*/ 557497 h 603193"/>
              <a:gd name="connsiteX38" fmla="*/ 558410 w 604181"/>
              <a:gd name="connsiteY38" fmla="*/ 603193 h 603193"/>
              <a:gd name="connsiteX39" fmla="*/ 45921 w 604181"/>
              <a:gd name="connsiteY39" fmla="*/ 603193 h 603193"/>
              <a:gd name="connsiteX40" fmla="*/ 0 w 604181"/>
              <a:gd name="connsiteY40" fmla="*/ 557497 h 603193"/>
              <a:gd name="connsiteX41" fmla="*/ 0 w 604181"/>
              <a:gd name="connsiteY41" fmla="*/ 45846 h 603193"/>
              <a:gd name="connsiteX42" fmla="*/ 45921 w 604181"/>
              <a:gd name="connsiteY42" fmla="*/ 0 h 603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04181" h="603193">
                <a:moveTo>
                  <a:pt x="380418" y="268007"/>
                </a:moveTo>
                <a:lnTo>
                  <a:pt x="519220" y="339187"/>
                </a:lnTo>
                <a:lnTo>
                  <a:pt x="519220" y="355820"/>
                </a:lnTo>
                <a:lnTo>
                  <a:pt x="380418" y="426850"/>
                </a:lnTo>
                <a:lnTo>
                  <a:pt x="380418" y="406320"/>
                </a:lnTo>
                <a:lnTo>
                  <a:pt x="498212" y="347728"/>
                </a:lnTo>
                <a:lnTo>
                  <a:pt x="498212" y="347129"/>
                </a:lnTo>
                <a:lnTo>
                  <a:pt x="380418" y="288687"/>
                </a:lnTo>
                <a:close/>
                <a:moveTo>
                  <a:pt x="216565" y="268007"/>
                </a:moveTo>
                <a:lnTo>
                  <a:pt x="216565" y="288687"/>
                </a:lnTo>
                <a:lnTo>
                  <a:pt x="99664" y="347129"/>
                </a:lnTo>
                <a:lnTo>
                  <a:pt x="99664" y="347728"/>
                </a:lnTo>
                <a:lnTo>
                  <a:pt x="216565" y="406320"/>
                </a:lnTo>
                <a:lnTo>
                  <a:pt x="216565" y="426850"/>
                </a:lnTo>
                <a:lnTo>
                  <a:pt x="77904" y="355521"/>
                </a:lnTo>
                <a:lnTo>
                  <a:pt x="77904" y="339486"/>
                </a:lnTo>
                <a:close/>
                <a:moveTo>
                  <a:pt x="338273" y="222493"/>
                </a:moveTo>
                <a:lnTo>
                  <a:pt x="358684" y="222493"/>
                </a:lnTo>
                <a:lnTo>
                  <a:pt x="253179" y="482103"/>
                </a:lnTo>
                <a:lnTo>
                  <a:pt x="233219" y="482103"/>
                </a:lnTo>
                <a:close/>
                <a:moveTo>
                  <a:pt x="28813" y="128849"/>
                </a:moveTo>
                <a:lnTo>
                  <a:pt x="28813" y="557497"/>
                </a:lnTo>
                <a:cubicBezTo>
                  <a:pt x="28813" y="566786"/>
                  <a:pt x="36467" y="574427"/>
                  <a:pt x="45921" y="574427"/>
                </a:cubicBezTo>
                <a:lnTo>
                  <a:pt x="558410" y="574427"/>
                </a:lnTo>
                <a:cubicBezTo>
                  <a:pt x="567714" y="574427"/>
                  <a:pt x="575368" y="566786"/>
                  <a:pt x="575368" y="557497"/>
                </a:cubicBezTo>
                <a:lnTo>
                  <a:pt x="575368" y="128849"/>
                </a:lnTo>
                <a:close/>
                <a:moveTo>
                  <a:pt x="502734" y="43149"/>
                </a:moveTo>
                <a:lnTo>
                  <a:pt x="502734" y="77309"/>
                </a:lnTo>
                <a:lnTo>
                  <a:pt x="537100" y="77309"/>
                </a:lnTo>
                <a:lnTo>
                  <a:pt x="537100" y="43149"/>
                </a:lnTo>
                <a:close/>
                <a:moveTo>
                  <a:pt x="423197" y="43149"/>
                </a:moveTo>
                <a:lnTo>
                  <a:pt x="423197" y="77309"/>
                </a:lnTo>
                <a:lnTo>
                  <a:pt x="457563" y="77309"/>
                </a:lnTo>
                <a:lnTo>
                  <a:pt x="457563" y="43149"/>
                </a:lnTo>
                <a:close/>
                <a:moveTo>
                  <a:pt x="45921" y="0"/>
                </a:moveTo>
                <a:lnTo>
                  <a:pt x="558410" y="0"/>
                </a:lnTo>
                <a:cubicBezTo>
                  <a:pt x="583621" y="0"/>
                  <a:pt x="604181" y="20526"/>
                  <a:pt x="604181" y="45846"/>
                </a:cubicBezTo>
                <a:lnTo>
                  <a:pt x="604181" y="557497"/>
                </a:lnTo>
                <a:cubicBezTo>
                  <a:pt x="604181" y="582667"/>
                  <a:pt x="583621" y="603193"/>
                  <a:pt x="558410" y="603193"/>
                </a:cubicBezTo>
                <a:lnTo>
                  <a:pt x="45921" y="603193"/>
                </a:lnTo>
                <a:cubicBezTo>
                  <a:pt x="20560" y="603193"/>
                  <a:pt x="0" y="582667"/>
                  <a:pt x="0" y="557497"/>
                </a:cubicBezTo>
                <a:lnTo>
                  <a:pt x="0" y="45846"/>
                </a:lnTo>
                <a:cubicBezTo>
                  <a:pt x="0" y="20526"/>
                  <a:pt x="20560" y="0"/>
                  <a:pt x="4592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4" name="îṣḻîḍé">
            <a:extLst>
              <a:ext uri="{FF2B5EF4-FFF2-40B4-BE49-F238E27FC236}">
                <a16:creationId xmlns:a16="http://schemas.microsoft.com/office/drawing/2014/main" id="{716A4AAF-66FE-4462-901E-658C29D84AD8}"/>
              </a:ext>
            </a:extLst>
          </p:cNvPr>
          <p:cNvSpPr/>
          <p:nvPr/>
        </p:nvSpPr>
        <p:spPr bwMode="auto">
          <a:xfrm>
            <a:off x="1369248" y="4637380"/>
            <a:ext cx="283355" cy="282926"/>
          </a:xfrm>
          <a:custGeom>
            <a:avLst/>
            <a:gdLst>
              <a:gd name="T0" fmla="*/ 6624 w 7154"/>
              <a:gd name="T1" fmla="*/ 2037 h 7154"/>
              <a:gd name="T2" fmla="*/ 6106 w 7154"/>
              <a:gd name="T3" fmla="*/ 1048 h 7154"/>
              <a:gd name="T4" fmla="*/ 5117 w 7154"/>
              <a:gd name="T5" fmla="*/ 530 h 7154"/>
              <a:gd name="T6" fmla="*/ 4643 w 7154"/>
              <a:gd name="T7" fmla="*/ 334 h 7154"/>
              <a:gd name="T8" fmla="*/ 3577 w 7154"/>
              <a:gd name="T9" fmla="*/ 0 h 7154"/>
              <a:gd name="T10" fmla="*/ 2511 w 7154"/>
              <a:gd name="T11" fmla="*/ 334 h 7154"/>
              <a:gd name="T12" fmla="*/ 2037 w 7154"/>
              <a:gd name="T13" fmla="*/ 530 h 7154"/>
              <a:gd name="T14" fmla="*/ 1048 w 7154"/>
              <a:gd name="T15" fmla="*/ 1048 h 7154"/>
              <a:gd name="T16" fmla="*/ 530 w 7154"/>
              <a:gd name="T17" fmla="*/ 2037 h 7154"/>
              <a:gd name="T18" fmla="*/ 334 w 7154"/>
              <a:gd name="T19" fmla="*/ 2511 h 7154"/>
              <a:gd name="T20" fmla="*/ 0 w 7154"/>
              <a:gd name="T21" fmla="*/ 3577 h 7154"/>
              <a:gd name="T22" fmla="*/ 334 w 7154"/>
              <a:gd name="T23" fmla="*/ 4643 h 7154"/>
              <a:gd name="T24" fmla="*/ 530 w 7154"/>
              <a:gd name="T25" fmla="*/ 5117 h 7154"/>
              <a:gd name="T26" fmla="*/ 1048 w 7154"/>
              <a:gd name="T27" fmla="*/ 6106 h 7154"/>
              <a:gd name="T28" fmla="*/ 2037 w 7154"/>
              <a:gd name="T29" fmla="*/ 6624 h 7154"/>
              <a:gd name="T30" fmla="*/ 2511 w 7154"/>
              <a:gd name="T31" fmla="*/ 6820 h 7154"/>
              <a:gd name="T32" fmla="*/ 3577 w 7154"/>
              <a:gd name="T33" fmla="*/ 7154 h 7154"/>
              <a:gd name="T34" fmla="*/ 4643 w 7154"/>
              <a:gd name="T35" fmla="*/ 6820 h 7154"/>
              <a:gd name="T36" fmla="*/ 5117 w 7154"/>
              <a:gd name="T37" fmla="*/ 6624 h 7154"/>
              <a:gd name="T38" fmla="*/ 6106 w 7154"/>
              <a:gd name="T39" fmla="*/ 6106 h 7154"/>
              <a:gd name="T40" fmla="*/ 6624 w 7154"/>
              <a:gd name="T41" fmla="*/ 5117 h 7154"/>
              <a:gd name="T42" fmla="*/ 6820 w 7154"/>
              <a:gd name="T43" fmla="*/ 4643 h 7154"/>
              <a:gd name="T44" fmla="*/ 7154 w 7154"/>
              <a:gd name="T45" fmla="*/ 3577 h 7154"/>
              <a:gd name="T46" fmla="*/ 6820 w 7154"/>
              <a:gd name="T47" fmla="*/ 2511 h 7154"/>
              <a:gd name="T48" fmla="*/ 6624 w 7154"/>
              <a:gd name="T49" fmla="*/ 2037 h 7154"/>
              <a:gd name="T50" fmla="*/ 5857 w 7154"/>
              <a:gd name="T51" fmla="*/ 2406 h 7154"/>
              <a:gd name="T52" fmla="*/ 3286 w 7154"/>
              <a:gd name="T53" fmla="*/ 4976 h 7154"/>
              <a:gd name="T54" fmla="*/ 2875 w 7154"/>
              <a:gd name="T55" fmla="*/ 5387 h 7154"/>
              <a:gd name="T56" fmla="*/ 2464 w 7154"/>
              <a:gd name="T57" fmla="*/ 5387 h 7154"/>
              <a:gd name="T58" fmla="*/ 2053 w 7154"/>
              <a:gd name="T59" fmla="*/ 4976 h 7154"/>
              <a:gd name="T60" fmla="*/ 1297 w 7154"/>
              <a:gd name="T61" fmla="*/ 4221 h 7154"/>
              <a:gd name="T62" fmla="*/ 1297 w 7154"/>
              <a:gd name="T63" fmla="*/ 3809 h 7154"/>
              <a:gd name="T64" fmla="*/ 1708 w 7154"/>
              <a:gd name="T65" fmla="*/ 3398 h 7154"/>
              <a:gd name="T66" fmla="*/ 2120 w 7154"/>
              <a:gd name="T67" fmla="*/ 3398 h 7154"/>
              <a:gd name="T68" fmla="*/ 2669 w 7154"/>
              <a:gd name="T69" fmla="*/ 3948 h 7154"/>
              <a:gd name="T70" fmla="*/ 5034 w 7154"/>
              <a:gd name="T71" fmla="*/ 1583 h 7154"/>
              <a:gd name="T72" fmla="*/ 5445 w 7154"/>
              <a:gd name="T73" fmla="*/ 1583 h 7154"/>
              <a:gd name="T74" fmla="*/ 5857 w 7154"/>
              <a:gd name="T75" fmla="*/ 1994 h 7154"/>
              <a:gd name="T76" fmla="*/ 5857 w 7154"/>
              <a:gd name="T77" fmla="*/ 2406 h 7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154" h="7154">
                <a:moveTo>
                  <a:pt x="6624" y="2037"/>
                </a:moveTo>
                <a:cubicBezTo>
                  <a:pt x="6580" y="1703"/>
                  <a:pt x="6403" y="1345"/>
                  <a:pt x="6106" y="1048"/>
                </a:cubicBezTo>
                <a:cubicBezTo>
                  <a:pt x="5809" y="751"/>
                  <a:pt x="5451" y="574"/>
                  <a:pt x="5117" y="530"/>
                </a:cubicBezTo>
                <a:cubicBezTo>
                  <a:pt x="4966" y="510"/>
                  <a:pt x="4764" y="427"/>
                  <a:pt x="4643" y="334"/>
                </a:cubicBezTo>
                <a:cubicBezTo>
                  <a:pt x="4375" y="128"/>
                  <a:pt x="3997" y="0"/>
                  <a:pt x="3577" y="0"/>
                </a:cubicBezTo>
                <a:cubicBezTo>
                  <a:pt x="3157" y="0"/>
                  <a:pt x="2779" y="128"/>
                  <a:pt x="2511" y="334"/>
                </a:cubicBezTo>
                <a:cubicBezTo>
                  <a:pt x="2390" y="427"/>
                  <a:pt x="2188" y="510"/>
                  <a:pt x="2037" y="530"/>
                </a:cubicBezTo>
                <a:cubicBezTo>
                  <a:pt x="1702" y="574"/>
                  <a:pt x="1345" y="751"/>
                  <a:pt x="1048" y="1048"/>
                </a:cubicBezTo>
                <a:cubicBezTo>
                  <a:pt x="751" y="1345"/>
                  <a:pt x="574" y="1703"/>
                  <a:pt x="530" y="2037"/>
                </a:cubicBezTo>
                <a:cubicBezTo>
                  <a:pt x="510" y="2188"/>
                  <a:pt x="427" y="2390"/>
                  <a:pt x="334" y="2511"/>
                </a:cubicBezTo>
                <a:cubicBezTo>
                  <a:pt x="128" y="2779"/>
                  <a:pt x="0" y="3157"/>
                  <a:pt x="0" y="3577"/>
                </a:cubicBezTo>
                <a:cubicBezTo>
                  <a:pt x="0" y="3997"/>
                  <a:pt x="128" y="4375"/>
                  <a:pt x="334" y="4643"/>
                </a:cubicBezTo>
                <a:cubicBezTo>
                  <a:pt x="427" y="4764"/>
                  <a:pt x="510" y="4966"/>
                  <a:pt x="530" y="5117"/>
                </a:cubicBezTo>
                <a:cubicBezTo>
                  <a:pt x="574" y="5451"/>
                  <a:pt x="751" y="5809"/>
                  <a:pt x="1048" y="6106"/>
                </a:cubicBezTo>
                <a:cubicBezTo>
                  <a:pt x="1345" y="6403"/>
                  <a:pt x="1702" y="6580"/>
                  <a:pt x="2037" y="6624"/>
                </a:cubicBezTo>
                <a:cubicBezTo>
                  <a:pt x="2188" y="6644"/>
                  <a:pt x="2390" y="6727"/>
                  <a:pt x="2511" y="6820"/>
                </a:cubicBezTo>
                <a:cubicBezTo>
                  <a:pt x="2779" y="7025"/>
                  <a:pt x="3157" y="7154"/>
                  <a:pt x="3577" y="7154"/>
                </a:cubicBezTo>
                <a:cubicBezTo>
                  <a:pt x="3997" y="7154"/>
                  <a:pt x="4375" y="7025"/>
                  <a:pt x="4643" y="6820"/>
                </a:cubicBezTo>
                <a:cubicBezTo>
                  <a:pt x="4764" y="6727"/>
                  <a:pt x="4966" y="6644"/>
                  <a:pt x="5117" y="6624"/>
                </a:cubicBezTo>
                <a:cubicBezTo>
                  <a:pt x="5451" y="6580"/>
                  <a:pt x="5809" y="6403"/>
                  <a:pt x="6106" y="6106"/>
                </a:cubicBezTo>
                <a:cubicBezTo>
                  <a:pt x="6403" y="5809"/>
                  <a:pt x="6580" y="5451"/>
                  <a:pt x="6624" y="5117"/>
                </a:cubicBezTo>
                <a:cubicBezTo>
                  <a:pt x="6644" y="4966"/>
                  <a:pt x="6727" y="4764"/>
                  <a:pt x="6820" y="4643"/>
                </a:cubicBezTo>
                <a:cubicBezTo>
                  <a:pt x="7026" y="4375"/>
                  <a:pt x="7154" y="3997"/>
                  <a:pt x="7154" y="3577"/>
                </a:cubicBezTo>
                <a:cubicBezTo>
                  <a:pt x="7154" y="3157"/>
                  <a:pt x="7026" y="2779"/>
                  <a:pt x="6820" y="2511"/>
                </a:cubicBezTo>
                <a:cubicBezTo>
                  <a:pt x="6727" y="2390"/>
                  <a:pt x="6644" y="2188"/>
                  <a:pt x="6624" y="2037"/>
                </a:cubicBezTo>
                <a:close/>
                <a:moveTo>
                  <a:pt x="5857" y="2406"/>
                </a:moveTo>
                <a:lnTo>
                  <a:pt x="3286" y="4976"/>
                </a:lnTo>
                <a:lnTo>
                  <a:pt x="2875" y="5387"/>
                </a:lnTo>
                <a:cubicBezTo>
                  <a:pt x="2762" y="5501"/>
                  <a:pt x="2577" y="5501"/>
                  <a:pt x="2464" y="5387"/>
                </a:cubicBezTo>
                <a:lnTo>
                  <a:pt x="2053" y="4976"/>
                </a:lnTo>
                <a:lnTo>
                  <a:pt x="1297" y="4221"/>
                </a:lnTo>
                <a:cubicBezTo>
                  <a:pt x="1183" y="4107"/>
                  <a:pt x="1183" y="3923"/>
                  <a:pt x="1297" y="3809"/>
                </a:cubicBezTo>
                <a:lnTo>
                  <a:pt x="1708" y="3398"/>
                </a:lnTo>
                <a:cubicBezTo>
                  <a:pt x="1822" y="3285"/>
                  <a:pt x="2006" y="3285"/>
                  <a:pt x="2120" y="3398"/>
                </a:cubicBezTo>
                <a:lnTo>
                  <a:pt x="2669" y="3948"/>
                </a:lnTo>
                <a:lnTo>
                  <a:pt x="5034" y="1583"/>
                </a:lnTo>
                <a:cubicBezTo>
                  <a:pt x="5148" y="1470"/>
                  <a:pt x="5332" y="1470"/>
                  <a:pt x="5445" y="1583"/>
                </a:cubicBezTo>
                <a:lnTo>
                  <a:pt x="5857" y="1994"/>
                </a:lnTo>
                <a:cubicBezTo>
                  <a:pt x="5970" y="2108"/>
                  <a:pt x="5970" y="2292"/>
                  <a:pt x="5857" y="2406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215" name="iṧḷiḑé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2707316" y="3654019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按分布模式进行配置</a:t>
            </a:r>
            <a:endParaRPr lang="en-US" altLang="zh-CN" sz="1100" dirty="0"/>
          </a:p>
        </p:txBody>
      </p:sp>
      <p:sp>
        <p:nvSpPr>
          <p:cNvPr id="216" name="îṧḻiḑe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2297693" y="4141801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运行第一个实例</a:t>
            </a:r>
            <a:endParaRPr lang="en-US" altLang="zh-CN" sz="1100" dirty="0"/>
          </a:p>
        </p:txBody>
      </p:sp>
      <p:sp>
        <p:nvSpPr>
          <p:cNvPr id="217" name="îṣľïd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1888191" y="4629583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>
                <a:solidFill>
                  <a:schemeClr val="bg1"/>
                </a:solidFill>
              </a:rPr>
              <a:t>开心</a:t>
            </a:r>
            <a:r>
              <a:rPr lang="en-US" altLang="zh-CN" sz="1100" dirty="0" err="1">
                <a:solidFill>
                  <a:schemeClr val="bg1"/>
                </a:solidFill>
              </a:rPr>
              <a:t>ing</a:t>
            </a:r>
            <a:r>
              <a:rPr lang="en-US" altLang="zh-CN" sz="1100" dirty="0">
                <a:solidFill>
                  <a:schemeClr val="bg1"/>
                </a:solidFill>
              </a:rPr>
              <a:t>~</a:t>
            </a:r>
          </a:p>
        </p:txBody>
      </p:sp>
      <p:sp>
        <p:nvSpPr>
          <p:cNvPr id="218" name="íṧ1îd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116769" y="3166237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 解压</a:t>
            </a:r>
            <a:endParaRPr lang="en-US" altLang="zh-CN" sz="1100" dirty="0"/>
          </a:p>
        </p:txBody>
      </p:sp>
      <p:sp>
        <p:nvSpPr>
          <p:cNvPr id="219" name="îs1ïḋè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531383" y="2678454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配置环境变量 使之生效</a:t>
            </a:r>
            <a:endParaRPr lang="en-US" altLang="zh-CN" sz="1100" dirty="0"/>
          </a:p>
        </p:txBody>
      </p:sp>
      <p:sp>
        <p:nvSpPr>
          <p:cNvPr id="220" name="íšliḓê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940861" y="2190672"/>
            <a:ext cx="2343691" cy="352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/>
              <a:t>在官网下载安装包</a:t>
            </a:r>
            <a:r>
              <a:rPr lang="en-US" altLang="zh-CN" sz="1100" dirty="0"/>
              <a:t> </a:t>
            </a:r>
            <a:r>
              <a:rPr lang="zh-CN" altLang="en-US" sz="1100" dirty="0"/>
              <a:t>解压</a:t>
            </a:r>
            <a:endParaRPr lang="en-US" altLang="zh-CN" sz="1100" dirty="0"/>
          </a:p>
        </p:txBody>
      </p:sp>
    </p:spTree>
    <p:extLst>
      <p:ext uri="{BB962C8B-B14F-4D97-AF65-F5344CB8AC3E}">
        <p14:creationId xmlns:p14="http://schemas.microsoft.com/office/powerpoint/2010/main" val="17934751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400" dirty="0"/>
              <a:t>MapReduce</a:t>
            </a:r>
            <a:r>
              <a:rPr lang="zh-CN" altLang="en-US" sz="2400" dirty="0"/>
              <a:t>二次排序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zh-CN" altLang="en-US" sz="1100" dirty="0"/>
              <a:t>使用</a:t>
            </a:r>
            <a:r>
              <a:rPr lang="en-US" altLang="zh-CN" sz="1100" dirty="0"/>
              <a:t>eclipse</a:t>
            </a:r>
            <a:r>
              <a:rPr lang="zh-CN" altLang="en-US" sz="1100" dirty="0"/>
              <a:t>集成环境来编写自己的第一份</a:t>
            </a:r>
            <a:r>
              <a:rPr lang="en-US" altLang="zh-CN" sz="1100" dirty="0"/>
              <a:t>MapReduce</a:t>
            </a:r>
            <a:r>
              <a:rPr lang="zh-CN" altLang="en-US" sz="1100" dirty="0"/>
              <a:t>代码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024505" y="2781772"/>
            <a:ext cx="1168104" cy="1015623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1350" spc="75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z="1350" spc="75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00293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A92A15D7-8EB1-4DE7-AA90-799D8D96CC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601" y="837839"/>
            <a:ext cx="0" cy="0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0582E132-5674-4D30-AAD1-D47C292D7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</p:spTree>
    <p:extLst>
      <p:ext uri="{BB962C8B-B14F-4D97-AF65-F5344CB8AC3E}">
        <p14:creationId xmlns:p14="http://schemas.microsoft.com/office/powerpoint/2010/main" val="7242350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advTm="0">
        <p159:morph option="byObject"/>
      </p:transition>
    </mc:Choice>
    <mc:Fallback xmlns="">
      <p:transition advTm="0"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582E132-5674-4D30-AAD1-D47C292D7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A92A15D7-8EB1-4DE7-AA90-799D8D96CC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8581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582E132-5674-4D30-AAD1-D47C292D7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A92A15D7-8EB1-4DE7-AA90-799D8D96CCBF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FC92A28D-0F00-48ED-846F-0673427F091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0505" y="1407660"/>
            <a:ext cx="2395452" cy="3478788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1ADACB60-735C-4F79-A8E6-85D7E68BD0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3300" y="1407660"/>
            <a:ext cx="1454449" cy="2552019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46B88AC7-0AF6-4C60-85CA-DFEFBC86ECC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5420" y="7011328"/>
            <a:ext cx="133161" cy="193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2553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" dur="3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300"/>
                            </p:stCondLst>
                            <p:childTnLst>
                              <p:par>
                                <p:cTn id="10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3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3" dur="3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组合 26">
            <a:extLst>
              <a:ext uri="{FF2B5EF4-FFF2-40B4-BE49-F238E27FC236}">
                <a16:creationId xmlns:a16="http://schemas.microsoft.com/office/drawing/2014/main" id="{C89E5299-5D42-4A97-A5A7-52432DFC8602}"/>
              </a:ext>
            </a:extLst>
          </p:cNvPr>
          <p:cNvGrpSpPr>
            <a:grpSpLocks/>
          </p:cNvGrpSpPr>
          <p:nvPr/>
        </p:nvGrpSpPr>
        <p:grpSpPr>
          <a:xfrm>
            <a:off x="3552822" y="4590442"/>
            <a:ext cx="2028825" cy="1543658"/>
            <a:chOff x="1112462" y="1546057"/>
            <a:chExt cx="2028825" cy="897308"/>
          </a:xfrm>
        </p:grpSpPr>
        <p:grpSp>
          <p:nvGrpSpPr>
            <p:cNvPr id="28" name="组合 27">
              <a:extLst>
                <a:ext uri="{FF2B5EF4-FFF2-40B4-BE49-F238E27FC236}">
                  <a16:creationId xmlns:a16="http://schemas.microsoft.com/office/drawing/2014/main" id="{80407D01-EAA1-415C-92A4-31875662F7A1}"/>
                </a:ext>
              </a:extLst>
            </p:cNvPr>
            <p:cNvGrpSpPr/>
            <p:nvPr/>
          </p:nvGrpSpPr>
          <p:grpSpPr>
            <a:xfrm>
              <a:off x="1112462" y="1546057"/>
              <a:ext cx="2028825" cy="897308"/>
              <a:chOff x="1206466" y="2225304"/>
              <a:chExt cx="2028825" cy="897308"/>
            </a:xfrm>
          </p:grpSpPr>
          <p:sp>
            <p:nvSpPr>
              <p:cNvPr id="30" name="矩形: 圆角 29">
                <a:extLst>
                  <a:ext uri="{FF2B5EF4-FFF2-40B4-BE49-F238E27FC236}">
                    <a16:creationId xmlns:a16="http://schemas.microsoft.com/office/drawing/2014/main" id="{2A6789C7-B1C4-4034-A6A6-842CDD885DA2}"/>
                  </a:ext>
                </a:extLst>
              </p:cNvPr>
              <p:cNvSpPr/>
              <p:nvPr/>
            </p:nvSpPr>
            <p:spPr>
              <a:xfrm>
                <a:off x="1206466" y="2225304"/>
                <a:ext cx="2028825" cy="897308"/>
              </a:xfrm>
              <a:prstGeom prst="round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31" name="文本框 30">
                <a:extLst>
                  <a:ext uri="{FF2B5EF4-FFF2-40B4-BE49-F238E27FC236}">
                    <a16:creationId xmlns:a16="http://schemas.microsoft.com/office/drawing/2014/main" id="{D1288082-5FA7-4C46-B87B-1994916D4976}"/>
                  </a:ext>
                </a:extLst>
              </p:cNvPr>
              <p:cNvSpPr txBox="1"/>
              <p:nvPr/>
            </p:nvSpPr>
            <p:spPr>
              <a:xfrm>
                <a:off x="1989160" y="2468928"/>
                <a:ext cx="1225521" cy="6261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2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en-US" altLang="zh-CN" sz="100" dirty="0"/>
                  <a:t>3.txt</a:t>
                </a:r>
                <a:endParaRPr lang="zh-CN" altLang="en-US" sz="100" dirty="0"/>
              </a:p>
            </p:txBody>
          </p:sp>
        </p:grpSp>
        <p:sp>
          <p:nvSpPr>
            <p:cNvPr id="29" name="txt_180898">
              <a:extLst>
                <a:ext uri="{FF2B5EF4-FFF2-40B4-BE49-F238E27FC236}">
                  <a16:creationId xmlns:a16="http://schemas.microsoft.com/office/drawing/2014/main" id="{98848DB1-8924-453C-AE97-567DD5933F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389945" y="1689869"/>
              <a:ext cx="484602" cy="609685"/>
            </a:xfrm>
            <a:custGeom>
              <a:avLst/>
              <a:gdLst>
                <a:gd name="connsiteX0" fmla="*/ 289671 w 482808"/>
                <a:gd name="connsiteY0" fmla="*/ 445479 h 607427"/>
                <a:gd name="connsiteX1" fmla="*/ 359107 w 482808"/>
                <a:gd name="connsiteY1" fmla="*/ 445479 h 607427"/>
                <a:gd name="connsiteX2" fmla="*/ 359107 w 482808"/>
                <a:gd name="connsiteY2" fmla="*/ 465674 h 607427"/>
                <a:gd name="connsiteX3" fmla="*/ 336870 w 482808"/>
                <a:gd name="connsiteY3" fmla="*/ 465674 h 607427"/>
                <a:gd name="connsiteX4" fmla="*/ 336870 w 482808"/>
                <a:gd name="connsiteY4" fmla="*/ 537143 h 607427"/>
                <a:gd name="connsiteX5" fmla="*/ 312051 w 482808"/>
                <a:gd name="connsiteY5" fmla="*/ 537143 h 607427"/>
                <a:gd name="connsiteX6" fmla="*/ 312051 w 482808"/>
                <a:gd name="connsiteY6" fmla="*/ 465674 h 607427"/>
                <a:gd name="connsiteX7" fmla="*/ 289671 w 482808"/>
                <a:gd name="connsiteY7" fmla="*/ 465674 h 607427"/>
                <a:gd name="connsiteX8" fmla="*/ 195635 w 482808"/>
                <a:gd name="connsiteY8" fmla="*/ 445479 h 607427"/>
                <a:gd name="connsiteX9" fmla="*/ 223010 w 482808"/>
                <a:gd name="connsiteY9" fmla="*/ 445479 h 607427"/>
                <a:gd name="connsiteX10" fmla="*/ 239635 w 482808"/>
                <a:gd name="connsiteY10" fmla="*/ 473838 h 607427"/>
                <a:gd name="connsiteX11" fmla="*/ 255544 w 482808"/>
                <a:gd name="connsiteY11" fmla="*/ 445479 h 607427"/>
                <a:gd name="connsiteX12" fmla="*/ 283778 w 482808"/>
                <a:gd name="connsiteY12" fmla="*/ 445479 h 607427"/>
                <a:gd name="connsiteX13" fmla="*/ 254827 w 482808"/>
                <a:gd name="connsiteY13" fmla="*/ 492170 h 607427"/>
                <a:gd name="connsiteX14" fmla="*/ 286071 w 482808"/>
                <a:gd name="connsiteY14" fmla="*/ 537143 h 607427"/>
                <a:gd name="connsiteX15" fmla="*/ 257407 w 482808"/>
                <a:gd name="connsiteY15" fmla="*/ 537143 h 607427"/>
                <a:gd name="connsiteX16" fmla="*/ 239492 w 482808"/>
                <a:gd name="connsiteY16" fmla="*/ 508498 h 607427"/>
                <a:gd name="connsiteX17" fmla="*/ 221863 w 482808"/>
                <a:gd name="connsiteY17" fmla="*/ 537143 h 607427"/>
                <a:gd name="connsiteX18" fmla="*/ 193772 w 482808"/>
                <a:gd name="connsiteY18" fmla="*/ 537143 h 607427"/>
                <a:gd name="connsiteX19" fmla="*/ 224156 w 482808"/>
                <a:gd name="connsiteY19" fmla="*/ 490165 h 607427"/>
                <a:gd name="connsiteX20" fmla="*/ 120737 w 482808"/>
                <a:gd name="connsiteY20" fmla="*/ 445479 h 607427"/>
                <a:gd name="connsiteX21" fmla="*/ 190314 w 482808"/>
                <a:gd name="connsiteY21" fmla="*/ 445479 h 607427"/>
                <a:gd name="connsiteX22" fmla="*/ 190314 w 482808"/>
                <a:gd name="connsiteY22" fmla="*/ 465674 h 607427"/>
                <a:gd name="connsiteX23" fmla="*/ 167935 w 482808"/>
                <a:gd name="connsiteY23" fmla="*/ 465674 h 607427"/>
                <a:gd name="connsiteX24" fmla="*/ 167935 w 482808"/>
                <a:gd name="connsiteY24" fmla="*/ 537143 h 607427"/>
                <a:gd name="connsiteX25" fmla="*/ 143116 w 482808"/>
                <a:gd name="connsiteY25" fmla="*/ 537143 h 607427"/>
                <a:gd name="connsiteX26" fmla="*/ 143116 w 482808"/>
                <a:gd name="connsiteY26" fmla="*/ 465674 h 607427"/>
                <a:gd name="connsiteX27" fmla="*/ 120737 w 482808"/>
                <a:gd name="connsiteY27" fmla="*/ 465674 h 607427"/>
                <a:gd name="connsiteX28" fmla="*/ 129064 w 482808"/>
                <a:gd name="connsiteY28" fmla="*/ 329823 h 607427"/>
                <a:gd name="connsiteX29" fmla="*/ 223692 w 482808"/>
                <a:gd name="connsiteY29" fmla="*/ 329823 h 607427"/>
                <a:gd name="connsiteX30" fmla="*/ 223692 w 482808"/>
                <a:gd name="connsiteY30" fmla="*/ 358473 h 607427"/>
                <a:gd name="connsiteX31" fmla="*/ 129064 w 482808"/>
                <a:gd name="connsiteY31" fmla="*/ 358473 h 607427"/>
                <a:gd name="connsiteX32" fmla="*/ 129064 w 482808"/>
                <a:gd name="connsiteY32" fmla="*/ 282756 h 607427"/>
                <a:gd name="connsiteX33" fmla="*/ 334550 w 482808"/>
                <a:gd name="connsiteY33" fmla="*/ 282756 h 607427"/>
                <a:gd name="connsiteX34" fmla="*/ 334550 w 482808"/>
                <a:gd name="connsiteY34" fmla="*/ 311335 h 607427"/>
                <a:gd name="connsiteX35" fmla="*/ 129064 w 482808"/>
                <a:gd name="connsiteY35" fmla="*/ 311335 h 607427"/>
                <a:gd name="connsiteX36" fmla="*/ 129064 w 482808"/>
                <a:gd name="connsiteY36" fmla="*/ 235759 h 607427"/>
                <a:gd name="connsiteX37" fmla="*/ 353744 w 482808"/>
                <a:gd name="connsiteY37" fmla="*/ 235759 h 607427"/>
                <a:gd name="connsiteX38" fmla="*/ 353744 w 482808"/>
                <a:gd name="connsiteY38" fmla="*/ 264409 h 607427"/>
                <a:gd name="connsiteX39" fmla="*/ 129064 w 482808"/>
                <a:gd name="connsiteY39" fmla="*/ 264409 h 607427"/>
                <a:gd name="connsiteX40" fmla="*/ 129064 w 482808"/>
                <a:gd name="connsiteY40" fmla="*/ 188692 h 607427"/>
                <a:gd name="connsiteX41" fmla="*/ 286213 w 482808"/>
                <a:gd name="connsiteY41" fmla="*/ 188692 h 607427"/>
                <a:gd name="connsiteX42" fmla="*/ 286213 w 482808"/>
                <a:gd name="connsiteY42" fmla="*/ 217342 h 607427"/>
                <a:gd name="connsiteX43" fmla="*/ 129064 w 482808"/>
                <a:gd name="connsiteY43" fmla="*/ 217342 h 607427"/>
                <a:gd name="connsiteX44" fmla="*/ 129064 w 482808"/>
                <a:gd name="connsiteY44" fmla="*/ 141695 h 607427"/>
                <a:gd name="connsiteX45" fmla="*/ 353744 w 482808"/>
                <a:gd name="connsiteY45" fmla="*/ 141695 h 607427"/>
                <a:gd name="connsiteX46" fmla="*/ 353744 w 482808"/>
                <a:gd name="connsiteY46" fmla="*/ 170345 h 607427"/>
                <a:gd name="connsiteX47" fmla="*/ 129064 w 482808"/>
                <a:gd name="connsiteY47" fmla="*/ 170345 h 607427"/>
                <a:gd name="connsiteX48" fmla="*/ 28679 w 482808"/>
                <a:gd name="connsiteY48" fmla="*/ 76877 h 607427"/>
                <a:gd name="connsiteX49" fmla="*/ 28679 w 482808"/>
                <a:gd name="connsiteY49" fmla="*/ 578795 h 607427"/>
                <a:gd name="connsiteX50" fmla="*/ 454129 w 482808"/>
                <a:gd name="connsiteY50" fmla="*/ 578795 h 607427"/>
                <a:gd name="connsiteX51" fmla="*/ 454129 w 482808"/>
                <a:gd name="connsiteY51" fmla="*/ 125122 h 607427"/>
                <a:gd name="connsiteX52" fmla="*/ 371821 w 482808"/>
                <a:gd name="connsiteY52" fmla="*/ 125122 h 607427"/>
                <a:gd name="connsiteX53" fmla="*/ 357482 w 482808"/>
                <a:gd name="connsiteY53" fmla="*/ 110806 h 607427"/>
                <a:gd name="connsiteX54" fmla="*/ 357482 w 482808"/>
                <a:gd name="connsiteY54" fmla="*/ 76877 h 607427"/>
                <a:gd name="connsiteX55" fmla="*/ 386160 w 482808"/>
                <a:gd name="connsiteY55" fmla="*/ 48817 h 607427"/>
                <a:gd name="connsiteX56" fmla="*/ 386160 w 482808"/>
                <a:gd name="connsiteY56" fmla="*/ 96490 h 607427"/>
                <a:gd name="connsiteX57" fmla="*/ 433767 w 482808"/>
                <a:gd name="connsiteY57" fmla="*/ 96490 h 607427"/>
                <a:gd name="connsiteX58" fmla="*/ 28679 w 482808"/>
                <a:gd name="connsiteY58" fmla="*/ 28632 h 607427"/>
                <a:gd name="connsiteX59" fmla="*/ 28679 w 482808"/>
                <a:gd name="connsiteY59" fmla="*/ 48245 h 607427"/>
                <a:gd name="connsiteX60" fmla="*/ 357482 w 482808"/>
                <a:gd name="connsiteY60" fmla="*/ 48245 h 607427"/>
                <a:gd name="connsiteX61" fmla="*/ 357482 w 482808"/>
                <a:gd name="connsiteY61" fmla="*/ 28632 h 607427"/>
                <a:gd name="connsiteX62" fmla="*/ 14339 w 482808"/>
                <a:gd name="connsiteY62" fmla="*/ 0 h 607427"/>
                <a:gd name="connsiteX63" fmla="*/ 371821 w 482808"/>
                <a:gd name="connsiteY63" fmla="*/ 0 h 607427"/>
                <a:gd name="connsiteX64" fmla="*/ 382002 w 482808"/>
                <a:gd name="connsiteY64" fmla="*/ 4152 h 607427"/>
                <a:gd name="connsiteX65" fmla="*/ 478506 w 482808"/>
                <a:gd name="connsiteY65" fmla="*/ 100641 h 607427"/>
                <a:gd name="connsiteX66" fmla="*/ 482808 w 482808"/>
                <a:gd name="connsiteY66" fmla="*/ 110806 h 607427"/>
                <a:gd name="connsiteX67" fmla="*/ 482808 w 482808"/>
                <a:gd name="connsiteY67" fmla="*/ 593111 h 607427"/>
                <a:gd name="connsiteX68" fmla="*/ 468469 w 482808"/>
                <a:gd name="connsiteY68" fmla="*/ 607427 h 607427"/>
                <a:gd name="connsiteX69" fmla="*/ 14339 w 482808"/>
                <a:gd name="connsiteY69" fmla="*/ 607427 h 607427"/>
                <a:gd name="connsiteX70" fmla="*/ 0 w 482808"/>
                <a:gd name="connsiteY70" fmla="*/ 593111 h 607427"/>
                <a:gd name="connsiteX71" fmla="*/ 0 w 482808"/>
                <a:gd name="connsiteY71" fmla="*/ 14316 h 607427"/>
                <a:gd name="connsiteX72" fmla="*/ 14339 w 482808"/>
                <a:gd name="connsiteY72" fmla="*/ 0 h 607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482808" h="607427">
                  <a:moveTo>
                    <a:pt x="289671" y="445479"/>
                  </a:moveTo>
                  <a:lnTo>
                    <a:pt x="359107" y="445479"/>
                  </a:lnTo>
                  <a:lnTo>
                    <a:pt x="359107" y="465674"/>
                  </a:lnTo>
                  <a:lnTo>
                    <a:pt x="336870" y="465674"/>
                  </a:lnTo>
                  <a:lnTo>
                    <a:pt x="336870" y="537143"/>
                  </a:lnTo>
                  <a:lnTo>
                    <a:pt x="312051" y="537143"/>
                  </a:lnTo>
                  <a:lnTo>
                    <a:pt x="312051" y="465674"/>
                  </a:lnTo>
                  <a:lnTo>
                    <a:pt x="289671" y="465674"/>
                  </a:lnTo>
                  <a:close/>
                  <a:moveTo>
                    <a:pt x="195635" y="445479"/>
                  </a:moveTo>
                  <a:lnTo>
                    <a:pt x="223010" y="445479"/>
                  </a:lnTo>
                  <a:lnTo>
                    <a:pt x="239635" y="473838"/>
                  </a:lnTo>
                  <a:lnTo>
                    <a:pt x="255544" y="445479"/>
                  </a:lnTo>
                  <a:lnTo>
                    <a:pt x="283778" y="445479"/>
                  </a:lnTo>
                  <a:lnTo>
                    <a:pt x="254827" y="492170"/>
                  </a:lnTo>
                  <a:lnTo>
                    <a:pt x="286071" y="537143"/>
                  </a:lnTo>
                  <a:lnTo>
                    <a:pt x="257407" y="537143"/>
                  </a:lnTo>
                  <a:lnTo>
                    <a:pt x="239492" y="508498"/>
                  </a:lnTo>
                  <a:lnTo>
                    <a:pt x="221863" y="537143"/>
                  </a:lnTo>
                  <a:lnTo>
                    <a:pt x="193772" y="537143"/>
                  </a:lnTo>
                  <a:lnTo>
                    <a:pt x="224156" y="490165"/>
                  </a:lnTo>
                  <a:close/>
                  <a:moveTo>
                    <a:pt x="120737" y="445479"/>
                  </a:moveTo>
                  <a:lnTo>
                    <a:pt x="190314" y="445479"/>
                  </a:lnTo>
                  <a:lnTo>
                    <a:pt x="190314" y="465674"/>
                  </a:lnTo>
                  <a:lnTo>
                    <a:pt x="167935" y="465674"/>
                  </a:lnTo>
                  <a:lnTo>
                    <a:pt x="167935" y="537143"/>
                  </a:lnTo>
                  <a:lnTo>
                    <a:pt x="143116" y="537143"/>
                  </a:lnTo>
                  <a:lnTo>
                    <a:pt x="143116" y="465674"/>
                  </a:lnTo>
                  <a:lnTo>
                    <a:pt x="120737" y="465674"/>
                  </a:lnTo>
                  <a:close/>
                  <a:moveTo>
                    <a:pt x="129064" y="329823"/>
                  </a:moveTo>
                  <a:lnTo>
                    <a:pt x="223692" y="329823"/>
                  </a:lnTo>
                  <a:lnTo>
                    <a:pt x="223692" y="358473"/>
                  </a:lnTo>
                  <a:lnTo>
                    <a:pt x="129064" y="358473"/>
                  </a:lnTo>
                  <a:close/>
                  <a:moveTo>
                    <a:pt x="129064" y="282756"/>
                  </a:moveTo>
                  <a:lnTo>
                    <a:pt x="334550" y="282756"/>
                  </a:lnTo>
                  <a:lnTo>
                    <a:pt x="334550" y="311335"/>
                  </a:lnTo>
                  <a:lnTo>
                    <a:pt x="129064" y="311335"/>
                  </a:lnTo>
                  <a:close/>
                  <a:moveTo>
                    <a:pt x="129064" y="235759"/>
                  </a:moveTo>
                  <a:lnTo>
                    <a:pt x="353744" y="235759"/>
                  </a:lnTo>
                  <a:lnTo>
                    <a:pt x="353744" y="264409"/>
                  </a:lnTo>
                  <a:lnTo>
                    <a:pt x="129064" y="264409"/>
                  </a:lnTo>
                  <a:close/>
                  <a:moveTo>
                    <a:pt x="129064" y="188692"/>
                  </a:moveTo>
                  <a:lnTo>
                    <a:pt x="286213" y="188692"/>
                  </a:lnTo>
                  <a:lnTo>
                    <a:pt x="286213" y="217342"/>
                  </a:lnTo>
                  <a:lnTo>
                    <a:pt x="129064" y="217342"/>
                  </a:lnTo>
                  <a:close/>
                  <a:moveTo>
                    <a:pt x="129064" y="141695"/>
                  </a:moveTo>
                  <a:lnTo>
                    <a:pt x="353744" y="141695"/>
                  </a:lnTo>
                  <a:lnTo>
                    <a:pt x="353744" y="170345"/>
                  </a:lnTo>
                  <a:lnTo>
                    <a:pt x="129064" y="170345"/>
                  </a:lnTo>
                  <a:close/>
                  <a:moveTo>
                    <a:pt x="28679" y="76877"/>
                  </a:moveTo>
                  <a:lnTo>
                    <a:pt x="28679" y="578795"/>
                  </a:lnTo>
                  <a:lnTo>
                    <a:pt x="454129" y="578795"/>
                  </a:lnTo>
                  <a:lnTo>
                    <a:pt x="454129" y="125122"/>
                  </a:lnTo>
                  <a:lnTo>
                    <a:pt x="371821" y="125122"/>
                  </a:lnTo>
                  <a:cubicBezTo>
                    <a:pt x="363934" y="125122"/>
                    <a:pt x="357482" y="118679"/>
                    <a:pt x="357482" y="110806"/>
                  </a:cubicBezTo>
                  <a:lnTo>
                    <a:pt x="357482" y="76877"/>
                  </a:lnTo>
                  <a:close/>
                  <a:moveTo>
                    <a:pt x="386160" y="48817"/>
                  </a:moveTo>
                  <a:lnTo>
                    <a:pt x="386160" y="96490"/>
                  </a:lnTo>
                  <a:lnTo>
                    <a:pt x="433767" y="96490"/>
                  </a:lnTo>
                  <a:close/>
                  <a:moveTo>
                    <a:pt x="28679" y="28632"/>
                  </a:moveTo>
                  <a:lnTo>
                    <a:pt x="28679" y="48245"/>
                  </a:lnTo>
                  <a:lnTo>
                    <a:pt x="357482" y="48245"/>
                  </a:lnTo>
                  <a:lnTo>
                    <a:pt x="357482" y="28632"/>
                  </a:lnTo>
                  <a:close/>
                  <a:moveTo>
                    <a:pt x="14339" y="0"/>
                  </a:moveTo>
                  <a:lnTo>
                    <a:pt x="371821" y="0"/>
                  </a:lnTo>
                  <a:cubicBezTo>
                    <a:pt x="375549" y="0"/>
                    <a:pt x="379278" y="1575"/>
                    <a:pt x="382002" y="4152"/>
                  </a:cubicBezTo>
                  <a:lnTo>
                    <a:pt x="478506" y="100641"/>
                  </a:lnTo>
                  <a:cubicBezTo>
                    <a:pt x="481231" y="103361"/>
                    <a:pt x="482808" y="106940"/>
                    <a:pt x="482808" y="110806"/>
                  </a:cubicBezTo>
                  <a:lnTo>
                    <a:pt x="482808" y="593111"/>
                  </a:lnTo>
                  <a:cubicBezTo>
                    <a:pt x="482808" y="600985"/>
                    <a:pt x="476355" y="607427"/>
                    <a:pt x="468469" y="607427"/>
                  </a:cubicBezTo>
                  <a:lnTo>
                    <a:pt x="14339" y="607427"/>
                  </a:lnTo>
                  <a:cubicBezTo>
                    <a:pt x="6453" y="607427"/>
                    <a:pt x="0" y="600985"/>
                    <a:pt x="0" y="593111"/>
                  </a:cubicBezTo>
                  <a:lnTo>
                    <a:pt x="0" y="14316"/>
                  </a:lnTo>
                  <a:cubicBezTo>
                    <a:pt x="0" y="6442"/>
                    <a:pt x="6453" y="0"/>
                    <a:pt x="14339" y="0"/>
                  </a:cubicBezTo>
                  <a:close/>
                </a:path>
              </a:pathLst>
            </a:cu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2"/>
            </a:fontRef>
          </p:style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727979A8-1BA4-463A-9A84-4A70CC52EF6B}"/>
              </a:ext>
            </a:extLst>
          </p:cNvPr>
          <p:cNvGrpSpPr>
            <a:grpSpLocks/>
          </p:cNvGrpSpPr>
          <p:nvPr/>
        </p:nvGrpSpPr>
        <p:grpSpPr>
          <a:xfrm>
            <a:off x="3552822" y="2860371"/>
            <a:ext cx="2028825" cy="1543658"/>
            <a:chOff x="1112462" y="1546057"/>
            <a:chExt cx="2028825" cy="897308"/>
          </a:xfrm>
        </p:grpSpPr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55C61EF9-6EEC-4865-BFDE-04C257CB7FDB}"/>
                </a:ext>
              </a:extLst>
            </p:cNvPr>
            <p:cNvGrpSpPr/>
            <p:nvPr/>
          </p:nvGrpSpPr>
          <p:grpSpPr>
            <a:xfrm>
              <a:off x="1112462" y="1546057"/>
              <a:ext cx="2028825" cy="897308"/>
              <a:chOff x="1206466" y="2225304"/>
              <a:chExt cx="2028825" cy="897308"/>
            </a:xfrm>
          </p:grpSpPr>
          <p:sp>
            <p:nvSpPr>
              <p:cNvPr id="25" name="矩形: 圆角 24">
                <a:extLst>
                  <a:ext uri="{FF2B5EF4-FFF2-40B4-BE49-F238E27FC236}">
                    <a16:creationId xmlns:a16="http://schemas.microsoft.com/office/drawing/2014/main" id="{9EB1461F-3059-48FF-AC43-5E6AA71994EC}"/>
                  </a:ext>
                </a:extLst>
              </p:cNvPr>
              <p:cNvSpPr/>
              <p:nvPr/>
            </p:nvSpPr>
            <p:spPr>
              <a:xfrm>
                <a:off x="1206466" y="2225304"/>
                <a:ext cx="2028825" cy="897308"/>
              </a:xfrm>
              <a:prstGeom prst="round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26" name="文本框 25">
                <a:extLst>
                  <a:ext uri="{FF2B5EF4-FFF2-40B4-BE49-F238E27FC236}">
                    <a16:creationId xmlns:a16="http://schemas.microsoft.com/office/drawing/2014/main" id="{866799B6-4D4B-4945-851B-8A3B725DBA1C}"/>
                  </a:ext>
                </a:extLst>
              </p:cNvPr>
              <p:cNvSpPr txBox="1"/>
              <p:nvPr/>
            </p:nvSpPr>
            <p:spPr>
              <a:xfrm>
                <a:off x="1989160" y="2468928"/>
                <a:ext cx="1225521" cy="6261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2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en-US" altLang="zh-CN" sz="100" dirty="0"/>
                  <a:t>2.txt</a:t>
                </a:r>
                <a:endParaRPr lang="zh-CN" altLang="en-US" sz="100" dirty="0"/>
              </a:p>
            </p:txBody>
          </p:sp>
        </p:grpSp>
        <p:sp>
          <p:nvSpPr>
            <p:cNvPr id="24" name="txt_180898">
              <a:extLst>
                <a:ext uri="{FF2B5EF4-FFF2-40B4-BE49-F238E27FC236}">
                  <a16:creationId xmlns:a16="http://schemas.microsoft.com/office/drawing/2014/main" id="{7F22C685-B0C5-4281-B44E-1453F5B6336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389945" y="1689869"/>
              <a:ext cx="484602" cy="609685"/>
            </a:xfrm>
            <a:custGeom>
              <a:avLst/>
              <a:gdLst>
                <a:gd name="connsiteX0" fmla="*/ 289671 w 482808"/>
                <a:gd name="connsiteY0" fmla="*/ 445479 h 607427"/>
                <a:gd name="connsiteX1" fmla="*/ 359107 w 482808"/>
                <a:gd name="connsiteY1" fmla="*/ 445479 h 607427"/>
                <a:gd name="connsiteX2" fmla="*/ 359107 w 482808"/>
                <a:gd name="connsiteY2" fmla="*/ 465674 h 607427"/>
                <a:gd name="connsiteX3" fmla="*/ 336870 w 482808"/>
                <a:gd name="connsiteY3" fmla="*/ 465674 h 607427"/>
                <a:gd name="connsiteX4" fmla="*/ 336870 w 482808"/>
                <a:gd name="connsiteY4" fmla="*/ 537143 h 607427"/>
                <a:gd name="connsiteX5" fmla="*/ 312051 w 482808"/>
                <a:gd name="connsiteY5" fmla="*/ 537143 h 607427"/>
                <a:gd name="connsiteX6" fmla="*/ 312051 w 482808"/>
                <a:gd name="connsiteY6" fmla="*/ 465674 h 607427"/>
                <a:gd name="connsiteX7" fmla="*/ 289671 w 482808"/>
                <a:gd name="connsiteY7" fmla="*/ 465674 h 607427"/>
                <a:gd name="connsiteX8" fmla="*/ 195635 w 482808"/>
                <a:gd name="connsiteY8" fmla="*/ 445479 h 607427"/>
                <a:gd name="connsiteX9" fmla="*/ 223010 w 482808"/>
                <a:gd name="connsiteY9" fmla="*/ 445479 h 607427"/>
                <a:gd name="connsiteX10" fmla="*/ 239635 w 482808"/>
                <a:gd name="connsiteY10" fmla="*/ 473838 h 607427"/>
                <a:gd name="connsiteX11" fmla="*/ 255544 w 482808"/>
                <a:gd name="connsiteY11" fmla="*/ 445479 h 607427"/>
                <a:gd name="connsiteX12" fmla="*/ 283778 w 482808"/>
                <a:gd name="connsiteY12" fmla="*/ 445479 h 607427"/>
                <a:gd name="connsiteX13" fmla="*/ 254827 w 482808"/>
                <a:gd name="connsiteY13" fmla="*/ 492170 h 607427"/>
                <a:gd name="connsiteX14" fmla="*/ 286071 w 482808"/>
                <a:gd name="connsiteY14" fmla="*/ 537143 h 607427"/>
                <a:gd name="connsiteX15" fmla="*/ 257407 w 482808"/>
                <a:gd name="connsiteY15" fmla="*/ 537143 h 607427"/>
                <a:gd name="connsiteX16" fmla="*/ 239492 w 482808"/>
                <a:gd name="connsiteY16" fmla="*/ 508498 h 607427"/>
                <a:gd name="connsiteX17" fmla="*/ 221863 w 482808"/>
                <a:gd name="connsiteY17" fmla="*/ 537143 h 607427"/>
                <a:gd name="connsiteX18" fmla="*/ 193772 w 482808"/>
                <a:gd name="connsiteY18" fmla="*/ 537143 h 607427"/>
                <a:gd name="connsiteX19" fmla="*/ 224156 w 482808"/>
                <a:gd name="connsiteY19" fmla="*/ 490165 h 607427"/>
                <a:gd name="connsiteX20" fmla="*/ 120737 w 482808"/>
                <a:gd name="connsiteY20" fmla="*/ 445479 h 607427"/>
                <a:gd name="connsiteX21" fmla="*/ 190314 w 482808"/>
                <a:gd name="connsiteY21" fmla="*/ 445479 h 607427"/>
                <a:gd name="connsiteX22" fmla="*/ 190314 w 482808"/>
                <a:gd name="connsiteY22" fmla="*/ 465674 h 607427"/>
                <a:gd name="connsiteX23" fmla="*/ 167935 w 482808"/>
                <a:gd name="connsiteY23" fmla="*/ 465674 h 607427"/>
                <a:gd name="connsiteX24" fmla="*/ 167935 w 482808"/>
                <a:gd name="connsiteY24" fmla="*/ 537143 h 607427"/>
                <a:gd name="connsiteX25" fmla="*/ 143116 w 482808"/>
                <a:gd name="connsiteY25" fmla="*/ 537143 h 607427"/>
                <a:gd name="connsiteX26" fmla="*/ 143116 w 482808"/>
                <a:gd name="connsiteY26" fmla="*/ 465674 h 607427"/>
                <a:gd name="connsiteX27" fmla="*/ 120737 w 482808"/>
                <a:gd name="connsiteY27" fmla="*/ 465674 h 607427"/>
                <a:gd name="connsiteX28" fmla="*/ 129064 w 482808"/>
                <a:gd name="connsiteY28" fmla="*/ 329823 h 607427"/>
                <a:gd name="connsiteX29" fmla="*/ 223692 w 482808"/>
                <a:gd name="connsiteY29" fmla="*/ 329823 h 607427"/>
                <a:gd name="connsiteX30" fmla="*/ 223692 w 482808"/>
                <a:gd name="connsiteY30" fmla="*/ 358473 h 607427"/>
                <a:gd name="connsiteX31" fmla="*/ 129064 w 482808"/>
                <a:gd name="connsiteY31" fmla="*/ 358473 h 607427"/>
                <a:gd name="connsiteX32" fmla="*/ 129064 w 482808"/>
                <a:gd name="connsiteY32" fmla="*/ 282756 h 607427"/>
                <a:gd name="connsiteX33" fmla="*/ 334550 w 482808"/>
                <a:gd name="connsiteY33" fmla="*/ 282756 h 607427"/>
                <a:gd name="connsiteX34" fmla="*/ 334550 w 482808"/>
                <a:gd name="connsiteY34" fmla="*/ 311335 h 607427"/>
                <a:gd name="connsiteX35" fmla="*/ 129064 w 482808"/>
                <a:gd name="connsiteY35" fmla="*/ 311335 h 607427"/>
                <a:gd name="connsiteX36" fmla="*/ 129064 w 482808"/>
                <a:gd name="connsiteY36" fmla="*/ 235759 h 607427"/>
                <a:gd name="connsiteX37" fmla="*/ 353744 w 482808"/>
                <a:gd name="connsiteY37" fmla="*/ 235759 h 607427"/>
                <a:gd name="connsiteX38" fmla="*/ 353744 w 482808"/>
                <a:gd name="connsiteY38" fmla="*/ 264409 h 607427"/>
                <a:gd name="connsiteX39" fmla="*/ 129064 w 482808"/>
                <a:gd name="connsiteY39" fmla="*/ 264409 h 607427"/>
                <a:gd name="connsiteX40" fmla="*/ 129064 w 482808"/>
                <a:gd name="connsiteY40" fmla="*/ 188692 h 607427"/>
                <a:gd name="connsiteX41" fmla="*/ 286213 w 482808"/>
                <a:gd name="connsiteY41" fmla="*/ 188692 h 607427"/>
                <a:gd name="connsiteX42" fmla="*/ 286213 w 482808"/>
                <a:gd name="connsiteY42" fmla="*/ 217342 h 607427"/>
                <a:gd name="connsiteX43" fmla="*/ 129064 w 482808"/>
                <a:gd name="connsiteY43" fmla="*/ 217342 h 607427"/>
                <a:gd name="connsiteX44" fmla="*/ 129064 w 482808"/>
                <a:gd name="connsiteY44" fmla="*/ 141695 h 607427"/>
                <a:gd name="connsiteX45" fmla="*/ 353744 w 482808"/>
                <a:gd name="connsiteY45" fmla="*/ 141695 h 607427"/>
                <a:gd name="connsiteX46" fmla="*/ 353744 w 482808"/>
                <a:gd name="connsiteY46" fmla="*/ 170345 h 607427"/>
                <a:gd name="connsiteX47" fmla="*/ 129064 w 482808"/>
                <a:gd name="connsiteY47" fmla="*/ 170345 h 607427"/>
                <a:gd name="connsiteX48" fmla="*/ 28679 w 482808"/>
                <a:gd name="connsiteY48" fmla="*/ 76877 h 607427"/>
                <a:gd name="connsiteX49" fmla="*/ 28679 w 482808"/>
                <a:gd name="connsiteY49" fmla="*/ 578795 h 607427"/>
                <a:gd name="connsiteX50" fmla="*/ 454129 w 482808"/>
                <a:gd name="connsiteY50" fmla="*/ 578795 h 607427"/>
                <a:gd name="connsiteX51" fmla="*/ 454129 w 482808"/>
                <a:gd name="connsiteY51" fmla="*/ 125122 h 607427"/>
                <a:gd name="connsiteX52" fmla="*/ 371821 w 482808"/>
                <a:gd name="connsiteY52" fmla="*/ 125122 h 607427"/>
                <a:gd name="connsiteX53" fmla="*/ 357482 w 482808"/>
                <a:gd name="connsiteY53" fmla="*/ 110806 h 607427"/>
                <a:gd name="connsiteX54" fmla="*/ 357482 w 482808"/>
                <a:gd name="connsiteY54" fmla="*/ 76877 h 607427"/>
                <a:gd name="connsiteX55" fmla="*/ 386160 w 482808"/>
                <a:gd name="connsiteY55" fmla="*/ 48817 h 607427"/>
                <a:gd name="connsiteX56" fmla="*/ 386160 w 482808"/>
                <a:gd name="connsiteY56" fmla="*/ 96490 h 607427"/>
                <a:gd name="connsiteX57" fmla="*/ 433767 w 482808"/>
                <a:gd name="connsiteY57" fmla="*/ 96490 h 607427"/>
                <a:gd name="connsiteX58" fmla="*/ 28679 w 482808"/>
                <a:gd name="connsiteY58" fmla="*/ 28632 h 607427"/>
                <a:gd name="connsiteX59" fmla="*/ 28679 w 482808"/>
                <a:gd name="connsiteY59" fmla="*/ 48245 h 607427"/>
                <a:gd name="connsiteX60" fmla="*/ 357482 w 482808"/>
                <a:gd name="connsiteY60" fmla="*/ 48245 h 607427"/>
                <a:gd name="connsiteX61" fmla="*/ 357482 w 482808"/>
                <a:gd name="connsiteY61" fmla="*/ 28632 h 607427"/>
                <a:gd name="connsiteX62" fmla="*/ 14339 w 482808"/>
                <a:gd name="connsiteY62" fmla="*/ 0 h 607427"/>
                <a:gd name="connsiteX63" fmla="*/ 371821 w 482808"/>
                <a:gd name="connsiteY63" fmla="*/ 0 h 607427"/>
                <a:gd name="connsiteX64" fmla="*/ 382002 w 482808"/>
                <a:gd name="connsiteY64" fmla="*/ 4152 h 607427"/>
                <a:gd name="connsiteX65" fmla="*/ 478506 w 482808"/>
                <a:gd name="connsiteY65" fmla="*/ 100641 h 607427"/>
                <a:gd name="connsiteX66" fmla="*/ 482808 w 482808"/>
                <a:gd name="connsiteY66" fmla="*/ 110806 h 607427"/>
                <a:gd name="connsiteX67" fmla="*/ 482808 w 482808"/>
                <a:gd name="connsiteY67" fmla="*/ 593111 h 607427"/>
                <a:gd name="connsiteX68" fmla="*/ 468469 w 482808"/>
                <a:gd name="connsiteY68" fmla="*/ 607427 h 607427"/>
                <a:gd name="connsiteX69" fmla="*/ 14339 w 482808"/>
                <a:gd name="connsiteY69" fmla="*/ 607427 h 607427"/>
                <a:gd name="connsiteX70" fmla="*/ 0 w 482808"/>
                <a:gd name="connsiteY70" fmla="*/ 593111 h 607427"/>
                <a:gd name="connsiteX71" fmla="*/ 0 w 482808"/>
                <a:gd name="connsiteY71" fmla="*/ 14316 h 607427"/>
                <a:gd name="connsiteX72" fmla="*/ 14339 w 482808"/>
                <a:gd name="connsiteY72" fmla="*/ 0 h 607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482808" h="607427">
                  <a:moveTo>
                    <a:pt x="289671" y="445479"/>
                  </a:moveTo>
                  <a:lnTo>
                    <a:pt x="359107" y="445479"/>
                  </a:lnTo>
                  <a:lnTo>
                    <a:pt x="359107" y="465674"/>
                  </a:lnTo>
                  <a:lnTo>
                    <a:pt x="336870" y="465674"/>
                  </a:lnTo>
                  <a:lnTo>
                    <a:pt x="336870" y="537143"/>
                  </a:lnTo>
                  <a:lnTo>
                    <a:pt x="312051" y="537143"/>
                  </a:lnTo>
                  <a:lnTo>
                    <a:pt x="312051" y="465674"/>
                  </a:lnTo>
                  <a:lnTo>
                    <a:pt x="289671" y="465674"/>
                  </a:lnTo>
                  <a:close/>
                  <a:moveTo>
                    <a:pt x="195635" y="445479"/>
                  </a:moveTo>
                  <a:lnTo>
                    <a:pt x="223010" y="445479"/>
                  </a:lnTo>
                  <a:lnTo>
                    <a:pt x="239635" y="473838"/>
                  </a:lnTo>
                  <a:lnTo>
                    <a:pt x="255544" y="445479"/>
                  </a:lnTo>
                  <a:lnTo>
                    <a:pt x="283778" y="445479"/>
                  </a:lnTo>
                  <a:lnTo>
                    <a:pt x="254827" y="492170"/>
                  </a:lnTo>
                  <a:lnTo>
                    <a:pt x="286071" y="537143"/>
                  </a:lnTo>
                  <a:lnTo>
                    <a:pt x="257407" y="537143"/>
                  </a:lnTo>
                  <a:lnTo>
                    <a:pt x="239492" y="508498"/>
                  </a:lnTo>
                  <a:lnTo>
                    <a:pt x="221863" y="537143"/>
                  </a:lnTo>
                  <a:lnTo>
                    <a:pt x="193772" y="537143"/>
                  </a:lnTo>
                  <a:lnTo>
                    <a:pt x="224156" y="490165"/>
                  </a:lnTo>
                  <a:close/>
                  <a:moveTo>
                    <a:pt x="120737" y="445479"/>
                  </a:moveTo>
                  <a:lnTo>
                    <a:pt x="190314" y="445479"/>
                  </a:lnTo>
                  <a:lnTo>
                    <a:pt x="190314" y="465674"/>
                  </a:lnTo>
                  <a:lnTo>
                    <a:pt x="167935" y="465674"/>
                  </a:lnTo>
                  <a:lnTo>
                    <a:pt x="167935" y="537143"/>
                  </a:lnTo>
                  <a:lnTo>
                    <a:pt x="143116" y="537143"/>
                  </a:lnTo>
                  <a:lnTo>
                    <a:pt x="143116" y="465674"/>
                  </a:lnTo>
                  <a:lnTo>
                    <a:pt x="120737" y="465674"/>
                  </a:lnTo>
                  <a:close/>
                  <a:moveTo>
                    <a:pt x="129064" y="329823"/>
                  </a:moveTo>
                  <a:lnTo>
                    <a:pt x="223692" y="329823"/>
                  </a:lnTo>
                  <a:lnTo>
                    <a:pt x="223692" y="358473"/>
                  </a:lnTo>
                  <a:lnTo>
                    <a:pt x="129064" y="358473"/>
                  </a:lnTo>
                  <a:close/>
                  <a:moveTo>
                    <a:pt x="129064" y="282756"/>
                  </a:moveTo>
                  <a:lnTo>
                    <a:pt x="334550" y="282756"/>
                  </a:lnTo>
                  <a:lnTo>
                    <a:pt x="334550" y="311335"/>
                  </a:lnTo>
                  <a:lnTo>
                    <a:pt x="129064" y="311335"/>
                  </a:lnTo>
                  <a:close/>
                  <a:moveTo>
                    <a:pt x="129064" y="235759"/>
                  </a:moveTo>
                  <a:lnTo>
                    <a:pt x="353744" y="235759"/>
                  </a:lnTo>
                  <a:lnTo>
                    <a:pt x="353744" y="264409"/>
                  </a:lnTo>
                  <a:lnTo>
                    <a:pt x="129064" y="264409"/>
                  </a:lnTo>
                  <a:close/>
                  <a:moveTo>
                    <a:pt x="129064" y="188692"/>
                  </a:moveTo>
                  <a:lnTo>
                    <a:pt x="286213" y="188692"/>
                  </a:lnTo>
                  <a:lnTo>
                    <a:pt x="286213" y="217342"/>
                  </a:lnTo>
                  <a:lnTo>
                    <a:pt x="129064" y="217342"/>
                  </a:lnTo>
                  <a:close/>
                  <a:moveTo>
                    <a:pt x="129064" y="141695"/>
                  </a:moveTo>
                  <a:lnTo>
                    <a:pt x="353744" y="141695"/>
                  </a:lnTo>
                  <a:lnTo>
                    <a:pt x="353744" y="170345"/>
                  </a:lnTo>
                  <a:lnTo>
                    <a:pt x="129064" y="170345"/>
                  </a:lnTo>
                  <a:close/>
                  <a:moveTo>
                    <a:pt x="28679" y="76877"/>
                  </a:moveTo>
                  <a:lnTo>
                    <a:pt x="28679" y="578795"/>
                  </a:lnTo>
                  <a:lnTo>
                    <a:pt x="454129" y="578795"/>
                  </a:lnTo>
                  <a:lnTo>
                    <a:pt x="454129" y="125122"/>
                  </a:lnTo>
                  <a:lnTo>
                    <a:pt x="371821" y="125122"/>
                  </a:lnTo>
                  <a:cubicBezTo>
                    <a:pt x="363934" y="125122"/>
                    <a:pt x="357482" y="118679"/>
                    <a:pt x="357482" y="110806"/>
                  </a:cubicBezTo>
                  <a:lnTo>
                    <a:pt x="357482" y="76877"/>
                  </a:lnTo>
                  <a:close/>
                  <a:moveTo>
                    <a:pt x="386160" y="48817"/>
                  </a:moveTo>
                  <a:lnTo>
                    <a:pt x="386160" y="96490"/>
                  </a:lnTo>
                  <a:lnTo>
                    <a:pt x="433767" y="96490"/>
                  </a:lnTo>
                  <a:close/>
                  <a:moveTo>
                    <a:pt x="28679" y="28632"/>
                  </a:moveTo>
                  <a:lnTo>
                    <a:pt x="28679" y="48245"/>
                  </a:lnTo>
                  <a:lnTo>
                    <a:pt x="357482" y="48245"/>
                  </a:lnTo>
                  <a:lnTo>
                    <a:pt x="357482" y="28632"/>
                  </a:lnTo>
                  <a:close/>
                  <a:moveTo>
                    <a:pt x="14339" y="0"/>
                  </a:moveTo>
                  <a:lnTo>
                    <a:pt x="371821" y="0"/>
                  </a:lnTo>
                  <a:cubicBezTo>
                    <a:pt x="375549" y="0"/>
                    <a:pt x="379278" y="1575"/>
                    <a:pt x="382002" y="4152"/>
                  </a:cubicBezTo>
                  <a:lnTo>
                    <a:pt x="478506" y="100641"/>
                  </a:lnTo>
                  <a:cubicBezTo>
                    <a:pt x="481231" y="103361"/>
                    <a:pt x="482808" y="106940"/>
                    <a:pt x="482808" y="110806"/>
                  </a:cubicBezTo>
                  <a:lnTo>
                    <a:pt x="482808" y="593111"/>
                  </a:lnTo>
                  <a:cubicBezTo>
                    <a:pt x="482808" y="600985"/>
                    <a:pt x="476355" y="607427"/>
                    <a:pt x="468469" y="607427"/>
                  </a:cubicBezTo>
                  <a:lnTo>
                    <a:pt x="14339" y="607427"/>
                  </a:lnTo>
                  <a:cubicBezTo>
                    <a:pt x="6453" y="607427"/>
                    <a:pt x="0" y="600985"/>
                    <a:pt x="0" y="593111"/>
                  </a:cubicBezTo>
                  <a:lnTo>
                    <a:pt x="0" y="14316"/>
                  </a:lnTo>
                  <a:cubicBezTo>
                    <a:pt x="0" y="6442"/>
                    <a:pt x="6453" y="0"/>
                    <a:pt x="14339" y="0"/>
                  </a:cubicBezTo>
                  <a:close/>
                </a:path>
              </a:pathLst>
            </a:cu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2"/>
            </a:fontRef>
          </p:style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9" name="组合 8">
            <a:extLst>
              <a:ext uri="{FF2B5EF4-FFF2-40B4-BE49-F238E27FC236}">
                <a16:creationId xmlns:a16="http://schemas.microsoft.com/office/drawing/2014/main" id="{966613C7-E84C-43AA-A4DB-C7D5501BFF46}"/>
              </a:ext>
            </a:extLst>
          </p:cNvPr>
          <p:cNvGrpSpPr>
            <a:grpSpLocks/>
          </p:cNvGrpSpPr>
          <p:nvPr/>
        </p:nvGrpSpPr>
        <p:grpSpPr>
          <a:xfrm>
            <a:off x="3552824" y="1130300"/>
            <a:ext cx="2028825" cy="1543658"/>
            <a:chOff x="1112462" y="1546057"/>
            <a:chExt cx="2028825" cy="897308"/>
          </a:xfrm>
        </p:grpSpPr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6EDFB08A-F515-442A-A04F-49CC15354E6B}"/>
                </a:ext>
              </a:extLst>
            </p:cNvPr>
            <p:cNvGrpSpPr/>
            <p:nvPr/>
          </p:nvGrpSpPr>
          <p:grpSpPr>
            <a:xfrm>
              <a:off x="1112462" y="1546057"/>
              <a:ext cx="2028825" cy="897308"/>
              <a:chOff x="1206466" y="2225304"/>
              <a:chExt cx="2028825" cy="897308"/>
            </a:xfrm>
          </p:grpSpPr>
          <p:sp>
            <p:nvSpPr>
              <p:cNvPr id="5" name="矩形: 圆角 4">
                <a:extLst>
                  <a:ext uri="{FF2B5EF4-FFF2-40B4-BE49-F238E27FC236}">
                    <a16:creationId xmlns:a16="http://schemas.microsoft.com/office/drawing/2014/main" id="{9BFFD150-1DFB-4EC0-B868-C84FBB6CAD81}"/>
                  </a:ext>
                </a:extLst>
              </p:cNvPr>
              <p:cNvSpPr/>
              <p:nvPr/>
            </p:nvSpPr>
            <p:spPr>
              <a:xfrm>
                <a:off x="1206466" y="2225304"/>
                <a:ext cx="2028825" cy="897308"/>
              </a:xfrm>
              <a:prstGeom prst="roundRect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6" name="文本框 5">
                <a:extLst>
                  <a:ext uri="{FF2B5EF4-FFF2-40B4-BE49-F238E27FC236}">
                    <a16:creationId xmlns:a16="http://schemas.microsoft.com/office/drawing/2014/main" id="{74064CE7-7844-4E24-9F35-1B66F369FDE1}"/>
                  </a:ext>
                </a:extLst>
              </p:cNvPr>
              <p:cNvSpPr txBox="1"/>
              <p:nvPr/>
            </p:nvSpPr>
            <p:spPr>
              <a:xfrm>
                <a:off x="1989160" y="2468928"/>
                <a:ext cx="1225521" cy="6261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2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en-US" altLang="zh-CN" sz="100" dirty="0"/>
                  <a:t>1.txt</a:t>
                </a:r>
                <a:endParaRPr lang="zh-CN" altLang="en-US" sz="100" dirty="0"/>
              </a:p>
            </p:txBody>
          </p:sp>
        </p:grpSp>
        <p:sp>
          <p:nvSpPr>
            <p:cNvPr id="8" name="txt_180898">
              <a:extLst>
                <a:ext uri="{FF2B5EF4-FFF2-40B4-BE49-F238E27FC236}">
                  <a16:creationId xmlns:a16="http://schemas.microsoft.com/office/drawing/2014/main" id="{5F11913E-C3DB-4598-A626-109DC1219D8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389945" y="1689869"/>
              <a:ext cx="484602" cy="609685"/>
            </a:xfrm>
            <a:custGeom>
              <a:avLst/>
              <a:gdLst>
                <a:gd name="connsiteX0" fmla="*/ 289671 w 482808"/>
                <a:gd name="connsiteY0" fmla="*/ 445479 h 607427"/>
                <a:gd name="connsiteX1" fmla="*/ 359107 w 482808"/>
                <a:gd name="connsiteY1" fmla="*/ 445479 h 607427"/>
                <a:gd name="connsiteX2" fmla="*/ 359107 w 482808"/>
                <a:gd name="connsiteY2" fmla="*/ 465674 h 607427"/>
                <a:gd name="connsiteX3" fmla="*/ 336870 w 482808"/>
                <a:gd name="connsiteY3" fmla="*/ 465674 h 607427"/>
                <a:gd name="connsiteX4" fmla="*/ 336870 w 482808"/>
                <a:gd name="connsiteY4" fmla="*/ 537143 h 607427"/>
                <a:gd name="connsiteX5" fmla="*/ 312051 w 482808"/>
                <a:gd name="connsiteY5" fmla="*/ 537143 h 607427"/>
                <a:gd name="connsiteX6" fmla="*/ 312051 w 482808"/>
                <a:gd name="connsiteY6" fmla="*/ 465674 h 607427"/>
                <a:gd name="connsiteX7" fmla="*/ 289671 w 482808"/>
                <a:gd name="connsiteY7" fmla="*/ 465674 h 607427"/>
                <a:gd name="connsiteX8" fmla="*/ 195635 w 482808"/>
                <a:gd name="connsiteY8" fmla="*/ 445479 h 607427"/>
                <a:gd name="connsiteX9" fmla="*/ 223010 w 482808"/>
                <a:gd name="connsiteY9" fmla="*/ 445479 h 607427"/>
                <a:gd name="connsiteX10" fmla="*/ 239635 w 482808"/>
                <a:gd name="connsiteY10" fmla="*/ 473838 h 607427"/>
                <a:gd name="connsiteX11" fmla="*/ 255544 w 482808"/>
                <a:gd name="connsiteY11" fmla="*/ 445479 h 607427"/>
                <a:gd name="connsiteX12" fmla="*/ 283778 w 482808"/>
                <a:gd name="connsiteY12" fmla="*/ 445479 h 607427"/>
                <a:gd name="connsiteX13" fmla="*/ 254827 w 482808"/>
                <a:gd name="connsiteY13" fmla="*/ 492170 h 607427"/>
                <a:gd name="connsiteX14" fmla="*/ 286071 w 482808"/>
                <a:gd name="connsiteY14" fmla="*/ 537143 h 607427"/>
                <a:gd name="connsiteX15" fmla="*/ 257407 w 482808"/>
                <a:gd name="connsiteY15" fmla="*/ 537143 h 607427"/>
                <a:gd name="connsiteX16" fmla="*/ 239492 w 482808"/>
                <a:gd name="connsiteY16" fmla="*/ 508498 h 607427"/>
                <a:gd name="connsiteX17" fmla="*/ 221863 w 482808"/>
                <a:gd name="connsiteY17" fmla="*/ 537143 h 607427"/>
                <a:gd name="connsiteX18" fmla="*/ 193772 w 482808"/>
                <a:gd name="connsiteY18" fmla="*/ 537143 h 607427"/>
                <a:gd name="connsiteX19" fmla="*/ 224156 w 482808"/>
                <a:gd name="connsiteY19" fmla="*/ 490165 h 607427"/>
                <a:gd name="connsiteX20" fmla="*/ 120737 w 482808"/>
                <a:gd name="connsiteY20" fmla="*/ 445479 h 607427"/>
                <a:gd name="connsiteX21" fmla="*/ 190314 w 482808"/>
                <a:gd name="connsiteY21" fmla="*/ 445479 h 607427"/>
                <a:gd name="connsiteX22" fmla="*/ 190314 w 482808"/>
                <a:gd name="connsiteY22" fmla="*/ 465674 h 607427"/>
                <a:gd name="connsiteX23" fmla="*/ 167935 w 482808"/>
                <a:gd name="connsiteY23" fmla="*/ 465674 h 607427"/>
                <a:gd name="connsiteX24" fmla="*/ 167935 w 482808"/>
                <a:gd name="connsiteY24" fmla="*/ 537143 h 607427"/>
                <a:gd name="connsiteX25" fmla="*/ 143116 w 482808"/>
                <a:gd name="connsiteY25" fmla="*/ 537143 h 607427"/>
                <a:gd name="connsiteX26" fmla="*/ 143116 w 482808"/>
                <a:gd name="connsiteY26" fmla="*/ 465674 h 607427"/>
                <a:gd name="connsiteX27" fmla="*/ 120737 w 482808"/>
                <a:gd name="connsiteY27" fmla="*/ 465674 h 607427"/>
                <a:gd name="connsiteX28" fmla="*/ 129064 w 482808"/>
                <a:gd name="connsiteY28" fmla="*/ 329823 h 607427"/>
                <a:gd name="connsiteX29" fmla="*/ 223692 w 482808"/>
                <a:gd name="connsiteY29" fmla="*/ 329823 h 607427"/>
                <a:gd name="connsiteX30" fmla="*/ 223692 w 482808"/>
                <a:gd name="connsiteY30" fmla="*/ 358473 h 607427"/>
                <a:gd name="connsiteX31" fmla="*/ 129064 w 482808"/>
                <a:gd name="connsiteY31" fmla="*/ 358473 h 607427"/>
                <a:gd name="connsiteX32" fmla="*/ 129064 w 482808"/>
                <a:gd name="connsiteY32" fmla="*/ 282756 h 607427"/>
                <a:gd name="connsiteX33" fmla="*/ 334550 w 482808"/>
                <a:gd name="connsiteY33" fmla="*/ 282756 h 607427"/>
                <a:gd name="connsiteX34" fmla="*/ 334550 w 482808"/>
                <a:gd name="connsiteY34" fmla="*/ 311335 h 607427"/>
                <a:gd name="connsiteX35" fmla="*/ 129064 w 482808"/>
                <a:gd name="connsiteY35" fmla="*/ 311335 h 607427"/>
                <a:gd name="connsiteX36" fmla="*/ 129064 w 482808"/>
                <a:gd name="connsiteY36" fmla="*/ 235759 h 607427"/>
                <a:gd name="connsiteX37" fmla="*/ 353744 w 482808"/>
                <a:gd name="connsiteY37" fmla="*/ 235759 h 607427"/>
                <a:gd name="connsiteX38" fmla="*/ 353744 w 482808"/>
                <a:gd name="connsiteY38" fmla="*/ 264409 h 607427"/>
                <a:gd name="connsiteX39" fmla="*/ 129064 w 482808"/>
                <a:gd name="connsiteY39" fmla="*/ 264409 h 607427"/>
                <a:gd name="connsiteX40" fmla="*/ 129064 w 482808"/>
                <a:gd name="connsiteY40" fmla="*/ 188692 h 607427"/>
                <a:gd name="connsiteX41" fmla="*/ 286213 w 482808"/>
                <a:gd name="connsiteY41" fmla="*/ 188692 h 607427"/>
                <a:gd name="connsiteX42" fmla="*/ 286213 w 482808"/>
                <a:gd name="connsiteY42" fmla="*/ 217342 h 607427"/>
                <a:gd name="connsiteX43" fmla="*/ 129064 w 482808"/>
                <a:gd name="connsiteY43" fmla="*/ 217342 h 607427"/>
                <a:gd name="connsiteX44" fmla="*/ 129064 w 482808"/>
                <a:gd name="connsiteY44" fmla="*/ 141695 h 607427"/>
                <a:gd name="connsiteX45" fmla="*/ 353744 w 482808"/>
                <a:gd name="connsiteY45" fmla="*/ 141695 h 607427"/>
                <a:gd name="connsiteX46" fmla="*/ 353744 w 482808"/>
                <a:gd name="connsiteY46" fmla="*/ 170345 h 607427"/>
                <a:gd name="connsiteX47" fmla="*/ 129064 w 482808"/>
                <a:gd name="connsiteY47" fmla="*/ 170345 h 607427"/>
                <a:gd name="connsiteX48" fmla="*/ 28679 w 482808"/>
                <a:gd name="connsiteY48" fmla="*/ 76877 h 607427"/>
                <a:gd name="connsiteX49" fmla="*/ 28679 w 482808"/>
                <a:gd name="connsiteY49" fmla="*/ 578795 h 607427"/>
                <a:gd name="connsiteX50" fmla="*/ 454129 w 482808"/>
                <a:gd name="connsiteY50" fmla="*/ 578795 h 607427"/>
                <a:gd name="connsiteX51" fmla="*/ 454129 w 482808"/>
                <a:gd name="connsiteY51" fmla="*/ 125122 h 607427"/>
                <a:gd name="connsiteX52" fmla="*/ 371821 w 482808"/>
                <a:gd name="connsiteY52" fmla="*/ 125122 h 607427"/>
                <a:gd name="connsiteX53" fmla="*/ 357482 w 482808"/>
                <a:gd name="connsiteY53" fmla="*/ 110806 h 607427"/>
                <a:gd name="connsiteX54" fmla="*/ 357482 w 482808"/>
                <a:gd name="connsiteY54" fmla="*/ 76877 h 607427"/>
                <a:gd name="connsiteX55" fmla="*/ 386160 w 482808"/>
                <a:gd name="connsiteY55" fmla="*/ 48817 h 607427"/>
                <a:gd name="connsiteX56" fmla="*/ 386160 w 482808"/>
                <a:gd name="connsiteY56" fmla="*/ 96490 h 607427"/>
                <a:gd name="connsiteX57" fmla="*/ 433767 w 482808"/>
                <a:gd name="connsiteY57" fmla="*/ 96490 h 607427"/>
                <a:gd name="connsiteX58" fmla="*/ 28679 w 482808"/>
                <a:gd name="connsiteY58" fmla="*/ 28632 h 607427"/>
                <a:gd name="connsiteX59" fmla="*/ 28679 w 482808"/>
                <a:gd name="connsiteY59" fmla="*/ 48245 h 607427"/>
                <a:gd name="connsiteX60" fmla="*/ 357482 w 482808"/>
                <a:gd name="connsiteY60" fmla="*/ 48245 h 607427"/>
                <a:gd name="connsiteX61" fmla="*/ 357482 w 482808"/>
                <a:gd name="connsiteY61" fmla="*/ 28632 h 607427"/>
                <a:gd name="connsiteX62" fmla="*/ 14339 w 482808"/>
                <a:gd name="connsiteY62" fmla="*/ 0 h 607427"/>
                <a:gd name="connsiteX63" fmla="*/ 371821 w 482808"/>
                <a:gd name="connsiteY63" fmla="*/ 0 h 607427"/>
                <a:gd name="connsiteX64" fmla="*/ 382002 w 482808"/>
                <a:gd name="connsiteY64" fmla="*/ 4152 h 607427"/>
                <a:gd name="connsiteX65" fmla="*/ 478506 w 482808"/>
                <a:gd name="connsiteY65" fmla="*/ 100641 h 607427"/>
                <a:gd name="connsiteX66" fmla="*/ 482808 w 482808"/>
                <a:gd name="connsiteY66" fmla="*/ 110806 h 607427"/>
                <a:gd name="connsiteX67" fmla="*/ 482808 w 482808"/>
                <a:gd name="connsiteY67" fmla="*/ 593111 h 607427"/>
                <a:gd name="connsiteX68" fmla="*/ 468469 w 482808"/>
                <a:gd name="connsiteY68" fmla="*/ 607427 h 607427"/>
                <a:gd name="connsiteX69" fmla="*/ 14339 w 482808"/>
                <a:gd name="connsiteY69" fmla="*/ 607427 h 607427"/>
                <a:gd name="connsiteX70" fmla="*/ 0 w 482808"/>
                <a:gd name="connsiteY70" fmla="*/ 593111 h 607427"/>
                <a:gd name="connsiteX71" fmla="*/ 0 w 482808"/>
                <a:gd name="connsiteY71" fmla="*/ 14316 h 607427"/>
                <a:gd name="connsiteX72" fmla="*/ 14339 w 482808"/>
                <a:gd name="connsiteY72" fmla="*/ 0 h 607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482808" h="607427">
                  <a:moveTo>
                    <a:pt x="289671" y="445479"/>
                  </a:moveTo>
                  <a:lnTo>
                    <a:pt x="359107" y="445479"/>
                  </a:lnTo>
                  <a:lnTo>
                    <a:pt x="359107" y="465674"/>
                  </a:lnTo>
                  <a:lnTo>
                    <a:pt x="336870" y="465674"/>
                  </a:lnTo>
                  <a:lnTo>
                    <a:pt x="336870" y="537143"/>
                  </a:lnTo>
                  <a:lnTo>
                    <a:pt x="312051" y="537143"/>
                  </a:lnTo>
                  <a:lnTo>
                    <a:pt x="312051" y="465674"/>
                  </a:lnTo>
                  <a:lnTo>
                    <a:pt x="289671" y="465674"/>
                  </a:lnTo>
                  <a:close/>
                  <a:moveTo>
                    <a:pt x="195635" y="445479"/>
                  </a:moveTo>
                  <a:lnTo>
                    <a:pt x="223010" y="445479"/>
                  </a:lnTo>
                  <a:lnTo>
                    <a:pt x="239635" y="473838"/>
                  </a:lnTo>
                  <a:lnTo>
                    <a:pt x="255544" y="445479"/>
                  </a:lnTo>
                  <a:lnTo>
                    <a:pt x="283778" y="445479"/>
                  </a:lnTo>
                  <a:lnTo>
                    <a:pt x="254827" y="492170"/>
                  </a:lnTo>
                  <a:lnTo>
                    <a:pt x="286071" y="537143"/>
                  </a:lnTo>
                  <a:lnTo>
                    <a:pt x="257407" y="537143"/>
                  </a:lnTo>
                  <a:lnTo>
                    <a:pt x="239492" y="508498"/>
                  </a:lnTo>
                  <a:lnTo>
                    <a:pt x="221863" y="537143"/>
                  </a:lnTo>
                  <a:lnTo>
                    <a:pt x="193772" y="537143"/>
                  </a:lnTo>
                  <a:lnTo>
                    <a:pt x="224156" y="490165"/>
                  </a:lnTo>
                  <a:close/>
                  <a:moveTo>
                    <a:pt x="120737" y="445479"/>
                  </a:moveTo>
                  <a:lnTo>
                    <a:pt x="190314" y="445479"/>
                  </a:lnTo>
                  <a:lnTo>
                    <a:pt x="190314" y="465674"/>
                  </a:lnTo>
                  <a:lnTo>
                    <a:pt x="167935" y="465674"/>
                  </a:lnTo>
                  <a:lnTo>
                    <a:pt x="167935" y="537143"/>
                  </a:lnTo>
                  <a:lnTo>
                    <a:pt x="143116" y="537143"/>
                  </a:lnTo>
                  <a:lnTo>
                    <a:pt x="143116" y="465674"/>
                  </a:lnTo>
                  <a:lnTo>
                    <a:pt x="120737" y="465674"/>
                  </a:lnTo>
                  <a:close/>
                  <a:moveTo>
                    <a:pt x="129064" y="329823"/>
                  </a:moveTo>
                  <a:lnTo>
                    <a:pt x="223692" y="329823"/>
                  </a:lnTo>
                  <a:lnTo>
                    <a:pt x="223692" y="358473"/>
                  </a:lnTo>
                  <a:lnTo>
                    <a:pt x="129064" y="358473"/>
                  </a:lnTo>
                  <a:close/>
                  <a:moveTo>
                    <a:pt x="129064" y="282756"/>
                  </a:moveTo>
                  <a:lnTo>
                    <a:pt x="334550" y="282756"/>
                  </a:lnTo>
                  <a:lnTo>
                    <a:pt x="334550" y="311335"/>
                  </a:lnTo>
                  <a:lnTo>
                    <a:pt x="129064" y="311335"/>
                  </a:lnTo>
                  <a:close/>
                  <a:moveTo>
                    <a:pt x="129064" y="235759"/>
                  </a:moveTo>
                  <a:lnTo>
                    <a:pt x="353744" y="235759"/>
                  </a:lnTo>
                  <a:lnTo>
                    <a:pt x="353744" y="264409"/>
                  </a:lnTo>
                  <a:lnTo>
                    <a:pt x="129064" y="264409"/>
                  </a:lnTo>
                  <a:close/>
                  <a:moveTo>
                    <a:pt x="129064" y="188692"/>
                  </a:moveTo>
                  <a:lnTo>
                    <a:pt x="286213" y="188692"/>
                  </a:lnTo>
                  <a:lnTo>
                    <a:pt x="286213" y="217342"/>
                  </a:lnTo>
                  <a:lnTo>
                    <a:pt x="129064" y="217342"/>
                  </a:lnTo>
                  <a:close/>
                  <a:moveTo>
                    <a:pt x="129064" y="141695"/>
                  </a:moveTo>
                  <a:lnTo>
                    <a:pt x="353744" y="141695"/>
                  </a:lnTo>
                  <a:lnTo>
                    <a:pt x="353744" y="170345"/>
                  </a:lnTo>
                  <a:lnTo>
                    <a:pt x="129064" y="170345"/>
                  </a:lnTo>
                  <a:close/>
                  <a:moveTo>
                    <a:pt x="28679" y="76877"/>
                  </a:moveTo>
                  <a:lnTo>
                    <a:pt x="28679" y="578795"/>
                  </a:lnTo>
                  <a:lnTo>
                    <a:pt x="454129" y="578795"/>
                  </a:lnTo>
                  <a:lnTo>
                    <a:pt x="454129" y="125122"/>
                  </a:lnTo>
                  <a:lnTo>
                    <a:pt x="371821" y="125122"/>
                  </a:lnTo>
                  <a:cubicBezTo>
                    <a:pt x="363934" y="125122"/>
                    <a:pt x="357482" y="118679"/>
                    <a:pt x="357482" y="110806"/>
                  </a:cubicBezTo>
                  <a:lnTo>
                    <a:pt x="357482" y="76877"/>
                  </a:lnTo>
                  <a:close/>
                  <a:moveTo>
                    <a:pt x="386160" y="48817"/>
                  </a:moveTo>
                  <a:lnTo>
                    <a:pt x="386160" y="96490"/>
                  </a:lnTo>
                  <a:lnTo>
                    <a:pt x="433767" y="96490"/>
                  </a:lnTo>
                  <a:close/>
                  <a:moveTo>
                    <a:pt x="28679" y="28632"/>
                  </a:moveTo>
                  <a:lnTo>
                    <a:pt x="28679" y="48245"/>
                  </a:lnTo>
                  <a:lnTo>
                    <a:pt x="357482" y="48245"/>
                  </a:lnTo>
                  <a:lnTo>
                    <a:pt x="357482" y="28632"/>
                  </a:lnTo>
                  <a:close/>
                  <a:moveTo>
                    <a:pt x="14339" y="0"/>
                  </a:moveTo>
                  <a:lnTo>
                    <a:pt x="371821" y="0"/>
                  </a:lnTo>
                  <a:cubicBezTo>
                    <a:pt x="375549" y="0"/>
                    <a:pt x="379278" y="1575"/>
                    <a:pt x="382002" y="4152"/>
                  </a:cubicBezTo>
                  <a:lnTo>
                    <a:pt x="478506" y="100641"/>
                  </a:lnTo>
                  <a:cubicBezTo>
                    <a:pt x="481231" y="103361"/>
                    <a:pt x="482808" y="106940"/>
                    <a:pt x="482808" y="110806"/>
                  </a:cubicBezTo>
                  <a:lnTo>
                    <a:pt x="482808" y="593111"/>
                  </a:lnTo>
                  <a:cubicBezTo>
                    <a:pt x="482808" y="600985"/>
                    <a:pt x="476355" y="607427"/>
                    <a:pt x="468469" y="607427"/>
                  </a:cubicBezTo>
                  <a:lnTo>
                    <a:pt x="14339" y="607427"/>
                  </a:lnTo>
                  <a:cubicBezTo>
                    <a:pt x="6453" y="607427"/>
                    <a:pt x="0" y="600985"/>
                    <a:pt x="0" y="593111"/>
                  </a:cubicBezTo>
                  <a:lnTo>
                    <a:pt x="0" y="14316"/>
                  </a:lnTo>
                  <a:cubicBezTo>
                    <a:pt x="0" y="6442"/>
                    <a:pt x="6453" y="0"/>
                    <a:pt x="14339" y="0"/>
                  </a:cubicBezTo>
                  <a:close/>
                </a:path>
              </a:pathLst>
            </a:cu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2"/>
            </a:fontRef>
          </p:style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2900AFE4-C899-455C-AECA-CE83C79CE577}"/>
              </a:ext>
            </a:extLst>
          </p:cNvPr>
          <p:cNvSpPr>
            <a:spLocks/>
          </p:cNvSpPr>
          <p:nvPr/>
        </p:nvSpPr>
        <p:spPr>
          <a:xfrm>
            <a:off x="3552822" y="1130300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/>
              <a:t>Hello world</a:t>
            </a:r>
          </a:p>
          <a:p>
            <a:pPr algn="ctr"/>
            <a:r>
              <a:rPr lang="en-US" altLang="zh-CN" b="1" dirty="0"/>
              <a:t>I like Hadoop</a:t>
            </a:r>
            <a:endParaRPr lang="zh-CN" altLang="en-US" b="1" dirty="0"/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91A342C0-220F-4EE6-8E94-FDE79F5160AA}"/>
              </a:ext>
            </a:extLst>
          </p:cNvPr>
          <p:cNvSpPr>
            <a:spLocks/>
          </p:cNvSpPr>
          <p:nvPr/>
        </p:nvSpPr>
        <p:spPr>
          <a:xfrm>
            <a:off x="3552825" y="2860371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/>
              <a:t>Hello Hadoop</a:t>
            </a:r>
          </a:p>
          <a:p>
            <a:pPr algn="ctr"/>
            <a:r>
              <a:rPr lang="en-US" altLang="zh-CN" b="1" dirty="0"/>
              <a:t>I like MapReduce</a:t>
            </a:r>
            <a:endParaRPr lang="zh-CN" altLang="en-US" b="1" dirty="0"/>
          </a:p>
        </p:txBody>
      </p: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12AB1DF8-9F59-459D-861B-0997412FBF92}"/>
              </a:ext>
            </a:extLst>
          </p:cNvPr>
          <p:cNvSpPr>
            <a:spLocks/>
          </p:cNvSpPr>
          <p:nvPr/>
        </p:nvSpPr>
        <p:spPr>
          <a:xfrm>
            <a:off x="3552825" y="4590442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/>
              <a:t>Hello MapReduce</a:t>
            </a:r>
          </a:p>
          <a:p>
            <a:pPr algn="ctr"/>
            <a:r>
              <a:rPr lang="en-US" altLang="zh-CN" b="1" dirty="0"/>
              <a:t>I like Java</a:t>
            </a:r>
            <a:endParaRPr lang="zh-CN" altLang="en-US" b="1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3372978F-E17A-40CA-89B5-F22260ABED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apReduce</a:t>
            </a:r>
            <a:r>
              <a:rPr lang="zh-CN" altLang="en-US" dirty="0"/>
              <a:t>工作流程</a:t>
            </a:r>
          </a:p>
        </p:txBody>
      </p: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8C99FB95-0F4E-4CAF-90C4-45D99FFF8DBA}"/>
              </a:ext>
            </a:extLst>
          </p:cNvPr>
          <p:cNvGrpSpPr/>
          <p:nvPr/>
        </p:nvGrpSpPr>
        <p:grpSpPr>
          <a:xfrm>
            <a:off x="9144000" y="495654"/>
            <a:ext cx="3675668" cy="5638446"/>
            <a:chOff x="4965095" y="495654"/>
            <a:chExt cx="3675668" cy="5638446"/>
          </a:xfrm>
        </p:grpSpPr>
        <p:sp>
          <p:nvSpPr>
            <p:cNvPr id="34" name="矩形: 圆角 33">
              <a:extLst>
                <a:ext uri="{FF2B5EF4-FFF2-40B4-BE49-F238E27FC236}">
                  <a16:creationId xmlns:a16="http://schemas.microsoft.com/office/drawing/2014/main" id="{4ABB8DF0-5FA0-454D-A3C8-207EEA26CB25}"/>
                </a:ext>
              </a:extLst>
            </p:cNvPr>
            <p:cNvSpPr/>
            <p:nvPr/>
          </p:nvSpPr>
          <p:spPr>
            <a:xfrm>
              <a:off x="4965095" y="1130300"/>
              <a:ext cx="2793511" cy="5003800"/>
            </a:xfrm>
            <a:prstGeom prst="roundRect">
              <a:avLst/>
            </a:prstGeom>
            <a:solidFill>
              <a:schemeClr val="accent2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68EF1AD8-2611-41FB-9AF9-577EB041C292}"/>
                </a:ext>
              </a:extLst>
            </p:cNvPr>
            <p:cNvSpPr txBox="1"/>
            <p:nvPr/>
          </p:nvSpPr>
          <p:spPr>
            <a:xfrm>
              <a:off x="5538639" y="495654"/>
              <a:ext cx="310212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800" dirty="0" err="1"/>
                <a:t>InputSplit</a:t>
              </a:r>
              <a:endParaRPr lang="zh-CN" altLang="en-US" sz="2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0953378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图片 34">
            <a:extLst>
              <a:ext uri="{FF2B5EF4-FFF2-40B4-BE49-F238E27FC236}">
                <a16:creationId xmlns:a16="http://schemas.microsoft.com/office/drawing/2014/main" id="{17E2CB31-BF75-44DA-AB65-8411284C1851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5275" y="1196645"/>
            <a:ext cx="6473451" cy="4871111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A92A15D7-8EB1-4DE7-AA90-799D8D96CCB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0582E132-5674-4D30-AAD1-D47C292D7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44" y="-514350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86B77E08-2C2A-4C6E-B100-4A6C8DDE9F9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838" y="594299"/>
            <a:ext cx="4188325" cy="6075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3919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A92A15D7-8EB1-4DE7-AA90-799D8D96CCBF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5275" y="1196645"/>
            <a:ext cx="6473451" cy="4871111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0582E132-5674-4D30-AAD1-D47C292D7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-2683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86B77E08-2C2A-4C6E-B100-4A6C8DDE9F9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6236" y="7318187"/>
            <a:ext cx="171528" cy="248827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6AB05C82-3F4E-44B3-BE86-89585688B3BC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775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6AB05C82-3F4E-44B3-BE86-89585688B3BC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0582E132-5674-4D30-AAD1-D47C292D7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-2683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86B77E08-2C2A-4C6E-B100-4A6C8DDE9F9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6236" y="7318187"/>
            <a:ext cx="171528" cy="248827"/>
          </a:xfrm>
          <a:prstGeom prst="rect">
            <a:avLst/>
          </a:prstGeo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90A7A825-D79C-4403-BAD2-0BA037678685}"/>
              </a:ext>
            </a:extLst>
          </p:cNvPr>
          <p:cNvSpPr/>
          <p:nvPr/>
        </p:nvSpPr>
        <p:spPr>
          <a:xfrm>
            <a:off x="1338729" y="1972235"/>
            <a:ext cx="723153" cy="131483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2DAE248E-1216-4D65-AD01-B9015DC628CC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2590" y="2037976"/>
            <a:ext cx="1864749" cy="3227259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18739148-3CB5-49FF-8EB9-A7E1C1F2C22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0725" y="7147402"/>
            <a:ext cx="422549" cy="295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81010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3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0" dur="3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>
            <a:extLst>
              <a:ext uri="{FF2B5EF4-FFF2-40B4-BE49-F238E27FC236}">
                <a16:creationId xmlns:a16="http://schemas.microsoft.com/office/drawing/2014/main" id="{05598000-1BF1-443C-AB39-B9F5B0F0E45B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3806" y="2170216"/>
            <a:ext cx="2976389" cy="2923967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6AB05C82-3F4E-44B3-BE86-89585688B3BC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0582E132-5674-4D30-AAD1-D47C292D7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-2683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86B77E08-2C2A-4C6E-B100-4A6C8DDE9F9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6236" y="7318187"/>
            <a:ext cx="171528" cy="248827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49165EFC-4DB6-4179-BC26-B5AE82A04BC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509" y="1729535"/>
            <a:ext cx="5446981" cy="3805331"/>
          </a:xfrm>
          <a:prstGeom prst="rect">
            <a:avLst/>
          </a:prstGeom>
        </p:spPr>
      </p:pic>
      <p:sp>
        <p:nvSpPr>
          <p:cNvPr id="9" name="矩形 8">
            <a:extLst>
              <a:ext uri="{FF2B5EF4-FFF2-40B4-BE49-F238E27FC236}">
                <a16:creationId xmlns:a16="http://schemas.microsoft.com/office/drawing/2014/main" id="{54051234-A9BC-46EB-9CCB-EA7AD5E173CA}"/>
              </a:ext>
            </a:extLst>
          </p:cNvPr>
          <p:cNvSpPr/>
          <p:nvPr/>
        </p:nvSpPr>
        <p:spPr>
          <a:xfrm>
            <a:off x="6041231" y="3267075"/>
            <a:ext cx="1140619" cy="157164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1843AF7B-3542-47B9-A472-22F29BB74D0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4613" y="7126844"/>
            <a:ext cx="194774" cy="191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4314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6AB05C82-3F4E-44B3-BE86-89585688B3BC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0582E132-5674-4D30-AAD1-D47C292D7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-2683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DBF4CB2A-2E01-4B2D-A3D4-D1A1F9F1EC2C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3806" y="2170216"/>
            <a:ext cx="2976389" cy="2923967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49165EFC-4DB6-4179-BC26-B5AE82A04BC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509" y="1729535"/>
            <a:ext cx="5446981" cy="3805331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5FF1D39C-52D2-4A7F-8DE6-3BCAB2775ACF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5690" y="2073829"/>
            <a:ext cx="3172620" cy="3116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0995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6AB05C82-3F4E-44B3-BE86-89585688B3BC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0582E132-5674-4D30-AAD1-D47C292D7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-2683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9165EFC-4DB6-4179-BC26-B5AE82A04BC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509" y="1729535"/>
            <a:ext cx="5446981" cy="3805331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5FF1D39C-52D2-4A7F-8DE6-3BCAB2775ACF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5690" y="2073829"/>
            <a:ext cx="3172620" cy="3116742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343EB384-B648-4DE4-88FF-73837BDF4014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5690" y="2073829"/>
            <a:ext cx="3172620" cy="3116742"/>
          </a:xfrm>
          <a:prstGeom prst="rect">
            <a:avLst/>
          </a:prstGeo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67A52E14-E9A5-4DB2-87D5-3063E10F12B1}"/>
              </a:ext>
            </a:extLst>
          </p:cNvPr>
          <p:cNvSpPr/>
          <p:nvPr/>
        </p:nvSpPr>
        <p:spPr>
          <a:xfrm>
            <a:off x="5469995" y="2918793"/>
            <a:ext cx="607876" cy="147336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9195AED9-218C-44B2-A018-5A54E590B3C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3779" y="7168609"/>
            <a:ext cx="236442" cy="194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6004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6AB05C82-3F4E-44B3-BE86-89585688B3BC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0582E132-5674-4D30-AAD1-D47C292D7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-2683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9165EFC-4DB6-4179-BC26-B5AE82A04BC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509" y="1729535"/>
            <a:ext cx="5446981" cy="3805331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5FF1D39C-52D2-4A7F-8DE6-3BCAB2775ACF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5690" y="2073829"/>
            <a:ext cx="3172620" cy="3116742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343EB384-B648-4DE4-88FF-73837BDF4014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5690" y="2073829"/>
            <a:ext cx="3172620" cy="3116742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0797485F-342A-4AD6-A89F-2111D8BDAAB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6488" y="2167997"/>
            <a:ext cx="3551023" cy="2928407"/>
          </a:xfrm>
          <a:prstGeom prst="rect">
            <a:avLst/>
          </a:prstGeom>
        </p:spPr>
      </p:pic>
      <p:sp>
        <p:nvSpPr>
          <p:cNvPr id="10" name="矩形 9">
            <a:extLst>
              <a:ext uri="{FF2B5EF4-FFF2-40B4-BE49-F238E27FC236}">
                <a16:creationId xmlns:a16="http://schemas.microsoft.com/office/drawing/2014/main" id="{D242F348-3770-406C-A528-CF4BA940A2AC}"/>
              </a:ext>
            </a:extLst>
          </p:cNvPr>
          <p:cNvSpPr/>
          <p:nvPr/>
        </p:nvSpPr>
        <p:spPr>
          <a:xfrm>
            <a:off x="5662793" y="2971800"/>
            <a:ext cx="642757" cy="128588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46430CD2-5DF8-4094-B760-B554154CDBB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2600" y="6858000"/>
            <a:ext cx="298800" cy="209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3010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6AB05C82-3F4E-44B3-BE86-89585688B3BC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0582E132-5674-4D30-AAD1-D47C292D7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-2683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9165EFC-4DB6-4179-BC26-B5AE82A04BC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509" y="1729535"/>
            <a:ext cx="5446981" cy="3805331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5FF1D39C-52D2-4A7F-8DE6-3BCAB2775ACF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5690" y="2073829"/>
            <a:ext cx="3172620" cy="3116742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343EB384-B648-4DE4-88FF-73837BDF4014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5690" y="2073829"/>
            <a:ext cx="3172620" cy="3116742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0797485F-342A-4AD6-A89F-2111D8BDAAB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6488" y="2167997"/>
            <a:ext cx="3551023" cy="2928407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807690FC-F4C3-418D-AFDE-B3ADD33D3F1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9115" y="3137979"/>
            <a:ext cx="1471818" cy="1033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2917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6AB05C82-3F4E-44B3-BE86-89585688B3BC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0582E132-5674-4D30-AAD1-D47C292D7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-2683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9165EFC-4DB6-4179-BC26-B5AE82A04BC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509" y="1729535"/>
            <a:ext cx="5446981" cy="3805331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5FF1D39C-52D2-4A7F-8DE6-3BCAB2775ACF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5690" y="2073829"/>
            <a:ext cx="3172620" cy="3116742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343EB384-B648-4DE4-88FF-73837BDF4014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5690" y="2073829"/>
            <a:ext cx="3172620" cy="3116742"/>
          </a:xfrm>
          <a:prstGeom prst="rect">
            <a:avLst/>
          </a:prstGeo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67A52E14-E9A5-4DB2-87D5-3063E10F12B1}"/>
              </a:ext>
            </a:extLst>
          </p:cNvPr>
          <p:cNvSpPr/>
          <p:nvPr/>
        </p:nvSpPr>
        <p:spPr>
          <a:xfrm>
            <a:off x="5368017" y="3000375"/>
            <a:ext cx="537483" cy="128588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03C57632-44D1-448F-946F-C3F914C4331B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6488" y="2167997"/>
            <a:ext cx="3551023" cy="2928407"/>
          </a:xfrm>
          <a:prstGeom prst="rect">
            <a:avLst/>
          </a:prstGeom>
        </p:spPr>
      </p:pic>
      <p:sp>
        <p:nvSpPr>
          <p:cNvPr id="12" name="矩形 11">
            <a:extLst>
              <a:ext uri="{FF2B5EF4-FFF2-40B4-BE49-F238E27FC236}">
                <a16:creationId xmlns:a16="http://schemas.microsoft.com/office/drawing/2014/main" id="{2029681E-DAD3-43CD-A6D1-36707C3AF39A}"/>
              </a:ext>
            </a:extLst>
          </p:cNvPr>
          <p:cNvSpPr/>
          <p:nvPr/>
        </p:nvSpPr>
        <p:spPr>
          <a:xfrm>
            <a:off x="5662793" y="3482694"/>
            <a:ext cx="642757" cy="128588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9542DC0E-5057-4B29-9E7A-DDFC601C143A}"/>
              </a:ext>
            </a:extLst>
          </p:cNvPr>
          <p:cNvSpPr txBox="1"/>
          <p:nvPr/>
        </p:nvSpPr>
        <p:spPr>
          <a:xfrm>
            <a:off x="2124409" y="3032035"/>
            <a:ext cx="3478924" cy="1200329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altLang="zh-CN" dirty="0"/>
              <a:t>share/</a:t>
            </a:r>
            <a:r>
              <a:rPr lang="en-US" altLang="zh-CN" dirty="0" err="1"/>
              <a:t>hadoop</a:t>
            </a:r>
            <a:r>
              <a:rPr lang="en-US" altLang="zh-CN" dirty="0"/>
              <a:t>/common/ *.jar</a:t>
            </a:r>
          </a:p>
          <a:p>
            <a:r>
              <a:rPr lang="en-US" altLang="zh-CN" dirty="0"/>
              <a:t>share/</a:t>
            </a:r>
            <a:r>
              <a:rPr lang="en-US" altLang="zh-CN" dirty="0" err="1"/>
              <a:t>hadoop</a:t>
            </a:r>
            <a:r>
              <a:rPr lang="en-US" altLang="zh-CN" dirty="0"/>
              <a:t>/common/lib/ *.jar</a:t>
            </a:r>
          </a:p>
          <a:p>
            <a:r>
              <a:rPr lang="en-US" altLang="zh-CN" dirty="0"/>
              <a:t>share/</a:t>
            </a:r>
            <a:r>
              <a:rPr lang="en-US" altLang="zh-CN" dirty="0" err="1"/>
              <a:t>hadoop</a:t>
            </a:r>
            <a:r>
              <a:rPr lang="en-US" altLang="zh-CN" dirty="0"/>
              <a:t>/ *.jar</a:t>
            </a:r>
          </a:p>
          <a:p>
            <a:r>
              <a:rPr lang="en-US" altLang="zh-CN" dirty="0"/>
              <a:t>share/</a:t>
            </a:r>
            <a:r>
              <a:rPr lang="en-US" altLang="zh-CN" dirty="0" err="1"/>
              <a:t>hadoop</a:t>
            </a:r>
            <a:r>
              <a:rPr lang="en-US" altLang="zh-CN" dirty="0"/>
              <a:t>/</a:t>
            </a:r>
            <a:r>
              <a:rPr lang="en-US" altLang="zh-CN" dirty="0" err="1"/>
              <a:t>mapreduce</a:t>
            </a:r>
            <a:r>
              <a:rPr lang="en-US" altLang="zh-CN" dirty="0"/>
              <a:t>/ *.jar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4A4D9D4A-0AAB-4724-84DB-1541E5F3BBB8}"/>
              </a:ext>
            </a:extLst>
          </p:cNvPr>
          <p:cNvSpPr txBox="1"/>
          <p:nvPr/>
        </p:nvSpPr>
        <p:spPr>
          <a:xfrm>
            <a:off x="-3567966" y="3032035"/>
            <a:ext cx="3478924" cy="1200329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altLang="zh-CN" dirty="0"/>
              <a:t>share/</a:t>
            </a:r>
            <a:r>
              <a:rPr lang="en-US" altLang="zh-CN" dirty="0" err="1"/>
              <a:t>hadoop</a:t>
            </a:r>
            <a:r>
              <a:rPr lang="en-US" altLang="zh-CN" dirty="0"/>
              <a:t>/common/ *.jar</a:t>
            </a:r>
          </a:p>
          <a:p>
            <a:r>
              <a:rPr lang="en-US" altLang="zh-CN" dirty="0"/>
              <a:t>share/</a:t>
            </a:r>
            <a:r>
              <a:rPr lang="en-US" altLang="zh-CN" dirty="0" err="1"/>
              <a:t>hadoop</a:t>
            </a:r>
            <a:r>
              <a:rPr lang="en-US" altLang="zh-CN" dirty="0"/>
              <a:t>/common/lib/ *.jar</a:t>
            </a:r>
          </a:p>
          <a:p>
            <a:r>
              <a:rPr lang="en-US" altLang="zh-CN" dirty="0"/>
              <a:t>share/</a:t>
            </a:r>
            <a:r>
              <a:rPr lang="en-US" altLang="zh-CN" dirty="0" err="1"/>
              <a:t>hadoop</a:t>
            </a:r>
            <a:r>
              <a:rPr lang="en-US" altLang="zh-CN" dirty="0"/>
              <a:t>/ *.jar</a:t>
            </a:r>
          </a:p>
          <a:p>
            <a:r>
              <a:rPr lang="en-US" altLang="zh-CN" dirty="0"/>
              <a:t>share/</a:t>
            </a:r>
            <a:r>
              <a:rPr lang="en-US" altLang="zh-CN" dirty="0" err="1"/>
              <a:t>hadoop</a:t>
            </a:r>
            <a:r>
              <a:rPr lang="en-US" altLang="zh-CN" dirty="0"/>
              <a:t>/</a:t>
            </a:r>
            <a:r>
              <a:rPr lang="en-US" altLang="zh-CN" dirty="0" err="1"/>
              <a:t>mapreduce</a:t>
            </a:r>
            <a:r>
              <a:rPr lang="en-US" altLang="zh-CN" dirty="0"/>
              <a:t>/ *.jar</a:t>
            </a:r>
          </a:p>
        </p:txBody>
      </p:sp>
    </p:spTree>
    <p:extLst>
      <p:ext uri="{BB962C8B-B14F-4D97-AF65-F5344CB8AC3E}">
        <p14:creationId xmlns:p14="http://schemas.microsoft.com/office/powerpoint/2010/main" val="2727957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622526 0 E" pathEditMode="relative" ptsTypes="">
                                      <p:cBhvr>
                                        <p:cTn id="1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8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622526 0 L 0 0 E" pathEditMode="relative" ptsTypes="">
                                      <p:cBhvr>
                                        <p:cTn id="1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0" presetID="6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1" dur="1000" fill="hold"/>
                                        <p:tgtEl>
                                          <p:spTgt spid="14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2" presetID="6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3" dur="1000" fill="hold"/>
                                        <p:tgtEl>
                                          <p:spTgt spid="11"/>
                                        </p:tgtEl>
                                      </p:cBhvr>
                                      <p:by x="150000" y="150000"/>
                                      <p:from x="100000" y="10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1" grpId="0" animBg="1"/>
      <p:bldP spid="11" grpId="1" animBg="1"/>
      <p:bldP spid="11" grpId="2" animBg="1"/>
      <p:bldP spid="14" grpId="0" animBg="1"/>
      <p:bldP spid="14" grpId="1" animBg="1"/>
      <p:bldP spid="14" grpId="2" animBg="1"/>
    </p:bld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6AB05C82-3F4E-44B3-BE86-89585688B3BC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0582E132-5674-4D30-AAD1-D47C292D7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-2683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9165EFC-4DB6-4179-BC26-B5AE82A04BC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509" y="1729535"/>
            <a:ext cx="5446981" cy="3805331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5FF1D39C-52D2-4A7F-8DE6-3BCAB2775ACF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5690" y="2073829"/>
            <a:ext cx="3172620" cy="3116742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343EB384-B648-4DE4-88FF-73837BDF4014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5690" y="2073829"/>
            <a:ext cx="3172620" cy="3116742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88909E27-B7EA-4D15-BC68-EC1C94F57D89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6488" y="2167997"/>
            <a:ext cx="3551023" cy="2928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714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组合 9">
            <a:extLst>
              <a:ext uri="{FF2B5EF4-FFF2-40B4-BE49-F238E27FC236}">
                <a16:creationId xmlns:a16="http://schemas.microsoft.com/office/drawing/2014/main" id="{FE0FA9F9-9A98-4055-8604-C87242FCAC7A}"/>
              </a:ext>
            </a:extLst>
          </p:cNvPr>
          <p:cNvGrpSpPr/>
          <p:nvPr/>
        </p:nvGrpSpPr>
        <p:grpSpPr>
          <a:xfrm>
            <a:off x="4965095" y="495654"/>
            <a:ext cx="3675668" cy="5638446"/>
            <a:chOff x="4965095" y="495654"/>
            <a:chExt cx="3675668" cy="5638446"/>
          </a:xfrm>
        </p:grpSpPr>
        <p:sp>
          <p:nvSpPr>
            <p:cNvPr id="3" name="矩形: 圆角 2">
              <a:extLst>
                <a:ext uri="{FF2B5EF4-FFF2-40B4-BE49-F238E27FC236}">
                  <a16:creationId xmlns:a16="http://schemas.microsoft.com/office/drawing/2014/main" id="{D87D72EE-CD67-4AF8-898B-E627443EAE95}"/>
                </a:ext>
              </a:extLst>
            </p:cNvPr>
            <p:cNvSpPr/>
            <p:nvPr/>
          </p:nvSpPr>
          <p:spPr>
            <a:xfrm>
              <a:off x="4965095" y="1130300"/>
              <a:ext cx="2793511" cy="5003800"/>
            </a:xfrm>
            <a:prstGeom prst="roundRect">
              <a:avLst/>
            </a:prstGeom>
            <a:solidFill>
              <a:schemeClr val="accent2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" name="文本框 1">
              <a:extLst>
                <a:ext uri="{FF2B5EF4-FFF2-40B4-BE49-F238E27FC236}">
                  <a16:creationId xmlns:a16="http://schemas.microsoft.com/office/drawing/2014/main" id="{37F3BD1C-6103-4E15-966D-248A4B055969}"/>
                </a:ext>
              </a:extLst>
            </p:cNvPr>
            <p:cNvSpPr txBox="1"/>
            <p:nvPr/>
          </p:nvSpPr>
          <p:spPr>
            <a:xfrm>
              <a:off x="5538639" y="495654"/>
              <a:ext cx="310212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800" dirty="0" err="1"/>
                <a:t>InputSplit</a:t>
              </a:r>
              <a:endParaRPr lang="zh-CN" altLang="en-US" sz="2800" dirty="0"/>
            </a:p>
          </p:txBody>
        </p:sp>
      </p:grp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12AB1DF8-9F59-459D-861B-0997412FBF92}"/>
              </a:ext>
            </a:extLst>
          </p:cNvPr>
          <p:cNvSpPr>
            <a:spLocks/>
          </p:cNvSpPr>
          <p:nvPr/>
        </p:nvSpPr>
        <p:spPr>
          <a:xfrm>
            <a:off x="5347439" y="4590442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/>
              <a:t>Hello MapReduce</a:t>
            </a:r>
          </a:p>
          <a:p>
            <a:pPr algn="ctr"/>
            <a:r>
              <a:rPr lang="en-US" altLang="zh-CN" b="1" dirty="0"/>
              <a:t>I like Java</a:t>
            </a:r>
            <a:endParaRPr lang="zh-CN" altLang="en-US" b="1" dirty="0"/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91A342C0-220F-4EE6-8E94-FDE79F5160AA}"/>
              </a:ext>
            </a:extLst>
          </p:cNvPr>
          <p:cNvSpPr>
            <a:spLocks/>
          </p:cNvSpPr>
          <p:nvPr/>
        </p:nvSpPr>
        <p:spPr>
          <a:xfrm>
            <a:off x="5347439" y="2860371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/>
              <a:t>Hello Hadoop</a:t>
            </a:r>
          </a:p>
          <a:p>
            <a:pPr algn="ctr"/>
            <a:r>
              <a:rPr lang="en-US" altLang="zh-CN" b="1" dirty="0"/>
              <a:t>I like MapReduce</a:t>
            </a:r>
            <a:endParaRPr lang="zh-CN" altLang="en-US" b="1" dirty="0"/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2900AFE4-C899-455C-AECA-CE83C79CE577}"/>
              </a:ext>
            </a:extLst>
          </p:cNvPr>
          <p:cNvSpPr>
            <a:spLocks/>
          </p:cNvSpPr>
          <p:nvPr/>
        </p:nvSpPr>
        <p:spPr>
          <a:xfrm>
            <a:off x="5347439" y="1130300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/>
              <a:t>Hello world</a:t>
            </a:r>
          </a:p>
          <a:p>
            <a:pPr algn="ctr"/>
            <a:r>
              <a:rPr lang="en-US" altLang="zh-CN" b="1" dirty="0"/>
              <a:t>I like Hadoop</a:t>
            </a:r>
            <a:endParaRPr lang="zh-CN" altLang="en-US" b="1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3372978F-E17A-40CA-89B5-F22260ABED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apReduce</a:t>
            </a:r>
            <a:r>
              <a:rPr lang="zh-CN" altLang="en-US" dirty="0"/>
              <a:t>工作流程</a:t>
            </a:r>
          </a:p>
        </p:txBody>
      </p:sp>
    </p:spTree>
    <p:extLst>
      <p:ext uri="{BB962C8B-B14F-4D97-AF65-F5344CB8AC3E}">
        <p14:creationId xmlns:p14="http://schemas.microsoft.com/office/powerpoint/2010/main" val="3417630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 advClick="0" advTm="0">
        <p159:morph option="byObject"/>
      </p:transition>
    </mc:Choice>
    <mc:Fallback xmlns="">
      <p:transition spd="med" advClick="0" advTm="0">
        <p:fade/>
      </p:transition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>
            <a:extLst>
              <a:ext uri="{FF2B5EF4-FFF2-40B4-BE49-F238E27FC236}">
                <a16:creationId xmlns:a16="http://schemas.microsoft.com/office/drawing/2014/main" id="{88909E27-B7EA-4D15-BC68-EC1C94F57D89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0196" y="2278260"/>
            <a:ext cx="3283609" cy="270788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6AB05C82-3F4E-44B3-BE86-89585688B3BC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0582E132-5674-4D30-AAD1-D47C292D7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-2683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9165EFC-4DB6-4179-BC26-B5AE82A04BC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509" y="1729535"/>
            <a:ext cx="5446981" cy="3805331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5FF1D39C-52D2-4A7F-8DE6-3BCAB2775ACF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5690" y="2073829"/>
            <a:ext cx="3172620" cy="3116742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343EB384-B648-4DE4-88FF-73837BDF4014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5690" y="2073829"/>
            <a:ext cx="3172620" cy="3116742"/>
          </a:xfrm>
          <a:prstGeom prst="rect">
            <a:avLst/>
          </a:prstGeom>
        </p:spPr>
      </p:pic>
      <p:sp>
        <p:nvSpPr>
          <p:cNvPr id="10" name="矩形 9">
            <a:extLst>
              <a:ext uri="{FF2B5EF4-FFF2-40B4-BE49-F238E27FC236}">
                <a16:creationId xmlns:a16="http://schemas.microsoft.com/office/drawing/2014/main" id="{44999552-D4C7-4089-AF84-135F9D3297AF}"/>
              </a:ext>
            </a:extLst>
          </p:cNvPr>
          <p:cNvSpPr/>
          <p:nvPr/>
        </p:nvSpPr>
        <p:spPr>
          <a:xfrm>
            <a:off x="5469995" y="2918793"/>
            <a:ext cx="607876" cy="147336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94C9819F-E2FE-4627-BA91-F2505C4754D6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5690" y="2073829"/>
            <a:ext cx="3172620" cy="3116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5624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>
            <a:extLst>
              <a:ext uri="{FF2B5EF4-FFF2-40B4-BE49-F238E27FC236}">
                <a16:creationId xmlns:a16="http://schemas.microsoft.com/office/drawing/2014/main" id="{88909E27-B7EA-4D15-BC68-EC1C94F57D89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0196" y="2278260"/>
            <a:ext cx="3283609" cy="2707880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49165EFC-4DB6-4179-BC26-B5AE82A04BC6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8284" y="1827183"/>
            <a:ext cx="5167432" cy="3610034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6AB05C82-3F4E-44B3-BE86-89585688B3BC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0582E132-5674-4D30-AAD1-D47C292D7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-2683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94C9819F-E2FE-4627-BA91-F2505C4754D6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9738" y="2176045"/>
            <a:ext cx="2964524" cy="2912311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0CAFADCB-89D2-4050-B765-3C056FDF4D6F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509" y="1729535"/>
            <a:ext cx="5446981" cy="380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202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6AB05C82-3F4E-44B3-BE86-89585688B3BC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4417" y="1200806"/>
            <a:ext cx="6462388" cy="4862787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0582E132-5674-4D30-AAD1-D47C292D7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-2683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DDA12288-0C8C-42BB-B202-1CC0E9192E3F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1230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6AB05C82-3F4E-44B3-BE86-89585688B3BC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4417" y="1200806"/>
            <a:ext cx="6462388" cy="4862787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0582E132-5674-4D30-AAD1-D47C292D7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-2683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DDA12288-0C8C-42BB-B202-1CC0E9192E3F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5210FC15-3CA7-44B2-925A-E602F102968F}"/>
              </a:ext>
            </a:extLst>
          </p:cNvPr>
          <p:cNvSpPr/>
          <p:nvPr/>
        </p:nvSpPr>
        <p:spPr>
          <a:xfrm>
            <a:off x="1404417" y="2260600"/>
            <a:ext cx="338658" cy="111125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BCA1B011-C38A-4166-96C1-355B4E2A5827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3473" y="2303237"/>
            <a:ext cx="1864749" cy="3227259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B39318EF-DDC0-41CF-A50E-4232210DC6F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0264" y="2305051"/>
            <a:ext cx="1150841" cy="2019300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AE9A41BC-78BE-44BB-B2F6-37CFEAD3851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8674" y="7368073"/>
            <a:ext cx="546653" cy="526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4519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"/>
                            </p:stCondLst>
                            <p:childTnLst>
                              <p:par>
                                <p:cTn id="9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3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2" dur="3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400"/>
                            </p:stCondLst>
                            <p:childTnLst>
                              <p:par>
                                <p:cTn id="14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3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7" dur="3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6AB05C82-3F4E-44B3-BE86-89585688B3BC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4417" y="1200806"/>
            <a:ext cx="6462388" cy="4862787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0582E132-5674-4D30-AAD1-D47C292D7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-2683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DDA12288-0C8C-42BB-B202-1CC0E9192E3F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4F4D6558-F4FD-4411-AB2C-5F45AC77E88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1648" y="1850648"/>
            <a:ext cx="3700704" cy="3563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60582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6AB05C82-3F4E-44B3-BE86-89585688B3BC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4417" y="1200806"/>
            <a:ext cx="6462388" cy="4862787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0582E132-5674-4D30-AAD1-D47C292D7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-2683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F4D6558-F4FD-4411-AB2C-5F45AC77E88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4646" y="1978701"/>
            <a:ext cx="3434708" cy="3306998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DDA12288-0C8C-42BB-B202-1CC0E9192E3F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FCA0472B-DEFD-4956-84B3-76EBEEA8EB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4221" y="1644564"/>
            <a:ext cx="1631093" cy="2785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1325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6AB05C82-3F4E-44B3-BE86-89585688B3BC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4417" y="1200806"/>
            <a:ext cx="6462388" cy="4862787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0582E132-5674-4D30-AAD1-D47C292D7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-2683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F4D6558-F4FD-4411-AB2C-5F45AC77E88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4646" y="1978701"/>
            <a:ext cx="3434708" cy="3306998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DDA12288-0C8C-42BB-B202-1CC0E9192E3F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FCA0472B-DEFD-4956-84B3-76EBEEA8EB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4221" y="1644564"/>
            <a:ext cx="1631093" cy="2785611"/>
          </a:xfrm>
          <a:prstGeom prst="rect">
            <a:avLst/>
          </a:prstGeom>
        </p:spPr>
      </p:pic>
      <p:sp>
        <p:nvSpPr>
          <p:cNvPr id="8" name="矩形 7">
            <a:extLst>
              <a:ext uri="{FF2B5EF4-FFF2-40B4-BE49-F238E27FC236}">
                <a16:creationId xmlns:a16="http://schemas.microsoft.com/office/drawing/2014/main" id="{4692C61F-A167-44EB-A6EB-CD3D6498DDBE}"/>
              </a:ext>
            </a:extLst>
          </p:cNvPr>
          <p:cNvSpPr/>
          <p:nvPr/>
        </p:nvSpPr>
        <p:spPr>
          <a:xfrm>
            <a:off x="1535046" y="2401277"/>
            <a:ext cx="338658" cy="111125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DF3CB3F4-4B56-494C-913F-58A98C1FAFDF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9078" y="2443914"/>
            <a:ext cx="1864749" cy="3227259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274E58CE-8E84-4EEF-8E27-07EAC0C4190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869" y="2450752"/>
            <a:ext cx="1150841" cy="2019299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CB36119A-4066-4577-B5AC-AF81D63098E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0549" y="7379936"/>
            <a:ext cx="382902" cy="456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7214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"/>
                            </p:stCondLst>
                            <p:childTnLst>
                              <p:par>
                                <p:cTn id="9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3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2" dur="3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400"/>
                            </p:stCondLst>
                            <p:childTnLst>
                              <p:par>
                                <p:cTn id="14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3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7" dur="3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582E132-5674-4D30-AAD1-D47C292D7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-404086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DF2C2CD6-ACC9-4F04-A39F-5D0A2636D8C8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0459" y="1260744"/>
            <a:ext cx="6303081" cy="4742912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DDA12288-0C8C-42BB-B202-1CC0E9192E3F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FCA0472B-DEFD-4956-84B3-76EBEEA8EB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4221" y="1644564"/>
            <a:ext cx="1631093" cy="2785611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F6B67DBC-44FC-4D2F-A552-0E4A1EAD9F28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5348" y="867966"/>
            <a:ext cx="4633304" cy="5528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9340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582E132-5674-4D30-AAD1-D47C292D7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0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DDA12288-0C8C-42BB-B202-1CC0E9192E3F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0806" y="1200807"/>
            <a:ext cx="6462388" cy="4862787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56A86865-472E-44A2-8204-AD7D61DC99DC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2332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DDA12288-0C8C-42BB-B202-1CC0E9192E3F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0806" y="1200807"/>
            <a:ext cx="6462388" cy="4862787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56A86865-472E-44A2-8204-AD7D61DC99DC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1D93291E-6C6A-4502-A405-14F1FCCF1230}"/>
              </a:ext>
            </a:extLst>
          </p:cNvPr>
          <p:cNvSpPr txBox="1"/>
          <p:nvPr/>
        </p:nvSpPr>
        <p:spPr>
          <a:xfrm>
            <a:off x="3083063" y="1782528"/>
            <a:ext cx="8682755" cy="8402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950055"/>
                </a:solidFill>
                <a:latin typeface="Consolas" panose="020B0609020204030204" pitchFamily="49" charset="0"/>
              </a:rPr>
              <a:t>package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dirty="0" err="1">
                <a:latin typeface="Consolas" panose="020B0609020204030204" pitchFamily="49" charset="0"/>
              </a:rPr>
              <a:t>mr</a:t>
            </a:r>
            <a:r>
              <a:rPr lang="en-US" altLang="zh-CN" dirty="0">
                <a:latin typeface="Consolas" panose="020B0609020204030204" pitchFamily="49" charset="0"/>
              </a:rPr>
              <a:t>;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dirty="0" err="1">
                <a:latin typeface="Consolas" panose="020B0609020204030204" pitchFamily="49" charset="0"/>
              </a:rPr>
              <a:t>java.io.DataInput</a:t>
            </a:r>
            <a:r>
              <a:rPr lang="en-US" altLang="zh-CN" dirty="0">
                <a:latin typeface="Consolas" panose="020B0609020204030204" pitchFamily="49" charset="0"/>
              </a:rPr>
              <a:t>;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dirty="0" err="1">
                <a:latin typeface="Consolas" panose="020B0609020204030204" pitchFamily="49" charset="0"/>
              </a:rPr>
              <a:t>java.io.DataOutput</a:t>
            </a:r>
            <a:r>
              <a:rPr lang="en-US" altLang="zh-CN" dirty="0">
                <a:latin typeface="Consolas" panose="020B0609020204030204" pitchFamily="49" charset="0"/>
              </a:rPr>
              <a:t>;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dirty="0" err="1">
                <a:latin typeface="Consolas" panose="020B0609020204030204" pitchFamily="49" charset="0"/>
              </a:rPr>
              <a:t>java.io.IOException</a:t>
            </a:r>
            <a:r>
              <a:rPr lang="en-US" altLang="zh-CN" dirty="0">
                <a:latin typeface="Consolas" panose="020B0609020204030204" pitchFamily="49" charset="0"/>
              </a:rPr>
              <a:t>;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latin typeface="Consolas" panose="020B0609020204030204" pitchFamily="49" charset="0"/>
              </a:rPr>
              <a:t> 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dirty="0" err="1">
                <a:latin typeface="Consolas" panose="020B0609020204030204" pitchFamily="49" charset="0"/>
              </a:rPr>
              <a:t>org.apache.hadoop.io.IntWritable</a:t>
            </a:r>
            <a:r>
              <a:rPr lang="en-US" altLang="zh-CN" dirty="0">
                <a:latin typeface="Consolas" panose="020B0609020204030204" pitchFamily="49" charset="0"/>
              </a:rPr>
              <a:t>;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dirty="0" err="1">
                <a:latin typeface="Consolas" panose="020B0609020204030204" pitchFamily="49" charset="0"/>
              </a:rPr>
              <a:t>org.apache.hadoop.io.WritableComparable</a:t>
            </a:r>
            <a:r>
              <a:rPr lang="en-US" altLang="zh-CN" dirty="0">
                <a:latin typeface="Consolas" panose="020B0609020204030204" pitchFamily="49" charset="0"/>
              </a:rPr>
              <a:t>;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latin typeface="Consolas" panose="020B0609020204030204" pitchFamily="49" charset="0"/>
              </a:rPr>
              <a:t> 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950055"/>
                </a:solidFill>
                <a:latin typeface="Consolas" panose="020B0609020204030204" pitchFamily="49" charset="0"/>
              </a:rPr>
              <a:t>public class </a:t>
            </a:r>
            <a:r>
              <a:rPr lang="en-US" altLang="zh-CN" dirty="0" err="1">
                <a:latin typeface="Consolas" panose="020B0609020204030204" pitchFamily="49" charset="0"/>
              </a:rPr>
              <a:t>IntPair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dirty="0">
                <a:solidFill>
                  <a:srgbClr val="950055"/>
                </a:solidFill>
                <a:latin typeface="Consolas" panose="020B0609020204030204" pitchFamily="49" charset="0"/>
              </a:rPr>
              <a:t>implements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dirty="0" err="1">
                <a:latin typeface="Consolas" panose="020B0609020204030204" pitchFamily="49" charset="0"/>
              </a:rPr>
              <a:t>WritableComparable</a:t>
            </a:r>
            <a:r>
              <a:rPr lang="en-US" altLang="zh-CN" dirty="0">
                <a:latin typeface="Consolas" panose="020B0609020204030204" pitchFamily="49" charset="0"/>
              </a:rPr>
              <a:t> {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latin typeface="Consolas" panose="020B0609020204030204" pitchFamily="49" charset="0"/>
              </a:rPr>
              <a:t>    </a:t>
            </a:r>
            <a:r>
              <a:rPr lang="en-US" altLang="zh-CN" dirty="0">
                <a:solidFill>
                  <a:srgbClr val="950055"/>
                </a:solidFill>
                <a:latin typeface="Consolas" panose="020B0609020204030204" pitchFamily="49" charset="0"/>
              </a:rPr>
              <a:t>private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dirty="0" err="1">
                <a:latin typeface="Consolas" panose="020B0609020204030204" pitchFamily="49" charset="0"/>
              </a:rPr>
              <a:t>IntWritable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dirty="0">
                <a:solidFill>
                  <a:srgbClr val="0066E8"/>
                </a:solidFill>
                <a:latin typeface="Consolas" panose="020B0609020204030204" pitchFamily="49" charset="0"/>
              </a:rPr>
              <a:t>first</a:t>
            </a:r>
            <a:r>
              <a:rPr lang="en-US" altLang="zh-CN" dirty="0">
                <a:latin typeface="Consolas" panose="020B0609020204030204" pitchFamily="49" charset="0"/>
              </a:rPr>
              <a:t>;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latin typeface="Consolas" panose="020B0609020204030204" pitchFamily="49" charset="0"/>
              </a:rPr>
              <a:t>    </a:t>
            </a:r>
            <a:r>
              <a:rPr lang="en-US" altLang="zh-CN" dirty="0">
                <a:solidFill>
                  <a:srgbClr val="950055"/>
                </a:solidFill>
                <a:latin typeface="Consolas" panose="020B0609020204030204" pitchFamily="49" charset="0"/>
              </a:rPr>
              <a:t>private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dirty="0" err="1">
                <a:latin typeface="Consolas" panose="020B0609020204030204" pitchFamily="49" charset="0"/>
              </a:rPr>
              <a:t>IntWritable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dirty="0">
                <a:solidFill>
                  <a:srgbClr val="0066E8"/>
                </a:solidFill>
                <a:latin typeface="Consolas" panose="020B0609020204030204" pitchFamily="49" charset="0"/>
              </a:rPr>
              <a:t>second</a:t>
            </a:r>
            <a:r>
              <a:rPr lang="en-US" altLang="zh-CN" dirty="0">
                <a:latin typeface="Consolas" panose="020B0609020204030204" pitchFamily="49" charset="0"/>
              </a:rPr>
              <a:t>;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latin typeface="Consolas" panose="020B0609020204030204" pitchFamily="49" charset="0"/>
              </a:rPr>
              <a:t>    </a:t>
            </a:r>
            <a:r>
              <a:rPr lang="en-US" altLang="zh-CN" dirty="0">
                <a:solidFill>
                  <a:srgbClr val="950055"/>
                </a:solidFill>
                <a:latin typeface="Consolas" panose="020B0609020204030204" pitchFamily="49" charset="0"/>
              </a:rPr>
              <a:t>public void </a:t>
            </a:r>
            <a:r>
              <a:rPr lang="en-US" altLang="zh-CN" dirty="0">
                <a:latin typeface="Consolas" panose="020B0609020204030204" pitchFamily="49" charset="0"/>
              </a:rPr>
              <a:t>set(</a:t>
            </a:r>
            <a:r>
              <a:rPr lang="en-US" altLang="zh-CN" dirty="0" err="1">
                <a:latin typeface="Consolas" panose="020B0609020204030204" pitchFamily="49" charset="0"/>
              </a:rPr>
              <a:t>IntWritable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dirty="0">
                <a:solidFill>
                  <a:srgbClr val="6A3E3E"/>
                </a:solidFill>
                <a:latin typeface="Consolas" panose="020B0609020204030204" pitchFamily="49" charset="0"/>
              </a:rPr>
              <a:t>first</a:t>
            </a:r>
            <a:r>
              <a:rPr lang="en-US" altLang="zh-CN" dirty="0">
                <a:latin typeface="Consolas" panose="020B0609020204030204" pitchFamily="49" charset="0"/>
              </a:rPr>
              <a:t>, </a:t>
            </a:r>
            <a:r>
              <a:rPr lang="en-US" altLang="zh-CN" dirty="0" err="1">
                <a:latin typeface="Consolas" panose="020B0609020204030204" pitchFamily="49" charset="0"/>
              </a:rPr>
              <a:t>IntWritable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dirty="0">
                <a:solidFill>
                  <a:srgbClr val="6A3E3E"/>
                </a:solidFill>
                <a:latin typeface="Consolas" panose="020B0609020204030204" pitchFamily="49" charset="0"/>
              </a:rPr>
              <a:t>second</a:t>
            </a:r>
            <a:r>
              <a:rPr lang="en-US" altLang="zh-CN" dirty="0">
                <a:latin typeface="Consolas" panose="020B0609020204030204" pitchFamily="49" charset="0"/>
              </a:rPr>
              <a:t>) {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latin typeface="Consolas" panose="020B0609020204030204" pitchFamily="49" charset="0"/>
              </a:rPr>
              <a:t>        </a:t>
            </a:r>
            <a:r>
              <a:rPr lang="en-US" altLang="zh-CN" dirty="0" err="1">
                <a:solidFill>
                  <a:srgbClr val="950055"/>
                </a:solidFill>
                <a:latin typeface="Consolas" panose="020B0609020204030204" pitchFamily="49" charset="0"/>
              </a:rPr>
              <a:t>this</a:t>
            </a:r>
            <a:r>
              <a:rPr lang="en-US" altLang="zh-CN" dirty="0" err="1">
                <a:latin typeface="Consolas" panose="020B0609020204030204" pitchFamily="49" charset="0"/>
              </a:rPr>
              <a:t>.first</a:t>
            </a:r>
            <a:r>
              <a:rPr lang="en-US" altLang="zh-CN" dirty="0">
                <a:latin typeface="Consolas" panose="020B0609020204030204" pitchFamily="49" charset="0"/>
              </a:rPr>
              <a:t> = </a:t>
            </a:r>
            <a:r>
              <a:rPr lang="en-US" altLang="zh-CN" dirty="0">
                <a:solidFill>
                  <a:srgbClr val="6A3E3E"/>
                </a:solidFill>
                <a:latin typeface="Consolas" panose="020B0609020204030204" pitchFamily="49" charset="0"/>
              </a:rPr>
              <a:t>first</a:t>
            </a:r>
            <a:r>
              <a:rPr lang="en-US" altLang="zh-CN" dirty="0">
                <a:latin typeface="Consolas" panose="020B0609020204030204" pitchFamily="49" charset="0"/>
              </a:rPr>
              <a:t>;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latin typeface="Consolas" panose="020B0609020204030204" pitchFamily="49" charset="0"/>
              </a:rPr>
              <a:t>        </a:t>
            </a:r>
            <a:r>
              <a:rPr lang="en-US" altLang="zh-CN" dirty="0" err="1">
                <a:solidFill>
                  <a:srgbClr val="950055"/>
                </a:solidFill>
                <a:latin typeface="Consolas" panose="020B0609020204030204" pitchFamily="49" charset="0"/>
              </a:rPr>
              <a:t>this</a:t>
            </a:r>
            <a:r>
              <a:rPr lang="en-US" altLang="zh-CN" dirty="0" err="1">
                <a:latin typeface="Consolas" panose="020B0609020204030204" pitchFamily="49" charset="0"/>
              </a:rPr>
              <a:t>.second</a:t>
            </a:r>
            <a:r>
              <a:rPr lang="en-US" altLang="zh-CN" dirty="0">
                <a:latin typeface="Consolas" panose="020B0609020204030204" pitchFamily="49" charset="0"/>
              </a:rPr>
              <a:t> = </a:t>
            </a:r>
            <a:r>
              <a:rPr lang="en-US" altLang="zh-CN" dirty="0">
                <a:solidFill>
                  <a:srgbClr val="6A3E3E"/>
                </a:solidFill>
                <a:latin typeface="Consolas" panose="020B0609020204030204" pitchFamily="49" charset="0"/>
              </a:rPr>
              <a:t>second</a:t>
            </a:r>
            <a:r>
              <a:rPr lang="en-US" altLang="zh-CN" dirty="0">
                <a:latin typeface="Consolas" panose="020B0609020204030204" pitchFamily="49" charset="0"/>
              </a:rPr>
              <a:t>;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latin typeface="Consolas" panose="020B0609020204030204" pitchFamily="49" charset="0"/>
              </a:rPr>
              <a:t>    }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</p:txBody>
      </p:sp>
      <p:sp>
        <p:nvSpPr>
          <p:cNvPr id="10" name="标题 1">
            <a:extLst>
              <a:ext uri="{FF2B5EF4-FFF2-40B4-BE49-F238E27FC236}">
                <a16:creationId xmlns:a16="http://schemas.microsoft.com/office/drawing/2014/main" id="{92A2998F-BC33-4A0E-8EA8-AFB656343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0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</p:spTree>
    <p:extLst>
      <p:ext uri="{BB962C8B-B14F-4D97-AF65-F5344CB8AC3E}">
        <p14:creationId xmlns:p14="http://schemas.microsoft.com/office/powerpoint/2010/main" val="2287584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0"/>
    </mc:Choice>
    <mc:Fallback xmlns="">
      <p:transition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组合 9">
            <a:extLst>
              <a:ext uri="{FF2B5EF4-FFF2-40B4-BE49-F238E27FC236}">
                <a16:creationId xmlns:a16="http://schemas.microsoft.com/office/drawing/2014/main" id="{FE0FA9F9-9A98-4055-8604-C87242FCAC7A}"/>
              </a:ext>
            </a:extLst>
          </p:cNvPr>
          <p:cNvGrpSpPr/>
          <p:nvPr/>
        </p:nvGrpSpPr>
        <p:grpSpPr>
          <a:xfrm>
            <a:off x="2734166" y="495654"/>
            <a:ext cx="3675668" cy="5638446"/>
            <a:chOff x="4965095" y="495654"/>
            <a:chExt cx="3675668" cy="5638446"/>
          </a:xfrm>
        </p:grpSpPr>
        <p:sp>
          <p:nvSpPr>
            <p:cNvPr id="3" name="矩形: 圆角 2">
              <a:extLst>
                <a:ext uri="{FF2B5EF4-FFF2-40B4-BE49-F238E27FC236}">
                  <a16:creationId xmlns:a16="http://schemas.microsoft.com/office/drawing/2014/main" id="{D87D72EE-CD67-4AF8-898B-E627443EAE95}"/>
                </a:ext>
              </a:extLst>
            </p:cNvPr>
            <p:cNvSpPr/>
            <p:nvPr/>
          </p:nvSpPr>
          <p:spPr>
            <a:xfrm>
              <a:off x="4965095" y="1130300"/>
              <a:ext cx="2793511" cy="5003800"/>
            </a:xfrm>
            <a:prstGeom prst="roundRect">
              <a:avLst/>
            </a:prstGeom>
            <a:solidFill>
              <a:schemeClr val="accent2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" name="文本框 1">
              <a:extLst>
                <a:ext uri="{FF2B5EF4-FFF2-40B4-BE49-F238E27FC236}">
                  <a16:creationId xmlns:a16="http://schemas.microsoft.com/office/drawing/2014/main" id="{37F3BD1C-6103-4E15-966D-248A4B055969}"/>
                </a:ext>
              </a:extLst>
            </p:cNvPr>
            <p:cNvSpPr txBox="1"/>
            <p:nvPr/>
          </p:nvSpPr>
          <p:spPr>
            <a:xfrm>
              <a:off x="5538639" y="495654"/>
              <a:ext cx="310212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800" dirty="0" err="1"/>
                <a:t>InputSplit</a:t>
              </a:r>
              <a:endParaRPr lang="zh-CN" altLang="en-US" sz="2800" dirty="0"/>
            </a:p>
          </p:txBody>
        </p:sp>
      </p:grp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12AB1DF8-9F59-459D-861B-0997412FBF92}"/>
              </a:ext>
            </a:extLst>
          </p:cNvPr>
          <p:cNvSpPr>
            <a:spLocks/>
          </p:cNvSpPr>
          <p:nvPr/>
        </p:nvSpPr>
        <p:spPr>
          <a:xfrm>
            <a:off x="3116510" y="4590442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/>
              <a:t>Hello MapReduce</a:t>
            </a:r>
          </a:p>
          <a:p>
            <a:pPr algn="ctr"/>
            <a:r>
              <a:rPr lang="en-US" altLang="zh-CN" b="1" dirty="0"/>
              <a:t>I like Java</a:t>
            </a:r>
            <a:endParaRPr lang="zh-CN" altLang="en-US" b="1" dirty="0"/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91A342C0-220F-4EE6-8E94-FDE79F5160AA}"/>
              </a:ext>
            </a:extLst>
          </p:cNvPr>
          <p:cNvSpPr>
            <a:spLocks/>
          </p:cNvSpPr>
          <p:nvPr/>
        </p:nvSpPr>
        <p:spPr>
          <a:xfrm>
            <a:off x="3116510" y="2860371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/>
              <a:t>Hello Hadoop</a:t>
            </a:r>
          </a:p>
          <a:p>
            <a:pPr algn="ctr"/>
            <a:r>
              <a:rPr lang="en-US" altLang="zh-CN" b="1" dirty="0"/>
              <a:t>I like MapReduce</a:t>
            </a:r>
            <a:endParaRPr lang="zh-CN" altLang="en-US" b="1" dirty="0"/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2900AFE4-C899-455C-AECA-CE83C79CE577}"/>
              </a:ext>
            </a:extLst>
          </p:cNvPr>
          <p:cNvSpPr>
            <a:spLocks/>
          </p:cNvSpPr>
          <p:nvPr/>
        </p:nvSpPr>
        <p:spPr>
          <a:xfrm>
            <a:off x="3116510" y="1130300"/>
            <a:ext cx="2028825" cy="1543658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/>
              <a:t>Hello world</a:t>
            </a:r>
          </a:p>
          <a:p>
            <a:pPr algn="ctr"/>
            <a:r>
              <a:rPr lang="en-US" altLang="zh-CN" b="1" dirty="0"/>
              <a:t>I like Hadoop</a:t>
            </a:r>
            <a:endParaRPr lang="zh-CN" altLang="en-US" b="1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3372978F-E17A-40CA-89B5-F22260ABED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apReduce</a:t>
            </a:r>
            <a:r>
              <a:rPr lang="zh-CN" altLang="en-US" dirty="0"/>
              <a:t>工作流程</a:t>
            </a: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E0306DB2-DF2D-4C7E-B2BB-2AEF55C259F4}"/>
              </a:ext>
            </a:extLst>
          </p:cNvPr>
          <p:cNvSpPr/>
          <p:nvPr/>
        </p:nvSpPr>
        <p:spPr>
          <a:xfrm>
            <a:off x="9155279" y="1130300"/>
            <a:ext cx="2793511" cy="5003800"/>
          </a:xfrm>
          <a:prstGeom prst="round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B463E49F-B5B5-48FF-973E-A31AC16E3C0A}"/>
              </a:ext>
            </a:extLst>
          </p:cNvPr>
          <p:cNvSpPr txBox="1"/>
          <p:nvPr/>
        </p:nvSpPr>
        <p:spPr>
          <a:xfrm>
            <a:off x="9728823" y="495654"/>
            <a:ext cx="31021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/>
              <a:t>Map()</a:t>
            </a:r>
            <a:endParaRPr lang="zh-CN" altLang="en-US" sz="2800" dirty="0"/>
          </a:p>
        </p:txBody>
      </p:sp>
    </p:spTree>
    <p:extLst>
      <p:ext uri="{BB962C8B-B14F-4D97-AF65-F5344CB8AC3E}">
        <p14:creationId xmlns:p14="http://schemas.microsoft.com/office/powerpoint/2010/main" val="32427280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DDA12288-0C8C-42BB-B202-1CC0E9192E3F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0806" y="1200807"/>
            <a:ext cx="6462388" cy="4862787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56A86865-472E-44A2-8204-AD7D61DC99DC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4E382905-A8C2-4704-BBA4-00B815D65EC2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C37F2804-56DA-45AB-B031-90B5E640DEFD}"/>
              </a:ext>
            </a:extLst>
          </p:cNvPr>
          <p:cNvSpPr txBox="1"/>
          <p:nvPr/>
        </p:nvSpPr>
        <p:spPr>
          <a:xfrm>
            <a:off x="3083065" y="1782529"/>
            <a:ext cx="3803256" cy="3185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60" dirty="0">
                <a:solidFill>
                  <a:srgbClr val="950055"/>
                </a:solidFill>
                <a:latin typeface="Consolas" panose="020B0609020204030204" pitchFamily="49" charset="0"/>
              </a:rPr>
              <a:t>package</a:t>
            </a:r>
            <a:r>
              <a:rPr lang="en-US" altLang="zh-CN" sz="660" dirty="0">
                <a:latin typeface="Consolas" panose="020B0609020204030204" pitchFamily="49" charset="0"/>
              </a:rPr>
              <a:t> </a:t>
            </a:r>
            <a:r>
              <a:rPr lang="en-US" altLang="zh-CN" sz="660" dirty="0" err="1">
                <a:latin typeface="Consolas" panose="020B0609020204030204" pitchFamily="49" charset="0"/>
              </a:rPr>
              <a:t>mr</a:t>
            </a:r>
            <a:r>
              <a:rPr lang="en-US" altLang="zh-CN" sz="660" dirty="0">
                <a:latin typeface="Consolas" panose="020B0609020204030204" pitchFamily="49" charset="0"/>
              </a:rPr>
              <a:t>;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sz="660" dirty="0">
                <a:latin typeface="Consolas" panose="020B0609020204030204" pitchFamily="49" charset="0"/>
              </a:rPr>
              <a:t> </a:t>
            </a:r>
            <a:r>
              <a:rPr lang="en-US" altLang="zh-CN" sz="660" dirty="0" err="1">
                <a:latin typeface="Consolas" panose="020B0609020204030204" pitchFamily="49" charset="0"/>
              </a:rPr>
              <a:t>java.io.DataInput</a:t>
            </a:r>
            <a:r>
              <a:rPr lang="en-US" altLang="zh-CN" sz="660" dirty="0">
                <a:latin typeface="Consolas" panose="020B0609020204030204" pitchFamily="49" charset="0"/>
              </a:rPr>
              <a:t>;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sz="660" dirty="0">
                <a:latin typeface="Consolas" panose="020B0609020204030204" pitchFamily="49" charset="0"/>
              </a:rPr>
              <a:t> </a:t>
            </a:r>
            <a:r>
              <a:rPr lang="en-US" altLang="zh-CN" sz="660" dirty="0" err="1">
                <a:latin typeface="Consolas" panose="020B0609020204030204" pitchFamily="49" charset="0"/>
              </a:rPr>
              <a:t>java.io.DataOutput</a:t>
            </a:r>
            <a:r>
              <a:rPr lang="en-US" altLang="zh-CN" sz="660" dirty="0">
                <a:latin typeface="Consolas" panose="020B0609020204030204" pitchFamily="49" charset="0"/>
              </a:rPr>
              <a:t>;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sz="660" dirty="0">
                <a:latin typeface="Consolas" panose="020B0609020204030204" pitchFamily="49" charset="0"/>
              </a:rPr>
              <a:t> </a:t>
            </a:r>
            <a:r>
              <a:rPr lang="en-US" altLang="zh-CN" sz="660" dirty="0" err="1">
                <a:latin typeface="Consolas" panose="020B0609020204030204" pitchFamily="49" charset="0"/>
              </a:rPr>
              <a:t>java.io.IOException</a:t>
            </a:r>
            <a:r>
              <a:rPr lang="en-US" altLang="zh-CN" sz="660" dirty="0">
                <a:latin typeface="Consolas" panose="020B0609020204030204" pitchFamily="49" charset="0"/>
              </a:rPr>
              <a:t>;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latin typeface="Consolas" panose="020B0609020204030204" pitchFamily="49" charset="0"/>
              </a:rPr>
              <a:t> 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sz="660" dirty="0">
                <a:latin typeface="Consolas" panose="020B0609020204030204" pitchFamily="49" charset="0"/>
              </a:rPr>
              <a:t> </a:t>
            </a:r>
            <a:r>
              <a:rPr lang="en-US" altLang="zh-CN" sz="660" dirty="0" err="1">
                <a:latin typeface="Consolas" panose="020B0609020204030204" pitchFamily="49" charset="0"/>
              </a:rPr>
              <a:t>org.apache.hadoop.io.IntWritable</a:t>
            </a:r>
            <a:r>
              <a:rPr lang="en-US" altLang="zh-CN" sz="660" dirty="0">
                <a:latin typeface="Consolas" panose="020B0609020204030204" pitchFamily="49" charset="0"/>
              </a:rPr>
              <a:t>;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sz="660" dirty="0">
                <a:latin typeface="Consolas" panose="020B0609020204030204" pitchFamily="49" charset="0"/>
              </a:rPr>
              <a:t> </a:t>
            </a:r>
            <a:r>
              <a:rPr lang="en-US" altLang="zh-CN" sz="660" dirty="0" err="1">
                <a:latin typeface="Consolas" panose="020B0609020204030204" pitchFamily="49" charset="0"/>
              </a:rPr>
              <a:t>org.apache.hadoop.io.WritableComparable</a:t>
            </a:r>
            <a:r>
              <a:rPr lang="en-US" altLang="zh-CN" sz="660" dirty="0">
                <a:latin typeface="Consolas" panose="020B0609020204030204" pitchFamily="49" charset="0"/>
              </a:rPr>
              <a:t>;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latin typeface="Consolas" panose="020B0609020204030204" pitchFamily="49" charset="0"/>
              </a:rPr>
              <a:t> 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solidFill>
                  <a:srgbClr val="950055"/>
                </a:solidFill>
                <a:latin typeface="Consolas" panose="020B0609020204030204" pitchFamily="49" charset="0"/>
              </a:rPr>
              <a:t>public class </a:t>
            </a:r>
            <a:r>
              <a:rPr lang="en-US" altLang="zh-CN" sz="660" dirty="0" err="1">
                <a:latin typeface="Consolas" panose="020B0609020204030204" pitchFamily="49" charset="0"/>
              </a:rPr>
              <a:t>IntPair</a:t>
            </a:r>
            <a:r>
              <a:rPr lang="en-US" altLang="zh-CN" sz="660" dirty="0">
                <a:latin typeface="Consolas" panose="020B0609020204030204" pitchFamily="49" charset="0"/>
              </a:rPr>
              <a:t> </a:t>
            </a:r>
            <a:r>
              <a:rPr lang="en-US" altLang="zh-CN" sz="660" dirty="0">
                <a:solidFill>
                  <a:srgbClr val="950055"/>
                </a:solidFill>
                <a:latin typeface="Consolas" panose="020B0609020204030204" pitchFamily="49" charset="0"/>
              </a:rPr>
              <a:t>implements</a:t>
            </a:r>
            <a:r>
              <a:rPr lang="en-US" altLang="zh-CN" sz="660" dirty="0">
                <a:latin typeface="Consolas" panose="020B0609020204030204" pitchFamily="49" charset="0"/>
              </a:rPr>
              <a:t> </a:t>
            </a:r>
            <a:r>
              <a:rPr lang="en-US" altLang="zh-CN" sz="660" dirty="0" err="1">
                <a:latin typeface="Consolas" panose="020B0609020204030204" pitchFamily="49" charset="0"/>
              </a:rPr>
              <a:t>WritableComparable</a:t>
            </a:r>
            <a:r>
              <a:rPr lang="en-US" altLang="zh-CN" sz="660" dirty="0">
                <a:latin typeface="Consolas" panose="020B0609020204030204" pitchFamily="49" charset="0"/>
              </a:rPr>
              <a:t> {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latin typeface="Consolas" panose="020B0609020204030204" pitchFamily="49" charset="0"/>
              </a:rPr>
              <a:t>    </a:t>
            </a:r>
            <a:r>
              <a:rPr lang="en-US" altLang="zh-CN" sz="660" dirty="0">
                <a:solidFill>
                  <a:srgbClr val="950055"/>
                </a:solidFill>
                <a:latin typeface="Consolas" panose="020B0609020204030204" pitchFamily="49" charset="0"/>
              </a:rPr>
              <a:t>private</a:t>
            </a:r>
            <a:r>
              <a:rPr lang="en-US" altLang="zh-CN" sz="660" dirty="0">
                <a:latin typeface="Consolas" panose="020B0609020204030204" pitchFamily="49" charset="0"/>
              </a:rPr>
              <a:t> </a:t>
            </a:r>
            <a:r>
              <a:rPr lang="en-US" altLang="zh-CN" sz="660" dirty="0" err="1">
                <a:latin typeface="Consolas" panose="020B0609020204030204" pitchFamily="49" charset="0"/>
              </a:rPr>
              <a:t>IntWritable</a:t>
            </a:r>
            <a:r>
              <a:rPr lang="en-US" altLang="zh-CN" sz="660" dirty="0">
                <a:latin typeface="Consolas" panose="020B0609020204030204" pitchFamily="49" charset="0"/>
              </a:rPr>
              <a:t> </a:t>
            </a:r>
            <a:r>
              <a:rPr lang="en-US" altLang="zh-CN" sz="660" dirty="0">
                <a:solidFill>
                  <a:srgbClr val="0066E8"/>
                </a:solidFill>
                <a:latin typeface="Consolas" panose="020B0609020204030204" pitchFamily="49" charset="0"/>
              </a:rPr>
              <a:t>first</a:t>
            </a:r>
            <a:r>
              <a:rPr lang="en-US" altLang="zh-CN" sz="660" dirty="0">
                <a:latin typeface="Consolas" panose="020B0609020204030204" pitchFamily="49" charset="0"/>
              </a:rPr>
              <a:t>;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latin typeface="Consolas" panose="020B0609020204030204" pitchFamily="49" charset="0"/>
              </a:rPr>
              <a:t>    </a:t>
            </a:r>
            <a:r>
              <a:rPr lang="en-US" altLang="zh-CN" sz="660" dirty="0">
                <a:solidFill>
                  <a:srgbClr val="950055"/>
                </a:solidFill>
                <a:latin typeface="Consolas" panose="020B0609020204030204" pitchFamily="49" charset="0"/>
              </a:rPr>
              <a:t>private</a:t>
            </a:r>
            <a:r>
              <a:rPr lang="en-US" altLang="zh-CN" sz="660" dirty="0">
                <a:latin typeface="Consolas" panose="020B0609020204030204" pitchFamily="49" charset="0"/>
              </a:rPr>
              <a:t> </a:t>
            </a:r>
            <a:r>
              <a:rPr lang="en-US" altLang="zh-CN" sz="660" dirty="0" err="1">
                <a:latin typeface="Consolas" panose="020B0609020204030204" pitchFamily="49" charset="0"/>
              </a:rPr>
              <a:t>IntWritable</a:t>
            </a:r>
            <a:r>
              <a:rPr lang="en-US" altLang="zh-CN" sz="660" dirty="0">
                <a:latin typeface="Consolas" panose="020B0609020204030204" pitchFamily="49" charset="0"/>
              </a:rPr>
              <a:t> </a:t>
            </a:r>
            <a:r>
              <a:rPr lang="en-US" altLang="zh-CN" sz="660" dirty="0">
                <a:solidFill>
                  <a:srgbClr val="0066E8"/>
                </a:solidFill>
                <a:latin typeface="Consolas" panose="020B0609020204030204" pitchFamily="49" charset="0"/>
              </a:rPr>
              <a:t>second</a:t>
            </a:r>
            <a:r>
              <a:rPr lang="en-US" altLang="zh-CN" sz="660" dirty="0">
                <a:latin typeface="Consolas" panose="020B0609020204030204" pitchFamily="49" charset="0"/>
              </a:rPr>
              <a:t>;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latin typeface="Consolas" panose="020B0609020204030204" pitchFamily="49" charset="0"/>
              </a:rPr>
              <a:t>    </a:t>
            </a:r>
            <a:r>
              <a:rPr lang="en-US" altLang="zh-CN" sz="660" dirty="0">
                <a:solidFill>
                  <a:srgbClr val="950055"/>
                </a:solidFill>
                <a:latin typeface="Consolas" panose="020B0609020204030204" pitchFamily="49" charset="0"/>
              </a:rPr>
              <a:t>public void </a:t>
            </a:r>
            <a:r>
              <a:rPr lang="en-US" altLang="zh-CN" sz="660" dirty="0">
                <a:latin typeface="Consolas" panose="020B0609020204030204" pitchFamily="49" charset="0"/>
              </a:rPr>
              <a:t>set(</a:t>
            </a:r>
            <a:r>
              <a:rPr lang="en-US" altLang="zh-CN" sz="660" dirty="0" err="1">
                <a:latin typeface="Consolas" panose="020B0609020204030204" pitchFamily="49" charset="0"/>
              </a:rPr>
              <a:t>IntWritable</a:t>
            </a:r>
            <a:r>
              <a:rPr lang="en-US" altLang="zh-CN" sz="660" dirty="0">
                <a:latin typeface="Consolas" panose="020B0609020204030204" pitchFamily="49" charset="0"/>
              </a:rPr>
              <a:t> </a:t>
            </a:r>
            <a:r>
              <a:rPr lang="en-US" altLang="zh-CN" sz="660" dirty="0">
                <a:solidFill>
                  <a:srgbClr val="6A3E3E"/>
                </a:solidFill>
                <a:latin typeface="Consolas" panose="020B0609020204030204" pitchFamily="49" charset="0"/>
              </a:rPr>
              <a:t>first</a:t>
            </a:r>
            <a:r>
              <a:rPr lang="en-US" altLang="zh-CN" sz="660" dirty="0">
                <a:latin typeface="Consolas" panose="020B0609020204030204" pitchFamily="49" charset="0"/>
              </a:rPr>
              <a:t>, </a:t>
            </a:r>
            <a:r>
              <a:rPr lang="en-US" altLang="zh-CN" sz="660" dirty="0" err="1">
                <a:latin typeface="Consolas" panose="020B0609020204030204" pitchFamily="49" charset="0"/>
              </a:rPr>
              <a:t>IntWritable</a:t>
            </a:r>
            <a:r>
              <a:rPr lang="en-US" altLang="zh-CN" sz="660" dirty="0">
                <a:latin typeface="Consolas" panose="020B0609020204030204" pitchFamily="49" charset="0"/>
              </a:rPr>
              <a:t> </a:t>
            </a:r>
            <a:r>
              <a:rPr lang="en-US" altLang="zh-CN" sz="660" dirty="0">
                <a:solidFill>
                  <a:srgbClr val="6A3E3E"/>
                </a:solidFill>
                <a:latin typeface="Consolas" panose="020B0609020204030204" pitchFamily="49" charset="0"/>
              </a:rPr>
              <a:t>second</a:t>
            </a:r>
            <a:r>
              <a:rPr lang="en-US" altLang="zh-CN" sz="660" dirty="0">
                <a:latin typeface="Consolas" panose="020B0609020204030204" pitchFamily="49" charset="0"/>
              </a:rPr>
              <a:t>) {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latin typeface="Consolas" panose="020B0609020204030204" pitchFamily="49" charset="0"/>
              </a:rPr>
              <a:t>        </a:t>
            </a:r>
            <a:r>
              <a:rPr lang="en-US" altLang="zh-CN" sz="660" dirty="0" err="1">
                <a:solidFill>
                  <a:srgbClr val="950055"/>
                </a:solidFill>
                <a:latin typeface="Consolas" panose="020B0609020204030204" pitchFamily="49" charset="0"/>
              </a:rPr>
              <a:t>this</a:t>
            </a:r>
            <a:r>
              <a:rPr lang="en-US" altLang="zh-CN" sz="660" dirty="0" err="1">
                <a:latin typeface="Consolas" panose="020B0609020204030204" pitchFamily="49" charset="0"/>
              </a:rPr>
              <a:t>.first</a:t>
            </a:r>
            <a:r>
              <a:rPr lang="en-US" altLang="zh-CN" sz="660" dirty="0">
                <a:latin typeface="Consolas" panose="020B0609020204030204" pitchFamily="49" charset="0"/>
              </a:rPr>
              <a:t> = </a:t>
            </a:r>
            <a:r>
              <a:rPr lang="en-US" altLang="zh-CN" sz="660" dirty="0">
                <a:solidFill>
                  <a:srgbClr val="6A3E3E"/>
                </a:solidFill>
                <a:latin typeface="Consolas" panose="020B0609020204030204" pitchFamily="49" charset="0"/>
              </a:rPr>
              <a:t>first</a:t>
            </a:r>
            <a:r>
              <a:rPr lang="en-US" altLang="zh-CN" sz="660" dirty="0">
                <a:latin typeface="Consolas" panose="020B0609020204030204" pitchFamily="49" charset="0"/>
              </a:rPr>
              <a:t>;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latin typeface="Consolas" panose="020B0609020204030204" pitchFamily="49" charset="0"/>
              </a:rPr>
              <a:t>        </a:t>
            </a:r>
            <a:r>
              <a:rPr lang="en-US" altLang="zh-CN" sz="660" dirty="0" err="1">
                <a:solidFill>
                  <a:srgbClr val="950055"/>
                </a:solidFill>
                <a:latin typeface="Consolas" panose="020B0609020204030204" pitchFamily="49" charset="0"/>
              </a:rPr>
              <a:t>this</a:t>
            </a:r>
            <a:r>
              <a:rPr lang="en-US" altLang="zh-CN" sz="660" dirty="0" err="1">
                <a:latin typeface="Consolas" panose="020B0609020204030204" pitchFamily="49" charset="0"/>
              </a:rPr>
              <a:t>.second</a:t>
            </a:r>
            <a:r>
              <a:rPr lang="en-US" altLang="zh-CN" sz="660" dirty="0">
                <a:latin typeface="Consolas" panose="020B0609020204030204" pitchFamily="49" charset="0"/>
              </a:rPr>
              <a:t> = </a:t>
            </a:r>
            <a:r>
              <a:rPr lang="en-US" altLang="zh-CN" sz="660" dirty="0">
                <a:solidFill>
                  <a:srgbClr val="6A3E3E"/>
                </a:solidFill>
                <a:latin typeface="Consolas" panose="020B0609020204030204" pitchFamily="49" charset="0"/>
              </a:rPr>
              <a:t>second</a:t>
            </a:r>
            <a:r>
              <a:rPr lang="en-US" altLang="zh-CN" sz="660" dirty="0">
                <a:latin typeface="Consolas" panose="020B0609020204030204" pitchFamily="49" charset="0"/>
              </a:rPr>
              <a:t>;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latin typeface="Consolas" panose="020B0609020204030204" pitchFamily="49" charset="0"/>
              </a:rPr>
              <a:t>    }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</p:txBody>
      </p:sp>
      <p:sp>
        <p:nvSpPr>
          <p:cNvPr id="10" name="标题 1">
            <a:extLst>
              <a:ext uri="{FF2B5EF4-FFF2-40B4-BE49-F238E27FC236}">
                <a16:creationId xmlns:a16="http://schemas.microsoft.com/office/drawing/2014/main" id="{79530212-6305-45B8-9241-A14220AEE6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0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</p:spTree>
    <p:extLst>
      <p:ext uri="{BB962C8B-B14F-4D97-AF65-F5344CB8AC3E}">
        <p14:creationId xmlns:p14="http://schemas.microsoft.com/office/powerpoint/2010/main" val="22415386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DDA12288-0C8C-42BB-B202-1CC0E9192E3F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0806" y="1200807"/>
            <a:ext cx="6462388" cy="4862787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56A86865-472E-44A2-8204-AD7D61DC99DC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4E382905-A8C2-4704-BBA4-00B815D65EC2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EC6E195C-DB45-4FC5-9002-E8FCF80F345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0888" y="3554343"/>
            <a:ext cx="3136304" cy="662827"/>
          </a:xfrm>
          <a:prstGeom prst="rect">
            <a:avLst/>
          </a:prstGeom>
        </p:spPr>
      </p:pic>
      <p:sp>
        <p:nvSpPr>
          <p:cNvPr id="11" name="标题 1">
            <a:extLst>
              <a:ext uri="{FF2B5EF4-FFF2-40B4-BE49-F238E27FC236}">
                <a16:creationId xmlns:a16="http://schemas.microsoft.com/office/drawing/2014/main" id="{83A4BA9C-B447-435C-8B42-B4C55D5280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0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</p:spTree>
    <p:extLst>
      <p:ext uri="{BB962C8B-B14F-4D97-AF65-F5344CB8AC3E}">
        <p14:creationId xmlns:p14="http://schemas.microsoft.com/office/powerpoint/2010/main" val="187722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" dur="3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:a16="http://schemas.microsoft.com/office/drawing/2014/main" id="{F7507E19-D546-4EDD-B81D-31923AB486D7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sp>
        <p:nvSpPr>
          <p:cNvPr id="11" name="标题 1">
            <a:extLst>
              <a:ext uri="{FF2B5EF4-FFF2-40B4-BE49-F238E27FC236}">
                <a16:creationId xmlns:a16="http://schemas.microsoft.com/office/drawing/2014/main" id="{366CB137-E6E1-42AE-9BDC-67D474358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0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</p:spTree>
    <p:extLst>
      <p:ext uri="{BB962C8B-B14F-4D97-AF65-F5344CB8AC3E}">
        <p14:creationId xmlns:p14="http://schemas.microsoft.com/office/powerpoint/2010/main" val="14562326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:a16="http://schemas.microsoft.com/office/drawing/2014/main" id="{F7507E19-D546-4EDD-B81D-31923AB486D7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sp>
        <p:nvSpPr>
          <p:cNvPr id="4" name="矩形 3">
            <a:extLst>
              <a:ext uri="{FF2B5EF4-FFF2-40B4-BE49-F238E27FC236}">
                <a16:creationId xmlns:a16="http://schemas.microsoft.com/office/drawing/2014/main" id="{B224F03A-5448-4D26-92D9-8AFBE560D683}"/>
              </a:ext>
            </a:extLst>
          </p:cNvPr>
          <p:cNvSpPr/>
          <p:nvPr/>
        </p:nvSpPr>
        <p:spPr>
          <a:xfrm>
            <a:off x="1535046" y="2401277"/>
            <a:ext cx="338658" cy="111125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27282BF-B23F-46CF-BA5A-92BF05F66B6E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9078" y="2443914"/>
            <a:ext cx="1864749" cy="3227259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B3003EA1-FC0D-4B61-ADE4-E413C6314E3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869" y="2450752"/>
            <a:ext cx="1150841" cy="2019299"/>
          </a:xfrm>
          <a:prstGeom prst="rect">
            <a:avLst/>
          </a:prstGeom>
        </p:spPr>
      </p:pic>
      <p:sp>
        <p:nvSpPr>
          <p:cNvPr id="9" name="标题 1">
            <a:extLst>
              <a:ext uri="{FF2B5EF4-FFF2-40B4-BE49-F238E27FC236}">
                <a16:creationId xmlns:a16="http://schemas.microsoft.com/office/drawing/2014/main" id="{E7F05C9E-4F52-48B5-B372-020A62377E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0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F3823D4B-61C6-4118-BD60-28C0857D8516}"/>
              </a:ext>
            </a:extLst>
          </p:cNvPr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234" y="7560915"/>
            <a:ext cx="539531" cy="643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894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"/>
                            </p:stCondLst>
                            <p:childTnLst>
                              <p:par>
                                <p:cTn id="9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3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2" dur="3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400"/>
                            </p:stCondLst>
                            <p:childTnLst>
                              <p:par>
                                <p:cTn id="14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3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7" dur="3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582E132-5674-4D30-AAD1-D47C292D7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-404086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F7507E19-D546-4EDD-B81D-31923AB486D7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D56C6968-D8B3-4D40-8EA5-6BF0343105E8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5348" y="867966"/>
            <a:ext cx="4633304" cy="5528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1568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582E132-5674-4D30-AAD1-D47C292D7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0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317BD6F6-92AA-478A-BE27-78164BEC3904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9F047D5B-6221-45E9-AB68-A3C7AA66F95A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4888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:a16="http://schemas.microsoft.com/office/drawing/2014/main" id="{F7507E19-D546-4EDD-B81D-31923AB486D7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9F047D5B-6221-45E9-AB68-A3C7AA66F95A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6DE7DB34-8A06-469E-BFB2-F82A6A064E4E}"/>
              </a:ext>
            </a:extLst>
          </p:cNvPr>
          <p:cNvSpPr txBox="1"/>
          <p:nvPr/>
        </p:nvSpPr>
        <p:spPr>
          <a:xfrm>
            <a:off x="3079779" y="1798376"/>
            <a:ext cx="6791138" cy="8402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Consolas" panose="020B0609020204030204" pitchFamily="49" charset="0"/>
              </a:rPr>
              <a:t>package </a:t>
            </a:r>
            <a:r>
              <a:rPr lang="en-US" altLang="zh-CN" dirty="0" err="1">
                <a:latin typeface="Consolas" panose="020B0609020204030204" pitchFamily="49" charset="0"/>
              </a:rPr>
              <a:t>mr</a:t>
            </a:r>
            <a:r>
              <a:rPr lang="en-US" altLang="zh-CN" dirty="0">
                <a:latin typeface="Consolas" panose="020B0609020204030204" pitchFamily="49" charset="0"/>
              </a:rPr>
              <a:t>;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latin typeface="Consolas" panose="020B0609020204030204" pitchFamily="49" charset="0"/>
              </a:rPr>
              <a:t> 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dirty="0" err="1">
                <a:latin typeface="Consolas" panose="020B0609020204030204" pitchFamily="49" charset="0"/>
              </a:rPr>
              <a:t>java.io.IOException</a:t>
            </a:r>
            <a:r>
              <a:rPr lang="en-US" altLang="zh-CN" dirty="0">
                <a:latin typeface="Consolas" panose="020B0609020204030204" pitchFamily="49" charset="0"/>
              </a:rPr>
              <a:t>;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latin typeface="Consolas" panose="020B0609020204030204" pitchFamily="49" charset="0"/>
              </a:rPr>
              <a:t> 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dirty="0" err="1">
                <a:latin typeface="Consolas" panose="020B0609020204030204" pitchFamily="49" charset="0"/>
              </a:rPr>
              <a:t>org.apache.hadoop.conf.Configuration</a:t>
            </a:r>
            <a:r>
              <a:rPr lang="en-US" altLang="zh-CN" dirty="0">
                <a:latin typeface="Consolas" panose="020B0609020204030204" pitchFamily="49" charset="0"/>
              </a:rPr>
              <a:t>;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dirty="0" err="1">
                <a:latin typeface="Consolas" panose="020B0609020204030204" pitchFamily="49" charset="0"/>
              </a:rPr>
              <a:t>org.apache.hadoop.fs.Path</a:t>
            </a:r>
            <a:r>
              <a:rPr lang="en-US" altLang="zh-CN" dirty="0">
                <a:latin typeface="Consolas" panose="020B0609020204030204" pitchFamily="49" charset="0"/>
              </a:rPr>
              <a:t>;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dirty="0" err="1">
                <a:latin typeface="Consolas" panose="020B0609020204030204" pitchFamily="49" charset="0"/>
              </a:rPr>
              <a:t>org.apache.hadoop.io.LongWritable</a:t>
            </a:r>
            <a:r>
              <a:rPr lang="en-US" altLang="zh-CN" dirty="0">
                <a:latin typeface="Consolas" panose="020B0609020204030204" pitchFamily="49" charset="0"/>
              </a:rPr>
              <a:t>;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dirty="0" err="1">
                <a:latin typeface="Consolas" panose="020B0609020204030204" pitchFamily="49" charset="0"/>
              </a:rPr>
              <a:t>org.apache.hadoop.io.NullWritable</a:t>
            </a:r>
            <a:r>
              <a:rPr lang="en-US" altLang="zh-CN" dirty="0">
                <a:latin typeface="Consolas" panose="020B0609020204030204" pitchFamily="49" charset="0"/>
              </a:rPr>
              <a:t>;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dirty="0" err="1">
                <a:latin typeface="Consolas" panose="020B0609020204030204" pitchFamily="49" charset="0"/>
              </a:rPr>
              <a:t>org.apache.hadoop.io.Text</a:t>
            </a:r>
            <a:r>
              <a:rPr lang="en-US" altLang="zh-CN" dirty="0">
                <a:latin typeface="Consolas" panose="020B0609020204030204" pitchFamily="49" charset="0"/>
              </a:rPr>
              <a:t>;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dirty="0" err="1">
                <a:latin typeface="Consolas" panose="020B0609020204030204" pitchFamily="49" charset="0"/>
              </a:rPr>
              <a:t>org.apache.hadoop.io.WritableComparable</a:t>
            </a:r>
            <a:r>
              <a:rPr lang="en-US" altLang="zh-CN" dirty="0">
                <a:latin typeface="Consolas" panose="020B0609020204030204" pitchFamily="49" charset="0"/>
              </a:rPr>
              <a:t>;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dirty="0" err="1">
                <a:latin typeface="Consolas" panose="020B0609020204030204" pitchFamily="49" charset="0"/>
              </a:rPr>
              <a:t>org.apache.hadoop.io.WritableComparator</a:t>
            </a:r>
            <a:r>
              <a:rPr lang="en-US" altLang="zh-CN" dirty="0">
                <a:latin typeface="Consolas" panose="020B0609020204030204" pitchFamily="49" charset="0"/>
              </a:rPr>
              <a:t>;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dirty="0" err="1">
                <a:latin typeface="Consolas" panose="020B0609020204030204" pitchFamily="49" charset="0"/>
              </a:rPr>
              <a:t>org.apache.hadoop.mapreduce.Job</a:t>
            </a:r>
            <a:r>
              <a:rPr lang="en-US" altLang="zh-CN" dirty="0">
                <a:latin typeface="Consolas" panose="020B0609020204030204" pitchFamily="49" charset="0"/>
              </a:rPr>
              <a:t>;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dirty="0" err="1">
                <a:latin typeface="Consolas" panose="020B0609020204030204" pitchFamily="49" charset="0"/>
              </a:rPr>
              <a:t>org.apache.hadoop.mapreduce.Mapper</a:t>
            </a:r>
            <a:r>
              <a:rPr lang="en-US" altLang="zh-CN" dirty="0">
                <a:latin typeface="Consolas" panose="020B0609020204030204" pitchFamily="49" charset="0"/>
              </a:rPr>
              <a:t>;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dirty="0" err="1">
                <a:latin typeface="Consolas" panose="020B0609020204030204" pitchFamily="49" charset="0"/>
              </a:rPr>
              <a:t>org.apache.hadoop.mapreduce.Partitioner</a:t>
            </a:r>
            <a:r>
              <a:rPr lang="en-US" altLang="zh-CN" dirty="0">
                <a:latin typeface="Consolas" panose="020B0609020204030204" pitchFamily="49" charset="0"/>
              </a:rPr>
              <a:t>;</a:t>
            </a:r>
          </a:p>
          <a:p>
            <a:endParaRPr lang="en-US" altLang="zh-CN" dirty="0">
              <a:latin typeface="Consolas" panose="020B0609020204030204" pitchFamily="49" charset="0"/>
            </a:endParaRPr>
          </a:p>
          <a:p>
            <a:r>
              <a:rPr lang="en-US" altLang="zh-CN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dirty="0" err="1">
                <a:latin typeface="Consolas" panose="020B0609020204030204" pitchFamily="49" charset="0"/>
              </a:rPr>
              <a:t>org.apache.hadoop.mapreduce.Reducer</a:t>
            </a:r>
            <a:r>
              <a:rPr lang="en-US" altLang="zh-CN" dirty="0">
                <a:latin typeface="Consolas" panose="020B0609020204030204" pitchFamily="49" charset="0"/>
              </a:rPr>
              <a:t>;</a:t>
            </a:r>
          </a:p>
          <a:p>
            <a:r>
              <a:rPr lang="en-US" altLang="zh-CN" dirty="0">
                <a:latin typeface="Consolas" panose="020B0609020204030204" pitchFamily="49" charset="0"/>
              </a:rPr>
              <a:t> </a:t>
            </a:r>
            <a:endParaRPr lang="zh-CN" altLang="en-US" dirty="0">
              <a:latin typeface="Consolas" panose="020B0609020204030204" pitchFamily="49" charset="0"/>
            </a:endParaRPr>
          </a:p>
        </p:txBody>
      </p:sp>
      <p:sp>
        <p:nvSpPr>
          <p:cNvPr id="9" name="标题 1">
            <a:extLst>
              <a:ext uri="{FF2B5EF4-FFF2-40B4-BE49-F238E27FC236}">
                <a16:creationId xmlns:a16="http://schemas.microsoft.com/office/drawing/2014/main" id="{3181263E-10F8-4290-945E-D81F1F89D3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0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</p:spTree>
    <p:extLst>
      <p:ext uri="{BB962C8B-B14F-4D97-AF65-F5344CB8AC3E}">
        <p14:creationId xmlns:p14="http://schemas.microsoft.com/office/powerpoint/2010/main" val="3654710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0"/>
    </mc:Choice>
    <mc:Fallback xmlns="">
      <p:transition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9F047D5B-6221-45E9-AB68-A3C7AA66F95A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BBA14D9B-4439-4F5E-B16E-FC5B5EB31BF4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8472A1BB-21F4-4D9A-9D04-8CC90170EF96}"/>
              </a:ext>
            </a:extLst>
          </p:cNvPr>
          <p:cNvSpPr txBox="1"/>
          <p:nvPr/>
        </p:nvSpPr>
        <p:spPr>
          <a:xfrm>
            <a:off x="3079779" y="1798376"/>
            <a:ext cx="6791138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60" dirty="0">
                <a:latin typeface="Consolas" panose="020B0609020204030204" pitchFamily="49" charset="0"/>
              </a:rPr>
              <a:t>package </a:t>
            </a:r>
            <a:r>
              <a:rPr lang="en-US" altLang="zh-CN" sz="660" dirty="0" err="1">
                <a:latin typeface="Consolas" panose="020B0609020204030204" pitchFamily="49" charset="0"/>
              </a:rPr>
              <a:t>mr</a:t>
            </a:r>
            <a:r>
              <a:rPr lang="en-US" altLang="zh-CN" sz="660" dirty="0">
                <a:latin typeface="Consolas" panose="020B0609020204030204" pitchFamily="49" charset="0"/>
              </a:rPr>
              <a:t>;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latin typeface="Consolas" panose="020B0609020204030204" pitchFamily="49" charset="0"/>
              </a:rPr>
              <a:t> 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sz="660" dirty="0">
                <a:latin typeface="Consolas" panose="020B0609020204030204" pitchFamily="49" charset="0"/>
              </a:rPr>
              <a:t> </a:t>
            </a:r>
            <a:r>
              <a:rPr lang="en-US" altLang="zh-CN" sz="660" dirty="0" err="1">
                <a:latin typeface="Consolas" panose="020B0609020204030204" pitchFamily="49" charset="0"/>
              </a:rPr>
              <a:t>java.io.IOException</a:t>
            </a:r>
            <a:r>
              <a:rPr lang="en-US" altLang="zh-CN" sz="660" dirty="0">
                <a:latin typeface="Consolas" panose="020B0609020204030204" pitchFamily="49" charset="0"/>
              </a:rPr>
              <a:t>;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latin typeface="Consolas" panose="020B0609020204030204" pitchFamily="49" charset="0"/>
              </a:rPr>
              <a:t> 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sz="660" dirty="0">
                <a:latin typeface="Consolas" panose="020B0609020204030204" pitchFamily="49" charset="0"/>
              </a:rPr>
              <a:t> </a:t>
            </a:r>
            <a:r>
              <a:rPr lang="en-US" altLang="zh-CN" sz="660" dirty="0" err="1">
                <a:latin typeface="Consolas" panose="020B0609020204030204" pitchFamily="49" charset="0"/>
              </a:rPr>
              <a:t>org.apache.hadoop.conf.Configuration</a:t>
            </a:r>
            <a:r>
              <a:rPr lang="en-US" altLang="zh-CN" sz="660" dirty="0">
                <a:latin typeface="Consolas" panose="020B0609020204030204" pitchFamily="49" charset="0"/>
              </a:rPr>
              <a:t>;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sz="660" dirty="0">
                <a:latin typeface="Consolas" panose="020B0609020204030204" pitchFamily="49" charset="0"/>
              </a:rPr>
              <a:t> </a:t>
            </a:r>
            <a:r>
              <a:rPr lang="en-US" altLang="zh-CN" sz="660" dirty="0" err="1">
                <a:latin typeface="Consolas" panose="020B0609020204030204" pitchFamily="49" charset="0"/>
              </a:rPr>
              <a:t>org.apache.hadoop.fs.Path</a:t>
            </a:r>
            <a:r>
              <a:rPr lang="en-US" altLang="zh-CN" sz="660" dirty="0">
                <a:latin typeface="Consolas" panose="020B0609020204030204" pitchFamily="49" charset="0"/>
              </a:rPr>
              <a:t>;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sz="660" dirty="0">
                <a:latin typeface="Consolas" panose="020B0609020204030204" pitchFamily="49" charset="0"/>
              </a:rPr>
              <a:t> </a:t>
            </a:r>
            <a:r>
              <a:rPr lang="en-US" altLang="zh-CN" sz="660" dirty="0" err="1">
                <a:latin typeface="Consolas" panose="020B0609020204030204" pitchFamily="49" charset="0"/>
              </a:rPr>
              <a:t>org.apache.hadoop.io.LongWritable</a:t>
            </a:r>
            <a:r>
              <a:rPr lang="en-US" altLang="zh-CN" sz="660" dirty="0">
                <a:latin typeface="Consolas" panose="020B0609020204030204" pitchFamily="49" charset="0"/>
              </a:rPr>
              <a:t>;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sz="660" dirty="0">
                <a:latin typeface="Consolas" panose="020B0609020204030204" pitchFamily="49" charset="0"/>
              </a:rPr>
              <a:t> </a:t>
            </a:r>
            <a:r>
              <a:rPr lang="en-US" altLang="zh-CN" sz="660" dirty="0" err="1">
                <a:latin typeface="Consolas" panose="020B0609020204030204" pitchFamily="49" charset="0"/>
              </a:rPr>
              <a:t>org.apache.hadoop.io.NullWritable</a:t>
            </a:r>
            <a:r>
              <a:rPr lang="en-US" altLang="zh-CN" sz="660" dirty="0">
                <a:latin typeface="Consolas" panose="020B0609020204030204" pitchFamily="49" charset="0"/>
              </a:rPr>
              <a:t>;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sz="660" dirty="0">
                <a:latin typeface="Consolas" panose="020B0609020204030204" pitchFamily="49" charset="0"/>
              </a:rPr>
              <a:t> </a:t>
            </a:r>
            <a:r>
              <a:rPr lang="en-US" altLang="zh-CN" sz="660" dirty="0" err="1">
                <a:latin typeface="Consolas" panose="020B0609020204030204" pitchFamily="49" charset="0"/>
              </a:rPr>
              <a:t>org.apache.hadoop.io.Text</a:t>
            </a:r>
            <a:r>
              <a:rPr lang="en-US" altLang="zh-CN" sz="660" dirty="0">
                <a:latin typeface="Consolas" panose="020B0609020204030204" pitchFamily="49" charset="0"/>
              </a:rPr>
              <a:t>;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sz="660" dirty="0">
                <a:latin typeface="Consolas" panose="020B0609020204030204" pitchFamily="49" charset="0"/>
              </a:rPr>
              <a:t> </a:t>
            </a:r>
            <a:r>
              <a:rPr lang="en-US" altLang="zh-CN" sz="660" dirty="0" err="1">
                <a:latin typeface="Consolas" panose="020B0609020204030204" pitchFamily="49" charset="0"/>
              </a:rPr>
              <a:t>org.apache.hadoop.io.WritableComparable</a:t>
            </a:r>
            <a:r>
              <a:rPr lang="en-US" altLang="zh-CN" sz="660" dirty="0">
                <a:latin typeface="Consolas" panose="020B0609020204030204" pitchFamily="49" charset="0"/>
              </a:rPr>
              <a:t>;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sz="660" dirty="0">
                <a:latin typeface="Consolas" panose="020B0609020204030204" pitchFamily="49" charset="0"/>
              </a:rPr>
              <a:t> </a:t>
            </a:r>
            <a:r>
              <a:rPr lang="en-US" altLang="zh-CN" sz="660" dirty="0" err="1">
                <a:latin typeface="Consolas" panose="020B0609020204030204" pitchFamily="49" charset="0"/>
              </a:rPr>
              <a:t>org.apache.hadoop.io.WritableComparator</a:t>
            </a:r>
            <a:r>
              <a:rPr lang="en-US" altLang="zh-CN" sz="660" dirty="0">
                <a:latin typeface="Consolas" panose="020B0609020204030204" pitchFamily="49" charset="0"/>
              </a:rPr>
              <a:t>;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sz="660" dirty="0">
                <a:latin typeface="Consolas" panose="020B0609020204030204" pitchFamily="49" charset="0"/>
              </a:rPr>
              <a:t> </a:t>
            </a:r>
            <a:r>
              <a:rPr lang="en-US" altLang="zh-CN" sz="660" dirty="0" err="1">
                <a:latin typeface="Consolas" panose="020B0609020204030204" pitchFamily="49" charset="0"/>
              </a:rPr>
              <a:t>org.apache.hadoop.mapreduce.Job</a:t>
            </a:r>
            <a:r>
              <a:rPr lang="en-US" altLang="zh-CN" sz="660" dirty="0">
                <a:latin typeface="Consolas" panose="020B0609020204030204" pitchFamily="49" charset="0"/>
              </a:rPr>
              <a:t>;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sz="660" dirty="0">
                <a:latin typeface="Consolas" panose="020B0609020204030204" pitchFamily="49" charset="0"/>
              </a:rPr>
              <a:t> </a:t>
            </a:r>
            <a:r>
              <a:rPr lang="en-US" altLang="zh-CN" sz="660" dirty="0" err="1">
                <a:latin typeface="Consolas" panose="020B0609020204030204" pitchFamily="49" charset="0"/>
              </a:rPr>
              <a:t>org.apache.hadoop.mapreduce.Mapper</a:t>
            </a:r>
            <a:r>
              <a:rPr lang="en-US" altLang="zh-CN" sz="660" dirty="0">
                <a:latin typeface="Consolas" panose="020B0609020204030204" pitchFamily="49" charset="0"/>
              </a:rPr>
              <a:t>;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sz="660" dirty="0">
                <a:latin typeface="Consolas" panose="020B0609020204030204" pitchFamily="49" charset="0"/>
              </a:rPr>
              <a:t> </a:t>
            </a:r>
            <a:r>
              <a:rPr lang="en-US" altLang="zh-CN" sz="660" dirty="0" err="1">
                <a:latin typeface="Consolas" panose="020B0609020204030204" pitchFamily="49" charset="0"/>
              </a:rPr>
              <a:t>org.apache.hadoop.mapreduce.Partitioner</a:t>
            </a:r>
            <a:r>
              <a:rPr lang="en-US" altLang="zh-CN" sz="660" dirty="0">
                <a:latin typeface="Consolas" panose="020B0609020204030204" pitchFamily="49" charset="0"/>
              </a:rPr>
              <a:t>;</a:t>
            </a:r>
          </a:p>
          <a:p>
            <a:endParaRPr lang="en-US" altLang="zh-CN" sz="660" dirty="0">
              <a:latin typeface="Consolas" panose="020B0609020204030204" pitchFamily="49" charset="0"/>
            </a:endParaRPr>
          </a:p>
          <a:p>
            <a:r>
              <a:rPr lang="en-US" altLang="zh-CN" sz="660" dirty="0">
                <a:solidFill>
                  <a:srgbClr val="950055"/>
                </a:solidFill>
                <a:latin typeface="Consolas" panose="020B0609020204030204" pitchFamily="49" charset="0"/>
              </a:rPr>
              <a:t>import</a:t>
            </a:r>
            <a:r>
              <a:rPr lang="en-US" altLang="zh-CN" sz="660" dirty="0">
                <a:latin typeface="Consolas" panose="020B0609020204030204" pitchFamily="49" charset="0"/>
              </a:rPr>
              <a:t> </a:t>
            </a:r>
            <a:r>
              <a:rPr lang="en-US" altLang="zh-CN" sz="660" dirty="0" err="1">
                <a:latin typeface="Consolas" panose="020B0609020204030204" pitchFamily="49" charset="0"/>
              </a:rPr>
              <a:t>org.apache.hadoop.mapreduce.Reducer</a:t>
            </a:r>
            <a:r>
              <a:rPr lang="en-US" altLang="zh-CN" sz="660" dirty="0"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660" dirty="0">
                <a:latin typeface="Consolas" panose="020B0609020204030204" pitchFamily="49" charset="0"/>
              </a:rPr>
              <a:t> </a:t>
            </a:r>
            <a:endParaRPr lang="zh-CN" altLang="en-US" sz="660" dirty="0">
              <a:latin typeface="Consolas" panose="020B0609020204030204" pitchFamily="49" charset="0"/>
            </a:endParaRPr>
          </a:p>
        </p:txBody>
      </p:sp>
      <p:sp>
        <p:nvSpPr>
          <p:cNvPr id="10" name="标题 1">
            <a:extLst>
              <a:ext uri="{FF2B5EF4-FFF2-40B4-BE49-F238E27FC236}">
                <a16:creationId xmlns:a16="http://schemas.microsoft.com/office/drawing/2014/main" id="{2C330E41-D421-4061-88BB-39AFB328FC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0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</p:spTree>
    <p:extLst>
      <p:ext uri="{BB962C8B-B14F-4D97-AF65-F5344CB8AC3E}">
        <p14:creationId xmlns:p14="http://schemas.microsoft.com/office/powerpoint/2010/main" val="32983441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9F047D5B-6221-45E9-AB68-A3C7AA66F95A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BBA14D9B-4439-4F5E-B16E-FC5B5EB31BF4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sp>
        <p:nvSpPr>
          <p:cNvPr id="10" name="标题 1">
            <a:extLst>
              <a:ext uri="{FF2B5EF4-FFF2-40B4-BE49-F238E27FC236}">
                <a16:creationId xmlns:a16="http://schemas.microsoft.com/office/drawing/2014/main" id="{2C330E41-D421-4061-88BB-39AFB328FC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0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C67D46F4-3596-4208-B0D9-DB84AA4B40BE}"/>
              </a:ext>
            </a:extLst>
          </p:cNvPr>
          <p:cNvSpPr/>
          <p:nvPr/>
        </p:nvSpPr>
        <p:spPr>
          <a:xfrm>
            <a:off x="1322696" y="1989580"/>
            <a:ext cx="753121" cy="111125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DD89A066-1AC0-41F0-9A29-671C651266A6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2069" y="2045142"/>
            <a:ext cx="1864749" cy="3227258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10E5C9CF-C901-4FF4-A7BF-EB9330BD7B7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1200" y="7916660"/>
            <a:ext cx="481599" cy="511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4178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"/>
                            </p:stCondLst>
                            <p:childTnLst>
                              <p:par>
                                <p:cTn id="9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3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2" dur="3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9F047D5B-6221-45E9-AB68-A3C7AA66F95A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A37B97C4-C09D-4264-A984-D0803737053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4844" y="1492813"/>
            <a:ext cx="3414313" cy="4278774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BBA14D9B-4439-4F5E-B16E-FC5B5EB31BF4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431" y="1077119"/>
            <a:ext cx="6791138" cy="5110163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9CAFBA24-B893-4B6E-BA13-66FDC0C9908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0345" y="1621853"/>
            <a:ext cx="3783311" cy="4020695"/>
          </a:xfrm>
          <a:prstGeom prst="rect">
            <a:avLst/>
          </a:prstGeom>
        </p:spPr>
      </p:pic>
      <p:sp>
        <p:nvSpPr>
          <p:cNvPr id="10" name="标题 1">
            <a:extLst>
              <a:ext uri="{FF2B5EF4-FFF2-40B4-BE49-F238E27FC236}">
                <a16:creationId xmlns:a16="http://schemas.microsoft.com/office/drawing/2014/main" id="{2C330E41-D421-4061-88BB-39AFB328FC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0"/>
            <a:ext cx="8137922" cy="1028699"/>
          </a:xfrm>
        </p:spPr>
        <p:txBody>
          <a:bodyPr/>
          <a:lstStyle/>
          <a:p>
            <a:r>
              <a:rPr lang="en-US" altLang="zh-CN" dirty="0"/>
              <a:t>Eclipse</a:t>
            </a:r>
            <a:r>
              <a:rPr lang="zh-CN" altLang="en-US" dirty="0"/>
              <a:t>操作演示</a:t>
            </a:r>
          </a:p>
        </p:txBody>
      </p:sp>
    </p:spTree>
    <p:extLst>
      <p:ext uri="{BB962C8B-B14F-4D97-AF65-F5344CB8AC3E}">
        <p14:creationId xmlns:p14="http://schemas.microsoft.com/office/powerpoint/2010/main" val="4258873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2d9589be-d0db-40d1-87ac-473ecc36df7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435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25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25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375"/>
</p:tagLst>
</file>

<file path=ppt/theme/theme1.xml><?xml version="1.0" encoding="utf-8"?>
<a:theme xmlns:a="http://schemas.openxmlformats.org/drawingml/2006/main" name="主题5">
  <a:themeElements>
    <a:clrScheme name="橙红色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EA6000"/>
      </a:accent1>
      <a:accent2>
        <a:srgbClr val="FC6A50"/>
      </a:accent2>
      <a:accent3>
        <a:srgbClr val="FE980F"/>
      </a:accent3>
      <a:accent4>
        <a:srgbClr val="F63B16"/>
      </a:accent4>
      <a:accent5>
        <a:srgbClr val="FF9865"/>
      </a:accent5>
      <a:accent6>
        <a:srgbClr val="FFD480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0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00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01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02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03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04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05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06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07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08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09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1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10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11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12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13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14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15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1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17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18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19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2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20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3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4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5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6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7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8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19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20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21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22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23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24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25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26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27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28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29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30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31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32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33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34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35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36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37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38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39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40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41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42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43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44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45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46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47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48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49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50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51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52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53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54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55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56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57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58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59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60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61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62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63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64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65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66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67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68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69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70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71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72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73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74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75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76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77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78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79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80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81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82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83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84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85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86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87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88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89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9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90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91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92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93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94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95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96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97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98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ppt/theme/themeOverride99.xml><?xml version="1.0" encoding="utf-8"?>
<a:themeOverride xmlns:a="http://schemas.openxmlformats.org/drawingml/2006/main">
  <a:clrScheme name="橙红色">
    <a:dk1>
      <a:srgbClr val="000000"/>
    </a:dk1>
    <a:lt1>
      <a:srgbClr val="FFFFFF"/>
    </a:lt1>
    <a:dk2>
      <a:srgbClr val="768395"/>
    </a:dk2>
    <a:lt2>
      <a:srgbClr val="F0F0F0"/>
    </a:lt2>
    <a:accent1>
      <a:srgbClr val="EA6000"/>
    </a:accent1>
    <a:accent2>
      <a:srgbClr val="FC6A50"/>
    </a:accent2>
    <a:accent3>
      <a:srgbClr val="FE980F"/>
    </a:accent3>
    <a:accent4>
      <a:srgbClr val="F63B16"/>
    </a:accent4>
    <a:accent5>
      <a:srgbClr val="FF9865"/>
    </a:accent5>
    <a:accent6>
      <a:srgbClr val="FFD480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343</TotalTime>
  <Words>7265</Words>
  <Application>Microsoft Office PowerPoint</Application>
  <PresentationFormat>全屏显示(4:3)</PresentationFormat>
  <Paragraphs>1613</Paragraphs>
  <Slides>120</Slides>
  <Notes>18</Notes>
  <HiddenSlides>4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0</vt:i4>
      </vt:variant>
    </vt:vector>
  </HeadingPairs>
  <TitlesOfParts>
    <vt:vector size="128" baseType="lpstr">
      <vt:lpstr>等线</vt:lpstr>
      <vt:lpstr>微软雅黑 Light</vt:lpstr>
      <vt:lpstr>Arial</vt:lpstr>
      <vt:lpstr>Calibri</vt:lpstr>
      <vt:lpstr>Consolas</vt:lpstr>
      <vt:lpstr>Impact</vt:lpstr>
      <vt:lpstr>主题5</vt:lpstr>
      <vt:lpstr>think-cell Slide</vt:lpstr>
      <vt:lpstr>MapReduce实验 二次排序</vt:lpstr>
      <vt:lpstr>PowerPoint 演示文稿</vt:lpstr>
      <vt:lpstr>MapReduce工作流程</vt:lpstr>
      <vt:lpstr>MapReduce工作流程</vt:lpstr>
      <vt:lpstr>MapReduce工作流程</vt:lpstr>
      <vt:lpstr>MapReduce工作流程</vt:lpstr>
      <vt:lpstr>MapReduce工作流程</vt:lpstr>
      <vt:lpstr>MapReduce工作流程</vt:lpstr>
      <vt:lpstr>MapReduce工作流程</vt:lpstr>
      <vt:lpstr>MapReduce工作流程</vt:lpstr>
      <vt:lpstr>MapReduce工作流程</vt:lpstr>
      <vt:lpstr>MapReduce工作流程</vt:lpstr>
      <vt:lpstr>MapReduce工作流程</vt:lpstr>
      <vt:lpstr>MapReduce工作流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Hadoop的部署</vt:lpstr>
      <vt:lpstr>可是我不会用Linux类系统啊</vt:lpstr>
      <vt:lpstr>Hadoop的部署</vt:lpstr>
      <vt:lpstr>Hadoop的部署</vt:lpstr>
      <vt:lpstr>Hadoop的部署</vt:lpstr>
      <vt:lpstr>Hadoop的部署</vt:lpstr>
      <vt:lpstr>Hadoop的部署</vt:lpstr>
      <vt:lpstr>Hadoop的部署</vt:lpstr>
      <vt:lpstr>Hadoop的部署</vt:lpstr>
      <vt:lpstr>Hadoop的部署</vt:lpstr>
      <vt:lpstr>Hadoop的部署</vt:lpstr>
      <vt:lpstr>Hadoop的部署</vt:lpstr>
      <vt:lpstr>Hadoop的部署</vt:lpstr>
      <vt:lpstr>Hadoop的部署</vt:lpstr>
      <vt:lpstr>Hadoop的部署</vt:lpstr>
      <vt:lpstr>Hadoop的部署</vt:lpstr>
      <vt:lpstr>Hadoop的部署</vt:lpstr>
      <vt:lpstr>Mapredeuce中有很多内置的实例</vt:lpstr>
      <vt:lpstr>Mapredeuce中有很多内置的实例</vt:lpstr>
      <vt:lpstr>Mapredeuce中有很多内置的实例</vt:lpstr>
      <vt:lpstr>内置实例的“打开方式”</vt:lpstr>
      <vt:lpstr>执行几个看看？</vt:lpstr>
      <vt:lpstr>执行几个看看？</vt:lpstr>
      <vt:lpstr>执行几个看看？</vt:lpstr>
      <vt:lpstr>执行几个看看？</vt:lpstr>
      <vt:lpstr>执行几个看看？</vt:lpstr>
      <vt:lpstr>执行几个看看？</vt:lpstr>
      <vt:lpstr>执行几个看看？</vt:lpstr>
      <vt:lpstr>执行几个看看？</vt:lpstr>
      <vt:lpstr>执行几个看看？</vt:lpstr>
      <vt:lpstr>执行几个看看？</vt:lpstr>
      <vt:lpstr>执行几个看看？</vt:lpstr>
      <vt:lpstr>执行几个看看？</vt:lpstr>
      <vt:lpstr>看看其他实例？</vt:lpstr>
      <vt:lpstr>看看其他实例？grep</vt:lpstr>
      <vt:lpstr>看看其他实例？grep</vt:lpstr>
      <vt:lpstr>看看其他实例？pi</vt:lpstr>
      <vt:lpstr>运行的实例</vt:lpstr>
      <vt:lpstr>运行的实例</vt:lpstr>
      <vt:lpstr>Hadoop的部署 – 完成</vt:lpstr>
      <vt:lpstr>MapReduce二次排序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Eclipse操作演示</vt:lpstr>
      <vt:lpstr>测试二次排序</vt:lpstr>
      <vt:lpstr>测试二次排序</vt:lpstr>
      <vt:lpstr>测试二次排序</vt:lpstr>
      <vt:lpstr>测试二次排序</vt:lpstr>
      <vt:lpstr>测试二次排序</vt:lpstr>
      <vt:lpstr>测试二次排序</vt:lpstr>
      <vt:lpstr>测试二次排序</vt:lpstr>
      <vt:lpstr>测试二次排序</vt:lpstr>
      <vt:lpstr>感谢观看和聆听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cp:revision>117</cp:revision>
  <cp:lastPrinted>2018-07-22T16:00:00Z</cp:lastPrinted>
  <dcterms:created xsi:type="dcterms:W3CDTF">2018-07-22T16:00:00Z</dcterms:created>
  <dcterms:modified xsi:type="dcterms:W3CDTF">2023-09-25T08:27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